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5.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6.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7.xml" ContentType="application/vnd.openxmlformats-officedocument.them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8.xml" ContentType="application/vnd.openxmlformats-officedocument.them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9.xml" ContentType="application/vnd.openxmlformats-officedocument.them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10.xml" ContentType="application/vnd.openxmlformats-officedocument.theme+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11.xml" ContentType="application/vnd.openxmlformats-officedocument.theme+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12.xml" ContentType="application/vnd.openxmlformats-officedocument.theme+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13.xml" ContentType="application/vnd.openxmlformats-officedocument.theme+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14.xml" ContentType="application/vnd.openxmlformats-officedocument.theme+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15.xml" ContentType="application/vnd.openxmlformats-officedocument.theme+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16.xml" ContentType="application/vnd.openxmlformats-officedocument.theme+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17.xml" ContentType="application/vnd.openxmlformats-officedocument.theme+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heme/theme18.xml" ContentType="application/vnd.openxmlformats-officedocument.theme+xml"/>
  <Override PartName="/ppt/theme/theme19.xml" ContentType="application/vnd.openxmlformats-officedocument.theme+xml"/>
  <Override PartName="/ppt/tags/tag276.xml" ContentType="application/vnd.openxmlformats-officedocument.presentationml.tags+xml"/>
  <Override PartName="/ppt/notesSlides/notesSlide1.xml" ContentType="application/vnd.openxmlformats-officedocument.presentationml.notesSlide+xml"/>
  <Override PartName="/ppt/tags/tag277.xml" ContentType="application/vnd.openxmlformats-officedocument.presentationml.tags+xml"/>
  <Override PartName="/ppt/notesSlides/notesSlide2.xml" ContentType="application/vnd.openxmlformats-officedocument.presentationml.notesSlide+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notesSlides/notesSlide3.xml" ContentType="application/vnd.openxmlformats-officedocument.presentationml.notesSlide+xml"/>
  <Override PartName="/ppt/tags/tag282.xml" ContentType="application/vnd.openxmlformats-officedocument.presentationml.tags+xml"/>
  <Override PartName="/ppt/tags/tag283.xml" ContentType="application/vnd.openxmlformats-officedocument.presentationml.tags+xml"/>
  <Override PartName="/ppt/notesSlides/notesSlide4.xml" ContentType="application/vnd.openxmlformats-officedocument.presentationml.notesSlide+xml"/>
  <Override PartName="/ppt/tags/tag284.xml" ContentType="application/vnd.openxmlformats-officedocument.presentationml.tags+xml"/>
  <Override PartName="/ppt/tags/tag285.xml" ContentType="application/vnd.openxmlformats-officedocument.presentationml.tags+xml"/>
  <Override PartName="/ppt/notesSlides/notesSlide5.xml" ContentType="application/vnd.openxmlformats-officedocument.presentationml.notesSlide+xml"/>
  <Override PartName="/ppt/tags/tag286.xml" ContentType="application/vnd.openxmlformats-officedocument.presentationml.tags+xml"/>
  <Override PartName="/ppt/tags/tag287.xml" ContentType="application/vnd.openxmlformats-officedocument.presentationml.tags+xml"/>
  <Override PartName="/ppt/notesSlides/notesSlide6.xml" ContentType="application/vnd.openxmlformats-officedocument.presentationml.notesSlide+xml"/>
  <Override PartName="/ppt/tags/tag288.xml" ContentType="application/vnd.openxmlformats-officedocument.presentationml.tags+xml"/>
  <Override PartName="/ppt/notesSlides/notesSlide7.xml" ContentType="application/vnd.openxmlformats-officedocument.presentationml.notesSlide+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notesSlides/notesSlide8.xml" ContentType="application/vnd.openxmlformats-officedocument.presentationml.notesSlide+xml"/>
  <Override PartName="/ppt/tags/tag349.xml" ContentType="application/vnd.openxmlformats-officedocument.presentationml.tags+xml"/>
  <Override PartName="/ppt/tags/tag350.xml" ContentType="application/vnd.openxmlformats-officedocument.presentationml.tags+xml"/>
  <Override PartName="/ppt/comments/comment1.xml" ContentType="application/vnd.openxmlformats-officedocument.presentationml.comment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comments/comment2.xml" ContentType="application/vnd.openxmlformats-officedocument.presentationml.comment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comments/comment3.xml" ContentType="application/vnd.openxmlformats-officedocument.presentationml.comments+xml"/>
  <Override PartName="/ppt/comments/comment4.xml" ContentType="application/vnd.openxmlformats-officedocument.presentationml.comment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notesSlides/notesSlide9.xml" ContentType="application/vnd.openxmlformats-officedocument.presentationml.notesSlide+xml"/>
  <Override PartName="/ppt/tags/tag424.xml" ContentType="application/vnd.openxmlformats-officedocument.presentationml.tags+xml"/>
  <Override PartName="/ppt/notesSlides/notesSlide10.xml" ContentType="application/vnd.openxmlformats-officedocument.presentationml.notesSlide+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charts/chart1.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tags/tag435.xml" ContentType="application/vnd.openxmlformats-officedocument.presentationml.tags+xml"/>
  <Override PartName="/ppt/tags/tag436.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69" r:id="rId1"/>
    <p:sldMasterId id="2147483670" r:id="rId2"/>
    <p:sldMasterId id="2147483675" r:id="rId3"/>
    <p:sldMasterId id="2147483688" r:id="rId4"/>
    <p:sldMasterId id="2147483701" r:id="rId5"/>
    <p:sldMasterId id="2147483733" r:id="rId6"/>
    <p:sldMasterId id="2147483742" r:id="rId7"/>
    <p:sldMasterId id="2147483747" r:id="rId8"/>
    <p:sldMasterId id="2147483755" r:id="rId9"/>
    <p:sldMasterId id="2147483759" r:id="rId10"/>
    <p:sldMasterId id="2147483765" r:id="rId11"/>
    <p:sldMasterId id="2147483768" r:id="rId12"/>
    <p:sldMasterId id="2147483773" r:id="rId13"/>
    <p:sldMasterId id="2147483779" r:id="rId14"/>
    <p:sldMasterId id="2147483783" r:id="rId15"/>
    <p:sldMasterId id="2147483787" r:id="rId16"/>
    <p:sldMasterId id="2147483797" r:id="rId17"/>
  </p:sldMasterIdLst>
  <p:notesMasterIdLst>
    <p:notesMasterId r:id="rId74"/>
  </p:notesMasterIdLst>
  <p:handoutMasterIdLst>
    <p:handoutMasterId r:id="rId75"/>
  </p:handoutMasterIdLst>
  <p:sldIdLst>
    <p:sldId id="256" r:id="rId18"/>
    <p:sldId id="257" r:id="rId19"/>
    <p:sldId id="626" r:id="rId20"/>
    <p:sldId id="569" r:id="rId21"/>
    <p:sldId id="570" r:id="rId22"/>
    <p:sldId id="606" r:id="rId23"/>
    <p:sldId id="607" r:id="rId24"/>
    <p:sldId id="608" r:id="rId25"/>
    <p:sldId id="609" r:id="rId26"/>
    <p:sldId id="610" r:id="rId27"/>
    <p:sldId id="612" r:id="rId28"/>
    <p:sldId id="614" r:id="rId29"/>
    <p:sldId id="615" r:id="rId30"/>
    <p:sldId id="616" r:id="rId31"/>
    <p:sldId id="617" r:id="rId32"/>
    <p:sldId id="475" r:id="rId33"/>
    <p:sldId id="474" r:id="rId34"/>
    <p:sldId id="488" r:id="rId35"/>
    <p:sldId id="379" r:id="rId36"/>
    <p:sldId id="578" r:id="rId37"/>
    <p:sldId id="630" r:id="rId38"/>
    <p:sldId id="591" r:id="rId39"/>
    <p:sldId id="628" r:id="rId40"/>
    <p:sldId id="618" r:id="rId41"/>
    <p:sldId id="572" r:id="rId42"/>
    <p:sldId id="574" r:id="rId43"/>
    <p:sldId id="525" r:id="rId44"/>
    <p:sldId id="594" r:id="rId45"/>
    <p:sldId id="631" r:id="rId46"/>
    <p:sldId id="632" r:id="rId47"/>
    <p:sldId id="380" r:id="rId48"/>
    <p:sldId id="545" r:id="rId49"/>
    <p:sldId id="625" r:id="rId50"/>
    <p:sldId id="495" r:id="rId51"/>
    <p:sldId id="579" r:id="rId52"/>
    <p:sldId id="580" r:id="rId53"/>
    <p:sldId id="581" r:id="rId54"/>
    <p:sldId id="502" r:id="rId55"/>
    <p:sldId id="600" r:id="rId56"/>
    <p:sldId id="601" r:id="rId57"/>
    <p:sldId id="437" r:id="rId58"/>
    <p:sldId id="554" r:id="rId59"/>
    <p:sldId id="293" r:id="rId60"/>
    <p:sldId id="566" r:id="rId61"/>
    <p:sldId id="567" r:id="rId62"/>
    <p:sldId id="596" r:id="rId63"/>
    <p:sldId id="597" r:id="rId64"/>
    <p:sldId id="598" r:id="rId65"/>
    <p:sldId id="621" r:id="rId66"/>
    <p:sldId id="622" r:id="rId67"/>
    <p:sldId id="603" r:id="rId68"/>
    <p:sldId id="605" r:id="rId69"/>
    <p:sldId id="602" r:id="rId70"/>
    <p:sldId id="473" r:id="rId71"/>
    <p:sldId id="633" r:id="rId72"/>
    <p:sldId id="510" r:id="rId73"/>
  </p:sldIdLst>
  <p:sldSz cx="9906000" cy="6858000" type="A4"/>
  <p:notesSz cx="6797675" cy="9926638"/>
  <p:custDataLst>
    <p:tags r:id="rId76"/>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86">
          <p15:clr>
            <a:srgbClr val="A4A3A4"/>
          </p15:clr>
        </p15:guide>
        <p15:guide id="2" orient="horz" pos="4003">
          <p15:clr>
            <a:srgbClr val="A4A3A4"/>
          </p15:clr>
        </p15:guide>
        <p15:guide id="3" orient="horz" pos="618">
          <p15:clr>
            <a:srgbClr val="A4A3A4"/>
          </p15:clr>
        </p15:guide>
        <p15:guide id="4" orient="horz" pos="845">
          <p15:clr>
            <a:srgbClr val="A4A3A4"/>
          </p15:clr>
        </p15:guide>
        <p15:guide id="5" pos="284">
          <p15:clr>
            <a:srgbClr val="A4A3A4"/>
          </p15:clr>
        </p15:guide>
        <p15:guide id="6" pos="5932">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mau, Pauline" initials="KP" lastIdx="2" clrIdx="0">
    <p:extLst>
      <p:ext uri="{19B8F6BF-5375-455C-9EA6-DF929625EA0E}">
        <p15:presenceInfo xmlns:p15="http://schemas.microsoft.com/office/powerpoint/2012/main" userId="S-1-5-21-505118114-2931306973-2436653383-1310" providerId="AD"/>
      </p:ext>
    </p:extLst>
  </p:cmAuthor>
  <p:cmAuthor id="2" name="Makhulo, Anne" initials="MA" lastIdx="14" clrIdx="1">
    <p:extLst>
      <p:ext uri="{19B8F6BF-5375-455C-9EA6-DF929625EA0E}">
        <p15:presenceInfo xmlns:p15="http://schemas.microsoft.com/office/powerpoint/2012/main" userId="S-1-5-21-505118114-2931306973-2436653383-6790" providerId="AD"/>
      </p:ext>
    </p:extLst>
  </p:cmAuthor>
  <p:cmAuthor id="3" name="Diallo, Asseta" initials="DA" lastIdx="25" clrIdx="2">
    <p:extLst>
      <p:ext uri="{19B8F6BF-5375-455C-9EA6-DF929625EA0E}">
        <p15:presenceInfo xmlns:p15="http://schemas.microsoft.com/office/powerpoint/2012/main" userId="S-1-5-21-505118114-2931306973-2436653383-3239" providerId="AD"/>
      </p:ext>
    </p:extLst>
  </p:cmAuthor>
  <p:cmAuthor id="4" name="Ngombe, Assan" initials="NA" lastIdx="5" clrIdx="3">
    <p:extLst>
      <p:ext uri="{19B8F6BF-5375-455C-9EA6-DF929625EA0E}">
        <p15:presenceInfo xmlns:p15="http://schemas.microsoft.com/office/powerpoint/2012/main" userId="S-1-5-21-505118114-2931306973-2436653383-695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38572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318E6629-4EBB-4D30-9DD3-6ACEAB857B28}">
  <a:tblStyle styleId="{318E6629-4EBB-4D30-9DD3-6ACEAB857B28}" styleName="Table_0">
    <a:wholeTbl>
      <a:tcTxStyle b="off" i="off">
        <a:font>
          <a:latin typeface="Calibri"/>
          <a:ea typeface="Calibri"/>
          <a:cs typeface="Calibri"/>
        </a:font>
        <a:schemeClr val="dk1"/>
      </a:tcTxStyle>
      <a:tcStyle>
        <a:tcBdr>
          <a:left>
            <a:ln w="9525" cap="flat" cmpd="sng">
              <a:solidFill>
                <a:srgbClr val="000000">
                  <a:alpha val="0"/>
                </a:srgbClr>
              </a:solidFill>
              <a:prstDash val="solid"/>
              <a:round/>
              <a:headEnd type="none" w="sm" len="sm"/>
              <a:tailEnd type="none" w="sm" len="sm"/>
            </a:ln>
          </a:left>
          <a:right>
            <a:ln w="9525" cap="flat" cmpd="sng">
              <a:solidFill>
                <a:srgbClr val="000000">
                  <a:alpha val="0"/>
                </a:srgbClr>
              </a:solidFill>
              <a:prstDash val="solid"/>
              <a:round/>
              <a:headEnd type="none" w="sm" len="sm"/>
              <a:tailEnd type="none" w="sm" len="sm"/>
            </a:ln>
          </a:right>
          <a:top>
            <a:ln w="12700" cap="flat" cmpd="sng">
              <a:solidFill>
                <a:schemeClr val="accent6"/>
              </a:solidFill>
              <a:prstDash val="solid"/>
              <a:round/>
              <a:headEnd type="none" w="sm" len="sm"/>
              <a:tailEnd type="none" w="sm" len="sm"/>
            </a:ln>
          </a:top>
          <a:bottom>
            <a:ln w="12700" cap="flat" cmpd="sng">
              <a:solidFill>
                <a:schemeClr val="accent6"/>
              </a:solidFill>
              <a:prstDash val="solid"/>
              <a:round/>
              <a:headEnd type="none" w="sm" len="sm"/>
              <a:tailEnd type="none" w="sm" len="sm"/>
            </a:ln>
          </a:bottom>
          <a:insideH>
            <a:ln w="9525" cap="flat" cmpd="sng">
              <a:solidFill>
                <a:srgbClr val="000000">
                  <a:alpha val="0"/>
                </a:srgbClr>
              </a:solidFill>
              <a:prstDash val="solid"/>
              <a:round/>
              <a:headEnd type="none" w="sm" len="sm"/>
              <a:tailEnd type="none" w="sm" len="sm"/>
            </a:ln>
          </a:insideH>
          <a:insideV>
            <a:ln w="9525" cap="flat" cmpd="sng">
              <a:solidFill>
                <a:srgbClr val="000000">
                  <a:alpha val="0"/>
                </a:srgbClr>
              </a:solidFill>
              <a:prstDash val="solid"/>
              <a:round/>
              <a:headEnd type="none" w="sm" len="sm"/>
              <a:tailEnd type="none" w="sm" len="sm"/>
            </a:ln>
          </a:insideV>
        </a:tcBdr>
        <a:fill>
          <a:solidFill>
            <a:srgbClr val="FFFFFF">
              <a:alpha val="0"/>
            </a:srgbClr>
          </a:solidFill>
        </a:fill>
      </a:tcStyle>
    </a:wholeTbl>
    <a:band1H>
      <a:tcTxStyle/>
      <a:tcStyle>
        <a:tcBdr/>
        <a:fill>
          <a:solidFill>
            <a:schemeClr val="accent6">
              <a:alpha val="20000"/>
            </a:schemeClr>
          </a:solidFill>
        </a:fill>
      </a:tcStyle>
    </a:band1H>
    <a:band2H>
      <a:tcTxStyle/>
      <a:tcStyle>
        <a:tcBdr/>
      </a:tcStyle>
    </a:band2H>
    <a:band1V>
      <a:tcTxStyle/>
      <a:tcStyle>
        <a:tcBdr/>
        <a:fill>
          <a:solidFill>
            <a:schemeClr val="accent6">
              <a:alpha val="20000"/>
            </a:schemeClr>
          </a:solidFill>
        </a:fill>
      </a:tcStyle>
    </a:band1V>
    <a:band2V>
      <a:tcTxStyle/>
      <a:tcStyle>
        <a:tcBdr/>
      </a:tcStyle>
    </a:band2V>
    <a:lastCol>
      <a:tcTxStyle b="on" i="off"/>
      <a:tcStyle>
        <a:tcBdr/>
      </a:tcStyle>
    </a:lastCol>
    <a:firstCol>
      <a:tcTxStyle b="on" i="off"/>
      <a:tcStyle>
        <a:tcBdr/>
      </a:tcStyle>
    </a:firstCol>
    <a:lastRow>
      <a:tcTxStyle b="on" i="off"/>
      <a:tcStyle>
        <a:tcBdr>
          <a:top>
            <a:ln w="12700" cap="flat" cmpd="sng">
              <a:solidFill>
                <a:schemeClr val="accent6"/>
              </a:solidFill>
              <a:prstDash val="solid"/>
              <a:round/>
              <a:headEnd type="none" w="sm" len="sm"/>
              <a:tailEnd type="none" w="sm" len="sm"/>
            </a:ln>
          </a:top>
        </a:tcBdr>
        <a:fill>
          <a:solidFill>
            <a:srgbClr val="FFFFFF">
              <a:alpha val="0"/>
            </a:srgbClr>
          </a:solidFill>
        </a:fill>
      </a:tcStyle>
    </a:lastRow>
    <a:seCell>
      <a:tcTxStyle/>
      <a:tcStyle>
        <a:tcBdr/>
      </a:tcStyle>
    </a:seCell>
    <a:swCell>
      <a:tcTxStyle/>
      <a:tcStyle>
        <a:tcBdr/>
      </a:tcStyle>
    </a:swCell>
    <a:firstRow>
      <a:tcTxStyle b="on" i="off"/>
      <a:tcStyle>
        <a:tcBdr>
          <a:bottom>
            <a:ln w="12700" cap="flat" cmpd="sng">
              <a:solidFill>
                <a:schemeClr val="accent6"/>
              </a:solidFill>
              <a:prstDash val="solid"/>
              <a:round/>
              <a:headEnd type="none" w="sm" len="sm"/>
              <a:tailEnd type="none" w="sm" len="sm"/>
            </a:ln>
          </a:bottom>
        </a:tcBdr>
        <a:fill>
          <a:solidFill>
            <a:srgbClr val="FFFFFF">
              <a:alpha val="0"/>
            </a:srgbClr>
          </a:solidFill>
        </a:fill>
      </a:tcStyle>
    </a:firstRow>
    <a:neCell>
      <a:tcTxStyle/>
      <a:tcStyle>
        <a:tcBdr/>
      </a:tcStyle>
    </a:neCell>
    <a:nwCell>
      <a:tcTxStyle/>
      <a:tcStyle>
        <a:tcBdr/>
      </a:tcStyle>
    </a:nwCell>
  </a:tblStyle>
  <a:tblStyle styleId="{41E0FAD3-7C2D-4B5A-B7BA-DEB1A53D0DEB}" styleName="Table_1">
    <a:wholeTbl>
      <a:tcTxStyle b="off" i="off">
        <a:font>
          <a:latin typeface="Calibri"/>
          <a:ea typeface="Calibri"/>
          <a:cs typeface="Calibri"/>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EBF1E8"/>
          </a:solidFill>
        </a:fill>
      </a:tcStyle>
    </a:wholeTbl>
    <a:band1H>
      <a:tcTxStyle/>
      <a:tcStyle>
        <a:tcBdr/>
        <a:fill>
          <a:solidFill>
            <a:srgbClr val="D4E2CE"/>
          </a:solidFill>
        </a:fill>
      </a:tcStyle>
    </a:band1H>
    <a:band2H>
      <a:tcTxStyle/>
      <a:tcStyle>
        <a:tcBdr/>
      </a:tcStyle>
    </a:band2H>
    <a:band1V>
      <a:tcTxStyle/>
      <a:tcStyle>
        <a:tcBdr/>
        <a:fill>
          <a:solidFill>
            <a:srgbClr val="D4E2CE"/>
          </a:solidFill>
        </a:fill>
      </a:tcStyle>
    </a:band1V>
    <a:band2V>
      <a:tcTxStyle/>
      <a:tcStyle>
        <a:tcBdr/>
      </a:tcStyle>
    </a:band2V>
    <a:lastCol>
      <a:tcTxStyle b="on" i="off">
        <a:font>
          <a:latin typeface="Calibri"/>
          <a:ea typeface="Calibri"/>
          <a:cs typeface="Calibri"/>
        </a:font>
        <a:schemeClr val="lt1"/>
      </a:tcTxStyle>
      <a:tcStyle>
        <a:tcBdr/>
        <a:fill>
          <a:solidFill>
            <a:schemeClr val="accent6"/>
          </a:solidFill>
        </a:fill>
      </a:tcStyle>
    </a:lastCol>
    <a:firstCol>
      <a:tcTxStyle b="on" i="off">
        <a:font>
          <a:latin typeface="Calibri"/>
          <a:ea typeface="Calibri"/>
          <a:cs typeface="Calibri"/>
        </a:font>
        <a:schemeClr val="lt1"/>
      </a:tcTxStyle>
      <a:tcStyle>
        <a:tcBdr/>
        <a:fill>
          <a:solidFill>
            <a:schemeClr val="accent6"/>
          </a:solidFill>
        </a:fill>
      </a:tcStyle>
    </a:firstCol>
    <a:lastRow>
      <a:tcTxStyle b="on" i="off">
        <a:font>
          <a:latin typeface="Calibri"/>
          <a:ea typeface="Calibri"/>
          <a:cs typeface="Calibri"/>
        </a:font>
        <a:schemeClr val="lt1"/>
      </a:tcTxStyle>
      <a:tcStyle>
        <a:tcBdr>
          <a:top>
            <a:ln w="38100" cap="flat" cmpd="sng">
              <a:solidFill>
                <a:schemeClr val="lt1"/>
              </a:solidFill>
              <a:prstDash val="solid"/>
              <a:round/>
              <a:headEnd type="none" w="sm" len="sm"/>
              <a:tailEnd type="none" w="sm" len="sm"/>
            </a:ln>
          </a:top>
        </a:tcBdr>
        <a:fill>
          <a:solidFill>
            <a:schemeClr val="accent6"/>
          </a:solidFill>
        </a:fill>
      </a:tcStyle>
    </a:lastRow>
    <a:seCell>
      <a:tcTxStyle/>
      <a:tcStyle>
        <a:tcBdr/>
      </a:tcStyle>
    </a:seCell>
    <a:swCell>
      <a:tcTxStyle/>
      <a:tcStyle>
        <a:tcBdr/>
      </a:tcStyle>
    </a:swCell>
    <a:firstRow>
      <a:tcTxStyle b="on" i="off">
        <a:font>
          <a:latin typeface="Calibri"/>
          <a:ea typeface="Calibri"/>
          <a:cs typeface="Calibri"/>
        </a:font>
        <a:schemeClr val="lt1"/>
      </a:tcTxStyle>
      <a:tcStyle>
        <a:tcBdr>
          <a:bottom>
            <a:ln w="38100" cap="flat" cmpd="sng">
              <a:solidFill>
                <a:schemeClr val="lt1"/>
              </a:solidFill>
              <a:prstDash val="solid"/>
              <a:round/>
              <a:headEnd type="none" w="sm" len="sm"/>
              <a:tailEnd type="none" w="sm" len="sm"/>
            </a:ln>
          </a:bottom>
        </a:tcBdr>
        <a:fill>
          <a:solidFill>
            <a:schemeClr val="accent6"/>
          </a:solidFill>
        </a:fill>
      </a:tcStyle>
    </a:firstRow>
    <a:neCell>
      <a:tcTxStyle/>
      <a:tcStyle>
        <a:tcBdr/>
      </a:tcStyle>
    </a:neCell>
    <a:nwCell>
      <a:tcTxStyle/>
      <a:tcStyle>
        <a:tcBdr/>
      </a:tcStyle>
    </a:nwCell>
  </a:tblStyle>
  <a:tblStyle styleId="{333DCFE8-B7AC-4D4A-B88C-A1AB9587156B}" styleName="Table_2">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868" autoAdjust="0"/>
    <p:restoredTop sz="94434" autoAdjust="0"/>
  </p:normalViewPr>
  <p:slideViewPr>
    <p:cSldViewPr snapToGrid="0">
      <p:cViewPr varScale="1">
        <p:scale>
          <a:sx n="71" d="100"/>
          <a:sy n="71" d="100"/>
        </p:scale>
        <p:origin x="180" y="60"/>
      </p:cViewPr>
      <p:guideLst>
        <p:guide orient="horz" pos="86"/>
        <p:guide orient="horz" pos="4003"/>
        <p:guide orient="horz" pos="618"/>
        <p:guide orient="horz" pos="845"/>
        <p:guide pos="284"/>
        <p:guide pos="5932"/>
      </p:guideLst>
    </p:cSldViewPr>
  </p:slideViewPr>
  <p:notesTextViewPr>
    <p:cViewPr>
      <p:scale>
        <a:sx n="1" d="1"/>
        <a:sy n="1" d="1"/>
      </p:scale>
      <p:origin x="0" y="0"/>
    </p:cViewPr>
  </p:notesTextViewPr>
  <p:sorterViewPr>
    <p:cViewPr>
      <p:scale>
        <a:sx n="100" d="100"/>
        <a:sy n="100" d="100"/>
      </p:scale>
      <p:origin x="0" y="-10764"/>
    </p:cViewPr>
  </p:sorterViewPr>
  <p:notesViewPr>
    <p:cSldViewPr snapToGrid="0">
      <p:cViewPr varScale="1">
        <p:scale>
          <a:sx n="100" d="100"/>
          <a:sy n="100" d="100"/>
        </p:scale>
        <p:origin x="0" y="0"/>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9.xml"/><Relationship Id="rId21" Type="http://schemas.openxmlformats.org/officeDocument/2006/relationships/slide" Target="slides/slide4.xml"/><Relationship Id="rId42" Type="http://schemas.openxmlformats.org/officeDocument/2006/relationships/slide" Target="slides/slide25.xml"/><Relationship Id="rId47" Type="http://schemas.openxmlformats.org/officeDocument/2006/relationships/slide" Target="slides/slide30.xml"/><Relationship Id="rId63" Type="http://schemas.openxmlformats.org/officeDocument/2006/relationships/slide" Target="slides/slide46.xml"/><Relationship Id="rId68" Type="http://schemas.openxmlformats.org/officeDocument/2006/relationships/slide" Target="slides/slide51.xml"/><Relationship Id="rId16" Type="http://schemas.openxmlformats.org/officeDocument/2006/relationships/slideMaster" Target="slideMasters/slideMaster16.xml"/><Relationship Id="rId11" Type="http://schemas.openxmlformats.org/officeDocument/2006/relationships/slideMaster" Target="slideMasters/slideMaster11.xml"/><Relationship Id="rId32" Type="http://schemas.openxmlformats.org/officeDocument/2006/relationships/slide" Target="slides/slide15.xml"/><Relationship Id="rId37" Type="http://schemas.openxmlformats.org/officeDocument/2006/relationships/slide" Target="slides/slide20.xml"/><Relationship Id="rId53" Type="http://schemas.openxmlformats.org/officeDocument/2006/relationships/slide" Target="slides/slide36.xml"/><Relationship Id="rId58" Type="http://schemas.openxmlformats.org/officeDocument/2006/relationships/slide" Target="slides/slide41.xml"/><Relationship Id="rId74" Type="http://schemas.openxmlformats.org/officeDocument/2006/relationships/notesMaster" Target="notesMasters/notesMaster1.xml"/><Relationship Id="rId79" Type="http://schemas.openxmlformats.org/officeDocument/2006/relationships/viewProps" Target="viewProps.xml"/><Relationship Id="rId5" Type="http://schemas.openxmlformats.org/officeDocument/2006/relationships/slideMaster" Target="slideMasters/slideMaster5.xml"/><Relationship Id="rId61" Type="http://schemas.openxmlformats.org/officeDocument/2006/relationships/slide" Target="slides/slide44.xml"/><Relationship Id="rId19" Type="http://schemas.openxmlformats.org/officeDocument/2006/relationships/slide" Target="slides/slide2.xml"/><Relationship Id="rId14" Type="http://schemas.openxmlformats.org/officeDocument/2006/relationships/slideMaster" Target="slideMasters/slideMaster14.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slide" Target="slides/slide39.xml"/><Relationship Id="rId64" Type="http://schemas.openxmlformats.org/officeDocument/2006/relationships/slide" Target="slides/slide47.xml"/><Relationship Id="rId69" Type="http://schemas.openxmlformats.org/officeDocument/2006/relationships/slide" Target="slides/slide52.xml"/><Relationship Id="rId77" Type="http://schemas.openxmlformats.org/officeDocument/2006/relationships/commentAuthors" Target="commentAuthors.xml"/><Relationship Id="rId8" Type="http://schemas.openxmlformats.org/officeDocument/2006/relationships/slideMaster" Target="slideMasters/slideMaster8.xml"/><Relationship Id="rId51" Type="http://schemas.openxmlformats.org/officeDocument/2006/relationships/slide" Target="slides/slide34.xml"/><Relationship Id="rId72" Type="http://schemas.openxmlformats.org/officeDocument/2006/relationships/slide" Target="slides/slide55.xml"/><Relationship Id="rId80"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59" Type="http://schemas.openxmlformats.org/officeDocument/2006/relationships/slide" Target="slides/slide42.xml"/><Relationship Id="rId67" Type="http://schemas.openxmlformats.org/officeDocument/2006/relationships/slide" Target="slides/slide50.xml"/><Relationship Id="rId20" Type="http://schemas.openxmlformats.org/officeDocument/2006/relationships/slide" Target="slides/slide3.xml"/><Relationship Id="rId41" Type="http://schemas.openxmlformats.org/officeDocument/2006/relationships/slide" Target="slides/slide24.xml"/><Relationship Id="rId54" Type="http://schemas.openxmlformats.org/officeDocument/2006/relationships/slide" Target="slides/slide37.xml"/><Relationship Id="rId62" Type="http://schemas.openxmlformats.org/officeDocument/2006/relationships/slide" Target="slides/slide45.xml"/><Relationship Id="rId70" Type="http://schemas.openxmlformats.org/officeDocument/2006/relationships/slide" Target="slides/slide53.xml"/><Relationship Id="rId75"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openxmlformats.org/officeDocument/2006/relationships/slide" Target="slides/slide40.xml"/><Relationship Id="rId10" Type="http://schemas.openxmlformats.org/officeDocument/2006/relationships/slideMaster" Target="slideMasters/slideMaster10.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slide" Target="slides/slide35.xml"/><Relationship Id="rId60" Type="http://schemas.openxmlformats.org/officeDocument/2006/relationships/slide" Target="slides/slide43.xml"/><Relationship Id="rId65" Type="http://schemas.openxmlformats.org/officeDocument/2006/relationships/slide" Target="slides/slide48.xml"/><Relationship Id="rId73" Type="http://schemas.openxmlformats.org/officeDocument/2006/relationships/slide" Target="slides/slide56.xml"/><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 Target="slides/slide1.xml"/><Relationship Id="rId39" Type="http://schemas.openxmlformats.org/officeDocument/2006/relationships/slide" Target="slides/slide22.xml"/><Relationship Id="rId34" Type="http://schemas.openxmlformats.org/officeDocument/2006/relationships/slide" Target="slides/slide17.xml"/><Relationship Id="rId50" Type="http://schemas.openxmlformats.org/officeDocument/2006/relationships/slide" Target="slides/slide33.xml"/><Relationship Id="rId55" Type="http://schemas.openxmlformats.org/officeDocument/2006/relationships/slide" Target="slides/slide38.xml"/><Relationship Id="rId76" Type="http://schemas.openxmlformats.org/officeDocument/2006/relationships/tags" Target="tags/tag1.xml"/><Relationship Id="rId7" Type="http://schemas.openxmlformats.org/officeDocument/2006/relationships/slideMaster" Target="slideMasters/slideMaster7.xml"/><Relationship Id="rId71" Type="http://schemas.openxmlformats.org/officeDocument/2006/relationships/slide" Target="slides/slide54.xml"/><Relationship Id="rId2" Type="http://schemas.openxmlformats.org/officeDocument/2006/relationships/slideMaster" Target="slideMasters/slideMaster2.xml"/><Relationship Id="rId29" Type="http://schemas.openxmlformats.org/officeDocument/2006/relationships/slide" Target="slides/slide12.xml"/><Relationship Id="rId24" Type="http://schemas.openxmlformats.org/officeDocument/2006/relationships/slide" Target="slides/slide7.xml"/><Relationship Id="rId40" Type="http://schemas.openxmlformats.org/officeDocument/2006/relationships/slide" Target="slides/slide23.xml"/><Relationship Id="rId45" Type="http://schemas.openxmlformats.org/officeDocument/2006/relationships/slide" Target="slides/slide28.xml"/><Relationship Id="rId66" Type="http://schemas.openxmlformats.org/officeDocument/2006/relationships/slide" Target="slides/slide49.xml"/></Relationships>
</file>

<file path=ppt/charts/_rels/chart1.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oleObject" Target="../embeddings/oleObject116.bin"/><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view3D>
      <c:rotX val="30"/>
      <c:rotY val="0"/>
      <c:rAngAx val="1"/>
    </c:view3D>
    <c:floor>
      <c:thickness val="0"/>
    </c:floor>
    <c:sideWall>
      <c:thickness val="0"/>
    </c:sideWall>
    <c:backWall>
      <c:thickness val="0"/>
    </c:backWall>
    <c:plotArea>
      <c:layout>
        <c:manualLayout>
          <c:layoutTarget val="inner"/>
          <c:xMode val="edge"/>
          <c:yMode val="edge"/>
          <c:x val="0.20028805050134138"/>
          <c:y val="0.13685287946249058"/>
          <c:w val="0.73721205461634853"/>
          <c:h val="0.68576139645442569"/>
        </c:manualLayout>
      </c:layout>
      <c:pie3DChart>
        <c:varyColors val="1"/>
        <c:ser>
          <c:idx val="0"/>
          <c:order val="0"/>
          <c:explosion val="103"/>
          <c:dPt>
            <c:idx val="0"/>
            <c:bubble3D val="0"/>
            <c:extLst xmlns:c16r2="http://schemas.microsoft.com/office/drawing/2015/06/chart">
              <c:ext xmlns:c16="http://schemas.microsoft.com/office/drawing/2014/chart" uri="{C3380CC4-5D6E-409C-BE32-E72D297353CC}">
                <c16:uniqueId val="{00000000-F86D-4829-9208-A6C98AFEF52F}"/>
              </c:ext>
            </c:extLst>
          </c:dPt>
          <c:dPt>
            <c:idx val="1"/>
            <c:bubble3D val="0"/>
            <c:explosion val="62"/>
            <c:extLst xmlns:c16r2="http://schemas.microsoft.com/office/drawing/2015/06/chart">
              <c:ext xmlns:c16="http://schemas.microsoft.com/office/drawing/2014/chart" uri="{C3380CC4-5D6E-409C-BE32-E72D297353CC}">
                <c16:uniqueId val="{00000001-F86D-4829-9208-A6C98AFEF52F}"/>
              </c:ext>
            </c:extLst>
          </c:dPt>
          <c:dPt>
            <c:idx val="2"/>
            <c:bubble3D val="0"/>
            <c:explosion val="58"/>
            <c:extLst xmlns:c16r2="http://schemas.microsoft.com/office/drawing/2015/06/chart">
              <c:ext xmlns:c16="http://schemas.microsoft.com/office/drawing/2014/chart" uri="{C3380CC4-5D6E-409C-BE32-E72D297353CC}">
                <c16:uniqueId val="{00000002-F86D-4829-9208-A6C98AFEF52F}"/>
              </c:ext>
            </c:extLst>
          </c:dPt>
          <c:dPt>
            <c:idx val="3"/>
            <c:bubble3D val="0"/>
            <c:extLst xmlns:c16r2="http://schemas.microsoft.com/office/drawing/2015/06/chart">
              <c:ext xmlns:c16="http://schemas.microsoft.com/office/drawing/2014/chart" uri="{C3380CC4-5D6E-409C-BE32-E72D297353CC}">
                <c16:uniqueId val="{00000003-F86D-4829-9208-A6C98AFEF52F}"/>
              </c:ext>
            </c:extLst>
          </c:dPt>
          <c:dPt>
            <c:idx val="4"/>
            <c:bubble3D val="0"/>
            <c:extLst xmlns:c16r2="http://schemas.microsoft.com/office/drawing/2015/06/chart">
              <c:ext xmlns:c16="http://schemas.microsoft.com/office/drawing/2014/chart" uri="{C3380CC4-5D6E-409C-BE32-E72D297353CC}">
                <c16:uniqueId val="{00000004-F86D-4829-9208-A6C98AFEF52F}"/>
              </c:ext>
            </c:extLst>
          </c:dPt>
          <c:dPt>
            <c:idx val="5"/>
            <c:bubble3D val="0"/>
            <c:extLst xmlns:c16r2="http://schemas.microsoft.com/office/drawing/2015/06/chart">
              <c:ext xmlns:c16="http://schemas.microsoft.com/office/drawing/2014/chart" uri="{C3380CC4-5D6E-409C-BE32-E72D297353CC}">
                <c16:uniqueId val="{00000005-F86D-4829-9208-A6C98AFEF52F}"/>
              </c:ext>
            </c:extLst>
          </c:dPt>
          <c:dPt>
            <c:idx val="6"/>
            <c:bubble3D val="0"/>
            <c:extLst xmlns:c16r2="http://schemas.microsoft.com/office/drawing/2015/06/chart">
              <c:ext xmlns:c16="http://schemas.microsoft.com/office/drawing/2014/chart" uri="{C3380CC4-5D6E-409C-BE32-E72D297353CC}">
                <c16:uniqueId val="{00000006-F86D-4829-9208-A6C98AFEF52F}"/>
              </c:ext>
            </c:extLst>
          </c:dPt>
          <c:dPt>
            <c:idx val="7"/>
            <c:bubble3D val="0"/>
            <c:extLst xmlns:c16r2="http://schemas.microsoft.com/office/drawing/2015/06/chart">
              <c:ext xmlns:c16="http://schemas.microsoft.com/office/drawing/2014/chart" uri="{C3380CC4-5D6E-409C-BE32-E72D297353CC}">
                <c16:uniqueId val="{00000007-F86D-4829-9208-A6C98AFEF52F}"/>
              </c:ext>
            </c:extLst>
          </c:dPt>
          <c:dPt>
            <c:idx val="8"/>
            <c:bubble3D val="0"/>
            <c:extLst xmlns:c16r2="http://schemas.microsoft.com/office/drawing/2015/06/chart">
              <c:ext xmlns:c16="http://schemas.microsoft.com/office/drawing/2014/chart" uri="{C3380CC4-5D6E-409C-BE32-E72D297353CC}">
                <c16:uniqueId val="{00000008-F86D-4829-9208-A6C98AFEF52F}"/>
              </c:ext>
            </c:extLst>
          </c:dPt>
          <c:dPt>
            <c:idx val="9"/>
            <c:bubble3D val="0"/>
            <c:extLst xmlns:c16r2="http://schemas.microsoft.com/office/drawing/2015/06/chart">
              <c:ext xmlns:c16="http://schemas.microsoft.com/office/drawing/2014/chart" uri="{C3380CC4-5D6E-409C-BE32-E72D297353CC}">
                <c16:uniqueId val="{00000009-F86D-4829-9208-A6C98AFEF52F}"/>
              </c:ext>
            </c:extLst>
          </c:dPt>
          <c:dPt>
            <c:idx val="10"/>
            <c:bubble3D val="0"/>
            <c:extLst xmlns:c16r2="http://schemas.microsoft.com/office/drawing/2015/06/chart">
              <c:ext xmlns:c16="http://schemas.microsoft.com/office/drawing/2014/chart" uri="{C3380CC4-5D6E-409C-BE32-E72D297353CC}">
                <c16:uniqueId val="{0000000A-F86D-4829-9208-A6C98AFEF52F}"/>
              </c:ext>
            </c:extLst>
          </c:dPt>
          <c:dPt>
            <c:idx val="11"/>
            <c:bubble3D val="0"/>
            <c:extLst xmlns:c16r2="http://schemas.microsoft.com/office/drawing/2015/06/chart">
              <c:ext xmlns:c16="http://schemas.microsoft.com/office/drawing/2014/chart" uri="{C3380CC4-5D6E-409C-BE32-E72D297353CC}">
                <c16:uniqueId val="{0000000B-F86D-4829-9208-A6C98AFEF52F}"/>
              </c:ext>
            </c:extLst>
          </c:dPt>
          <c:dPt>
            <c:idx val="12"/>
            <c:bubble3D val="0"/>
            <c:extLst xmlns:c16r2="http://schemas.microsoft.com/office/drawing/2015/06/chart">
              <c:ext xmlns:c16="http://schemas.microsoft.com/office/drawing/2014/chart" uri="{C3380CC4-5D6E-409C-BE32-E72D297353CC}">
                <c16:uniqueId val="{0000000C-F86D-4829-9208-A6C98AFEF52F}"/>
              </c:ext>
            </c:extLst>
          </c:dPt>
          <c:dPt>
            <c:idx val="13"/>
            <c:bubble3D val="0"/>
            <c:extLst xmlns:c16r2="http://schemas.microsoft.com/office/drawing/2015/06/chart">
              <c:ext xmlns:c16="http://schemas.microsoft.com/office/drawing/2014/chart" uri="{C3380CC4-5D6E-409C-BE32-E72D297353CC}">
                <c16:uniqueId val="{0000000D-F86D-4829-9208-A6C98AFEF52F}"/>
              </c:ext>
            </c:extLst>
          </c:dPt>
          <c:dPt>
            <c:idx val="14"/>
            <c:bubble3D val="0"/>
            <c:extLst xmlns:c16r2="http://schemas.microsoft.com/office/drawing/2015/06/chart">
              <c:ext xmlns:c16="http://schemas.microsoft.com/office/drawing/2014/chart" uri="{C3380CC4-5D6E-409C-BE32-E72D297353CC}">
                <c16:uniqueId val="{0000000E-F86D-4829-9208-A6C98AFEF52F}"/>
              </c:ext>
            </c:extLst>
          </c:dPt>
          <c:dPt>
            <c:idx val="15"/>
            <c:bubble3D val="0"/>
            <c:extLst xmlns:c16r2="http://schemas.microsoft.com/office/drawing/2015/06/chart">
              <c:ext xmlns:c16="http://schemas.microsoft.com/office/drawing/2014/chart" uri="{C3380CC4-5D6E-409C-BE32-E72D297353CC}">
                <c16:uniqueId val="{0000000F-F86D-4829-9208-A6C98AFEF52F}"/>
              </c:ext>
            </c:extLst>
          </c:dPt>
          <c:dPt>
            <c:idx val="16"/>
            <c:bubble3D val="0"/>
            <c:extLst xmlns:c16r2="http://schemas.microsoft.com/office/drawing/2015/06/chart">
              <c:ext xmlns:c16="http://schemas.microsoft.com/office/drawing/2014/chart" uri="{C3380CC4-5D6E-409C-BE32-E72D297353CC}">
                <c16:uniqueId val="{00000010-F86D-4829-9208-A6C98AFEF52F}"/>
              </c:ext>
            </c:extLst>
          </c:dPt>
          <c:dPt>
            <c:idx val="17"/>
            <c:bubble3D val="0"/>
            <c:extLst xmlns:c16r2="http://schemas.microsoft.com/office/drawing/2015/06/chart">
              <c:ext xmlns:c16="http://schemas.microsoft.com/office/drawing/2014/chart" uri="{C3380CC4-5D6E-409C-BE32-E72D297353CC}">
                <c16:uniqueId val="{00000011-F86D-4829-9208-A6C98AFEF52F}"/>
              </c:ext>
            </c:extLst>
          </c:dPt>
          <c:dPt>
            <c:idx val="18"/>
            <c:bubble3D val="0"/>
            <c:extLst xmlns:c16r2="http://schemas.microsoft.com/office/drawing/2015/06/chart">
              <c:ext xmlns:c16="http://schemas.microsoft.com/office/drawing/2014/chart" uri="{C3380CC4-5D6E-409C-BE32-E72D297353CC}">
                <c16:uniqueId val="{00000012-F86D-4829-9208-A6C98AFEF52F}"/>
              </c:ext>
            </c:extLst>
          </c:dPt>
          <c:dPt>
            <c:idx val="19"/>
            <c:bubble3D val="0"/>
            <c:extLst xmlns:c16r2="http://schemas.microsoft.com/office/drawing/2015/06/chart">
              <c:ext xmlns:c16="http://schemas.microsoft.com/office/drawing/2014/chart" uri="{C3380CC4-5D6E-409C-BE32-E72D297353CC}">
                <c16:uniqueId val="{00000013-F86D-4829-9208-A6C98AFEF52F}"/>
              </c:ext>
            </c:extLst>
          </c:dPt>
          <c:dPt>
            <c:idx val="20"/>
            <c:bubble3D val="0"/>
            <c:extLst xmlns:c16r2="http://schemas.microsoft.com/office/drawing/2015/06/chart">
              <c:ext xmlns:c16="http://schemas.microsoft.com/office/drawing/2014/chart" uri="{C3380CC4-5D6E-409C-BE32-E72D297353CC}">
                <c16:uniqueId val="{00000014-F86D-4829-9208-A6C98AFEF52F}"/>
              </c:ext>
            </c:extLst>
          </c:dPt>
          <c:dLbls>
            <c:dLbl>
              <c:idx val="0"/>
              <c:layout>
                <c:manualLayout>
                  <c:x val="6.4705281453963245E-2"/>
                  <c:y val="-9.285051067780872E-3"/>
                </c:manualLayout>
              </c:layout>
              <c:tx>
                <c:rich>
                  <a:bodyPr/>
                  <a:lstStyle/>
                  <a:p>
                    <a:fld id="{79F3D10C-6035-4BB9-9EE6-97FDB43EC8DD}" type="CATEGORYNAME">
                      <a:rPr lang="en-US" baseline="0" smtClean="0"/>
                      <a:pPr/>
                      <a:t>[CATEGORY NAME]</a:t>
                    </a:fld>
                    <a:r>
                      <a:rPr lang="en-US" baseline="0" dirty="0"/>
                      <a:t>, </a:t>
                    </a:r>
                    <a:fld id="{178C4DF9-974C-45C1-B3AB-CB73BB3F10D3}" type="VALUE">
                      <a:rPr lang="en-US" baseline="0"/>
                      <a:pPr/>
                      <a:t>[VALUE]</a:t>
                    </a:fld>
                    <a:r>
                      <a:rPr lang="en-US" baseline="0" dirty="0"/>
                      <a:t>, </a:t>
                    </a:r>
                    <a:fld id="{FDE17FF9-9151-4EBD-AC8E-505F16F8C3ED}" type="PERCENTAGE">
                      <a:rPr lang="en-US" baseline="0"/>
                      <a:pPr/>
                      <a:t>[PERCENTAGE]</a:t>
                    </a:fld>
                    <a:endParaRPr lang="en-US" baseline="0" dirty="0"/>
                  </a:p>
                </c:rich>
              </c:tx>
              <c:dLblPos val="bestFit"/>
              <c:showLegendKey val="1"/>
              <c:showVal val="1"/>
              <c:showCatName val="1"/>
              <c:showSerName val="1"/>
              <c:showPercent val="1"/>
              <c:showBubbleSize val="1"/>
              <c:extLst xmlns:c16r2="http://schemas.microsoft.com/office/drawing/2015/06/chart">
                <c:ext xmlns:c16="http://schemas.microsoft.com/office/drawing/2014/chart" uri="{C3380CC4-5D6E-409C-BE32-E72D297353CC}">
                  <c16:uniqueId val="{00000000-F86D-4829-9208-A6C98AFEF52F}"/>
                </c:ext>
                <c:ext xmlns:c15="http://schemas.microsoft.com/office/drawing/2012/chart" uri="{CE6537A1-D6FC-4f65-9D91-7224C49458BB}">
                  <c15:dlblFieldTable/>
                  <c15:showDataLabelsRange val="0"/>
                </c:ext>
              </c:extLst>
            </c:dLbl>
            <c:dLbl>
              <c:idx val="1"/>
              <c:layout>
                <c:manualLayout>
                  <c:x val="-5.9934607418079874E-3"/>
                  <c:y val="0.11104764128314508"/>
                </c:manualLayout>
              </c:layout>
              <c:tx>
                <c:rich>
                  <a:bodyPr/>
                  <a:lstStyle/>
                  <a:p>
                    <a:fld id="{1C02B7ED-3C30-4D22-A6FA-CBE2116399B0}" type="CATEGORYNAME">
                      <a:rPr lang="en-US" baseline="0" smtClean="0"/>
                      <a:pPr/>
                      <a:t>[CATEGORY NAME]</a:t>
                    </a:fld>
                    <a:r>
                      <a:rPr lang="en-US" baseline="0" dirty="0"/>
                      <a:t>, </a:t>
                    </a:r>
                    <a:fld id="{53F46696-E448-4C05-BE2B-744AFC89E819}" type="VALUE">
                      <a:rPr lang="en-US" baseline="0"/>
                      <a:pPr/>
                      <a:t>[VALUE]</a:t>
                    </a:fld>
                    <a:r>
                      <a:rPr lang="en-US" baseline="0" dirty="0"/>
                      <a:t>, </a:t>
                    </a:r>
                    <a:fld id="{483840A4-006E-478F-9A5F-F111F420D3FC}" type="PERCENTAGE">
                      <a:rPr lang="en-US" baseline="0"/>
                      <a:pPr/>
                      <a:t>[PERCENTAGE]</a:t>
                    </a:fld>
                    <a:endParaRPr lang="en-US" baseline="0" dirty="0"/>
                  </a:p>
                </c:rich>
              </c:tx>
              <c:dLblPos val="bestFit"/>
              <c:showLegendKey val="1"/>
              <c:showVal val="1"/>
              <c:showCatName val="1"/>
              <c:showSerName val="1"/>
              <c:showPercent val="1"/>
              <c:showBubbleSize val="1"/>
              <c:extLst xmlns:c16r2="http://schemas.microsoft.com/office/drawing/2015/06/chart">
                <c:ext xmlns:c16="http://schemas.microsoft.com/office/drawing/2014/chart" uri="{C3380CC4-5D6E-409C-BE32-E72D297353CC}">
                  <c16:uniqueId val="{00000001-F86D-4829-9208-A6C98AFEF52F}"/>
                </c:ext>
                <c:ext xmlns:c15="http://schemas.microsoft.com/office/drawing/2012/chart" uri="{CE6537A1-D6FC-4f65-9D91-7224C49458BB}">
                  <c15:dlblFieldTable/>
                  <c15:showDataLabelsRange val="0"/>
                </c:ext>
              </c:extLst>
            </c:dLbl>
            <c:dLbl>
              <c:idx val="2"/>
              <c:layout>
                <c:manualLayout>
                  <c:x val="-8.7080959026175839E-2"/>
                  <c:y val="9.8755103901307664E-2"/>
                </c:manualLayout>
              </c:layout>
              <c:tx>
                <c:rich>
                  <a:bodyPr wrap="square" lIns="38100" tIns="19050" rIns="38100" bIns="19050" anchor="ctr">
                    <a:noAutofit/>
                  </a:bodyPr>
                  <a:lstStyle/>
                  <a:p>
                    <a:pPr>
                      <a:defRPr sz="1000" b="1">
                        <a:solidFill>
                          <a:schemeClr val="tx1"/>
                        </a:solidFill>
                        <a:latin typeface="+mn-lt"/>
                      </a:defRPr>
                    </a:pPr>
                    <a:fld id="{11846707-4720-4E1B-91D9-21938D24B463}" type="CATEGORYNAME">
                      <a:rPr lang="en-US" sz="1000" b="1" baseline="0" smtClean="0">
                        <a:solidFill>
                          <a:schemeClr val="tx1"/>
                        </a:solidFill>
                        <a:latin typeface="+mn-lt"/>
                      </a:rPr>
                      <a:pPr>
                        <a:defRPr sz="1000" b="1">
                          <a:solidFill>
                            <a:schemeClr val="tx1"/>
                          </a:solidFill>
                          <a:latin typeface="+mn-lt"/>
                        </a:defRPr>
                      </a:pPr>
                      <a:t>[CATEGORY NAME]</a:t>
                    </a:fld>
                    <a:r>
                      <a:rPr lang="en-US" sz="1000" b="1" baseline="0" dirty="0">
                        <a:solidFill>
                          <a:schemeClr val="tx1"/>
                        </a:solidFill>
                        <a:latin typeface="+mn-lt"/>
                      </a:rPr>
                      <a:t>, </a:t>
                    </a:r>
                    <a:fld id="{E65BF91C-BD9B-4A5C-AA39-A874D8D3A1E4}" type="VALUE">
                      <a:rPr lang="en-US" sz="1000" b="1" baseline="0">
                        <a:solidFill>
                          <a:schemeClr val="tx1"/>
                        </a:solidFill>
                        <a:latin typeface="+mn-lt"/>
                      </a:rPr>
                      <a:pPr>
                        <a:defRPr sz="1000" b="1">
                          <a:solidFill>
                            <a:schemeClr val="tx1"/>
                          </a:solidFill>
                          <a:latin typeface="+mn-lt"/>
                        </a:defRPr>
                      </a:pPr>
                      <a:t>[VALUE]</a:t>
                    </a:fld>
                    <a:r>
                      <a:rPr lang="en-US" sz="1000" b="1" baseline="0" dirty="0">
                        <a:solidFill>
                          <a:schemeClr val="tx1"/>
                        </a:solidFill>
                        <a:latin typeface="+mn-lt"/>
                      </a:rPr>
                      <a:t>, </a:t>
                    </a:r>
                    <a:fld id="{C05ED012-C71B-4B71-AE52-3B979DB6098F}" type="PERCENTAGE">
                      <a:rPr lang="en-US" sz="1000" b="1" baseline="0">
                        <a:solidFill>
                          <a:schemeClr val="tx1"/>
                        </a:solidFill>
                        <a:latin typeface="+mn-lt"/>
                      </a:rPr>
                      <a:pPr>
                        <a:defRPr sz="1000" b="1">
                          <a:solidFill>
                            <a:schemeClr val="tx1"/>
                          </a:solidFill>
                          <a:latin typeface="+mn-lt"/>
                        </a:defRPr>
                      </a:pPr>
                      <a:t>[PERCENTAGE]</a:t>
                    </a:fld>
                    <a:endParaRPr lang="en-US" sz="1000" b="1" baseline="0" dirty="0">
                      <a:solidFill>
                        <a:schemeClr val="tx1"/>
                      </a:solidFill>
                      <a:latin typeface="+mn-lt"/>
                    </a:endParaRPr>
                  </a:p>
                </c:rich>
              </c:tx>
              <c:spPr>
                <a:noFill/>
                <a:ln w="25400">
                  <a:noFill/>
                </a:ln>
              </c:spPr>
              <c:dLblPos val="bestFit"/>
              <c:showLegendKey val="1"/>
              <c:showVal val="1"/>
              <c:showCatName val="1"/>
              <c:showSerName val="1"/>
              <c:showPercent val="1"/>
              <c:showBubbleSize val="1"/>
              <c:extLst xmlns:c16r2="http://schemas.microsoft.com/office/drawing/2015/06/chart">
                <c:ext xmlns:c16="http://schemas.microsoft.com/office/drawing/2014/chart" uri="{C3380CC4-5D6E-409C-BE32-E72D297353CC}">
                  <c16:uniqueId val="{00000002-F86D-4829-9208-A6C98AFEF52F}"/>
                </c:ext>
                <c:ext xmlns:c15="http://schemas.microsoft.com/office/drawing/2012/chart" uri="{CE6537A1-D6FC-4f65-9D91-7224C49458BB}">
                  <c15:layout>
                    <c:manualLayout>
                      <c:w val="0.19967310676074021"/>
                      <c:h val="4.5900198750969137E-2"/>
                    </c:manualLayout>
                  </c15:layout>
                  <c15:dlblFieldTable/>
                  <c15:showDataLabelsRange val="0"/>
                </c:ext>
              </c:extLst>
            </c:dLbl>
            <c:dLbl>
              <c:idx val="3"/>
              <c:layout>
                <c:manualLayout>
                  <c:x val="1.301255257738525E-3"/>
                  <c:y val="4.932295156367357E-2"/>
                </c:manualLayout>
              </c:layout>
              <c:tx>
                <c:rich>
                  <a:bodyPr/>
                  <a:lstStyle/>
                  <a:p>
                    <a:r>
                      <a:rPr lang="en-US" baseline="0" dirty="0"/>
                      <a:t> </a:t>
                    </a:r>
                    <a:fld id="{2AC82293-8AA2-4C59-9D35-C93F8C1D9FA6}" type="CATEGORYNAME">
                      <a:rPr lang="en-US" baseline="0"/>
                      <a:pPr/>
                      <a:t>[CATEGORY NAME]</a:t>
                    </a:fld>
                    <a:r>
                      <a:rPr lang="en-US" baseline="0" dirty="0"/>
                      <a:t>, </a:t>
                    </a:r>
                    <a:fld id="{B128317B-9D41-457B-A30E-E9D5F5F3D542}" type="VALUE">
                      <a:rPr lang="en-US" baseline="0"/>
                      <a:pPr/>
                      <a:t>[VALUE]</a:t>
                    </a:fld>
                    <a:r>
                      <a:rPr lang="en-US" baseline="0" dirty="0"/>
                      <a:t>, </a:t>
                    </a:r>
                    <a:fld id="{80FB2F7D-CF05-469E-9842-B81F996DC9F6}" type="PERCENTAGE">
                      <a:rPr lang="en-US" baseline="0"/>
                      <a:pPr/>
                      <a:t>[PERCENTAGE]</a:t>
                    </a:fld>
                    <a:endParaRPr lang="en-US" baseline="0" dirty="0"/>
                  </a:p>
                </c:rich>
              </c:tx>
              <c:dLblPos val="bestFit"/>
              <c:showLegendKey val="1"/>
              <c:showVal val="1"/>
              <c:showCatName val="1"/>
              <c:showSerName val="1"/>
              <c:showPercent val="1"/>
              <c:showBubbleSize val="1"/>
              <c:extLst xmlns:c16r2="http://schemas.microsoft.com/office/drawing/2015/06/chart">
                <c:ext xmlns:c16="http://schemas.microsoft.com/office/drawing/2014/chart" uri="{C3380CC4-5D6E-409C-BE32-E72D297353CC}">
                  <c16:uniqueId val="{00000003-F86D-4829-9208-A6C98AFEF52F}"/>
                </c:ext>
                <c:ext xmlns:c15="http://schemas.microsoft.com/office/drawing/2012/chart" uri="{CE6537A1-D6FC-4f65-9D91-7224C49458BB}">
                  <c15:dlblFieldTable/>
                  <c15:showDataLabelsRange val="0"/>
                </c:ext>
              </c:extLst>
            </c:dLbl>
            <c:dLbl>
              <c:idx val="4"/>
              <c:layout>
                <c:manualLayout>
                  <c:x val="2.7959692149158662E-2"/>
                  <c:y val="0.11523066973783391"/>
                </c:manualLayout>
              </c:layout>
              <c:tx>
                <c:rich>
                  <a:bodyPr/>
                  <a:lstStyle/>
                  <a:p>
                    <a:fld id="{1FD0DD21-E9E3-4702-AB1B-322185A163DA}" type="CATEGORYNAME">
                      <a:rPr lang="en-US" baseline="0" smtClean="0"/>
                      <a:pPr/>
                      <a:t>[CATEGORY NAME]</a:t>
                    </a:fld>
                    <a:r>
                      <a:rPr lang="en-US" baseline="0" dirty="0"/>
                      <a:t>, </a:t>
                    </a:r>
                    <a:fld id="{2AEE3000-FA24-465D-8796-2EAF8C7A1A14}" type="VALUE">
                      <a:rPr lang="en-US" baseline="0"/>
                      <a:pPr/>
                      <a:t>[VALUE]</a:t>
                    </a:fld>
                    <a:r>
                      <a:rPr lang="en-US" baseline="0" dirty="0"/>
                      <a:t>, </a:t>
                    </a:r>
                    <a:fld id="{7A1D047A-9B64-493F-BCED-D21C28EF6FC8}" type="PERCENTAGE">
                      <a:rPr lang="en-US" baseline="0"/>
                      <a:pPr/>
                      <a:t>[PERCENTAGE]</a:t>
                    </a:fld>
                    <a:endParaRPr lang="en-US" baseline="0" dirty="0"/>
                  </a:p>
                </c:rich>
              </c:tx>
              <c:dLblPos val="bestFit"/>
              <c:showLegendKey val="1"/>
              <c:showVal val="1"/>
              <c:showCatName val="1"/>
              <c:showSerName val="1"/>
              <c:showPercent val="1"/>
              <c:showBubbleSize val="1"/>
              <c:extLst xmlns:c16r2="http://schemas.microsoft.com/office/drawing/2015/06/chart">
                <c:ext xmlns:c16="http://schemas.microsoft.com/office/drawing/2014/chart" uri="{C3380CC4-5D6E-409C-BE32-E72D297353CC}">
                  <c16:uniqueId val="{00000004-F86D-4829-9208-A6C98AFEF52F}"/>
                </c:ext>
                <c:ext xmlns:c15="http://schemas.microsoft.com/office/drawing/2012/chart" uri="{CE6537A1-D6FC-4f65-9D91-7224C49458BB}">
                  <c15:dlblFieldTable/>
                  <c15:showDataLabelsRange val="0"/>
                </c:ext>
              </c:extLst>
            </c:dLbl>
            <c:dLbl>
              <c:idx val="5"/>
              <c:layout>
                <c:manualLayout>
                  <c:x val="-1.2165274011297538E-2"/>
                  <c:y val="0.12941609743483609"/>
                </c:manualLayout>
              </c:layout>
              <c:tx>
                <c:rich>
                  <a:bodyPr/>
                  <a:lstStyle/>
                  <a:p>
                    <a:fld id="{C95A9AB3-4B7A-4DF2-B504-67F89FDC5B20}" type="CATEGORYNAME">
                      <a:rPr lang="en-US" baseline="0" smtClean="0"/>
                      <a:pPr/>
                      <a:t>[CATEGORY NAME]</a:t>
                    </a:fld>
                    <a:r>
                      <a:rPr lang="en-US" baseline="0" dirty="0"/>
                      <a:t>, </a:t>
                    </a:r>
                    <a:fld id="{D1F304F3-B2FE-4A18-B45B-99BB1BCFB1CD}" type="VALUE">
                      <a:rPr lang="en-US" baseline="0"/>
                      <a:pPr/>
                      <a:t>[VALUE]</a:t>
                    </a:fld>
                    <a:r>
                      <a:rPr lang="en-US" baseline="0" dirty="0"/>
                      <a:t>, </a:t>
                    </a:r>
                    <a:fld id="{1A4AE7D2-BAD4-42A0-A4AD-6614262FDDC4}" type="PERCENTAGE">
                      <a:rPr lang="en-US" baseline="0"/>
                      <a:pPr/>
                      <a:t>[PERCENTAGE]</a:t>
                    </a:fld>
                    <a:endParaRPr lang="en-US" baseline="0" dirty="0"/>
                  </a:p>
                </c:rich>
              </c:tx>
              <c:dLblPos val="bestFit"/>
              <c:showLegendKey val="1"/>
              <c:showVal val="1"/>
              <c:showCatName val="1"/>
              <c:showSerName val="1"/>
              <c:showPercent val="1"/>
              <c:showBubbleSize val="1"/>
              <c:extLst xmlns:c16r2="http://schemas.microsoft.com/office/drawing/2015/06/chart">
                <c:ext xmlns:c16="http://schemas.microsoft.com/office/drawing/2014/chart" uri="{C3380CC4-5D6E-409C-BE32-E72D297353CC}">
                  <c16:uniqueId val="{00000005-F86D-4829-9208-A6C98AFEF52F}"/>
                </c:ext>
                <c:ext xmlns:c15="http://schemas.microsoft.com/office/drawing/2012/chart" uri="{CE6537A1-D6FC-4f65-9D91-7224C49458BB}">
                  <c15:dlblFieldTable/>
                  <c15:showDataLabelsRange val="0"/>
                </c:ext>
              </c:extLst>
            </c:dLbl>
            <c:dLbl>
              <c:idx val="6"/>
              <c:layout>
                <c:manualLayout>
                  <c:x val="-1.3755480662590023E-2"/>
                  <c:y val="0.14279206958210872"/>
                </c:manualLayout>
              </c:layout>
              <c:tx>
                <c:rich>
                  <a:bodyPr/>
                  <a:lstStyle/>
                  <a:p>
                    <a:fld id="{EBEE2774-3B99-4F1E-BDBA-9176EBC3D3EF}" type="CATEGORYNAME">
                      <a:rPr lang="en-US" baseline="0" smtClean="0"/>
                      <a:pPr/>
                      <a:t>[CATEGORY NAME]</a:t>
                    </a:fld>
                    <a:r>
                      <a:rPr lang="en-US" baseline="0" dirty="0"/>
                      <a:t>, </a:t>
                    </a:r>
                    <a:fld id="{C696A418-3827-471C-AB1C-B05FCF00CBCE}" type="VALUE">
                      <a:rPr lang="en-US" baseline="0"/>
                      <a:pPr/>
                      <a:t>[VALUE]</a:t>
                    </a:fld>
                    <a:r>
                      <a:rPr lang="en-US" baseline="0" dirty="0"/>
                      <a:t>, </a:t>
                    </a:r>
                    <a:fld id="{8A8554FD-F453-47A3-AAEC-D12E5BE9BFE1}" type="PERCENTAGE">
                      <a:rPr lang="en-US" baseline="0"/>
                      <a:pPr/>
                      <a:t>[PERCENTAGE]</a:t>
                    </a:fld>
                    <a:endParaRPr lang="en-US" baseline="0" dirty="0"/>
                  </a:p>
                </c:rich>
              </c:tx>
              <c:dLblPos val="bestFit"/>
              <c:showLegendKey val="1"/>
              <c:showVal val="1"/>
              <c:showCatName val="1"/>
              <c:showSerName val="1"/>
              <c:showPercent val="1"/>
              <c:showBubbleSize val="1"/>
              <c:extLst xmlns:c16r2="http://schemas.microsoft.com/office/drawing/2015/06/chart">
                <c:ext xmlns:c16="http://schemas.microsoft.com/office/drawing/2014/chart" uri="{C3380CC4-5D6E-409C-BE32-E72D297353CC}">
                  <c16:uniqueId val="{00000006-F86D-4829-9208-A6C98AFEF52F}"/>
                </c:ext>
                <c:ext xmlns:c15="http://schemas.microsoft.com/office/drawing/2012/chart" uri="{CE6537A1-D6FC-4f65-9D91-7224C49458BB}">
                  <c15:dlblFieldTable/>
                  <c15:showDataLabelsRange val="0"/>
                </c:ext>
              </c:extLst>
            </c:dLbl>
            <c:dLbl>
              <c:idx val="7"/>
              <c:layout>
                <c:manualLayout>
                  <c:x val="-5.6854128222817692E-2"/>
                  <c:y val="0.12598349924742383"/>
                </c:manualLayout>
              </c:layout>
              <c:tx>
                <c:rich>
                  <a:bodyPr/>
                  <a:lstStyle/>
                  <a:p>
                    <a:fld id="{6D225E38-7828-4E8A-B30C-B08D03AE7647}" type="CATEGORYNAME">
                      <a:rPr lang="en-US" baseline="0" smtClean="0"/>
                      <a:pPr/>
                      <a:t>[CATEGORY NAME]</a:t>
                    </a:fld>
                    <a:r>
                      <a:rPr lang="en-US" baseline="0" dirty="0"/>
                      <a:t>, </a:t>
                    </a:r>
                    <a:fld id="{3DCDF68E-60A7-4075-9360-887EAABC74F8}" type="VALUE">
                      <a:rPr lang="en-US" baseline="0"/>
                      <a:pPr/>
                      <a:t>[VALUE]</a:t>
                    </a:fld>
                    <a:r>
                      <a:rPr lang="en-US" baseline="0" dirty="0"/>
                      <a:t>, </a:t>
                    </a:r>
                    <a:fld id="{747DC471-D449-4C9C-80FE-CB474B50AF8F}" type="PERCENTAGE">
                      <a:rPr lang="en-US" baseline="0"/>
                      <a:pPr/>
                      <a:t>[PERCENTAGE]</a:t>
                    </a:fld>
                    <a:endParaRPr lang="en-US" baseline="0" dirty="0"/>
                  </a:p>
                </c:rich>
              </c:tx>
              <c:dLblPos val="bestFit"/>
              <c:showLegendKey val="1"/>
              <c:showVal val="1"/>
              <c:showCatName val="1"/>
              <c:showSerName val="1"/>
              <c:showPercent val="1"/>
              <c:showBubbleSize val="1"/>
              <c:extLst xmlns:c16r2="http://schemas.microsoft.com/office/drawing/2015/06/chart">
                <c:ext xmlns:c16="http://schemas.microsoft.com/office/drawing/2014/chart" uri="{C3380CC4-5D6E-409C-BE32-E72D297353CC}">
                  <c16:uniqueId val="{00000007-F86D-4829-9208-A6C98AFEF52F}"/>
                </c:ext>
                <c:ext xmlns:c15="http://schemas.microsoft.com/office/drawing/2012/chart" uri="{CE6537A1-D6FC-4f65-9D91-7224C49458BB}">
                  <c15:dlblFieldTable/>
                  <c15:showDataLabelsRange val="0"/>
                </c:ext>
              </c:extLst>
            </c:dLbl>
            <c:dLbl>
              <c:idx val="8"/>
              <c:layout>
                <c:manualLayout>
                  <c:x val="-9.2879723345355464E-2"/>
                  <c:y val="9.7465904642455817E-2"/>
                </c:manualLayout>
              </c:layout>
              <c:tx>
                <c:rich>
                  <a:bodyPr/>
                  <a:lstStyle/>
                  <a:p>
                    <a:fld id="{01A5E4DF-0019-4DF5-AF6E-A036C00BD307}" type="CATEGORYNAME">
                      <a:rPr lang="en-US" baseline="0" smtClean="0"/>
                      <a:pPr/>
                      <a:t>[CATEGORY NAME]</a:t>
                    </a:fld>
                    <a:r>
                      <a:rPr lang="en-US" baseline="0" dirty="0"/>
                      <a:t>, </a:t>
                    </a:r>
                    <a:fld id="{1E0E105A-F87D-4058-BC9C-88CFBF491EA3}" type="VALUE">
                      <a:rPr lang="en-US" baseline="0"/>
                      <a:pPr/>
                      <a:t>[VALUE]</a:t>
                    </a:fld>
                    <a:r>
                      <a:rPr lang="en-US" baseline="0" dirty="0"/>
                      <a:t>, </a:t>
                    </a:r>
                    <a:fld id="{24A39D41-F8ED-4802-A97A-E4E2F7DEFD7D}" type="PERCENTAGE">
                      <a:rPr lang="en-US" baseline="0"/>
                      <a:pPr/>
                      <a:t>[PERCENTAGE]</a:t>
                    </a:fld>
                    <a:endParaRPr lang="en-US" baseline="0" dirty="0"/>
                  </a:p>
                </c:rich>
              </c:tx>
              <c:dLblPos val="bestFit"/>
              <c:showLegendKey val="1"/>
              <c:showVal val="1"/>
              <c:showCatName val="1"/>
              <c:showSerName val="1"/>
              <c:showPercent val="1"/>
              <c:showBubbleSize val="1"/>
              <c:extLst xmlns:c16r2="http://schemas.microsoft.com/office/drawing/2015/06/chart">
                <c:ext xmlns:c16="http://schemas.microsoft.com/office/drawing/2014/chart" uri="{C3380CC4-5D6E-409C-BE32-E72D297353CC}">
                  <c16:uniqueId val="{00000008-F86D-4829-9208-A6C98AFEF52F}"/>
                </c:ext>
                <c:ext xmlns:c15="http://schemas.microsoft.com/office/drawing/2012/chart" uri="{CE6537A1-D6FC-4f65-9D91-7224C49458BB}">
                  <c15:dlblFieldTable/>
                  <c15:showDataLabelsRange val="0"/>
                </c:ext>
              </c:extLst>
            </c:dLbl>
            <c:dLbl>
              <c:idx val="9"/>
              <c:layout>
                <c:manualLayout>
                  <c:x val="-0.14750732714290801"/>
                  <c:y val="4.604982345886785E-2"/>
                </c:manualLayout>
              </c:layout>
              <c:tx>
                <c:rich>
                  <a:bodyPr/>
                  <a:lstStyle/>
                  <a:p>
                    <a:fld id="{189427A5-A739-4D12-84D9-27D8B9ACFFF8}" type="CATEGORYNAME">
                      <a:rPr lang="en-US" baseline="0" smtClean="0"/>
                      <a:pPr/>
                      <a:t>[CATEGORY NAME]</a:t>
                    </a:fld>
                    <a:r>
                      <a:rPr lang="en-US" baseline="0" dirty="0"/>
                      <a:t>, </a:t>
                    </a:r>
                    <a:fld id="{2F5D86D1-D544-47FB-8DAE-18866FC5ED0B}" type="VALUE">
                      <a:rPr lang="en-US" baseline="0"/>
                      <a:pPr/>
                      <a:t>[VALUE]</a:t>
                    </a:fld>
                    <a:r>
                      <a:rPr lang="en-US" baseline="0" dirty="0"/>
                      <a:t>, </a:t>
                    </a:r>
                    <a:fld id="{12C5B7A0-9E49-4AB7-983F-21EBD035A210}" type="PERCENTAGE">
                      <a:rPr lang="en-US" baseline="0"/>
                      <a:pPr/>
                      <a:t>[PERCENTAGE]</a:t>
                    </a:fld>
                    <a:endParaRPr lang="en-US" baseline="0" dirty="0"/>
                  </a:p>
                </c:rich>
              </c:tx>
              <c:dLblPos val="bestFit"/>
              <c:showLegendKey val="1"/>
              <c:showVal val="1"/>
              <c:showCatName val="1"/>
              <c:showSerName val="1"/>
              <c:showPercent val="1"/>
              <c:showBubbleSize val="1"/>
              <c:extLst xmlns:c16r2="http://schemas.microsoft.com/office/drawing/2015/06/chart">
                <c:ext xmlns:c16="http://schemas.microsoft.com/office/drawing/2014/chart" uri="{C3380CC4-5D6E-409C-BE32-E72D297353CC}">
                  <c16:uniqueId val="{00000009-F86D-4829-9208-A6C98AFEF52F}"/>
                </c:ext>
                <c:ext xmlns:c15="http://schemas.microsoft.com/office/drawing/2012/chart" uri="{CE6537A1-D6FC-4f65-9D91-7224C49458BB}">
                  <c15:dlblFieldTable/>
                  <c15:showDataLabelsRange val="0"/>
                </c:ext>
              </c:extLst>
            </c:dLbl>
            <c:dLbl>
              <c:idx val="10"/>
              <c:layout>
                <c:manualLayout>
                  <c:x val="-0.16071801634105692"/>
                  <c:y val="4.8165831559637065E-3"/>
                </c:manualLayout>
              </c:layout>
              <c:tx>
                <c:rich>
                  <a:bodyPr/>
                  <a:lstStyle/>
                  <a:p>
                    <a:r>
                      <a:rPr lang="en-US" baseline="0" dirty="0"/>
                      <a:t> </a:t>
                    </a:r>
                    <a:fld id="{BE7BD91F-08BB-4613-AF0B-6052C34D8BD2}" type="CATEGORYNAME">
                      <a:rPr lang="en-US" baseline="0"/>
                      <a:pPr/>
                      <a:t>[CATEGORY NAME]</a:t>
                    </a:fld>
                    <a:r>
                      <a:rPr lang="en-US" baseline="0" dirty="0"/>
                      <a:t>, </a:t>
                    </a:r>
                    <a:fld id="{BEEF1F8C-8F7A-4699-895B-7E09EC2D250E}" type="VALUE">
                      <a:rPr lang="en-US" baseline="0"/>
                      <a:pPr/>
                      <a:t>[VALUE]</a:t>
                    </a:fld>
                    <a:r>
                      <a:rPr lang="en-US" baseline="0" dirty="0"/>
                      <a:t>, </a:t>
                    </a:r>
                    <a:fld id="{0F09FC7B-6A23-4E79-8B69-BE9E05D42706}" type="PERCENTAGE">
                      <a:rPr lang="en-US" baseline="0"/>
                      <a:pPr/>
                      <a:t>[PERCENTAGE]</a:t>
                    </a:fld>
                    <a:endParaRPr lang="en-US" baseline="0" dirty="0"/>
                  </a:p>
                </c:rich>
              </c:tx>
              <c:dLblPos val="bestFit"/>
              <c:showLegendKey val="1"/>
              <c:showVal val="1"/>
              <c:showCatName val="1"/>
              <c:showSerName val="1"/>
              <c:showPercent val="1"/>
              <c:showBubbleSize val="1"/>
              <c:extLst xmlns:c16r2="http://schemas.microsoft.com/office/drawing/2015/06/chart">
                <c:ext xmlns:c16="http://schemas.microsoft.com/office/drawing/2014/chart" uri="{C3380CC4-5D6E-409C-BE32-E72D297353CC}">
                  <c16:uniqueId val="{0000000A-F86D-4829-9208-A6C98AFEF52F}"/>
                </c:ext>
                <c:ext xmlns:c15="http://schemas.microsoft.com/office/drawing/2012/chart" uri="{CE6537A1-D6FC-4f65-9D91-7224C49458BB}">
                  <c15:dlblFieldTable/>
                  <c15:showDataLabelsRange val="0"/>
                </c:ext>
              </c:extLst>
            </c:dLbl>
            <c:dLbl>
              <c:idx val="11"/>
              <c:layout>
                <c:manualLayout>
                  <c:x val="-0.1887739370688607"/>
                  <c:y val="-5.3527309505498416E-2"/>
                </c:manualLayout>
              </c:layout>
              <c:tx>
                <c:rich>
                  <a:bodyPr wrap="square" lIns="38100" tIns="19050" rIns="38100" bIns="19050" anchor="ctr">
                    <a:noAutofit/>
                  </a:bodyPr>
                  <a:lstStyle/>
                  <a:p>
                    <a:pPr>
                      <a:defRPr sz="1000" b="1">
                        <a:solidFill>
                          <a:schemeClr val="tx1"/>
                        </a:solidFill>
                        <a:latin typeface="+mn-lt"/>
                      </a:defRPr>
                    </a:pPr>
                    <a:fld id="{F6061796-E7F8-4C0F-BB10-773894AFDD1C}" type="CATEGORYNAME">
                      <a:rPr lang="en-US" sz="1000" b="1" baseline="0" smtClean="0">
                        <a:solidFill>
                          <a:schemeClr val="tx1"/>
                        </a:solidFill>
                        <a:latin typeface="+mn-lt"/>
                      </a:rPr>
                      <a:pPr>
                        <a:defRPr sz="1000" b="1">
                          <a:solidFill>
                            <a:schemeClr val="tx1"/>
                          </a:solidFill>
                          <a:latin typeface="+mn-lt"/>
                        </a:defRPr>
                      </a:pPr>
                      <a:t>[CATEGORY NAME]</a:t>
                    </a:fld>
                    <a:r>
                      <a:rPr lang="en-US" sz="1000" b="1" baseline="0" dirty="0">
                        <a:solidFill>
                          <a:schemeClr val="tx1"/>
                        </a:solidFill>
                        <a:latin typeface="+mn-lt"/>
                      </a:rPr>
                      <a:t>, </a:t>
                    </a:r>
                    <a:fld id="{DC971FD7-EA16-46BE-B78C-03E97BC052D8}" type="VALUE">
                      <a:rPr lang="en-US" sz="1000" b="1" baseline="0">
                        <a:solidFill>
                          <a:schemeClr val="tx1"/>
                        </a:solidFill>
                        <a:latin typeface="+mn-lt"/>
                      </a:rPr>
                      <a:pPr>
                        <a:defRPr sz="1000" b="1">
                          <a:solidFill>
                            <a:schemeClr val="tx1"/>
                          </a:solidFill>
                          <a:latin typeface="+mn-lt"/>
                        </a:defRPr>
                      </a:pPr>
                      <a:t>[VALUE]</a:t>
                    </a:fld>
                    <a:r>
                      <a:rPr lang="en-US" sz="1000" b="1" baseline="0" dirty="0">
                        <a:solidFill>
                          <a:schemeClr val="tx1"/>
                        </a:solidFill>
                        <a:latin typeface="+mn-lt"/>
                      </a:rPr>
                      <a:t>, </a:t>
                    </a:r>
                    <a:fld id="{189FFBB0-207D-4CF3-9C3C-1B1031F22383}" type="PERCENTAGE">
                      <a:rPr lang="en-US" sz="1000" b="1" baseline="0">
                        <a:solidFill>
                          <a:schemeClr val="tx1"/>
                        </a:solidFill>
                        <a:latin typeface="+mn-lt"/>
                      </a:rPr>
                      <a:pPr>
                        <a:defRPr sz="1000" b="1">
                          <a:solidFill>
                            <a:schemeClr val="tx1"/>
                          </a:solidFill>
                          <a:latin typeface="+mn-lt"/>
                        </a:defRPr>
                      </a:pPr>
                      <a:t>[PERCENTAGE]</a:t>
                    </a:fld>
                    <a:endParaRPr lang="en-US" sz="1000" b="1" baseline="0" dirty="0">
                      <a:solidFill>
                        <a:schemeClr val="tx1"/>
                      </a:solidFill>
                      <a:latin typeface="+mn-lt"/>
                    </a:endParaRPr>
                  </a:p>
                </c:rich>
              </c:tx>
              <c:spPr>
                <a:noFill/>
                <a:ln w="25400">
                  <a:noFill/>
                </a:ln>
              </c:spPr>
              <c:dLblPos val="bestFit"/>
              <c:showLegendKey val="1"/>
              <c:showVal val="1"/>
              <c:showCatName val="1"/>
              <c:showSerName val="1"/>
              <c:showPercent val="1"/>
              <c:showBubbleSize val="1"/>
              <c:extLst xmlns:c16r2="http://schemas.microsoft.com/office/drawing/2015/06/chart">
                <c:ext xmlns:c16="http://schemas.microsoft.com/office/drawing/2014/chart" uri="{C3380CC4-5D6E-409C-BE32-E72D297353CC}">
                  <c16:uniqueId val="{0000000B-F86D-4829-9208-A6C98AFEF52F}"/>
                </c:ext>
                <c:ext xmlns:c15="http://schemas.microsoft.com/office/drawing/2012/chart" uri="{CE6537A1-D6FC-4f65-9D91-7224C49458BB}">
                  <c15:spPr xmlns:c15="http://schemas.microsoft.com/office/drawing/2012/chart">
                    <a:prstGeom prst="rect">
                      <a:avLst/>
                    </a:prstGeom>
                  </c15:spPr>
                  <c15:dlblFieldTable/>
                  <c15:showDataLabelsRange val="0"/>
                </c:ext>
              </c:extLst>
            </c:dLbl>
            <c:dLbl>
              <c:idx val="12"/>
              <c:layout>
                <c:manualLayout>
                  <c:x val="-0.31585341638966902"/>
                  <c:y val="-7.9930967705831954E-2"/>
                </c:manualLayout>
              </c:layout>
              <c:tx>
                <c:rich>
                  <a:bodyPr wrap="square" lIns="38100" tIns="19050" rIns="38100" bIns="19050" anchor="ctr">
                    <a:noAutofit/>
                  </a:bodyPr>
                  <a:lstStyle/>
                  <a:p>
                    <a:pPr>
                      <a:defRPr sz="1000" b="1">
                        <a:solidFill>
                          <a:schemeClr val="tx1"/>
                        </a:solidFill>
                        <a:latin typeface="+mn-lt"/>
                      </a:defRPr>
                    </a:pPr>
                    <a:r>
                      <a:rPr lang="en-US" sz="1000" b="1" baseline="0" dirty="0">
                        <a:solidFill>
                          <a:schemeClr val="tx1"/>
                        </a:solidFill>
                        <a:latin typeface="+mn-lt"/>
                      </a:rPr>
                      <a:t> </a:t>
                    </a:r>
                    <a:fld id="{92723205-49FE-4932-BAD0-739E2AAF49DD}" type="CATEGORYNAME">
                      <a:rPr lang="en-US" sz="1000" b="1" baseline="0">
                        <a:solidFill>
                          <a:schemeClr val="tx1"/>
                        </a:solidFill>
                        <a:latin typeface="+mn-lt"/>
                      </a:rPr>
                      <a:pPr>
                        <a:defRPr sz="1000" b="1">
                          <a:solidFill>
                            <a:schemeClr val="tx1"/>
                          </a:solidFill>
                          <a:latin typeface="+mn-lt"/>
                        </a:defRPr>
                      </a:pPr>
                      <a:t>[CATEGORY NAME]</a:t>
                    </a:fld>
                    <a:r>
                      <a:rPr lang="en-US" sz="1000" b="1" baseline="0" dirty="0">
                        <a:solidFill>
                          <a:schemeClr val="tx1"/>
                        </a:solidFill>
                        <a:latin typeface="+mn-lt"/>
                      </a:rPr>
                      <a:t>, </a:t>
                    </a:r>
                    <a:fld id="{1DE8DC96-C194-4980-A9F1-3F224371F5BD}" type="VALUE">
                      <a:rPr lang="en-US" sz="1000" b="1" baseline="0">
                        <a:solidFill>
                          <a:schemeClr val="tx1"/>
                        </a:solidFill>
                        <a:latin typeface="+mn-lt"/>
                      </a:rPr>
                      <a:pPr>
                        <a:defRPr sz="1000" b="1">
                          <a:solidFill>
                            <a:schemeClr val="tx1"/>
                          </a:solidFill>
                          <a:latin typeface="+mn-lt"/>
                        </a:defRPr>
                      </a:pPr>
                      <a:t>[VALUE]</a:t>
                    </a:fld>
                    <a:r>
                      <a:rPr lang="en-US" sz="1000" b="1" baseline="0" dirty="0">
                        <a:solidFill>
                          <a:schemeClr val="tx1"/>
                        </a:solidFill>
                        <a:latin typeface="+mn-lt"/>
                      </a:rPr>
                      <a:t>, </a:t>
                    </a:r>
                    <a:fld id="{74FBAE08-F9C9-4CF4-8FD3-5BFE9A1BB760}" type="PERCENTAGE">
                      <a:rPr lang="en-US" sz="1000" b="1" baseline="0">
                        <a:solidFill>
                          <a:schemeClr val="tx1"/>
                        </a:solidFill>
                        <a:latin typeface="+mn-lt"/>
                      </a:rPr>
                      <a:pPr>
                        <a:defRPr sz="1000" b="1">
                          <a:solidFill>
                            <a:schemeClr val="tx1"/>
                          </a:solidFill>
                          <a:latin typeface="+mn-lt"/>
                        </a:defRPr>
                      </a:pPr>
                      <a:t>[PERCENTAGE]</a:t>
                    </a:fld>
                    <a:endParaRPr lang="en-US" sz="1000" b="1" baseline="0" dirty="0">
                      <a:solidFill>
                        <a:schemeClr val="tx1"/>
                      </a:solidFill>
                      <a:latin typeface="+mn-lt"/>
                    </a:endParaRPr>
                  </a:p>
                </c:rich>
              </c:tx>
              <c:spPr>
                <a:noFill/>
                <a:ln w="25400">
                  <a:noFill/>
                </a:ln>
              </c:spPr>
              <c:dLblPos val="bestFit"/>
              <c:showLegendKey val="1"/>
              <c:showVal val="1"/>
              <c:showCatName val="1"/>
              <c:showSerName val="1"/>
              <c:showPercent val="1"/>
              <c:showBubbleSize val="1"/>
              <c:extLst xmlns:c16r2="http://schemas.microsoft.com/office/drawing/2015/06/chart">
                <c:ext xmlns:c16="http://schemas.microsoft.com/office/drawing/2014/chart" uri="{C3380CC4-5D6E-409C-BE32-E72D297353CC}">
                  <c16:uniqueId val="{0000000C-F86D-4829-9208-A6C98AFEF52F}"/>
                </c:ext>
                <c:ext xmlns:c15="http://schemas.microsoft.com/office/drawing/2012/chart" uri="{CE6537A1-D6FC-4f65-9D91-7224C49458BB}">
                  <c15:layout>
                    <c:manualLayout>
                      <c:w val="7.7064593463110606E-2"/>
                      <c:h val="6.4880260387183294E-2"/>
                    </c:manualLayout>
                  </c15:layout>
                  <c15:dlblFieldTable/>
                  <c15:showDataLabelsRange val="0"/>
                </c:ext>
              </c:extLst>
            </c:dLbl>
            <c:dLbl>
              <c:idx val="13"/>
              <c:layout>
                <c:manualLayout>
                  <c:x val="-0.14017344856416142"/>
                  <c:y val="-7.7906533808560996E-2"/>
                </c:manualLayout>
              </c:layout>
              <c:tx>
                <c:rich>
                  <a:bodyPr wrap="square" lIns="38100" tIns="19050" rIns="38100" bIns="19050" anchor="ctr">
                    <a:noAutofit/>
                  </a:bodyPr>
                  <a:lstStyle/>
                  <a:p>
                    <a:pPr>
                      <a:defRPr sz="1000" b="1">
                        <a:solidFill>
                          <a:schemeClr val="tx1"/>
                        </a:solidFill>
                        <a:latin typeface="+mn-lt"/>
                      </a:defRPr>
                    </a:pPr>
                    <a:fld id="{676068B7-F7B5-4802-9DB9-3D30A73333D1}" type="CATEGORYNAME">
                      <a:rPr lang="en-US" sz="1000" b="1" baseline="0" smtClean="0">
                        <a:solidFill>
                          <a:schemeClr val="tx1"/>
                        </a:solidFill>
                        <a:latin typeface="+mn-lt"/>
                      </a:rPr>
                      <a:pPr>
                        <a:defRPr sz="1000" b="1">
                          <a:solidFill>
                            <a:schemeClr val="tx1"/>
                          </a:solidFill>
                          <a:latin typeface="+mn-lt"/>
                        </a:defRPr>
                      </a:pPr>
                      <a:t>[CATEGORY NAME]</a:t>
                    </a:fld>
                    <a:r>
                      <a:rPr lang="en-US" sz="1000" b="1" baseline="0" dirty="0">
                        <a:solidFill>
                          <a:schemeClr val="tx1"/>
                        </a:solidFill>
                        <a:latin typeface="+mn-lt"/>
                      </a:rPr>
                      <a:t>, </a:t>
                    </a:r>
                    <a:fld id="{5A694142-7F4B-489D-8FCB-DCBB73343CEC}" type="VALUE">
                      <a:rPr lang="en-US" sz="1000" b="1" baseline="0">
                        <a:solidFill>
                          <a:schemeClr val="tx1"/>
                        </a:solidFill>
                        <a:latin typeface="+mn-lt"/>
                      </a:rPr>
                      <a:pPr>
                        <a:defRPr sz="1000" b="1">
                          <a:solidFill>
                            <a:schemeClr val="tx1"/>
                          </a:solidFill>
                          <a:latin typeface="+mn-lt"/>
                        </a:defRPr>
                      </a:pPr>
                      <a:t>[VALUE]</a:t>
                    </a:fld>
                    <a:r>
                      <a:rPr lang="en-US" sz="1000" b="1" baseline="0" dirty="0">
                        <a:solidFill>
                          <a:schemeClr val="tx1"/>
                        </a:solidFill>
                        <a:latin typeface="+mn-lt"/>
                      </a:rPr>
                      <a:t>, </a:t>
                    </a:r>
                    <a:fld id="{312440FA-0260-4DC7-BEDC-34CCD93B2617}" type="PERCENTAGE">
                      <a:rPr lang="en-US" sz="1000" b="1" baseline="0">
                        <a:solidFill>
                          <a:schemeClr val="tx1"/>
                        </a:solidFill>
                        <a:latin typeface="+mn-lt"/>
                      </a:rPr>
                      <a:pPr>
                        <a:defRPr sz="1000" b="1">
                          <a:solidFill>
                            <a:schemeClr val="tx1"/>
                          </a:solidFill>
                          <a:latin typeface="+mn-lt"/>
                        </a:defRPr>
                      </a:pPr>
                      <a:t>[PERCENTAGE]</a:t>
                    </a:fld>
                    <a:endParaRPr lang="en-US" sz="1000" b="1" baseline="0" dirty="0">
                      <a:solidFill>
                        <a:schemeClr val="tx1"/>
                      </a:solidFill>
                      <a:latin typeface="+mn-lt"/>
                    </a:endParaRPr>
                  </a:p>
                </c:rich>
              </c:tx>
              <c:spPr>
                <a:noFill/>
                <a:ln w="25400">
                  <a:noFill/>
                </a:ln>
              </c:spPr>
              <c:dLblPos val="bestFit"/>
              <c:showLegendKey val="1"/>
              <c:showVal val="1"/>
              <c:showCatName val="1"/>
              <c:showSerName val="1"/>
              <c:showPercent val="1"/>
              <c:showBubbleSize val="1"/>
              <c:extLst xmlns:c16r2="http://schemas.microsoft.com/office/drawing/2015/06/chart">
                <c:ext xmlns:c16="http://schemas.microsoft.com/office/drawing/2014/chart" uri="{C3380CC4-5D6E-409C-BE32-E72D297353CC}">
                  <c16:uniqueId val="{0000000D-F86D-4829-9208-A6C98AFEF52F}"/>
                </c:ext>
                <c:ext xmlns:c15="http://schemas.microsoft.com/office/drawing/2012/chart" uri="{CE6537A1-D6FC-4f65-9D91-7224C49458BB}">
                  <c15:layout>
                    <c:manualLayout>
                      <c:w val="0.20571645146659548"/>
                      <c:h val="6.4880260387183294E-2"/>
                    </c:manualLayout>
                  </c15:layout>
                  <c15:dlblFieldTable/>
                  <c15:showDataLabelsRange val="0"/>
                </c:ext>
              </c:extLst>
            </c:dLbl>
            <c:dLbl>
              <c:idx val="14"/>
              <c:layout>
                <c:manualLayout>
                  <c:x val="-0.24166925851261853"/>
                  <c:y val="-0.15278180739689898"/>
                </c:manualLayout>
              </c:layout>
              <c:tx>
                <c:rich>
                  <a:bodyPr/>
                  <a:lstStyle/>
                  <a:p>
                    <a:fld id="{0D0F88E0-CE00-4690-B5D7-BC873A5C9F0A}" type="CATEGORYNAME">
                      <a:rPr lang="en-US" baseline="0" smtClean="0"/>
                      <a:pPr/>
                      <a:t>[CATEGORY NAME]</a:t>
                    </a:fld>
                    <a:r>
                      <a:rPr lang="en-US" baseline="0" dirty="0"/>
                      <a:t>, </a:t>
                    </a:r>
                    <a:fld id="{D8745B25-887F-48D7-8CF1-AB39D9293F04}" type="VALUE">
                      <a:rPr lang="en-US" baseline="0"/>
                      <a:pPr/>
                      <a:t>[VALUE]</a:t>
                    </a:fld>
                    <a:r>
                      <a:rPr lang="en-US" baseline="0" dirty="0"/>
                      <a:t>, </a:t>
                    </a:r>
                    <a:fld id="{DF9B2111-4FD4-4554-BD2D-9D1544976A0C}" type="PERCENTAGE">
                      <a:rPr lang="en-US" baseline="0"/>
                      <a:pPr/>
                      <a:t>[PERCENTAGE]</a:t>
                    </a:fld>
                    <a:endParaRPr lang="en-US" baseline="0" dirty="0"/>
                  </a:p>
                </c:rich>
              </c:tx>
              <c:dLblPos val="bestFit"/>
              <c:showLegendKey val="1"/>
              <c:showVal val="1"/>
              <c:showCatName val="1"/>
              <c:showSerName val="1"/>
              <c:showPercent val="1"/>
              <c:showBubbleSize val="1"/>
              <c:extLst xmlns:c16r2="http://schemas.microsoft.com/office/drawing/2015/06/chart">
                <c:ext xmlns:c16="http://schemas.microsoft.com/office/drawing/2014/chart" uri="{C3380CC4-5D6E-409C-BE32-E72D297353CC}">
                  <c16:uniqueId val="{0000000E-F86D-4829-9208-A6C98AFEF52F}"/>
                </c:ext>
                <c:ext xmlns:c15="http://schemas.microsoft.com/office/drawing/2012/chart" uri="{CE6537A1-D6FC-4f65-9D91-7224C49458BB}">
                  <c15:dlblFieldTable/>
                  <c15:showDataLabelsRange val="0"/>
                </c:ext>
              </c:extLst>
            </c:dLbl>
            <c:dLbl>
              <c:idx val="15"/>
              <c:layout>
                <c:manualLayout>
                  <c:x val="-9.9019381545520965E-2"/>
                  <c:y val="-0.20256322153171022"/>
                </c:manualLayout>
              </c:layout>
              <c:tx>
                <c:rich>
                  <a:bodyPr/>
                  <a:lstStyle/>
                  <a:p>
                    <a:fld id="{56183B89-2FD4-4516-82D9-B84813D1540C}" type="CATEGORYNAME">
                      <a:rPr lang="en-US" baseline="0" smtClean="0"/>
                      <a:pPr/>
                      <a:t>[CATEGORY NAME]</a:t>
                    </a:fld>
                    <a:r>
                      <a:rPr lang="en-US" baseline="0" dirty="0"/>
                      <a:t>, </a:t>
                    </a:r>
                    <a:fld id="{184F43C6-C295-499D-83A7-59008F9E1C81}" type="VALUE">
                      <a:rPr lang="en-US" baseline="0"/>
                      <a:pPr/>
                      <a:t>[VALUE]</a:t>
                    </a:fld>
                    <a:r>
                      <a:rPr lang="en-US" baseline="0" dirty="0"/>
                      <a:t>, </a:t>
                    </a:r>
                    <a:fld id="{E2CC778B-E82B-47DD-8A29-163D453D1156}" type="PERCENTAGE">
                      <a:rPr lang="en-US" baseline="0"/>
                      <a:pPr/>
                      <a:t>[PERCENTAGE]</a:t>
                    </a:fld>
                    <a:endParaRPr lang="en-US" baseline="0" dirty="0"/>
                  </a:p>
                </c:rich>
              </c:tx>
              <c:dLblPos val="bestFit"/>
              <c:showLegendKey val="1"/>
              <c:showVal val="1"/>
              <c:showCatName val="1"/>
              <c:showSerName val="1"/>
              <c:showPercent val="1"/>
              <c:showBubbleSize val="1"/>
              <c:extLst xmlns:c16r2="http://schemas.microsoft.com/office/drawing/2015/06/chart">
                <c:ext xmlns:c16="http://schemas.microsoft.com/office/drawing/2014/chart" uri="{C3380CC4-5D6E-409C-BE32-E72D297353CC}">
                  <c16:uniqueId val="{0000000F-F86D-4829-9208-A6C98AFEF52F}"/>
                </c:ext>
                <c:ext xmlns:c15="http://schemas.microsoft.com/office/drawing/2012/chart" uri="{CE6537A1-D6FC-4f65-9D91-7224C49458BB}">
                  <c15:dlblFieldTable/>
                  <c15:showDataLabelsRange val="0"/>
                </c:ext>
              </c:extLst>
            </c:dLbl>
            <c:dLbl>
              <c:idx val="16"/>
              <c:layout>
                <c:manualLayout>
                  <c:x val="1.4154837660876343E-2"/>
                  <c:y val="-9.0541916987668655E-2"/>
                </c:manualLayout>
              </c:layout>
              <c:tx>
                <c:rich>
                  <a:bodyPr/>
                  <a:lstStyle/>
                  <a:p>
                    <a:fld id="{1D87796A-8AAF-44B4-8CBF-F5D5986D688E}" type="CATEGORYNAME">
                      <a:rPr lang="en-US" baseline="0" smtClean="0"/>
                      <a:pPr/>
                      <a:t>[CATEGORY NAME]</a:t>
                    </a:fld>
                    <a:r>
                      <a:rPr lang="en-US" baseline="0" dirty="0"/>
                      <a:t>, </a:t>
                    </a:r>
                    <a:fld id="{A048A3FB-CFDF-4B19-8A04-9C16284AF099}" type="VALUE">
                      <a:rPr lang="en-US" baseline="0"/>
                      <a:pPr/>
                      <a:t>[VALUE]</a:t>
                    </a:fld>
                    <a:r>
                      <a:rPr lang="en-US" baseline="0" dirty="0"/>
                      <a:t>, </a:t>
                    </a:r>
                    <a:fld id="{4B7B20A2-BAED-409E-BBEA-050692E2916C}" type="PERCENTAGE">
                      <a:rPr lang="en-US" baseline="0"/>
                      <a:pPr/>
                      <a:t>[PERCENTAGE]</a:t>
                    </a:fld>
                    <a:endParaRPr lang="en-US" baseline="0" dirty="0"/>
                  </a:p>
                </c:rich>
              </c:tx>
              <c:dLblPos val="bestFit"/>
              <c:showLegendKey val="1"/>
              <c:showVal val="1"/>
              <c:showCatName val="1"/>
              <c:showSerName val="1"/>
              <c:showPercent val="1"/>
              <c:showBubbleSize val="1"/>
              <c:extLst xmlns:c16r2="http://schemas.microsoft.com/office/drawing/2015/06/chart">
                <c:ext xmlns:c16="http://schemas.microsoft.com/office/drawing/2014/chart" uri="{C3380CC4-5D6E-409C-BE32-E72D297353CC}">
                  <c16:uniqueId val="{00000010-F86D-4829-9208-A6C98AFEF52F}"/>
                </c:ext>
                <c:ext xmlns:c15="http://schemas.microsoft.com/office/drawing/2012/chart" uri="{CE6537A1-D6FC-4f65-9D91-7224C49458BB}">
                  <c15:dlblFieldTable/>
                  <c15:showDataLabelsRange val="0"/>
                </c:ext>
              </c:extLst>
            </c:dLbl>
            <c:dLbl>
              <c:idx val="17"/>
              <c:layout>
                <c:manualLayout>
                  <c:x val="0.26400465538480394"/>
                  <c:y val="-8.3575226188242636E-3"/>
                </c:manualLayout>
              </c:layout>
              <c:tx>
                <c:rich>
                  <a:bodyPr/>
                  <a:lstStyle/>
                  <a:p>
                    <a:fld id="{9ACB30A0-31BE-4C0B-802C-3B72054F8D8F}" type="CATEGORYNAME">
                      <a:rPr lang="en-US" baseline="0" smtClean="0"/>
                      <a:pPr/>
                      <a:t>[CATEGORY NAME]</a:t>
                    </a:fld>
                    <a:r>
                      <a:rPr lang="en-US" baseline="0" dirty="0"/>
                      <a:t>, </a:t>
                    </a:r>
                    <a:fld id="{3A0335B6-1F57-4BBB-BB9D-68C2910D5845}" type="VALUE">
                      <a:rPr lang="en-US" baseline="0"/>
                      <a:pPr/>
                      <a:t>[VALUE]</a:t>
                    </a:fld>
                    <a:r>
                      <a:rPr lang="en-US" baseline="0" dirty="0"/>
                      <a:t>, </a:t>
                    </a:r>
                    <a:fld id="{7CF485F4-7F91-4197-819B-D8A0527388E3}" type="PERCENTAGE">
                      <a:rPr lang="en-US" baseline="0"/>
                      <a:pPr/>
                      <a:t>[PERCENTAGE]</a:t>
                    </a:fld>
                    <a:endParaRPr lang="en-US" baseline="0" dirty="0"/>
                  </a:p>
                </c:rich>
              </c:tx>
              <c:dLblPos val="bestFit"/>
              <c:showLegendKey val="1"/>
              <c:showVal val="1"/>
              <c:showCatName val="1"/>
              <c:showSerName val="1"/>
              <c:showPercent val="1"/>
              <c:showBubbleSize val="1"/>
              <c:extLst xmlns:c16r2="http://schemas.microsoft.com/office/drawing/2015/06/chart">
                <c:ext xmlns:c16="http://schemas.microsoft.com/office/drawing/2014/chart" uri="{C3380CC4-5D6E-409C-BE32-E72D297353CC}">
                  <c16:uniqueId val="{00000011-F86D-4829-9208-A6C98AFEF52F}"/>
                </c:ext>
                <c:ext xmlns:c15="http://schemas.microsoft.com/office/drawing/2012/chart" uri="{CE6537A1-D6FC-4f65-9D91-7224C49458BB}">
                  <c15:dlblFieldTable/>
                  <c15:showDataLabelsRange val="0"/>
                </c:ext>
              </c:extLst>
            </c:dLbl>
            <c:dLbl>
              <c:idx val="18"/>
              <c:layout>
                <c:manualLayout>
                  <c:x val="9.0272566989452449E-2"/>
                  <c:y val="-0.13548759686233491"/>
                </c:manualLayout>
              </c:layout>
              <c:tx>
                <c:rich>
                  <a:bodyPr/>
                  <a:lstStyle/>
                  <a:p>
                    <a:fld id="{253A79AF-7AF0-46FB-BB3E-5FF76660E786}" type="CATEGORYNAME">
                      <a:rPr lang="da-DK" baseline="0" smtClean="0"/>
                      <a:pPr/>
                      <a:t>[CATEGORY NAME]</a:t>
                    </a:fld>
                    <a:r>
                      <a:rPr lang="da-DK" baseline="0" dirty="0"/>
                      <a:t>, </a:t>
                    </a:r>
                    <a:fld id="{76229295-230D-4EB4-834B-4A69D09E14AF}" type="VALUE">
                      <a:rPr lang="da-DK" baseline="0"/>
                      <a:pPr/>
                      <a:t>[VALUE]</a:t>
                    </a:fld>
                    <a:r>
                      <a:rPr lang="da-DK" baseline="0" dirty="0"/>
                      <a:t>, </a:t>
                    </a:r>
                    <a:fld id="{8C52BC52-0D72-48A0-AB4D-E39DFA9C6736}" type="PERCENTAGE">
                      <a:rPr lang="da-DK" baseline="0"/>
                      <a:pPr/>
                      <a:t>[PERCENTAGE]</a:t>
                    </a:fld>
                    <a:endParaRPr lang="da-DK" baseline="0" dirty="0"/>
                  </a:p>
                </c:rich>
              </c:tx>
              <c:dLblPos val="bestFit"/>
              <c:showLegendKey val="1"/>
              <c:showVal val="1"/>
              <c:showCatName val="1"/>
              <c:showSerName val="1"/>
              <c:showPercent val="1"/>
              <c:showBubbleSize val="1"/>
              <c:extLst xmlns:c16r2="http://schemas.microsoft.com/office/drawing/2015/06/chart">
                <c:ext xmlns:c16="http://schemas.microsoft.com/office/drawing/2014/chart" uri="{C3380CC4-5D6E-409C-BE32-E72D297353CC}">
                  <c16:uniqueId val="{00000012-F86D-4829-9208-A6C98AFEF52F}"/>
                </c:ext>
                <c:ext xmlns:c15="http://schemas.microsoft.com/office/drawing/2012/chart" uri="{CE6537A1-D6FC-4f65-9D91-7224C49458BB}">
                  <c15:dlblFieldTable/>
                  <c15:showDataLabelsRange val="0"/>
                </c:ext>
              </c:extLst>
            </c:dLbl>
            <c:dLbl>
              <c:idx val="19"/>
              <c:layout>
                <c:manualLayout>
                  <c:x val="0.24789216519816901"/>
                  <c:y val="-0.11870401445720924"/>
                </c:manualLayout>
              </c:layout>
              <c:tx>
                <c:rich>
                  <a:bodyPr/>
                  <a:lstStyle/>
                  <a:p>
                    <a:fld id="{C0D39A39-12A1-4931-B0CE-0ADDC1AFC904}" type="CATEGORYNAME">
                      <a:rPr lang="en-US" baseline="0" smtClean="0"/>
                      <a:pPr/>
                      <a:t>[CATEGORY NAME]</a:t>
                    </a:fld>
                    <a:r>
                      <a:rPr lang="en-US" baseline="0" dirty="0"/>
                      <a:t>, </a:t>
                    </a:r>
                    <a:fld id="{2954E14D-6508-48D1-B021-BA60F6418F80}" type="VALUE">
                      <a:rPr lang="en-US" baseline="0"/>
                      <a:pPr/>
                      <a:t>[VALUE]</a:t>
                    </a:fld>
                    <a:r>
                      <a:rPr lang="en-US" baseline="0" dirty="0"/>
                      <a:t>, </a:t>
                    </a:r>
                    <a:fld id="{664C7EF9-6537-4CC8-9C23-87EDC9FEA831}" type="PERCENTAGE">
                      <a:rPr lang="en-US" baseline="0"/>
                      <a:pPr/>
                      <a:t>[PERCENTAGE]</a:t>
                    </a:fld>
                    <a:endParaRPr lang="en-US" baseline="0" dirty="0"/>
                  </a:p>
                </c:rich>
              </c:tx>
              <c:dLblPos val="bestFit"/>
              <c:showLegendKey val="1"/>
              <c:showVal val="1"/>
              <c:showCatName val="1"/>
              <c:showSerName val="1"/>
              <c:showPercent val="1"/>
              <c:showBubbleSize val="1"/>
              <c:extLst xmlns:c16r2="http://schemas.microsoft.com/office/drawing/2015/06/chart">
                <c:ext xmlns:c16="http://schemas.microsoft.com/office/drawing/2014/chart" uri="{C3380CC4-5D6E-409C-BE32-E72D297353CC}">
                  <c16:uniqueId val="{00000013-F86D-4829-9208-A6C98AFEF52F}"/>
                </c:ext>
                <c:ext xmlns:c15="http://schemas.microsoft.com/office/drawing/2012/chart" uri="{CE6537A1-D6FC-4f65-9D91-7224C49458BB}">
                  <c15:dlblFieldTable/>
                  <c15:showDataLabelsRange val="0"/>
                </c:ext>
              </c:extLst>
            </c:dLbl>
            <c:dLbl>
              <c:idx val="20"/>
              <c:layout>
                <c:manualLayout>
                  <c:x val="0.14957907473487175"/>
                  <c:y val="-9.327379074829853E-2"/>
                </c:manualLayout>
              </c:layout>
              <c:tx>
                <c:rich>
                  <a:bodyPr/>
                  <a:lstStyle/>
                  <a:p>
                    <a:fld id="{CB3FC24F-4C37-42C6-BCEC-AC603A94C217}" type="CATEGORYNAME">
                      <a:rPr lang="en-US" baseline="0" smtClean="0"/>
                      <a:pPr/>
                      <a:t>[CATEGORY NAME]</a:t>
                    </a:fld>
                    <a:r>
                      <a:rPr lang="en-US" baseline="0" dirty="0"/>
                      <a:t>, </a:t>
                    </a:r>
                    <a:fld id="{B681617F-3100-459E-B752-CEFB944CFEE4}" type="VALUE">
                      <a:rPr lang="en-US" baseline="0"/>
                      <a:pPr/>
                      <a:t>[VALUE]</a:t>
                    </a:fld>
                    <a:r>
                      <a:rPr lang="en-US" baseline="0" dirty="0"/>
                      <a:t>, </a:t>
                    </a:r>
                    <a:fld id="{5F037F09-5DDD-4D1E-AD3D-3DE025B00C3C}" type="PERCENTAGE">
                      <a:rPr lang="en-US" baseline="0"/>
                      <a:pPr/>
                      <a:t>[PERCENTAGE]</a:t>
                    </a:fld>
                    <a:endParaRPr lang="en-US" baseline="0" dirty="0"/>
                  </a:p>
                </c:rich>
              </c:tx>
              <c:dLblPos val="bestFit"/>
              <c:showLegendKey val="1"/>
              <c:showVal val="1"/>
              <c:showCatName val="1"/>
              <c:showSerName val="1"/>
              <c:showPercent val="1"/>
              <c:showBubbleSize val="1"/>
              <c:extLst xmlns:c16r2="http://schemas.microsoft.com/office/drawing/2015/06/chart">
                <c:ext xmlns:c16="http://schemas.microsoft.com/office/drawing/2014/chart" uri="{C3380CC4-5D6E-409C-BE32-E72D297353CC}">
                  <c16:uniqueId val="{00000014-F86D-4829-9208-A6C98AFEF52F}"/>
                </c:ext>
                <c:ext xmlns:c15="http://schemas.microsoft.com/office/drawing/2012/chart" uri="{CE6537A1-D6FC-4f65-9D91-7224C49458BB}">
                  <c15:dlblFieldTable/>
                  <c15:showDataLabelsRange val="0"/>
                </c:ext>
              </c:extLst>
            </c:dLbl>
            <c:dLbl>
              <c:idx val="21"/>
              <c:layout>
                <c:manualLayout>
                  <c:x val="0.2136071373276866"/>
                  <c:y val="-9.5672283316916171E-2"/>
                </c:manualLayout>
              </c:layout>
              <c:dLblPos val="bestFit"/>
              <c:showLegendKey val="1"/>
              <c:showVal val="1"/>
              <c:showCatName val="1"/>
              <c:showSerName val="1"/>
              <c:showPercent val="1"/>
              <c:showBubbleSize val="1"/>
              <c:extLst xmlns:c16r2="http://schemas.microsoft.com/office/drawing/2015/06/chart">
                <c:ext xmlns:c16="http://schemas.microsoft.com/office/drawing/2014/chart" uri="{C3380CC4-5D6E-409C-BE32-E72D297353CC}">
                  <c16:uniqueId val="{00000015-F86D-4829-9208-A6C98AFEF52F}"/>
                </c:ext>
                <c:ext xmlns:c15="http://schemas.microsoft.com/office/drawing/2012/chart" uri="{CE6537A1-D6FC-4f65-9D91-7224C49458BB}"/>
              </c:extLst>
            </c:dLbl>
            <c:dLbl>
              <c:idx val="22"/>
              <c:layout>
                <c:manualLayout>
                  <c:x val="0.15997666391419341"/>
                  <c:y val="-0.15598885793871869"/>
                </c:manualLayout>
              </c:layout>
              <c:dLblPos val="bestFit"/>
              <c:showLegendKey val="1"/>
              <c:showVal val="1"/>
              <c:showCatName val="1"/>
              <c:showSerName val="1"/>
              <c:showPercent val="1"/>
              <c:showBubbleSize val="1"/>
              <c:extLst xmlns:c16r2="http://schemas.microsoft.com/office/drawing/2015/06/chart">
                <c:ext xmlns:c16="http://schemas.microsoft.com/office/drawing/2014/chart" uri="{C3380CC4-5D6E-409C-BE32-E72D297353CC}">
                  <c16:uniqueId val="{00000016-F86D-4829-9208-A6C98AFEF52F}"/>
                </c:ext>
                <c:ext xmlns:c15="http://schemas.microsoft.com/office/drawing/2012/chart" uri="{CE6537A1-D6FC-4f65-9D91-7224C49458BB}"/>
              </c:extLst>
            </c:dLbl>
            <c:dLbl>
              <c:idx val="23"/>
              <c:layout>
                <c:manualLayout>
                  <c:x val="8.9622527122892023E-2"/>
                  <c:y val="-7.6720359146629488E-2"/>
                </c:manualLayout>
              </c:layout>
              <c:dLblPos val="bestFit"/>
              <c:showLegendKey val="1"/>
              <c:showVal val="1"/>
              <c:showCatName val="1"/>
              <c:showSerName val="1"/>
              <c:showPercent val="1"/>
              <c:showBubbleSize val="1"/>
              <c:extLst xmlns:c16r2="http://schemas.microsoft.com/office/drawing/2015/06/chart">
                <c:ext xmlns:c16="http://schemas.microsoft.com/office/drawing/2014/chart" uri="{C3380CC4-5D6E-409C-BE32-E72D297353CC}">
                  <c16:uniqueId val="{00000017-F86D-4829-9208-A6C98AFEF52F}"/>
                </c:ext>
                <c:ext xmlns:c15="http://schemas.microsoft.com/office/drawing/2012/chart" uri="{CE6537A1-D6FC-4f65-9D91-7224C49458BB}"/>
              </c:extLst>
            </c:dLbl>
            <c:dLbl>
              <c:idx val="24"/>
              <c:layout>
                <c:manualLayout>
                  <c:x val="0.26205638988855157"/>
                  <c:y val="-6.8709377901578467E-2"/>
                </c:manualLayout>
              </c:layout>
              <c:dLblPos val="bestFit"/>
              <c:showLegendKey val="1"/>
              <c:showVal val="1"/>
              <c:showCatName val="1"/>
              <c:showSerName val="1"/>
              <c:showPercent val="1"/>
              <c:showBubbleSize val="1"/>
              <c:extLst xmlns:c16r2="http://schemas.microsoft.com/office/drawing/2015/06/chart">
                <c:ext xmlns:c16="http://schemas.microsoft.com/office/drawing/2014/chart" uri="{C3380CC4-5D6E-409C-BE32-E72D297353CC}">
                  <c16:uniqueId val="{00000018-F86D-4829-9208-A6C98AFEF52F}"/>
                </c:ext>
                <c:ext xmlns:c15="http://schemas.microsoft.com/office/drawing/2012/chart" uri="{CE6537A1-D6FC-4f65-9D91-7224C49458BB}"/>
              </c:extLst>
            </c:dLbl>
            <c:dLbl>
              <c:idx val="25"/>
              <c:layout>
                <c:manualLayout>
                  <c:x val="0.24749770156140985"/>
                  <c:y val="-3.7140204271123496E-3"/>
                </c:manualLayout>
              </c:layout>
              <c:dLblPos val="bestFit"/>
              <c:showLegendKey val="1"/>
              <c:showVal val="1"/>
              <c:showCatName val="1"/>
              <c:showSerName val="1"/>
              <c:showPercent val="1"/>
              <c:showBubbleSize val="1"/>
              <c:extLst xmlns:c16r2="http://schemas.microsoft.com/office/drawing/2015/06/chart">
                <c:ext xmlns:c16="http://schemas.microsoft.com/office/drawing/2014/chart" uri="{C3380CC4-5D6E-409C-BE32-E72D297353CC}">
                  <c16:uniqueId val="{00000019-F86D-4829-9208-A6C98AFEF52F}"/>
                </c:ext>
                <c:ext xmlns:c15="http://schemas.microsoft.com/office/drawing/2012/chart" uri="{CE6537A1-D6FC-4f65-9D91-7224C49458BB}"/>
              </c:extLst>
            </c:dLbl>
            <c:dLbl>
              <c:idx val="26"/>
              <c:layout>
                <c:manualLayout>
                  <c:x val="0.33784195231831737"/>
                  <c:y val="-0.15338019980215442"/>
                </c:manualLayout>
              </c:layout>
              <c:dLblPos val="bestFit"/>
              <c:showLegendKey val="1"/>
              <c:showVal val="1"/>
              <c:showCatName val="1"/>
              <c:showSerName val="1"/>
              <c:showPercent val="1"/>
              <c:showBubbleSize val="1"/>
              <c:extLst xmlns:c16r2="http://schemas.microsoft.com/office/drawing/2015/06/chart">
                <c:ext xmlns:c16="http://schemas.microsoft.com/office/drawing/2014/chart" uri="{C3380CC4-5D6E-409C-BE32-E72D297353CC}">
                  <c16:uniqueId val="{0000001A-F86D-4829-9208-A6C98AFEF52F}"/>
                </c:ext>
                <c:ext xmlns:c15="http://schemas.microsoft.com/office/drawing/2012/chart" uri="{CE6537A1-D6FC-4f65-9D91-7224C49458BB}"/>
              </c:extLst>
            </c:dLbl>
            <c:dLbl>
              <c:idx val="27"/>
              <c:layout>
                <c:manualLayout>
                  <c:x val="0.42061308356486787"/>
                  <c:y val="-1.6275914195886535E-2"/>
                </c:manualLayout>
              </c:layout>
              <c:dLblPos val="bestFit"/>
              <c:showLegendKey val="1"/>
              <c:showVal val="1"/>
              <c:showCatName val="1"/>
              <c:showSerName val="1"/>
              <c:showPercent val="1"/>
              <c:showBubbleSize val="1"/>
              <c:extLst xmlns:c16r2="http://schemas.microsoft.com/office/drawing/2015/06/chart">
                <c:ext xmlns:c16="http://schemas.microsoft.com/office/drawing/2014/chart" uri="{C3380CC4-5D6E-409C-BE32-E72D297353CC}">
                  <c16:uniqueId val="{0000001B-F86D-4829-9208-A6C98AFEF52F}"/>
                </c:ext>
                <c:ext xmlns:c15="http://schemas.microsoft.com/office/drawing/2012/chart" uri="{CE6537A1-D6FC-4f65-9D91-7224C49458BB}"/>
              </c:extLst>
            </c:dLbl>
            <c:dLbl>
              <c:idx val="28"/>
              <c:layout>
                <c:manualLayout>
                  <c:x val="0.3863937140545059"/>
                  <c:y val="-5.967835205158397E-2"/>
                </c:manualLayout>
              </c:layout>
              <c:dLblPos val="bestFit"/>
              <c:showLegendKey val="1"/>
              <c:showVal val="1"/>
              <c:showCatName val="1"/>
              <c:showSerName val="1"/>
              <c:showPercent val="1"/>
              <c:showBubbleSize val="1"/>
              <c:extLst xmlns:c16r2="http://schemas.microsoft.com/office/drawing/2015/06/chart">
                <c:ext xmlns:c16="http://schemas.microsoft.com/office/drawing/2014/chart" uri="{C3380CC4-5D6E-409C-BE32-E72D297353CC}">
                  <c16:uniqueId val="{0000001C-F86D-4829-9208-A6C98AFEF52F}"/>
                </c:ext>
                <c:ext xmlns:c15="http://schemas.microsoft.com/office/drawing/2012/chart" uri="{CE6537A1-D6FC-4f65-9D91-7224C49458BB}"/>
              </c:extLst>
            </c:dLbl>
            <c:dLbl>
              <c:idx val="29"/>
              <c:layout>
                <c:manualLayout>
                  <c:x val="0.39352274936916476"/>
                  <c:y val="-0.10308078990728141"/>
                </c:manualLayout>
              </c:layout>
              <c:dLblPos val="bestFit"/>
              <c:showLegendKey val="1"/>
              <c:showVal val="1"/>
              <c:showCatName val="1"/>
              <c:showSerName val="1"/>
              <c:showPercent val="1"/>
              <c:showBubbleSize val="1"/>
              <c:extLst xmlns:c16r2="http://schemas.microsoft.com/office/drawing/2015/06/chart">
                <c:ext xmlns:c16="http://schemas.microsoft.com/office/drawing/2014/chart" uri="{C3380CC4-5D6E-409C-BE32-E72D297353CC}">
                  <c16:uniqueId val="{0000001D-F86D-4829-9208-A6C98AFEF52F}"/>
                </c:ext>
                <c:ext xmlns:c15="http://schemas.microsoft.com/office/drawing/2012/chart" uri="{CE6537A1-D6FC-4f65-9D91-7224C49458BB}"/>
              </c:extLst>
            </c:dLbl>
            <c:dLbl>
              <c:idx val="30"/>
              <c:layout>
                <c:manualLayout>
                  <c:x val="0.3279356244743038"/>
                  <c:y val="-0.11212296446055171"/>
                </c:manualLayout>
              </c:layout>
              <c:dLblPos val="bestFit"/>
              <c:showLegendKey val="1"/>
              <c:showVal val="1"/>
              <c:showCatName val="1"/>
              <c:showSerName val="1"/>
              <c:showPercent val="1"/>
              <c:showBubbleSize val="1"/>
              <c:extLst xmlns:c16r2="http://schemas.microsoft.com/office/drawing/2015/06/chart">
                <c:ext xmlns:c16="http://schemas.microsoft.com/office/drawing/2014/chart" uri="{C3380CC4-5D6E-409C-BE32-E72D297353CC}">
                  <c16:uniqueId val="{0000001E-F86D-4829-9208-A6C98AFEF52F}"/>
                </c:ext>
                <c:ext xmlns:c15="http://schemas.microsoft.com/office/drawing/2012/chart" uri="{CE6537A1-D6FC-4f65-9D91-7224C49458BB}"/>
              </c:extLst>
            </c:dLbl>
            <c:dLbl>
              <c:idx val="31"/>
              <c:layout>
                <c:manualLayout>
                  <c:x val="0.22385170888028566"/>
                  <c:y val="-0.1663760117801735"/>
                </c:manualLayout>
              </c:layout>
              <c:dLblPos val="bestFit"/>
              <c:showLegendKey val="1"/>
              <c:showVal val="1"/>
              <c:showCatName val="1"/>
              <c:showSerName val="1"/>
              <c:showPercent val="1"/>
              <c:showBubbleSize val="1"/>
              <c:extLst xmlns:c16r2="http://schemas.microsoft.com/office/drawing/2015/06/chart">
                <c:ext xmlns:c16="http://schemas.microsoft.com/office/drawing/2014/chart" uri="{C3380CC4-5D6E-409C-BE32-E72D297353CC}">
                  <c16:uniqueId val="{0000001F-F86D-4829-9208-A6C98AFEF52F}"/>
                </c:ext>
                <c:ext xmlns:c15="http://schemas.microsoft.com/office/drawing/2012/chart" uri="{CE6537A1-D6FC-4f65-9D91-7224C49458BB}"/>
              </c:extLst>
            </c:dLbl>
            <c:dLbl>
              <c:idx val="32"/>
              <c:layout>
                <c:manualLayout>
                  <c:x val="0.13687747804144854"/>
                  <c:y val="-0.1790350561547519"/>
                </c:manualLayout>
              </c:layout>
              <c:dLblPos val="bestFit"/>
              <c:showLegendKey val="1"/>
              <c:showVal val="1"/>
              <c:showCatName val="1"/>
              <c:showSerName val="1"/>
              <c:showPercent val="1"/>
              <c:showBubbleSize val="1"/>
              <c:extLst xmlns:c16r2="http://schemas.microsoft.com/office/drawing/2015/06/chart">
                <c:ext xmlns:c16="http://schemas.microsoft.com/office/drawing/2014/chart" uri="{C3380CC4-5D6E-409C-BE32-E72D297353CC}">
                  <c16:uniqueId val="{00000020-F86D-4829-9208-A6C98AFEF52F}"/>
                </c:ext>
                <c:ext xmlns:c15="http://schemas.microsoft.com/office/drawing/2012/chart" uri="{CE6537A1-D6FC-4f65-9D91-7224C49458BB}"/>
              </c:extLst>
            </c:dLbl>
            <c:dLbl>
              <c:idx val="33"/>
              <c:layout>
                <c:manualLayout>
                  <c:x val="0.10265810853108642"/>
                  <c:y val="1.8084349106540598E-3"/>
                </c:manualLayout>
              </c:layout>
              <c:dLblPos val="bestFit"/>
              <c:showLegendKey val="1"/>
              <c:showVal val="1"/>
              <c:showCatName val="1"/>
              <c:showSerName val="1"/>
              <c:showPercent val="1"/>
              <c:showBubbleSize val="1"/>
              <c:extLst xmlns:c16r2="http://schemas.microsoft.com/office/drawing/2015/06/chart">
                <c:ext xmlns:c16="http://schemas.microsoft.com/office/drawing/2014/chart" uri="{C3380CC4-5D6E-409C-BE32-E72D297353CC}">
                  <c16:uniqueId val="{00000021-F86D-4829-9208-A6C98AFEF52F}"/>
                </c:ext>
                <c:ext xmlns:c15="http://schemas.microsoft.com/office/drawing/2012/chart" uri="{CE6537A1-D6FC-4f65-9D91-7224C49458BB}"/>
              </c:extLst>
            </c:dLbl>
            <c:spPr>
              <a:noFill/>
              <a:ln w="25400">
                <a:noFill/>
              </a:ln>
            </c:spPr>
            <c:txPr>
              <a:bodyPr wrap="square" lIns="38100" tIns="19050" rIns="38100" bIns="19050" anchor="ctr">
                <a:spAutoFit/>
              </a:bodyPr>
              <a:lstStyle/>
              <a:p>
                <a:pPr>
                  <a:defRPr sz="1000" b="1">
                    <a:solidFill>
                      <a:schemeClr val="tx1"/>
                    </a:solidFill>
                    <a:latin typeface="+mn-lt"/>
                  </a:defRPr>
                </a:pPr>
                <a:endParaRPr lang="en-US"/>
              </a:p>
            </c:txPr>
            <c:dLblPos val="outEnd"/>
            <c:showLegendKey val="1"/>
            <c:showVal val="1"/>
            <c:showCatName val="1"/>
            <c:showSerName val="1"/>
            <c:showPercent val="1"/>
            <c:showBubbleSize val="1"/>
            <c:showLeaderLines val="1"/>
            <c:extLst xmlns:c16r2="http://schemas.microsoft.com/office/drawing/2015/06/chart">
              <c:ext xmlns:c15="http://schemas.microsoft.com/office/drawing/2012/chart" uri="{CE6537A1-D6FC-4f65-9D91-7224C49458BB}"/>
            </c:extLst>
          </c:dLbls>
          <c:cat>
            <c:strRef>
              <c:f>'Base Données 18eme Revue SDR'!$J$240:$J$260</c:f>
              <c:strCache>
                <c:ptCount val="21"/>
                <c:pt idx="0">
                  <c:v>BM</c:v>
                </c:pt>
                <c:pt idx="1">
                  <c:v>FAD/BADEA/ BIDC/BID /FKDEA/FSD/OFID/EXIM BANK/BOAD</c:v>
                </c:pt>
                <c:pt idx="2">
                  <c:v>BAD</c:v>
                </c:pt>
                <c:pt idx="3">
                  <c:v>BID</c:v>
                </c:pt>
                <c:pt idx="4">
                  <c:v>BM /FEM/FIDA</c:v>
                </c:pt>
                <c:pt idx="5">
                  <c:v>Allemagne/Canada</c:v>
                </c:pt>
                <c:pt idx="6">
                  <c:v>BOAD</c:v>
                </c:pt>
                <c:pt idx="7">
                  <c:v>FIDA/CANADA</c:v>
                </c:pt>
                <c:pt idx="8">
                  <c:v>Belgique</c:v>
                </c:pt>
                <c:pt idx="9">
                  <c:v>France (AFD)</c:v>
                </c:pt>
                <c:pt idx="10">
                  <c:v>UE / Espagne</c:v>
                </c:pt>
                <c:pt idx="11">
                  <c:v>Coop SUISSE</c:v>
                </c:pt>
                <c:pt idx="12">
                  <c:v>Canada</c:v>
                </c:pt>
                <c:pt idx="13">
                  <c:v>Danemark</c:v>
                </c:pt>
                <c:pt idx="14">
                  <c:v>AFD/UE</c:v>
                </c:pt>
                <c:pt idx="15">
                  <c:v>UE</c:v>
                </c:pt>
                <c:pt idx="16">
                  <c:v>UE et KFW</c:v>
                </c:pt>
                <c:pt idx="17">
                  <c:v>NORVEGE</c:v>
                </c:pt>
                <c:pt idx="18">
                  <c:v>USAID et KfW</c:v>
                </c:pt>
                <c:pt idx="19">
                  <c:v>NORAGRI</c:v>
                </c:pt>
                <c:pt idx="20">
                  <c:v>Autres</c:v>
                </c:pt>
              </c:strCache>
            </c:strRef>
          </c:cat>
          <c:val>
            <c:numRef>
              <c:f>'Base Données 18eme Revue SDR'!$K$240:$K$260</c:f>
              <c:numCache>
                <c:formatCode>General</c:formatCode>
                <c:ptCount val="21"/>
                <c:pt idx="0">
                  <c:v>127711</c:v>
                </c:pt>
                <c:pt idx="1">
                  <c:v>108130</c:v>
                </c:pt>
                <c:pt idx="2">
                  <c:v>80602</c:v>
                </c:pt>
                <c:pt idx="3">
                  <c:v>64840</c:v>
                </c:pt>
                <c:pt idx="4">
                  <c:v>59100</c:v>
                </c:pt>
                <c:pt idx="5">
                  <c:v>33454</c:v>
                </c:pt>
                <c:pt idx="6">
                  <c:v>30550</c:v>
                </c:pt>
                <c:pt idx="7">
                  <c:v>18322</c:v>
                </c:pt>
                <c:pt idx="8" formatCode="0">
                  <c:v>20071.539849999997</c:v>
                </c:pt>
                <c:pt idx="9">
                  <c:v>9839</c:v>
                </c:pt>
                <c:pt idx="10">
                  <c:v>9183</c:v>
                </c:pt>
                <c:pt idx="11">
                  <c:v>9000</c:v>
                </c:pt>
                <c:pt idx="12">
                  <c:v>8732</c:v>
                </c:pt>
                <c:pt idx="13" formatCode="0">
                  <c:v>8559.4</c:v>
                </c:pt>
                <c:pt idx="14">
                  <c:v>8150</c:v>
                </c:pt>
                <c:pt idx="15">
                  <c:v>5248</c:v>
                </c:pt>
                <c:pt idx="16">
                  <c:v>5246</c:v>
                </c:pt>
                <c:pt idx="17">
                  <c:v>4478</c:v>
                </c:pt>
                <c:pt idx="18">
                  <c:v>4415</c:v>
                </c:pt>
                <c:pt idx="19">
                  <c:v>3694</c:v>
                </c:pt>
                <c:pt idx="20">
                  <c:v>9416</c:v>
                </c:pt>
              </c:numCache>
            </c:numRef>
          </c:val>
          <c:extLst xmlns:c16r2="http://schemas.microsoft.com/office/drawing/2015/06/chart">
            <c:ext xmlns:c16="http://schemas.microsoft.com/office/drawing/2014/chart" uri="{C3380CC4-5D6E-409C-BE32-E72D297353CC}">
              <c16:uniqueId val="{00000022-F86D-4829-9208-A6C98AFEF52F}"/>
            </c:ext>
          </c:extLst>
        </c:ser>
        <c:dLbls>
          <c:showLegendKey val="0"/>
          <c:showVal val="0"/>
          <c:showCatName val="0"/>
          <c:showSerName val="0"/>
          <c:showPercent val="0"/>
          <c:showBubbleSize val="0"/>
          <c:showLeaderLines val="1"/>
        </c:dLbls>
      </c:pie3DChart>
      <c:spPr>
        <a:noFill/>
        <a:ln w="25400">
          <a:noFill/>
        </a:ln>
      </c:spPr>
    </c:plotArea>
    <c:plotVisOnly val="1"/>
    <c:dispBlanksAs val="zero"/>
    <c:showDLblsOverMax val="1"/>
  </c:chart>
  <c:externalData r:id="rId2">
    <c:autoUpdate val="0"/>
  </c:externalData>
  <c:userShapes r:id="rId3"/>
</c:chartSpace>
</file>

<file path=ppt/comments/comment1.xml><?xml version="1.0" encoding="utf-8"?>
<p:cmLst xmlns:a="http://schemas.openxmlformats.org/drawingml/2006/main" xmlns:r="http://schemas.openxmlformats.org/officeDocument/2006/relationships" xmlns:p="http://schemas.openxmlformats.org/presentationml/2006/main">
  <p:cm authorId="3" dt="2019-07-07T14:24:01.975" idx="21">
    <p:pos x="2822" y="1879"/>
    <p:text>missing data</p:text>
    <p:extLst>
      <p:ext uri="{C676402C-5697-4E1C-873F-D02D1690AC5C}">
        <p15:threadingInfo xmlns:p15="http://schemas.microsoft.com/office/powerpoint/2012/main" timeZoneBias="0"/>
      </p:ext>
    </p:extLst>
  </p:cm>
  <p:cm authorId="3" dt="2019-07-07T14:24:26.382" idx="22">
    <p:pos x="2618" y="2263"/>
    <p:text>missing data</p:text>
    <p:extLst>
      <p:ext uri="{C676402C-5697-4E1C-873F-D02D1690AC5C}">
        <p15:threadingInfo xmlns:p15="http://schemas.microsoft.com/office/powerpoint/2012/main" timeZoneBias="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3" dt="2019-07-07T14:25:57.850" idx="23">
    <p:pos x="4585" y="140"/>
    <p:text>We need Mali map</p:text>
    <p:extLst>
      <p:ext uri="{C676402C-5697-4E1C-873F-D02D1690AC5C}">
        <p15:threadingInfo xmlns:p15="http://schemas.microsoft.com/office/powerpoint/2012/main" timeZoneBias="0"/>
      </p:ext>
    </p:extLst>
  </p:cm>
  <p:cm authorId="4" dt="2019-07-08T17:50:34.637" idx="3">
    <p:pos x="4581" y="141"/>
    <p:text>There is need to add a category on Resilience. A number of interventions cited here also touch on resilience for example the introduction of drought tolerant crops such as cowpea, sorgham, and resilient varieties of maize etc all touch on resilience building. Add a cross cutting component in the legent to explain this</p:text>
    <p:extLst>
      <p:ext uri="{C676402C-5697-4E1C-873F-D02D1690AC5C}">
        <p15:threadingInfo xmlns:p15="http://schemas.microsoft.com/office/powerpoint/2012/main" timeZoneBias="-18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4" dt="2019-07-08T17:56:34.129" idx="4">
    <p:pos x="1956" y="261"/>
    <p:text>Consider adding Lesson 4: Need to increase investments on resilience building particularly in the Sahel region that has witnessed increased waether volatility which is affecting existing investments. It also provides an opportunity for more cross sectoral linkages  and RM opportunities</p:text>
    <p:extLst>
      <p:ext uri="{C676402C-5697-4E1C-873F-D02D1690AC5C}">
        <p15:threadingInfo xmlns:p15="http://schemas.microsoft.com/office/powerpoint/2012/main" timeZoneBias="-180"/>
      </p:ext>
    </p:extLst>
  </p:cm>
</p:cmLst>
</file>

<file path=ppt/comments/comment4.xml><?xml version="1.0" encoding="utf-8"?>
<p:cmLst xmlns:a="http://schemas.openxmlformats.org/drawingml/2006/main" xmlns:r="http://schemas.openxmlformats.org/officeDocument/2006/relationships" xmlns:p="http://schemas.openxmlformats.org/presentationml/2006/main">
  <p:cm authorId="4" dt="2019-07-08T17:59:45.532" idx="5">
    <p:pos x="10" y="10"/>
    <p:text>Government is showing indications of increased investment in climate smart programmes in agriculture. this presents an opportunity to further strengthen government capacities in the delivery of agriculture</p:text>
    <p:extLst>
      <p:ext uri="{C676402C-5697-4E1C-873F-D02D1690AC5C}">
        <p15:threadingInfo xmlns:p15="http://schemas.microsoft.com/office/powerpoint/2012/main" timeZoneBias="-18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4C3511B-4BD0-4E83-ADE0-1257C5CDBEA0}" type="doc">
      <dgm:prSet loTypeId="urn:microsoft.com/office/officeart/2005/8/layout/target1" loCatId="relationship" qsTypeId="urn:microsoft.com/office/officeart/2005/8/quickstyle/simple1" qsCatId="simple" csTypeId="urn:microsoft.com/office/officeart/2005/8/colors/accent1_2" csCatId="accent1" phldr="1"/>
      <dgm:spPr/>
    </dgm:pt>
    <dgm:pt modelId="{07DEC3A4-9F20-4147-B216-E7AA731BF3E5}">
      <dgm:prSet phldrT="[Text]" custT="1"/>
      <dgm:spPr/>
      <dgm:t>
        <a:bodyPr/>
        <a:lstStyle/>
        <a:p>
          <a:r>
            <a:rPr lang="en-US" sz="1100" b="1" dirty="0">
              <a:latin typeface="Arial" panose="020B0604020202020204" pitchFamily="34" charset="0"/>
              <a:cs typeface="Arial" panose="020B0604020202020204" pitchFamily="34" charset="0"/>
            </a:rPr>
            <a:t>AGRA</a:t>
          </a:r>
        </a:p>
        <a:p>
          <a:r>
            <a:rPr lang="en-US" sz="1100" b="1" dirty="0">
              <a:latin typeface="Arial" panose="020B0604020202020204" pitchFamily="34" charset="0"/>
              <a:cs typeface="Arial" panose="020B0604020202020204" pitchFamily="34" charset="0"/>
            </a:rPr>
            <a:t>&lt;1%</a:t>
          </a:r>
        </a:p>
      </dgm:t>
    </dgm:pt>
    <dgm:pt modelId="{A4A7D1C2-6CA4-41F6-A2F6-390215D2E0FE}" type="parTrans" cxnId="{35B56DA7-4E3E-4757-9310-5F277E1B41AE}">
      <dgm:prSet/>
      <dgm:spPr/>
      <dgm:t>
        <a:bodyPr/>
        <a:lstStyle/>
        <a:p>
          <a:endParaRPr lang="en-US"/>
        </a:p>
      </dgm:t>
    </dgm:pt>
    <dgm:pt modelId="{0ECA6B50-4929-408E-8273-962B526DE7C6}" type="sibTrans" cxnId="{35B56DA7-4E3E-4757-9310-5F277E1B41AE}">
      <dgm:prSet/>
      <dgm:spPr/>
      <dgm:t>
        <a:bodyPr/>
        <a:lstStyle/>
        <a:p>
          <a:endParaRPr lang="en-US"/>
        </a:p>
      </dgm:t>
    </dgm:pt>
    <dgm:pt modelId="{2BDF4F1A-917E-4EF3-839C-609DD5F090A8}">
      <dgm:prSet phldrT="[Text]" custT="1"/>
      <dgm:spPr/>
      <dgm:t>
        <a:bodyPr/>
        <a:lstStyle/>
        <a:p>
          <a:r>
            <a:rPr lang="en-US" sz="1100" dirty="0">
              <a:latin typeface="Arial" panose="020B0604020202020204" pitchFamily="34" charset="0"/>
              <a:cs typeface="Arial" panose="020B0604020202020204" pitchFamily="34" charset="0"/>
            </a:rPr>
            <a:t>Government of Mali</a:t>
          </a:r>
          <a:r>
            <a:rPr lang="en-US" sz="1100" baseline="30000" dirty="0">
              <a:latin typeface="Arial" panose="020B0604020202020204" pitchFamily="34" charset="0"/>
              <a:cs typeface="Arial" panose="020B0604020202020204" pitchFamily="34" charset="0"/>
            </a:rPr>
            <a:t>2</a:t>
          </a:r>
        </a:p>
        <a:p>
          <a:r>
            <a:rPr lang="en-US" sz="1100" dirty="0">
              <a:latin typeface="Arial" panose="020B0604020202020204" pitchFamily="34" charset="0"/>
              <a:cs typeface="Arial" panose="020B0604020202020204" pitchFamily="34" charset="0"/>
            </a:rPr>
            <a:t>~$ 900M</a:t>
          </a:r>
        </a:p>
      </dgm:t>
    </dgm:pt>
    <dgm:pt modelId="{3A96D4DA-B16D-4D75-B830-A41668D9C2CF}" type="parTrans" cxnId="{F1117395-77B4-4AFD-B682-DF4CCB6A578F}">
      <dgm:prSet/>
      <dgm:spPr/>
      <dgm:t>
        <a:bodyPr/>
        <a:lstStyle/>
        <a:p>
          <a:endParaRPr lang="en-US"/>
        </a:p>
      </dgm:t>
    </dgm:pt>
    <dgm:pt modelId="{D8A50A71-FEA2-4FBB-B517-4DDF8A1AA999}" type="sibTrans" cxnId="{F1117395-77B4-4AFD-B682-DF4CCB6A578F}">
      <dgm:prSet/>
      <dgm:spPr/>
      <dgm:t>
        <a:bodyPr/>
        <a:lstStyle/>
        <a:p>
          <a:endParaRPr lang="en-US"/>
        </a:p>
      </dgm:t>
    </dgm:pt>
    <dgm:pt modelId="{A6ADC143-3B11-48C8-BEE2-9BF7200F6913}">
      <dgm:prSet phldrT="[Text]" custT="1"/>
      <dgm:spPr/>
      <dgm:t>
        <a:bodyPr/>
        <a:lstStyle/>
        <a:p>
          <a:r>
            <a:rPr lang="en-US" sz="1100" b="1" dirty="0">
              <a:latin typeface="Arial" panose="020B0604020202020204" pitchFamily="34" charset="0"/>
              <a:cs typeface="Arial" panose="020B0604020202020204" pitchFamily="34" charset="0"/>
            </a:rPr>
            <a:t>Donors</a:t>
          </a:r>
          <a:r>
            <a:rPr lang="en-US" sz="1100" b="1" baseline="30000" dirty="0">
              <a:latin typeface="Arial" panose="020B0604020202020204" pitchFamily="34" charset="0"/>
              <a:cs typeface="Arial" panose="020B0604020202020204" pitchFamily="34" charset="0"/>
            </a:rPr>
            <a:t>3</a:t>
          </a:r>
          <a:r>
            <a:rPr lang="en-US" sz="1100" b="1" dirty="0">
              <a:latin typeface="Arial" panose="020B0604020202020204" pitchFamily="34" charset="0"/>
              <a:cs typeface="Arial" panose="020B0604020202020204" pitchFamily="34" charset="0"/>
            </a:rPr>
            <a:t> </a:t>
          </a:r>
        </a:p>
        <a:p>
          <a:r>
            <a:rPr lang="en-US" sz="1100" b="1" dirty="0">
              <a:latin typeface="Arial" panose="020B0604020202020204" pitchFamily="34" charset="0"/>
              <a:cs typeface="Arial" panose="020B0604020202020204" pitchFamily="34" charset="0"/>
            </a:rPr>
            <a:t>~4.5B</a:t>
          </a:r>
        </a:p>
      </dgm:t>
    </dgm:pt>
    <dgm:pt modelId="{2DED1BC6-8B70-44F5-9256-8AE04D6FE82E}" type="parTrans" cxnId="{F706FA0B-1CBE-4FDC-8301-015150BD43ED}">
      <dgm:prSet/>
      <dgm:spPr/>
      <dgm:t>
        <a:bodyPr/>
        <a:lstStyle/>
        <a:p>
          <a:endParaRPr lang="en-US"/>
        </a:p>
      </dgm:t>
    </dgm:pt>
    <dgm:pt modelId="{85F6C5A7-B566-4E66-9F90-13CC296C09A2}" type="sibTrans" cxnId="{F706FA0B-1CBE-4FDC-8301-015150BD43ED}">
      <dgm:prSet/>
      <dgm:spPr/>
      <dgm:t>
        <a:bodyPr/>
        <a:lstStyle/>
        <a:p>
          <a:endParaRPr lang="en-US"/>
        </a:p>
      </dgm:t>
    </dgm:pt>
    <dgm:pt modelId="{F33EFDAF-1D22-4D04-B642-5E0E65E21A74}" type="pres">
      <dgm:prSet presAssocID="{E4C3511B-4BD0-4E83-ADE0-1257C5CDBEA0}" presName="composite" presStyleCnt="0">
        <dgm:presLayoutVars>
          <dgm:chMax val="5"/>
          <dgm:dir/>
          <dgm:resizeHandles val="exact"/>
        </dgm:presLayoutVars>
      </dgm:prSet>
      <dgm:spPr/>
    </dgm:pt>
    <dgm:pt modelId="{EB1C299C-A1B0-4E7D-9E6A-B479A07C8605}" type="pres">
      <dgm:prSet presAssocID="{07DEC3A4-9F20-4147-B216-E7AA731BF3E5}" presName="circle1" presStyleLbl="lnNode1" presStyleIdx="0" presStyleCnt="3"/>
      <dgm:spPr>
        <a:solidFill>
          <a:schemeClr val="accent2">
            <a:lumMod val="60000"/>
            <a:lumOff val="40000"/>
          </a:schemeClr>
        </a:solidFill>
      </dgm:spPr>
    </dgm:pt>
    <dgm:pt modelId="{9CCDB8C1-643D-4FF0-8D99-E8F7E5A4AAF0}" type="pres">
      <dgm:prSet presAssocID="{07DEC3A4-9F20-4147-B216-E7AA731BF3E5}" presName="text1" presStyleLbl="revTx" presStyleIdx="0" presStyleCnt="3" custScaleX="93387">
        <dgm:presLayoutVars>
          <dgm:bulletEnabled val="1"/>
        </dgm:presLayoutVars>
      </dgm:prSet>
      <dgm:spPr/>
      <dgm:t>
        <a:bodyPr/>
        <a:lstStyle/>
        <a:p>
          <a:endParaRPr lang="en-US"/>
        </a:p>
      </dgm:t>
    </dgm:pt>
    <dgm:pt modelId="{DC4D1AF2-F4EF-4BA4-A60F-0CC2F973B7AE}" type="pres">
      <dgm:prSet presAssocID="{07DEC3A4-9F20-4147-B216-E7AA731BF3E5}" presName="line1" presStyleLbl="callout" presStyleIdx="0" presStyleCnt="6"/>
      <dgm:spPr/>
    </dgm:pt>
    <dgm:pt modelId="{D8491AB2-AAA7-406E-808A-0A90AAD25ED8}" type="pres">
      <dgm:prSet presAssocID="{07DEC3A4-9F20-4147-B216-E7AA731BF3E5}" presName="d1" presStyleLbl="callout" presStyleIdx="1" presStyleCnt="6"/>
      <dgm:spPr/>
    </dgm:pt>
    <dgm:pt modelId="{54B2184F-64D9-4A0B-88F6-2EE5FED13D1D}" type="pres">
      <dgm:prSet presAssocID="{2BDF4F1A-917E-4EF3-839C-609DD5F090A8}" presName="circle2" presStyleLbl="lnNode1" presStyleIdx="1" presStyleCnt="3"/>
      <dgm:spPr>
        <a:solidFill>
          <a:schemeClr val="accent2">
            <a:lumMod val="50000"/>
          </a:schemeClr>
        </a:solidFill>
      </dgm:spPr>
    </dgm:pt>
    <dgm:pt modelId="{7289F5C5-EDF4-4D9B-A142-F99ECDEB2A72}" type="pres">
      <dgm:prSet presAssocID="{2BDF4F1A-917E-4EF3-839C-609DD5F090A8}" presName="text2" presStyleLbl="revTx" presStyleIdx="1" presStyleCnt="3" custScaleX="125133">
        <dgm:presLayoutVars>
          <dgm:bulletEnabled val="1"/>
        </dgm:presLayoutVars>
      </dgm:prSet>
      <dgm:spPr/>
      <dgm:t>
        <a:bodyPr/>
        <a:lstStyle/>
        <a:p>
          <a:endParaRPr lang="en-US"/>
        </a:p>
      </dgm:t>
    </dgm:pt>
    <dgm:pt modelId="{7059B44A-EB66-4473-A0AC-9B187B57E81D}" type="pres">
      <dgm:prSet presAssocID="{2BDF4F1A-917E-4EF3-839C-609DD5F090A8}" presName="line2" presStyleLbl="callout" presStyleIdx="2" presStyleCnt="6"/>
      <dgm:spPr/>
    </dgm:pt>
    <dgm:pt modelId="{F27955B8-765E-46A0-8092-3A6CE1EC0AC4}" type="pres">
      <dgm:prSet presAssocID="{2BDF4F1A-917E-4EF3-839C-609DD5F090A8}" presName="d2" presStyleLbl="callout" presStyleIdx="3" presStyleCnt="6"/>
      <dgm:spPr/>
    </dgm:pt>
    <dgm:pt modelId="{5980B94D-CE38-4C59-9EC0-29AD79862A18}" type="pres">
      <dgm:prSet presAssocID="{A6ADC143-3B11-48C8-BEE2-9BF7200F6913}" presName="circle3" presStyleLbl="lnNode1" presStyleIdx="2" presStyleCnt="3"/>
      <dgm:spPr>
        <a:solidFill>
          <a:schemeClr val="accent3"/>
        </a:solidFill>
      </dgm:spPr>
    </dgm:pt>
    <dgm:pt modelId="{E1975FED-20CD-48DC-AF78-003F67172798}" type="pres">
      <dgm:prSet presAssocID="{A6ADC143-3B11-48C8-BEE2-9BF7200F6913}" presName="text3" presStyleLbl="revTx" presStyleIdx="2" presStyleCnt="3" custScaleX="129233">
        <dgm:presLayoutVars>
          <dgm:bulletEnabled val="1"/>
        </dgm:presLayoutVars>
      </dgm:prSet>
      <dgm:spPr/>
      <dgm:t>
        <a:bodyPr/>
        <a:lstStyle/>
        <a:p>
          <a:endParaRPr lang="en-US"/>
        </a:p>
      </dgm:t>
    </dgm:pt>
    <dgm:pt modelId="{8DC3104A-D810-4E42-8400-CA06A2D160F6}" type="pres">
      <dgm:prSet presAssocID="{A6ADC143-3B11-48C8-BEE2-9BF7200F6913}" presName="line3" presStyleLbl="callout" presStyleIdx="4" presStyleCnt="6"/>
      <dgm:spPr/>
    </dgm:pt>
    <dgm:pt modelId="{84E7C968-95DD-4118-98DB-26597AB4D347}" type="pres">
      <dgm:prSet presAssocID="{A6ADC143-3B11-48C8-BEE2-9BF7200F6913}" presName="d3" presStyleLbl="callout" presStyleIdx="5" presStyleCnt="6"/>
      <dgm:spPr/>
    </dgm:pt>
  </dgm:ptLst>
  <dgm:cxnLst>
    <dgm:cxn modelId="{8F32D3F9-FF93-4CC9-81DC-F2D341FFE948}" type="presOf" srcId="{A6ADC143-3B11-48C8-BEE2-9BF7200F6913}" destId="{E1975FED-20CD-48DC-AF78-003F67172798}" srcOrd="0" destOrd="0" presId="urn:microsoft.com/office/officeart/2005/8/layout/target1"/>
    <dgm:cxn modelId="{E58C2C25-0059-4A9F-BBFF-0827785C6EF6}" type="presOf" srcId="{07DEC3A4-9F20-4147-B216-E7AA731BF3E5}" destId="{9CCDB8C1-643D-4FF0-8D99-E8F7E5A4AAF0}" srcOrd="0" destOrd="0" presId="urn:microsoft.com/office/officeart/2005/8/layout/target1"/>
    <dgm:cxn modelId="{F706FA0B-1CBE-4FDC-8301-015150BD43ED}" srcId="{E4C3511B-4BD0-4E83-ADE0-1257C5CDBEA0}" destId="{A6ADC143-3B11-48C8-BEE2-9BF7200F6913}" srcOrd="2" destOrd="0" parTransId="{2DED1BC6-8B70-44F5-9256-8AE04D6FE82E}" sibTransId="{85F6C5A7-B566-4E66-9F90-13CC296C09A2}"/>
    <dgm:cxn modelId="{8E1F5F90-170F-4163-AF4A-37E2D482E802}" type="presOf" srcId="{2BDF4F1A-917E-4EF3-839C-609DD5F090A8}" destId="{7289F5C5-EDF4-4D9B-A142-F99ECDEB2A72}" srcOrd="0" destOrd="0" presId="urn:microsoft.com/office/officeart/2005/8/layout/target1"/>
    <dgm:cxn modelId="{68C02D63-B35E-4B4D-B54F-8181AFF20B10}" type="presOf" srcId="{E4C3511B-4BD0-4E83-ADE0-1257C5CDBEA0}" destId="{F33EFDAF-1D22-4D04-B642-5E0E65E21A74}" srcOrd="0" destOrd="0" presId="urn:microsoft.com/office/officeart/2005/8/layout/target1"/>
    <dgm:cxn modelId="{35B56DA7-4E3E-4757-9310-5F277E1B41AE}" srcId="{E4C3511B-4BD0-4E83-ADE0-1257C5CDBEA0}" destId="{07DEC3A4-9F20-4147-B216-E7AA731BF3E5}" srcOrd="0" destOrd="0" parTransId="{A4A7D1C2-6CA4-41F6-A2F6-390215D2E0FE}" sibTransId="{0ECA6B50-4929-408E-8273-962B526DE7C6}"/>
    <dgm:cxn modelId="{F1117395-77B4-4AFD-B682-DF4CCB6A578F}" srcId="{E4C3511B-4BD0-4E83-ADE0-1257C5CDBEA0}" destId="{2BDF4F1A-917E-4EF3-839C-609DD5F090A8}" srcOrd="1" destOrd="0" parTransId="{3A96D4DA-B16D-4D75-B830-A41668D9C2CF}" sibTransId="{D8A50A71-FEA2-4FBB-B517-4DDF8A1AA999}"/>
    <dgm:cxn modelId="{CAD1120D-D98D-4C7B-BCFF-8EC914804046}" type="presParOf" srcId="{F33EFDAF-1D22-4D04-B642-5E0E65E21A74}" destId="{EB1C299C-A1B0-4E7D-9E6A-B479A07C8605}" srcOrd="0" destOrd="0" presId="urn:microsoft.com/office/officeart/2005/8/layout/target1"/>
    <dgm:cxn modelId="{D8D2974F-919F-4AF1-A721-5533D7E17CD1}" type="presParOf" srcId="{F33EFDAF-1D22-4D04-B642-5E0E65E21A74}" destId="{9CCDB8C1-643D-4FF0-8D99-E8F7E5A4AAF0}" srcOrd="1" destOrd="0" presId="urn:microsoft.com/office/officeart/2005/8/layout/target1"/>
    <dgm:cxn modelId="{ABBD9837-ABAD-45E4-9A6F-7EBDD5961BDC}" type="presParOf" srcId="{F33EFDAF-1D22-4D04-B642-5E0E65E21A74}" destId="{DC4D1AF2-F4EF-4BA4-A60F-0CC2F973B7AE}" srcOrd="2" destOrd="0" presId="urn:microsoft.com/office/officeart/2005/8/layout/target1"/>
    <dgm:cxn modelId="{B6E6BECE-F817-407D-A44F-EC1A19439135}" type="presParOf" srcId="{F33EFDAF-1D22-4D04-B642-5E0E65E21A74}" destId="{D8491AB2-AAA7-406E-808A-0A90AAD25ED8}" srcOrd="3" destOrd="0" presId="urn:microsoft.com/office/officeart/2005/8/layout/target1"/>
    <dgm:cxn modelId="{4515644E-4767-4DDA-9303-75DDD3CE6A41}" type="presParOf" srcId="{F33EFDAF-1D22-4D04-B642-5E0E65E21A74}" destId="{54B2184F-64D9-4A0B-88F6-2EE5FED13D1D}" srcOrd="4" destOrd="0" presId="urn:microsoft.com/office/officeart/2005/8/layout/target1"/>
    <dgm:cxn modelId="{4EDABC39-64C5-4D75-A441-E299A6E60020}" type="presParOf" srcId="{F33EFDAF-1D22-4D04-B642-5E0E65E21A74}" destId="{7289F5C5-EDF4-4D9B-A142-F99ECDEB2A72}" srcOrd="5" destOrd="0" presId="urn:microsoft.com/office/officeart/2005/8/layout/target1"/>
    <dgm:cxn modelId="{FD0D2BA4-78BC-4F13-8B30-4955983040D7}" type="presParOf" srcId="{F33EFDAF-1D22-4D04-B642-5E0E65E21A74}" destId="{7059B44A-EB66-4473-A0AC-9B187B57E81D}" srcOrd="6" destOrd="0" presId="urn:microsoft.com/office/officeart/2005/8/layout/target1"/>
    <dgm:cxn modelId="{ECD528A7-5265-4CF6-984F-41AF7A19F819}" type="presParOf" srcId="{F33EFDAF-1D22-4D04-B642-5E0E65E21A74}" destId="{F27955B8-765E-46A0-8092-3A6CE1EC0AC4}" srcOrd="7" destOrd="0" presId="urn:microsoft.com/office/officeart/2005/8/layout/target1"/>
    <dgm:cxn modelId="{C3F5425E-20E3-4D80-B208-E29535E72BEF}" type="presParOf" srcId="{F33EFDAF-1D22-4D04-B642-5E0E65E21A74}" destId="{5980B94D-CE38-4C59-9EC0-29AD79862A18}" srcOrd="8" destOrd="0" presId="urn:microsoft.com/office/officeart/2005/8/layout/target1"/>
    <dgm:cxn modelId="{43C0C07E-A21D-4EA6-A862-52F5BD80BD0F}" type="presParOf" srcId="{F33EFDAF-1D22-4D04-B642-5E0E65E21A74}" destId="{E1975FED-20CD-48DC-AF78-003F67172798}" srcOrd="9" destOrd="0" presId="urn:microsoft.com/office/officeart/2005/8/layout/target1"/>
    <dgm:cxn modelId="{1249B4F0-6FC4-4475-990B-863AAC67D73C}" type="presParOf" srcId="{F33EFDAF-1D22-4D04-B642-5E0E65E21A74}" destId="{8DC3104A-D810-4E42-8400-CA06A2D160F6}" srcOrd="10" destOrd="0" presId="urn:microsoft.com/office/officeart/2005/8/layout/target1"/>
    <dgm:cxn modelId="{DFAF0683-5B3B-4F61-9F4D-39AF9651490F}" type="presParOf" srcId="{F33EFDAF-1D22-4D04-B642-5E0E65E21A74}" destId="{84E7C968-95DD-4118-98DB-26597AB4D347}" srcOrd="11" destOrd="0" presId="urn:microsoft.com/office/officeart/2005/8/layout/target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80B94D-CE38-4C59-9EC0-29AD79862A18}">
      <dsp:nvSpPr>
        <dsp:cNvPr id="0" name=""/>
        <dsp:cNvSpPr/>
      </dsp:nvSpPr>
      <dsp:spPr>
        <a:xfrm>
          <a:off x="300870" y="825043"/>
          <a:ext cx="2475129" cy="2475129"/>
        </a:xfrm>
        <a:prstGeom prst="ellipse">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4B2184F-64D9-4A0B-88F6-2EE5FED13D1D}">
      <dsp:nvSpPr>
        <dsp:cNvPr id="0" name=""/>
        <dsp:cNvSpPr/>
      </dsp:nvSpPr>
      <dsp:spPr>
        <a:xfrm>
          <a:off x="795895" y="1320069"/>
          <a:ext cx="1485077" cy="1485077"/>
        </a:xfrm>
        <a:prstGeom prst="ellipse">
          <a:avLst/>
        </a:prstGeom>
        <a:solidFill>
          <a:schemeClr val="accent2">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B1C299C-A1B0-4E7D-9E6A-B479A07C8605}">
      <dsp:nvSpPr>
        <dsp:cNvPr id="0" name=""/>
        <dsp:cNvSpPr/>
      </dsp:nvSpPr>
      <dsp:spPr>
        <a:xfrm>
          <a:off x="1290921" y="1815095"/>
          <a:ext cx="495025" cy="495025"/>
        </a:xfrm>
        <a:prstGeom prst="ellipse">
          <a:avLst/>
        </a:prstGeom>
        <a:solidFill>
          <a:schemeClr val="accent2">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CCDB8C1-643D-4FF0-8D99-E8F7E5A4AAF0}">
      <dsp:nvSpPr>
        <dsp:cNvPr id="0" name=""/>
        <dsp:cNvSpPr/>
      </dsp:nvSpPr>
      <dsp:spPr>
        <a:xfrm>
          <a:off x="3229441" y="0"/>
          <a:ext cx="1155724" cy="7219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13970" rIns="13970" bIns="13970" numCol="1" spcCol="1270" anchor="ctr" anchorCtr="0">
          <a:noAutofit/>
        </a:bodyPr>
        <a:lstStyle/>
        <a:p>
          <a:pPr lvl="0" algn="l" defTabSz="488950">
            <a:lnSpc>
              <a:spcPct val="90000"/>
            </a:lnSpc>
            <a:spcBef>
              <a:spcPct val="0"/>
            </a:spcBef>
            <a:spcAft>
              <a:spcPct val="35000"/>
            </a:spcAft>
          </a:pPr>
          <a:r>
            <a:rPr lang="en-US" sz="1100" b="1" kern="1200" dirty="0">
              <a:latin typeface="Arial" panose="020B0604020202020204" pitchFamily="34" charset="0"/>
              <a:cs typeface="Arial" panose="020B0604020202020204" pitchFamily="34" charset="0"/>
            </a:rPr>
            <a:t>AGRA</a:t>
          </a:r>
        </a:p>
        <a:p>
          <a:pPr lvl="0" algn="l" defTabSz="488950">
            <a:lnSpc>
              <a:spcPct val="90000"/>
            </a:lnSpc>
            <a:spcBef>
              <a:spcPct val="0"/>
            </a:spcBef>
            <a:spcAft>
              <a:spcPct val="35000"/>
            </a:spcAft>
          </a:pPr>
          <a:r>
            <a:rPr lang="en-US" sz="1100" b="1" kern="1200" dirty="0">
              <a:latin typeface="Arial" panose="020B0604020202020204" pitchFamily="34" charset="0"/>
              <a:cs typeface="Arial" panose="020B0604020202020204" pitchFamily="34" charset="0"/>
            </a:rPr>
            <a:t>&lt;1%</a:t>
          </a:r>
        </a:p>
      </dsp:txBody>
      <dsp:txXfrm>
        <a:off x="3229441" y="0"/>
        <a:ext cx="1155724" cy="721912"/>
      </dsp:txXfrm>
    </dsp:sp>
    <dsp:sp modelId="{DC4D1AF2-F4EF-4BA4-A60F-0CC2F973B7AE}">
      <dsp:nvSpPr>
        <dsp:cNvPr id="0" name=""/>
        <dsp:cNvSpPr/>
      </dsp:nvSpPr>
      <dsp:spPr>
        <a:xfrm>
          <a:off x="2879130" y="360956"/>
          <a:ext cx="309391"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8491AB2-AAA7-406E-808A-0A90AAD25ED8}">
      <dsp:nvSpPr>
        <dsp:cNvPr id="0" name=""/>
        <dsp:cNvSpPr/>
      </dsp:nvSpPr>
      <dsp:spPr>
        <a:xfrm rot="5400000">
          <a:off x="1357544" y="542259"/>
          <a:ext cx="1701239" cy="1339457"/>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289F5C5-EDF4-4D9B-A142-F99ECDEB2A72}">
      <dsp:nvSpPr>
        <dsp:cNvPr id="0" name=""/>
        <dsp:cNvSpPr/>
      </dsp:nvSpPr>
      <dsp:spPr>
        <a:xfrm>
          <a:off x="3033002" y="721912"/>
          <a:ext cx="1548602" cy="7219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13970" rIns="13970" bIns="13970" numCol="1" spcCol="1270" anchor="ctr" anchorCtr="0">
          <a:noAutofit/>
        </a:bodyPr>
        <a:lstStyle/>
        <a:p>
          <a:pPr lvl="0" algn="l" defTabSz="488950">
            <a:lnSpc>
              <a:spcPct val="90000"/>
            </a:lnSpc>
            <a:spcBef>
              <a:spcPct val="0"/>
            </a:spcBef>
            <a:spcAft>
              <a:spcPct val="35000"/>
            </a:spcAft>
          </a:pPr>
          <a:r>
            <a:rPr lang="en-US" sz="1100" kern="1200" dirty="0">
              <a:latin typeface="Arial" panose="020B0604020202020204" pitchFamily="34" charset="0"/>
              <a:cs typeface="Arial" panose="020B0604020202020204" pitchFamily="34" charset="0"/>
            </a:rPr>
            <a:t>Government of Mali</a:t>
          </a:r>
          <a:r>
            <a:rPr lang="en-US" sz="1100" kern="1200" baseline="30000" dirty="0">
              <a:latin typeface="Arial" panose="020B0604020202020204" pitchFamily="34" charset="0"/>
              <a:cs typeface="Arial" panose="020B0604020202020204" pitchFamily="34" charset="0"/>
            </a:rPr>
            <a:t>2</a:t>
          </a:r>
        </a:p>
        <a:p>
          <a:pPr lvl="0" algn="l" defTabSz="488950">
            <a:lnSpc>
              <a:spcPct val="90000"/>
            </a:lnSpc>
            <a:spcBef>
              <a:spcPct val="0"/>
            </a:spcBef>
            <a:spcAft>
              <a:spcPct val="35000"/>
            </a:spcAft>
          </a:pPr>
          <a:r>
            <a:rPr lang="en-US" sz="1100" kern="1200" dirty="0">
              <a:latin typeface="Arial" panose="020B0604020202020204" pitchFamily="34" charset="0"/>
              <a:cs typeface="Arial" panose="020B0604020202020204" pitchFamily="34" charset="0"/>
            </a:rPr>
            <a:t>~$ 900M</a:t>
          </a:r>
        </a:p>
      </dsp:txBody>
      <dsp:txXfrm>
        <a:off x="3033002" y="721912"/>
        <a:ext cx="1548602" cy="721912"/>
      </dsp:txXfrm>
    </dsp:sp>
    <dsp:sp modelId="{7059B44A-EB66-4473-A0AC-9B187B57E81D}">
      <dsp:nvSpPr>
        <dsp:cNvPr id="0" name=""/>
        <dsp:cNvSpPr/>
      </dsp:nvSpPr>
      <dsp:spPr>
        <a:xfrm>
          <a:off x="2879130" y="1082869"/>
          <a:ext cx="309391"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27955B8-765E-46A0-8092-3A6CE1EC0AC4}">
      <dsp:nvSpPr>
        <dsp:cNvPr id="0" name=""/>
        <dsp:cNvSpPr/>
      </dsp:nvSpPr>
      <dsp:spPr>
        <a:xfrm rot="5400000">
          <a:off x="1722708" y="1252910"/>
          <a:ext cx="1325679" cy="984689"/>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1975FED-20CD-48DC-AF78-003F67172798}">
      <dsp:nvSpPr>
        <dsp:cNvPr id="0" name=""/>
        <dsp:cNvSpPr/>
      </dsp:nvSpPr>
      <dsp:spPr>
        <a:xfrm>
          <a:off x="3007632" y="1443825"/>
          <a:ext cx="1599342" cy="7219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13970" rIns="13970" bIns="13970" numCol="1" spcCol="1270" anchor="ctr" anchorCtr="0">
          <a:noAutofit/>
        </a:bodyPr>
        <a:lstStyle/>
        <a:p>
          <a:pPr lvl="0" algn="l" defTabSz="488950">
            <a:lnSpc>
              <a:spcPct val="90000"/>
            </a:lnSpc>
            <a:spcBef>
              <a:spcPct val="0"/>
            </a:spcBef>
            <a:spcAft>
              <a:spcPct val="35000"/>
            </a:spcAft>
          </a:pPr>
          <a:r>
            <a:rPr lang="en-US" sz="1100" b="1" kern="1200" dirty="0">
              <a:latin typeface="Arial" panose="020B0604020202020204" pitchFamily="34" charset="0"/>
              <a:cs typeface="Arial" panose="020B0604020202020204" pitchFamily="34" charset="0"/>
            </a:rPr>
            <a:t>Donors</a:t>
          </a:r>
          <a:r>
            <a:rPr lang="en-US" sz="1100" b="1" kern="1200" baseline="30000" dirty="0">
              <a:latin typeface="Arial" panose="020B0604020202020204" pitchFamily="34" charset="0"/>
              <a:cs typeface="Arial" panose="020B0604020202020204" pitchFamily="34" charset="0"/>
            </a:rPr>
            <a:t>3</a:t>
          </a:r>
          <a:r>
            <a:rPr lang="en-US" sz="1100" b="1" kern="1200" dirty="0">
              <a:latin typeface="Arial" panose="020B0604020202020204" pitchFamily="34" charset="0"/>
              <a:cs typeface="Arial" panose="020B0604020202020204" pitchFamily="34" charset="0"/>
            </a:rPr>
            <a:t> </a:t>
          </a:r>
        </a:p>
        <a:p>
          <a:pPr lvl="0" algn="l" defTabSz="488950">
            <a:lnSpc>
              <a:spcPct val="90000"/>
            </a:lnSpc>
            <a:spcBef>
              <a:spcPct val="0"/>
            </a:spcBef>
            <a:spcAft>
              <a:spcPct val="35000"/>
            </a:spcAft>
          </a:pPr>
          <a:r>
            <a:rPr lang="en-US" sz="1100" b="1" kern="1200" dirty="0">
              <a:latin typeface="Arial" panose="020B0604020202020204" pitchFamily="34" charset="0"/>
              <a:cs typeface="Arial" panose="020B0604020202020204" pitchFamily="34" charset="0"/>
            </a:rPr>
            <a:t>~4.5B</a:t>
          </a:r>
        </a:p>
      </dsp:txBody>
      <dsp:txXfrm>
        <a:off x="3007632" y="1443825"/>
        <a:ext cx="1599342" cy="721912"/>
      </dsp:txXfrm>
    </dsp:sp>
    <dsp:sp modelId="{8DC3104A-D810-4E42-8400-CA06A2D160F6}">
      <dsp:nvSpPr>
        <dsp:cNvPr id="0" name=""/>
        <dsp:cNvSpPr/>
      </dsp:nvSpPr>
      <dsp:spPr>
        <a:xfrm>
          <a:off x="2879130" y="1804782"/>
          <a:ext cx="309391"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4E7C968-95DD-4118-98DB-26597AB4D347}">
      <dsp:nvSpPr>
        <dsp:cNvPr id="0" name=""/>
        <dsp:cNvSpPr/>
      </dsp:nvSpPr>
      <dsp:spPr>
        <a:xfrm rot="5400000">
          <a:off x="2088326" y="1962984"/>
          <a:ext cx="947149" cy="62992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target1">
  <dgm:title val=""/>
  <dgm:desc val=""/>
  <dgm:catLst>
    <dgm:cat type="relationship" pri="25000"/>
    <dgm:cat type="convert" pri="2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ite">
    <dgm:varLst>
      <dgm:chMax val="5"/>
      <dgm:dir/>
      <dgm:resizeHandles val="exact"/>
    </dgm:varLst>
    <dgm:alg type="composite">
      <dgm:param type="ar" val="1.25"/>
    </dgm:alg>
    <dgm:shape xmlns:r="http://schemas.openxmlformats.org/officeDocument/2006/relationships" r:blip="">
      <dgm:adjLst/>
    </dgm:shape>
    <dgm:presOf/>
    <dgm:choose name="Name0">
      <dgm:if name="Name1" func="var" arg="dir" op="equ" val="norm">
        <dgm:choose name="Name2">
          <dgm:if name="Name3" axis="ch" ptType="node" func="cnt" op="equ" val="0">
            <dgm:constrLst/>
          </dgm:if>
          <dgm:if name="Name4" axis="ch" ptType="node" func="cnt" op="equ" val="1">
            <dgm:constrLst>
              <dgm:constr type="primFontSz" for="des" ptType="node" op="equ" val="65"/>
              <dgm:constr type="w" for="ch" forName="circle1" refType="w" fact="0.6"/>
              <dgm:constr type="h" for="ch" forName="circle1" refType="w" refFor="ch" refForName="circle1"/>
              <dgm:constr type="ctrX" for="ch" forName="circle1" refType="w" fact="0.3"/>
              <dgm:constr type="ctrY" for="ch" forName="circle1" refType="h" fact="0.625"/>
              <dgm:constr type="w" for="ch" forName="text1" refType="w" fact="0.3"/>
              <dgm:constr type="h" for="ch" forName="text1" refType="h" fact="0.3125"/>
              <dgm:constr type="r" for="ch" forName="text1" refType="w"/>
              <dgm:constr type="t" for="ch" forName="text1"/>
              <dgm:constr type="l" for="ch" forName="line1" refType="w" fact="0.625"/>
              <dgm:constr type="ctrY" for="ch" forName="line1" refType="ctrY" refFor="ch" refForName="text1"/>
              <dgm:constr type="r" for="ch" forName="line1" refType="l" refFor="ch" refForName="text1"/>
              <dgm:constr type="h" for="ch" forName="line1"/>
              <dgm:constr type="l" for="ch" forName="d1" refType="w" fact="0.3"/>
              <dgm:constr type="b" for="ch" forName="d1" refType="h" fact="0.625"/>
              <dgm:constr type="w" for="ch" forName="d1" refType="w" fact="0.32475"/>
              <dgm:constr type="h" for="ch" forName="d1" refType="h" fact="0.469"/>
            </dgm:constrLst>
          </dgm:if>
          <dgm:if name="Name5" axis="ch" ptType="node" func="cnt" op="equ" val="2">
            <dgm:constrLst>
              <dgm:constr type="primFontSz" for="des" ptType="node" op="equ" val="65"/>
              <dgm:constr type="w" for="ch" forName="circle1" refType="w" fact="0.2"/>
              <dgm:constr type="h" for="ch" forName="circle1" refType="w" refFor="ch" refForName="circle1"/>
              <dgm:constr type="ctrX" for="ch" forName="circle1" refType="w" fact="0.3"/>
              <dgm:constr type="ctrY" for="ch" forName="circle1" refType="h" fact="0.625"/>
              <dgm:constr type="w" for="ch" forName="text1" refType="w" fact="0.3"/>
              <dgm:constr type="h" for="ch" forName="text1" refType="h" fact="0.3125"/>
              <dgm:constr type="r" for="ch" forName="text1" refType="w"/>
              <dgm:constr type="t" for="ch" forName="text1"/>
              <dgm:constr type="l" for="ch" forName="line1" refType="w" fact="0.625"/>
              <dgm:constr type="ctrY" for="ch" forName="line1" refType="ctrY" refFor="ch" refForName="text1"/>
              <dgm:constr type="w" for="ch" forName="line1" refType="w" fact="0.075"/>
              <dgm:constr type="h" for="ch" forName="line1"/>
              <dgm:constr type="l" for="ch" forName="d1" refType="w" fact="0.3"/>
              <dgm:constr type="b" for="ch" forName="d1" refType="h" fact="0.625"/>
              <dgm:constr type="w" for="ch" forName="d1" refType="w" fact="0.32475"/>
              <dgm:constr type="h" for="ch" forName="d1" refType="h" fact="0.469"/>
              <dgm:constr type="w" for="ch" forName="circle2" refType="w" fact="0.6"/>
              <dgm:constr type="h" for="ch" forName="circle2" refType="w" refFor="ch" refForName="circle2"/>
              <dgm:constr type="ctrX" for="ch" forName="circle2" refType="w" fact="0.3"/>
              <dgm:constr type="ctrY" for="ch" forName="circle2" refType="h" fact="0.625"/>
              <dgm:constr type="w" for="ch" forName="text2" refType="w" fact="0.3"/>
              <dgm:constr type="h" for="ch" forName="text2" refType="h" fact="0.3125"/>
              <dgm:constr type="r" for="ch" forName="text2" refType="w"/>
              <dgm:constr type="t" for="ch" forName="text2" refType="b" refFor="ch" refForName="text1"/>
              <dgm:constr type="l" for="ch" forName="line2" refType="w" fact="0.625"/>
              <dgm:constr type="ctrY" for="ch" forName="line2" refType="ctrY" refFor="ch" refForName="text2"/>
              <dgm:constr type="w" for="ch" forName="line2" refType="w" fact="0.075"/>
              <dgm:constr type="h" for="ch" forName="line2"/>
              <dgm:constr type="l" for="ch" forName="d2" refType="w" fact="0.44325"/>
              <dgm:constr type="b" for="ch" forName="d2" refType="h" fact="0.7975"/>
              <dgm:constr type="w" for="ch" forName="d2" refType="w" fact="0.1815"/>
              <dgm:constr type="h" for="ch" forName="d2" refType="h" fact="0.3283"/>
            </dgm:constrLst>
          </dgm:if>
          <dgm:if name="Name6" axis="ch" ptType="node" func="cnt" op="equ" val="3">
            <dgm:constrLst>
              <dgm:constr type="primFontSz" for="des" ptType="node" op="equ" val="65"/>
              <dgm:constr type="w" for="ch" forName="circle1" refType="w" fact="0.12"/>
              <dgm:constr type="h" for="ch" forName="circle1" refType="w" refFor="ch" refForName="circle1"/>
              <dgm:constr type="ctrX" for="ch" forName="circle1" refType="w" fact="0.3"/>
              <dgm:constr type="ctrY" for="ch" forName="circle1" refType="h" fact="0.625"/>
              <dgm:constr type="w" for="ch" forName="text1" refType="w" fact="0.3"/>
              <dgm:constr type="h" for="ch" forName="text1" refType="h" fact="0.21875"/>
              <dgm:constr type="r" for="ch" forName="text1" refType="w"/>
              <dgm:constr type="t" for="ch" forName="text1"/>
              <dgm:constr type="l" for="ch" forName="line1" refType="w" fact="0.625"/>
              <dgm:constr type="ctrY" for="ch" forName="line1" refType="ctrY" refFor="ch" refForName="text1"/>
              <dgm:constr type="w" for="ch" forName="line1" refType="w" fact="0.075"/>
              <dgm:constr type="h" for="ch" forName="line1"/>
              <dgm:constr type="l" for="ch" forName="d1" refType="w" fact="0.3"/>
              <dgm:constr type="b" for="ch" forName="d1" refType="h" fact="0.625"/>
              <dgm:constr type="w" for="ch" forName="d1" refType="w" fact="0.3247"/>
              <dgm:constr type="h" for="ch" forName="d1" refType="h" fact="0.5155"/>
              <dgm:constr type="w" for="ch" forName="circle2" refType="w" fact="0.36"/>
              <dgm:constr type="h" for="ch" forName="circle2" refType="w" refFor="ch" refForName="circle2"/>
              <dgm:constr type="ctrX" for="ch" forName="circle2" refType="w" fact="0.3"/>
              <dgm:constr type="ctrY" for="ch" forName="circle2" refType="h" fact="0.625"/>
              <dgm:constr type="w" for="ch" forName="text2" refType="w" fact="0.3"/>
              <dgm:constr type="h" for="ch" forName="text2" refType="h" fact="0.21875"/>
              <dgm:constr type="r" for="ch" forName="text2" refType="w"/>
              <dgm:constr type="t" for="ch" forName="text2" refType="b" refFor="ch" refForName="text1"/>
              <dgm:constr type="l" for="ch" forName="line2" refType="w" fact="0.625"/>
              <dgm:constr type="ctrY" for="ch" forName="line2" refType="ctrY" refFor="ch" refForName="text2"/>
              <dgm:constr type="w" for="ch" forName="line2" refType="w" fact="0.075"/>
              <dgm:constr type="h" for="ch" forName="line2"/>
              <dgm:constr type="l" for="ch" forName="d2" refType="w" fact="0.386"/>
              <dgm:constr type="b" for="ch" forName="d2" refType="h" fact="0.72969"/>
              <dgm:constr type="w" for="ch" forName="d2" refType="w" fact="0.2387"/>
              <dgm:constr type="h" for="ch" forName="d2" refType="h" fact="0.4017"/>
              <dgm:constr type="w" for="ch" forName="circle3" refType="w" fact="0.6"/>
              <dgm:constr type="h" for="ch" forName="circle3" refType="w" refFor="ch" refForName="circle3"/>
              <dgm:constr type="ctrX" for="ch" forName="circle3" refType="ctrX" refFor="ch" refForName="circle1"/>
              <dgm:constr type="ctrY" for="ch" forName="circle3" refType="ctrY" refFor="ch" refForName="circle1"/>
              <dgm:constr type="w" for="ch" forName="text3" refType="w" fact="0.3"/>
              <dgm:constr type="h" for="ch" forName="text3" refType="h" fact="0.21875"/>
              <dgm:constr type="r" for="ch" forName="text3" refType="w"/>
              <dgm:constr type="t" for="ch" forName="text3" refType="b" refFor="ch" refForName="text2"/>
              <dgm:constr type="l" for="ch" forName="line3" refType="w" fact="0.625"/>
              <dgm:constr type="ctrY" for="ch" forName="line3" refType="ctrY" refFor="ch" refForName="text3"/>
              <dgm:constr type="w" for="ch" forName="line3" refType="w" fact="0.075"/>
              <dgm:constr type="h" for="ch" forName="line3"/>
              <dgm:constr type="l" for="ch" forName="d3" refType="w" fact="0.47175"/>
              <dgm:constr type="b" for="ch" forName="d3" refType="h" fact="0.83375"/>
              <dgm:constr type="w" for="ch" forName="d3" refType="w" fact="0.1527"/>
              <dgm:constr type="h" for="ch" forName="d3" refType="h" fact="0.287"/>
            </dgm:constrLst>
          </dgm:if>
          <dgm:if name="Name7" axis="ch" ptType="node" func="cnt" op="equ" val="4">
            <dgm:constrLst>
              <dgm:constr type="primFontSz" for="des" ptType="node" op="equ" val="65"/>
              <dgm:constr type="w" for="ch" forName="circle1" refType="w" fact="0.0857"/>
              <dgm:constr type="h" for="ch" forName="circle1" refType="w" refFor="ch" refForName="circle1"/>
              <dgm:constr type="ctrX" for="ch" forName="circle1" refType="w" fact="0.3"/>
              <dgm:constr type="ctrY" for="ch" forName="circle1" refType="h" fact="0.625"/>
              <dgm:constr type="w" for="ch" forName="text1" refType="w" fact="0.3"/>
              <dgm:constr type="h" for="ch" forName="text1" refType="h" fact="0.17938"/>
              <dgm:constr type="r" for="ch" forName="text1" refType="w"/>
              <dgm:constr type="t" for="ch" forName="text1"/>
              <dgm:constr type="l" for="ch" forName="line1" refType="w" fact="0.625"/>
              <dgm:constr type="ctrY" for="ch" forName="line1" refType="ctrY" refFor="ch" refForName="text1"/>
              <dgm:constr type="w" for="ch" forName="line1" refType="w" fact="0.075"/>
              <dgm:constr type="h" for="ch" forName="line1"/>
              <dgm:constr type="l" for="ch" forName="d1" refType="w" fact="0.295"/>
              <dgm:constr type="b" for="ch" forName="d1" refType="h" fact="0.62"/>
              <dgm:constr type="w" for="ch" forName="d1" refType="w" fact="0.33"/>
              <dgm:constr type="h" for="ch" forName="d1" refType="h" fact="0.53"/>
              <dgm:constr type="w" for="ch" forName="circle2" refType="w" fact="0.2571"/>
              <dgm:constr type="h" for="ch" forName="circle2" refType="w" refFor="ch" refForName="circle2"/>
              <dgm:constr type="ctrX" for="ch" forName="circle2" refType="w" fact="0.3"/>
              <dgm:constr type="ctrY" for="ch" forName="circle2" refType="h" fact="0.625"/>
              <dgm:constr type="w" for="ch" forName="text2" refType="w" fact="0.3"/>
              <dgm:constr type="h" for="ch" forName="text2" refType="h" fact="0.17938"/>
              <dgm:constr type="r" for="ch" forName="text2" refType="w"/>
              <dgm:constr type="t" for="ch" forName="text2" refType="b" refFor="ch" refForName="text1"/>
              <dgm:constr type="l" for="ch" forName="line2" refType="w" fact="0.625"/>
              <dgm:constr type="ctrY" for="ch" forName="line2" refType="ctrY" refFor="ch" refForName="text2"/>
              <dgm:constr type="w" for="ch" forName="line2" refType="w" fact="0.075"/>
              <dgm:constr type="h" for="ch" forName="line2"/>
              <dgm:constr type="l" for="ch" forName="d2" refType="w" fact="0.36625"/>
              <dgm:constr type="b" for="ch" forName="d2" refType="h" fact="0.70438"/>
              <dgm:constr type="w" for="ch" forName="d2" refType="w" fact="0.2585"/>
              <dgm:constr type="h" for="ch" forName="d2" refType="h" fact="0.43525"/>
              <dgm:constr type="w" for="ch" forName="circle3" refType="w" fact="0.4285"/>
              <dgm:constr type="h" for="ch" forName="circle3" refType="w" refFor="ch" refForName="circle3"/>
              <dgm:constr type="ctrX" for="ch" forName="circle3" refType="ctrX" refFor="ch" refForName="circle1"/>
              <dgm:constr type="ctrY" for="ch" forName="circle3" refType="ctrY" refFor="ch" refForName="circle1"/>
              <dgm:constr type="w" for="ch" forName="text3" refType="w" fact="0.3"/>
              <dgm:constr type="h" for="ch" forName="text3" refType="h" fact="0.17938"/>
              <dgm:constr type="r" for="ch" forName="text3" refType="w"/>
              <dgm:constr type="t" for="ch" forName="text3" refType="b" refFor="ch" refForName="text2"/>
              <dgm:constr type="l" for="ch" forName="line3" refType="w" fact="0.625"/>
              <dgm:constr type="ctrY" for="ch" forName="line3" refType="ctrY" refFor="ch" refForName="text3"/>
              <dgm:constr type="w" for="ch" forName="line3" refType="w" fact="0.075"/>
              <dgm:constr type="h" for="ch" forName="line3"/>
              <dgm:constr type="l" for="ch" forName="d3" refType="w" fact="0.4255"/>
              <dgm:constr type="b" for="ch" forName="d3" refType="h" fact="0.78031"/>
              <dgm:constr type="w" for="ch" forName="d3" refType="w" fact="0.1995"/>
              <dgm:constr type="h" for="ch" forName="d3" refType="h" fact="0.332"/>
              <dgm:constr type="w" for="ch" forName="circle4" refType="w" fact="0.6"/>
              <dgm:constr type="h" for="ch" forName="circle4" refType="w" refFor="ch" refForName="circle4"/>
              <dgm:constr type="ctrX" for="ch" forName="circle4" refType="ctrX" refFor="ch" refForName="circle1"/>
              <dgm:constr type="ctrY" for="ch" forName="circle4" refType="ctrY" refFor="ch" refForName="circle1"/>
              <dgm:constr type="w" for="ch" forName="text4" refType="w" fact="0.3"/>
              <dgm:constr type="h" for="ch" forName="text4" refType="h" fact="0.17938"/>
              <dgm:constr type="r" for="ch" forName="text4" refType="w"/>
              <dgm:constr type="t" for="ch" forName="text4" refType="b" refFor="ch" refForName="text3"/>
              <dgm:constr type="l" for="ch" forName="line4" refType="w" fact="0.625"/>
              <dgm:constr type="ctrY" for="ch" forName="line4" refType="ctrY" refFor="ch" refForName="text4"/>
              <dgm:constr type="w" for="ch" forName="line4" refType="w" fact="0.075"/>
              <dgm:constr type="h" for="ch" forName="line4"/>
              <dgm:constr type="l" for="ch" forName="d4" refType="w" fact="0.48525"/>
              <dgm:constr type="b" for="ch" forName="d4" refType="h" fact="0.85594"/>
              <dgm:constr type="w" for="ch" forName="d4" refType="w" fact="0.1394"/>
              <dgm:constr type="h" for="ch" forName="d4" refType="h" fact="0.2282"/>
            </dgm:constrLst>
          </dgm:if>
          <dgm:if name="Name8" axis="ch" ptType="node" func="cnt" op="gte" val="5">
            <dgm:constrLst>
              <dgm:constr type="primFontSz" for="des" ptType="node" op="equ" val="65"/>
              <dgm:constr type="w" for="ch" forName="circle1" refType="w" fact="0.0667"/>
              <dgm:constr type="h" for="ch" forName="circle1" refType="w" refFor="ch" refForName="circle1"/>
              <dgm:constr type="ctrX" for="ch" forName="circle1" refType="w" fact="0.3"/>
              <dgm:constr type="ctrY" for="ch" forName="circle1" refType="h" fact="0.625"/>
              <dgm:constr type="w" for="ch" forName="text1" refType="w" fact="0.3"/>
              <dgm:constr type="h" for="ch" forName="text1" refType="h" fact="0.1324"/>
              <dgm:constr type="r" for="ch" forName="text1" refType="w"/>
              <dgm:constr type="ctrY" for="ch" forName="text1" refType="h" fact="0.13"/>
              <dgm:constr type="l" for="ch" forName="line1" refType="w" fact="0.625"/>
              <dgm:constr type="ctrY" for="ch" forName="line1" refType="ctrY" refFor="ch" refForName="text1"/>
              <dgm:constr type="w" for="ch" forName="line1" refType="w" fact="0.075"/>
              <dgm:constr type="h" for="ch" forName="line1"/>
              <dgm:constr type="l" for="ch" forName="d1" refType="w" fact="0.3"/>
              <dgm:constr type="b" for="ch" forName="d1" refType="h" fact="0.625"/>
              <dgm:constr type="w" for="ch" forName="d1" refType="w" fact="0.3245"/>
              <dgm:constr type="h" for="ch" forName="d1" refType="h" fact="0.495"/>
              <dgm:constr type="w" for="ch" forName="circle2" refType="w" fact="0.2"/>
              <dgm:constr type="h" for="ch" forName="circle2" refType="w" refFor="ch" refForName="circle2"/>
              <dgm:constr type="ctrX" for="ch" forName="circle2" refType="w" fact="0.3"/>
              <dgm:constr type="ctrY" for="ch" forName="circle2" refType="h" fact="0.625"/>
              <dgm:constr type="w" for="ch" forName="text2" refType="w" fact="0.3"/>
              <dgm:constr type="h" for="ch" forName="text2" refType="h" fact="0.1324"/>
              <dgm:constr type="r" for="ch" forName="text2" refType="w"/>
              <dgm:constr type="ctrY" for="ch" forName="text2" refType="h" fact="0.27"/>
              <dgm:constr type="l" for="ch" forName="line2" refType="w" fact="0.625"/>
              <dgm:constr type="ctrY" for="ch" forName="line2" refType="ctrY" refFor="ch" refForName="text2"/>
              <dgm:constr type="w" for="ch" forName="line2" refType="w" fact="0.075"/>
              <dgm:constr type="h" for="ch" forName="line2"/>
              <dgm:constr type="l" for="ch" forName="d2" refType="w" fact="0.3498"/>
              <dgm:constr type="b" for="ch" forName="d2" refType="h" fact="0.682"/>
              <dgm:constr type="w" for="ch" forName="d2" refType="w" fact="0.275"/>
              <dgm:constr type="h" for="ch" forName="d2" refType="h" fact="0.41215"/>
              <dgm:constr type="w" for="ch" forName="circle3" refType="w" fact="0.3334"/>
              <dgm:constr type="h" for="ch" forName="circle3" refType="w" refFor="ch" refForName="circle3"/>
              <dgm:constr type="ctrX" for="ch" forName="circle3" refType="ctrX" refFor="ch" refForName="circle1"/>
              <dgm:constr type="ctrY" for="ch" forName="circle3" refType="ctrY" refFor="ch" refForName="circle1"/>
              <dgm:constr type="w" for="ch" forName="text3" refType="w" fact="0.3"/>
              <dgm:constr type="h" for="ch" forName="text3" refType="h" fact="0.1324"/>
              <dgm:constr type="r" for="ch" forName="text3" refType="w"/>
              <dgm:constr type="ctrY" for="ch" forName="text3" refType="h" fact="0.41"/>
              <dgm:constr type="l" for="ch" forName="line3" refType="w" fact="0.625"/>
              <dgm:constr type="ctrY" for="ch" forName="line3" refType="ctrY" refFor="ch" refForName="text3"/>
              <dgm:constr type="w" for="ch" forName="line3" refType="w" fact="0.075"/>
              <dgm:constr type="h" for="ch" forName="line3"/>
              <dgm:constr type="l" for="ch" forName="d3" refType="w" fact="0.394"/>
              <dgm:constr type="b" for="ch" forName="d3" refType="h" fact="0.735"/>
              <dgm:constr type="w" for="ch" forName="d3" refType="w" fact="0.231"/>
              <dgm:constr type="h" for="ch" forName="d3" refType="h" fact="0.325"/>
              <dgm:constr type="w" for="ch" forName="circle4" refType="w" fact="0.4667"/>
              <dgm:constr type="h" for="ch" forName="circle4" refType="w" refFor="ch" refForName="circle4"/>
              <dgm:constr type="ctrX" for="ch" forName="circle4" refType="ctrX" refFor="ch" refForName="circle1"/>
              <dgm:constr type="ctrY" for="ch" forName="circle4" refType="ctrY" refFor="ch" refForName="circle1"/>
              <dgm:constr type="w" for="ch" forName="text4" refType="w" fact="0.3"/>
              <dgm:constr type="h" for="ch" forName="text4" refType="h" fact="0.1324"/>
              <dgm:constr type="r" for="ch" forName="text4" refType="w"/>
              <dgm:constr type="ctrY" for="ch" forName="text4" refType="h" fact="0.547"/>
              <dgm:constr type="l" for="ch" forName="line4" refType="w" fact="0.625"/>
              <dgm:constr type="ctrY" for="ch" forName="line4" refType="ctrY" refFor="ch" refForName="text4"/>
              <dgm:constr type="w" for="ch" forName="line4" refType="w" fact="0.075"/>
              <dgm:constr type="h" for="ch" forName="line4"/>
              <dgm:constr type="l" for="ch" forName="d4" refType="w" fact="0.446"/>
              <dgm:constr type="b" for="ch" forName="d4" refType="h" fact="0.795"/>
              <dgm:constr type="w" for="ch" forName="d4" refType="w" fact="0.179"/>
              <dgm:constr type="h" for="ch" forName="d4" refType="h" fact="0.248"/>
              <dgm:constr type="w" for="ch" forName="circle5" refType="w" fact="0.6"/>
              <dgm:constr type="h" for="ch" forName="circle5" refType="w" refFor="ch" refForName="circle5"/>
              <dgm:constr type="ctrX" for="ch" forName="circle5" refType="ctrX" refFor="ch" refForName="circle1"/>
              <dgm:constr type="ctrY" for="ch" forName="circle5" refType="ctrY" refFor="ch" refForName="circle1"/>
              <dgm:constr type="w" for="ch" forName="text5" refType="w" fact="0.3"/>
              <dgm:constr type="h" for="ch" forName="text5" refType="h" fact="0.1324"/>
              <dgm:constr type="r" for="ch" forName="text5" refType="w"/>
              <dgm:constr type="ctrY" for="ch" forName="text5" refType="h" fact="0.68"/>
              <dgm:constr type="l" for="ch" forName="line5" refType="w" fact="0.625"/>
              <dgm:constr type="ctrY" for="ch" forName="line5" refType="ctrY" refFor="ch" refForName="text5"/>
              <dgm:constr type="w" for="ch" forName="line5" refType="w" fact="0.075"/>
              <dgm:constr type="h" for="ch" forName="line5"/>
              <dgm:constr type="l" for="ch" forName="d5" refType="w" fact="0.495"/>
              <dgm:constr type="b" for="ch" forName="d5" refType="h" fact="0.855"/>
              <dgm:constr type="w" for="ch" forName="d5" refType="w" fact="0.13"/>
              <dgm:constr type="h" for="ch" forName="d5" refType="h" fact="0.175"/>
            </dgm:constrLst>
          </dgm:if>
          <dgm:else name="Name9"/>
        </dgm:choose>
      </dgm:if>
      <dgm:else name="Name10">
        <dgm:choose name="Name11">
          <dgm:if name="Name12" axis="ch" ptType="node" func="cnt" op="equ" val="0">
            <dgm:constrLst/>
          </dgm:if>
          <dgm:if name="Name13" axis="ch" ptType="node" func="cnt" op="equ" val="1">
            <dgm:constrLst>
              <dgm:constr type="primFontSz" for="des" ptType="node" op="equ" val="65"/>
              <dgm:constr type="w" for="ch" forName="circle1" refType="w" fact="0.6"/>
              <dgm:constr type="h" for="ch" forName="circle1" refType="w" refFor="ch" refForName="circle1"/>
              <dgm:constr type="ctrX" for="ch" forName="circle1" refType="w" fact="0.7"/>
              <dgm:constr type="ctrY" for="ch" forName="circle1" refType="h" fact="0.625"/>
              <dgm:constr type="w" for="ch" forName="text1" refType="w" fact="0.3"/>
              <dgm:constr type="h" for="ch" forName="text1" refType="h" fact="0.3125"/>
              <dgm:constr type="l" for="ch" forName="text1"/>
              <dgm:constr type="t" for="ch" forName="text1"/>
              <dgm:constr type="l" for="ch" forName="line1" refType="r" refFor="ch" refForName="text1"/>
              <dgm:constr type="ctrY" for="ch" forName="line1" refType="ctrY" refFor="ch" refForName="text1"/>
              <dgm:constr type="r" for="ch" forName="line1" refType="w" fact="0.375"/>
              <dgm:constr type="h" for="ch" forName="line1"/>
              <dgm:constr type="r" for="ch" forName="d1" refType="w" fact="0.7"/>
              <dgm:constr type="b" for="ch" forName="d1" refType="h" fact="0.625"/>
              <dgm:constr type="w" for="ch" forName="d1" refType="w" fact="0.32475"/>
              <dgm:constr type="h" for="ch" forName="d1" refType="h" fact="0.469"/>
            </dgm:constrLst>
          </dgm:if>
          <dgm:if name="Name14" axis="ch" ptType="node" func="cnt" op="equ" val="2">
            <dgm:constrLst>
              <dgm:constr type="primFontSz" for="des" ptType="node" op="equ" val="65"/>
              <dgm:constr type="w" for="ch" forName="circle1" refType="w" fact="0.2"/>
              <dgm:constr type="h" for="ch" forName="circle1" refType="w" refFor="ch" refForName="circle1"/>
              <dgm:constr type="ctrX" for="ch" forName="circle1" refType="w" fact="0.7"/>
              <dgm:constr type="ctrY" for="ch" forName="circle1" refType="h" fact="0.625"/>
              <dgm:constr type="w" for="ch" forName="text1" refType="w" fact="0.3"/>
              <dgm:constr type="h" for="ch" forName="text1" refType="h" fact="0.3125"/>
              <dgm:constr type="l" for="ch" forName="text1"/>
              <dgm:constr type="t" for="ch" forName="text1"/>
              <dgm:constr type="l" for="ch" forName="line1" refType="r" refFor="ch" refForName="text1"/>
              <dgm:constr type="ctrY" for="ch" forName="line1" refType="ctrY" refFor="ch" refForName="text1"/>
              <dgm:constr type="r" for="ch" forName="line1" refType="w" fact="0.375"/>
              <dgm:constr type="h" for="ch" forName="line1"/>
              <dgm:constr type="r" for="ch" forName="d1" refType="w" fact="0.7"/>
              <dgm:constr type="b" for="ch" forName="d1" refType="h" fact="0.625"/>
              <dgm:constr type="w" for="ch" forName="d1" refType="w" fact="0.32475"/>
              <dgm:constr type="h" for="ch" forName="d1" refType="h" fact="0.469"/>
              <dgm:constr type="w" for="ch" forName="circle2" refType="w" fact="0.6"/>
              <dgm:constr type="h" for="ch" forName="circle2" refType="w" refFor="ch" refForName="circle2"/>
              <dgm:constr type="ctrX" for="ch" forName="circle2" refType="w" fact="0.7"/>
              <dgm:constr type="ctrY" for="ch" forName="circle2" refType="h" fact="0.625"/>
              <dgm:constr type="w" for="ch" forName="text2" refType="w" fact="0.3"/>
              <dgm:constr type="h" for="ch" forName="text2" refType="h" fact="0.3125"/>
              <dgm:constr type="l" for="ch" forName="text2"/>
              <dgm:constr type="t" for="ch" forName="text2" refType="b" refFor="ch" refForName="text1"/>
              <dgm:constr type="l" for="ch" forName="line2" refType="r" refFor="ch" refForName="text2"/>
              <dgm:constr type="ctrY" for="ch" forName="line2" refType="ctrY" refFor="ch" refForName="text2"/>
              <dgm:constr type="r" for="ch" forName="line2" refType="w" fact="0.375"/>
              <dgm:constr type="h" for="ch" forName="line2"/>
              <dgm:constr type="r" for="ch" forName="d2" refType="w" fact="0.55675"/>
              <dgm:constr type="b" for="ch" forName="d2" refType="h" fact="0.7975"/>
              <dgm:constr type="w" for="ch" forName="d2" refType="w" fact="0.1815"/>
              <dgm:constr type="h" for="ch" forName="d2" refType="h" fact="0.3283"/>
            </dgm:constrLst>
          </dgm:if>
          <dgm:if name="Name15" axis="ch" ptType="node" func="cnt" op="equ" val="3">
            <dgm:constrLst>
              <dgm:constr type="primFontSz" for="des" ptType="node" op="equ" val="65"/>
              <dgm:constr type="w" for="ch" forName="circle1" refType="w" fact="0.12"/>
              <dgm:constr type="h" for="ch" forName="circle1" refType="w" refFor="ch" refForName="circle1"/>
              <dgm:constr type="ctrX" for="ch" forName="circle1" refType="w" fact="0.7"/>
              <dgm:constr type="ctrY" for="ch" forName="circle1" refType="h" fact="0.625"/>
              <dgm:constr type="w" for="ch" forName="text1" refType="w" fact="0.3"/>
              <dgm:constr type="h" for="ch" forName="text1" refType="h" fact="0.21875"/>
              <dgm:constr type="l" for="ch" forName="text1"/>
              <dgm:constr type="t" for="ch" forName="text1"/>
              <dgm:constr type="l" for="ch" forName="line1" refType="r" refFor="ch" refForName="text1"/>
              <dgm:constr type="ctrY" for="ch" forName="line1" refType="ctrY" refFor="ch" refForName="text1"/>
              <dgm:constr type="r" for="ch" forName="line1" refType="w" fact="0.375"/>
              <dgm:constr type="h" for="ch" forName="line1"/>
              <dgm:constr type="r" for="ch" forName="d1" refType="w" fact="0.7"/>
              <dgm:constr type="b" for="ch" forName="d1" refType="h" fact="0.625"/>
              <dgm:constr type="w" for="ch" forName="d1" refType="w" fact="0.3247"/>
              <dgm:constr type="h" for="ch" forName="d1" refType="h" fact="0.5155"/>
              <dgm:constr type="w" for="ch" forName="circle2" refType="w" fact="0.36"/>
              <dgm:constr type="h" for="ch" forName="circle2" refType="w" refFor="ch" refForName="circle2"/>
              <dgm:constr type="ctrX" for="ch" forName="circle2" refType="w" fact="0.7"/>
              <dgm:constr type="ctrY" for="ch" forName="circle2" refType="h" fact="0.625"/>
              <dgm:constr type="w" for="ch" forName="text2" refType="w" fact="0.3"/>
              <dgm:constr type="h" for="ch" forName="text2" refType="h" fact="0.21875"/>
              <dgm:constr type="l" for="ch" forName="text2"/>
              <dgm:constr type="t" for="ch" forName="text2" refType="b" refFor="ch" refForName="text1"/>
              <dgm:constr type="l" for="ch" forName="line2" refType="r" refFor="ch" refForName="text2"/>
              <dgm:constr type="ctrY" for="ch" forName="line2" refType="ctrY" refFor="ch" refForName="text2"/>
              <dgm:constr type="r" for="ch" forName="line2" refType="w" fact="0.375"/>
              <dgm:constr type="h" for="ch" forName="line2"/>
              <dgm:constr type="r" for="ch" forName="d2" refType="w" fact="0.614"/>
              <dgm:constr type="b" for="ch" forName="d2" refType="h" fact="0.72969"/>
              <dgm:constr type="w" for="ch" forName="d2" refType="w" fact="0.2387"/>
              <dgm:constr type="h" for="ch" forName="d2" refType="h" fact="0.4017"/>
              <dgm:constr type="w" for="ch" forName="circle3" refType="w" fact="0.6"/>
              <dgm:constr type="h" for="ch" forName="circle3" refType="w" refFor="ch" refForName="circle3"/>
              <dgm:constr type="ctrX" for="ch" forName="circle3" refType="ctrX" refFor="ch" refForName="circle1"/>
              <dgm:constr type="ctrY" for="ch" forName="circle3" refType="ctrY" refFor="ch" refForName="circle1"/>
              <dgm:constr type="w" for="ch" forName="text3" refType="w" fact="0.3"/>
              <dgm:constr type="h" for="ch" forName="text3" refType="h" fact="0.21875"/>
              <dgm:constr type="l" for="ch" forName="text3"/>
              <dgm:constr type="t" for="ch" forName="text3" refType="b" refFor="ch" refForName="text2"/>
              <dgm:constr type="l" for="ch" forName="line3" refType="r" refFor="ch" refForName="text3"/>
              <dgm:constr type="ctrY" for="ch" forName="line3" refType="ctrY" refFor="ch" refForName="text3"/>
              <dgm:constr type="r" for="ch" forName="line3" refType="w" fact="0.375"/>
              <dgm:constr type="h" for="ch" forName="line3"/>
              <dgm:constr type="r" for="ch" forName="d3" refType="w" fact="0.52825"/>
              <dgm:constr type="b" for="ch" forName="d3" refType="h" fact="0.83375"/>
              <dgm:constr type="w" for="ch" forName="d3" refType="w" fact="0.1527"/>
              <dgm:constr type="h" for="ch" forName="d3" refType="h" fact="0.287"/>
            </dgm:constrLst>
          </dgm:if>
          <dgm:if name="Name16" axis="ch" ptType="node" func="cnt" op="equ" val="4">
            <dgm:constrLst>
              <dgm:constr type="primFontSz" for="des" ptType="node" op="equ" val="65"/>
              <dgm:constr type="w" for="ch" forName="circle1" refType="w" fact="0.0857"/>
              <dgm:constr type="h" for="ch" forName="circle1" refType="w" refFor="ch" refForName="circle1"/>
              <dgm:constr type="ctrX" for="ch" forName="circle1" refType="w" fact="0.7"/>
              <dgm:constr type="ctrY" for="ch" forName="circle1" refType="h" fact="0.625"/>
              <dgm:constr type="w" for="ch" forName="text1" refType="w" fact="0.3"/>
              <dgm:constr type="h" for="ch" forName="text1" refType="h" fact="0.17938"/>
              <dgm:constr type="l" for="ch" forName="text1"/>
              <dgm:constr type="t" for="ch" forName="text1"/>
              <dgm:constr type="l" for="ch" forName="line1" refType="r" refFor="ch" refForName="text1"/>
              <dgm:constr type="ctrY" for="ch" forName="line1" refType="ctrY" refFor="ch" refForName="text1"/>
              <dgm:constr type="r" for="ch" forName="line1" refType="w" fact="0.375"/>
              <dgm:constr type="h" for="ch" forName="line1"/>
              <dgm:constr type="r" for="ch" forName="d1" refType="w" fact="0.705"/>
              <dgm:constr type="b" for="ch" forName="d1" refType="h" fact="0.62"/>
              <dgm:constr type="w" for="ch" forName="d1" refType="w" fact="0.33"/>
              <dgm:constr type="h" for="ch" forName="d1" refType="h" fact="0.53"/>
              <dgm:constr type="w" for="ch" forName="circle2" refType="w" fact="0.2571"/>
              <dgm:constr type="h" for="ch" forName="circle2" refType="w" refFor="ch" refForName="circle2"/>
              <dgm:constr type="ctrX" for="ch" forName="circle2" refType="w" fact="0.7"/>
              <dgm:constr type="ctrY" for="ch" forName="circle2" refType="h" fact="0.625"/>
              <dgm:constr type="w" for="ch" forName="text2" refType="w" fact="0.3"/>
              <dgm:constr type="h" for="ch" forName="text2" refType="h" fact="0.17938"/>
              <dgm:constr type="l" for="ch" forName="text2"/>
              <dgm:constr type="t" for="ch" forName="text2" refType="b" refFor="ch" refForName="text1"/>
              <dgm:constr type="l" for="ch" forName="line2" refType="r" refFor="ch" refForName="text2"/>
              <dgm:constr type="ctrY" for="ch" forName="line2" refType="ctrY" refFor="ch" refForName="text2"/>
              <dgm:constr type="r" for="ch" forName="line2" refType="w" fact="0.375"/>
              <dgm:constr type="h" for="ch" forName="line2"/>
              <dgm:constr type="r" for="ch" forName="d2" refType="w" fact="0.63375"/>
              <dgm:constr type="b" for="ch" forName="d2" refType="h" fact="0.70438"/>
              <dgm:constr type="w" for="ch" forName="d2" refType="w" fact="0.2585"/>
              <dgm:constr type="h" for="ch" forName="d2" refType="h" fact="0.43525"/>
              <dgm:constr type="w" for="ch" forName="circle3" refType="w" fact="0.4285"/>
              <dgm:constr type="h" for="ch" forName="circle3" refType="w" refFor="ch" refForName="circle3"/>
              <dgm:constr type="ctrX" for="ch" forName="circle3" refType="ctrX" refFor="ch" refForName="circle1"/>
              <dgm:constr type="ctrY" for="ch" forName="circle3" refType="ctrY" refFor="ch" refForName="circle1"/>
              <dgm:constr type="w" for="ch" forName="text3" refType="w" fact="0.3"/>
              <dgm:constr type="h" for="ch" forName="text3" refType="h" fact="0.17938"/>
              <dgm:constr type="l" for="ch" forName="text3"/>
              <dgm:constr type="t" for="ch" forName="text3" refType="b" refFor="ch" refForName="text2"/>
              <dgm:constr type="l" for="ch" forName="line3" refType="r" refFor="ch" refForName="text3"/>
              <dgm:constr type="ctrY" for="ch" forName="line3" refType="ctrY" refFor="ch" refForName="text3"/>
              <dgm:constr type="r" for="ch" forName="line3" refType="w" fact="0.375"/>
              <dgm:constr type="h" for="ch" forName="line3"/>
              <dgm:constr type="r" for="ch" forName="d3" refType="w" fact="0.5745"/>
              <dgm:constr type="b" for="ch" forName="d3" refType="h" fact="0.78031"/>
              <dgm:constr type="w" for="ch" forName="d3" refType="w" fact="0.1995"/>
              <dgm:constr type="h" for="ch" forName="d3" refType="h" fact="0.332"/>
              <dgm:constr type="w" for="ch" forName="circle4" refType="w" fact="0.6"/>
              <dgm:constr type="h" for="ch" forName="circle4" refType="w" refFor="ch" refForName="circle4"/>
              <dgm:constr type="ctrX" for="ch" forName="circle4" refType="ctrX" refFor="ch" refForName="circle1"/>
              <dgm:constr type="ctrY" for="ch" forName="circle4" refType="ctrY" refFor="ch" refForName="circle1"/>
              <dgm:constr type="w" for="ch" forName="text4" refType="w" fact="0.3"/>
              <dgm:constr type="h" for="ch" forName="text4" refType="h" fact="0.17938"/>
              <dgm:constr type="l" for="ch" forName="text4"/>
              <dgm:constr type="t" for="ch" forName="text4" refType="b" refFor="ch" refForName="text3"/>
              <dgm:constr type="l" for="ch" forName="line4" refType="r" refFor="ch" refForName="text4"/>
              <dgm:constr type="ctrY" for="ch" forName="line4" refType="ctrY" refFor="ch" refForName="text4"/>
              <dgm:constr type="r" for="ch" forName="line4" refType="w" fact="0.375"/>
              <dgm:constr type="h" for="ch" forName="line4"/>
              <dgm:constr type="r" for="ch" forName="d4" refType="w" fact="0.51475"/>
              <dgm:constr type="b" for="ch" forName="d4" refType="h" fact="0.85594"/>
              <dgm:constr type="w" for="ch" forName="d4" refType="w" fact="0.1394"/>
              <dgm:constr type="h" for="ch" forName="d4" refType="h" fact="0.2282"/>
            </dgm:constrLst>
          </dgm:if>
          <dgm:if name="Name17" axis="ch" ptType="node" func="cnt" op="gte" val="5">
            <dgm:constrLst>
              <dgm:constr type="primFontSz" for="des" ptType="node" op="equ" val="65"/>
              <dgm:constr type="w" for="ch" forName="circle1" refType="w" fact="0.0667"/>
              <dgm:constr type="h" for="ch" forName="circle1" refType="w" refFor="ch" refForName="circle1"/>
              <dgm:constr type="ctrX" for="ch" forName="circle1" refType="w" fact="0.7"/>
              <dgm:constr type="ctrY" for="ch" forName="circle1" refType="h" fact="0.625"/>
              <dgm:constr type="w" for="ch" forName="text1" refType="w" fact="0.3"/>
              <dgm:constr type="h" for="ch" forName="text1" refType="h" fact="0.1324"/>
              <dgm:constr type="l" for="ch" forName="text1"/>
              <dgm:constr type="ctrY" for="ch" forName="text1" refType="h" fact="0.13"/>
              <dgm:constr type="l" for="ch" forName="line1" refType="r" refFor="ch" refForName="text1"/>
              <dgm:constr type="ctrY" for="ch" forName="line1" refType="ctrY" refFor="ch" refForName="text1"/>
              <dgm:constr type="r" for="ch" forName="line1" refType="w" fact="0.375"/>
              <dgm:constr type="h" for="ch" forName="line1"/>
              <dgm:constr type="r" for="ch" forName="d1" refType="w" fact="0.7"/>
              <dgm:constr type="b" for="ch" forName="d1" refType="h" fact="0.625"/>
              <dgm:constr type="w" for="ch" forName="d1" refType="w" fact="0.3245"/>
              <dgm:constr type="h" for="ch" forName="d1" refType="h" fact="0.495"/>
              <dgm:constr type="w" for="ch" forName="circle2" refType="w" fact="0.2"/>
              <dgm:constr type="h" for="ch" forName="circle2" refType="w" refFor="ch" refForName="circle2"/>
              <dgm:constr type="ctrX" for="ch" forName="circle2" refType="w" fact="0.7"/>
              <dgm:constr type="ctrY" for="ch" forName="circle2" refType="h" fact="0.625"/>
              <dgm:constr type="w" for="ch" forName="text2" refType="w" fact="0.3"/>
              <dgm:constr type="h" for="ch" forName="text2" refType="h" fact="0.1324"/>
              <dgm:constr type="l" for="ch" forName="text2"/>
              <dgm:constr type="ctrY" for="ch" forName="text2" refType="h" fact="0.27"/>
              <dgm:constr type="l" for="ch" forName="line2" refType="r" refFor="ch" refForName="text2"/>
              <dgm:constr type="ctrY" for="ch" forName="line2" refType="ctrY" refFor="ch" refForName="text2"/>
              <dgm:constr type="r" for="ch" forName="line2" refType="w" fact="0.375"/>
              <dgm:constr type="h" for="ch" forName="line2"/>
              <dgm:constr type="r" for="ch" forName="d2" refType="w" fact="0.6502"/>
              <dgm:constr type="b" for="ch" forName="d2" refType="h" fact="0.682"/>
              <dgm:constr type="w" for="ch" forName="d2" refType="w" fact="0.275"/>
              <dgm:constr type="h" for="ch" forName="d2" refType="h" fact="0.41215"/>
              <dgm:constr type="w" for="ch" forName="circle3" refType="w" fact="0.3334"/>
              <dgm:constr type="h" for="ch" forName="circle3" refType="w" refFor="ch" refForName="circle3"/>
              <dgm:constr type="ctrX" for="ch" forName="circle3" refType="ctrX" refFor="ch" refForName="circle1"/>
              <dgm:constr type="ctrY" for="ch" forName="circle3" refType="ctrY" refFor="ch" refForName="circle1"/>
              <dgm:constr type="w" for="ch" forName="text3" refType="w" fact="0.3"/>
              <dgm:constr type="h" for="ch" forName="text3" refType="h" fact="0.1324"/>
              <dgm:constr type="l" for="ch" forName="text3"/>
              <dgm:constr type="ctrY" for="ch" forName="text3" refType="h" fact="0.41"/>
              <dgm:constr type="l" for="ch" forName="line3" refType="r" refFor="ch" refForName="text3"/>
              <dgm:constr type="ctrY" for="ch" forName="line3" refType="ctrY" refFor="ch" refForName="text3"/>
              <dgm:constr type="r" for="ch" forName="line3" refType="w" fact="0.375"/>
              <dgm:constr type="h" for="ch" forName="line3"/>
              <dgm:constr type="r" for="ch" forName="d3" refType="w" fact="0.606"/>
              <dgm:constr type="b" for="ch" forName="d3" refType="h" fact="0.735"/>
              <dgm:constr type="w" for="ch" forName="d3" refType="w" fact="0.231"/>
              <dgm:constr type="h" for="ch" forName="d3" refType="h" fact="0.325"/>
              <dgm:constr type="w" for="ch" forName="circle4" refType="w" fact="0.4667"/>
              <dgm:constr type="h" for="ch" forName="circle4" refType="w" refFor="ch" refForName="circle4"/>
              <dgm:constr type="ctrX" for="ch" forName="circle4" refType="ctrX" refFor="ch" refForName="circle1"/>
              <dgm:constr type="ctrY" for="ch" forName="circle4" refType="ctrY" refFor="ch" refForName="circle1"/>
              <dgm:constr type="w" for="ch" forName="text4" refType="w" fact="0.3"/>
              <dgm:constr type="h" for="ch" forName="text4" refType="h" fact="0.1324"/>
              <dgm:constr type="l" for="ch" forName="text4"/>
              <dgm:constr type="ctrY" for="ch" forName="text4" refType="h" fact="0.547"/>
              <dgm:constr type="l" for="ch" forName="line4" refType="r" refFor="ch" refForName="text4"/>
              <dgm:constr type="ctrY" for="ch" forName="line4" refType="ctrY" refFor="ch" refForName="text4"/>
              <dgm:constr type="r" for="ch" forName="line4" refType="w" fact="0.375"/>
              <dgm:constr type="h" for="ch" forName="line4"/>
              <dgm:constr type="r" for="ch" forName="d4" refType="w" fact="0.554"/>
              <dgm:constr type="b" for="ch" forName="d4" refType="h" fact="0.795"/>
              <dgm:constr type="w" for="ch" forName="d4" refType="w" fact="0.179"/>
              <dgm:constr type="h" for="ch" forName="d4" refType="h" fact="0.248"/>
              <dgm:constr type="w" for="ch" forName="circle5" refType="w" fact="0.6"/>
              <dgm:constr type="h" for="ch" forName="circle5" refType="w" refFor="ch" refForName="circle5"/>
              <dgm:constr type="ctrX" for="ch" forName="circle5" refType="ctrX" refFor="ch" refForName="circle1"/>
              <dgm:constr type="ctrY" for="ch" forName="circle5" refType="ctrY" refFor="ch" refForName="circle1"/>
              <dgm:constr type="w" for="ch" forName="text5" refType="w" fact="0.3"/>
              <dgm:constr type="h" for="ch" forName="text5" refType="h" fact="0.1324"/>
              <dgm:constr type="l" for="ch" forName="text5"/>
              <dgm:constr type="ctrY" for="ch" forName="text5" refType="h" fact="0.68"/>
              <dgm:constr type="l" for="ch" forName="line5" refType="r" refFor="ch" refForName="text5"/>
              <dgm:constr type="ctrY" for="ch" forName="line5" refType="ctrY" refFor="ch" refForName="text5"/>
              <dgm:constr type="r" for="ch" forName="line5" refType="w" fact="0.375"/>
              <dgm:constr type="h" for="ch" forName="line5"/>
              <dgm:constr type="r" for="ch" forName="d5" refType="w" fact="0.505"/>
              <dgm:constr type="b" for="ch" forName="d5" refType="h" fact="0.855"/>
              <dgm:constr type="w" for="ch" forName="d5" refType="w" fact="0.13"/>
              <dgm:constr type="h" for="ch" forName="d5" refType="h" fact="0.175"/>
            </dgm:constrLst>
          </dgm:if>
          <dgm:else name="Name18"/>
        </dgm:choose>
      </dgm:else>
    </dgm:choose>
    <dgm:ruleLst/>
    <dgm:forEach name="Name19" axis="ch" ptType="node" cnt="1">
      <dgm:layoutNode name="circle1" styleLbl="lnNode1">
        <dgm:alg type="sp"/>
        <dgm:shape xmlns:r="http://schemas.openxmlformats.org/officeDocument/2006/relationships" type="ellipse" r:blip="">
          <dgm:adjLst/>
        </dgm:shape>
        <dgm:presOf/>
        <dgm:constrLst/>
        <dgm:ruleLst/>
      </dgm:layoutNode>
      <dgm:layoutNode name="text1" styleLbl="revTx">
        <dgm:varLst>
          <dgm:bulletEnabled val="1"/>
        </dgm:varLst>
        <dgm:choose name="Name20">
          <dgm:if name="Name21" func="var" arg="dir" op="equ" val="norm">
            <dgm:choose name="Name22">
              <dgm:if name="Name23" axis="root des" ptType="all node" func="maxDepth" op="gt" val="1">
                <dgm:alg type="tx">
                  <dgm:param type="parTxLTRAlign" val="l"/>
                  <dgm:param type="parTxRTLAlign" val="r"/>
                </dgm:alg>
              </dgm:if>
              <dgm:else name="Name24">
                <dgm:alg type="tx">
                  <dgm:param type="parTxLTRAlign" val="l"/>
                  <dgm:param type="parTxRTLAlign" val="l"/>
                </dgm:alg>
              </dgm:else>
            </dgm:choose>
          </dgm:if>
          <dgm:else name="Name25">
            <dgm:choose name="Name26">
              <dgm:if name="Name27" axis="root des" ptType="all node" func="maxDepth" op="gt" val="1">
                <dgm:alg type="tx">
                  <dgm:param type="parTxLTRAlign" val="l"/>
                  <dgm:param type="parTxRTLAlign" val="r"/>
                </dgm:alg>
              </dgm:if>
              <dgm:else name="Name28">
                <dgm:alg type="tx">
                  <dgm:param type="parTxLTRAlign" val="r"/>
                  <dgm:param type="parTxRTLAlign" val="r"/>
                </dgm:alg>
              </dgm:else>
            </dgm:choose>
          </dgm:else>
        </dgm:choose>
        <dgm:shape xmlns:r="http://schemas.openxmlformats.org/officeDocument/2006/relationships" type="rect" r:blip="">
          <dgm:adjLst/>
        </dgm:shape>
        <dgm:presOf axis="desOrSelf" ptType="node"/>
        <dgm:choose name="Name29">
          <dgm:if name="Name30" func="var" arg="dir" op="equ" val="norm">
            <dgm:constrLst>
              <dgm:constr type="tMarg" refType="primFontSz" fact="0.1"/>
              <dgm:constr type="bMarg" refType="primFontSz" fact="0.1"/>
              <dgm:constr type="rMarg" refType="primFontSz" fact="0.1"/>
            </dgm:constrLst>
          </dgm:if>
          <dgm:else name="Name31">
            <dgm:constrLst>
              <dgm:constr type="tMarg" refType="primFontSz" fact="0.1"/>
              <dgm:constr type="bMarg" refType="primFontSz" fact="0.1"/>
              <dgm:constr type="lMarg" refType="primFontSz" fact="0.1"/>
            </dgm:constrLst>
          </dgm:else>
        </dgm:choose>
        <dgm:ruleLst>
          <dgm:rule type="primFontSz" val="5" fact="NaN" max="NaN"/>
        </dgm:ruleLst>
      </dgm:layoutNode>
      <dgm:layoutNode name="line1" styleLbl="callout">
        <dgm:alg type="sp"/>
        <dgm:shape xmlns:r="http://schemas.openxmlformats.org/officeDocument/2006/relationships" type="line" r:blip="">
          <dgm:adjLst/>
        </dgm:shape>
        <dgm:presOf/>
        <dgm:constrLst/>
        <dgm:ruleLst/>
      </dgm:layoutNode>
      <dgm:layoutNode name="d1" styleLbl="callout">
        <dgm:alg type="sp"/>
        <dgm:choose name="Name32">
          <dgm:if name="Name33" func="var" arg="dir" op="equ" val="norm">
            <dgm:shape xmlns:r="http://schemas.openxmlformats.org/officeDocument/2006/relationships" rot="90" type="line" r:blip="">
              <dgm:adjLst/>
            </dgm:shape>
          </dgm:if>
          <dgm:else name="Name34">
            <dgm:shape xmlns:r="http://schemas.openxmlformats.org/officeDocument/2006/relationships" rot="180" type="line" r:blip="">
              <dgm:adjLst/>
            </dgm:shape>
          </dgm:else>
        </dgm:choose>
        <dgm:presOf/>
        <dgm:constrLst/>
        <dgm:ruleLst/>
      </dgm:layoutNode>
    </dgm:forEach>
    <dgm:forEach name="Name35" axis="ch" ptType="node" st="2" cnt="1">
      <dgm:layoutNode name="circle2" styleLbl="lnNode1">
        <dgm:alg type="sp"/>
        <dgm:shape xmlns:r="http://schemas.openxmlformats.org/officeDocument/2006/relationships" type="ellipse" r:blip="" zOrderOff="-5">
          <dgm:adjLst/>
        </dgm:shape>
        <dgm:presOf/>
        <dgm:constrLst/>
        <dgm:ruleLst/>
      </dgm:layoutNode>
      <dgm:layoutNode name="text2" styleLbl="revTx">
        <dgm:varLst>
          <dgm:bulletEnabled val="1"/>
        </dgm:varLst>
        <dgm:choose name="Name36">
          <dgm:if name="Name37" func="var" arg="dir" op="equ" val="norm">
            <dgm:choose name="Name38">
              <dgm:if name="Name39" axis="root des" ptType="all node" func="maxDepth" op="gt" val="1">
                <dgm:alg type="tx">
                  <dgm:param type="parTxLTRAlign" val="l"/>
                  <dgm:param type="parTxRTLAlign" val="r"/>
                </dgm:alg>
              </dgm:if>
              <dgm:else name="Name40">
                <dgm:alg type="tx">
                  <dgm:param type="parTxLTRAlign" val="l"/>
                  <dgm:param type="parTxRTLAlign" val="l"/>
                </dgm:alg>
              </dgm:else>
            </dgm:choose>
          </dgm:if>
          <dgm:else name="Name41">
            <dgm:choose name="Name42">
              <dgm:if name="Name43" axis="root des" ptType="all node" func="maxDepth" op="gt" val="1">
                <dgm:alg type="tx">
                  <dgm:param type="parTxLTRAlign" val="l"/>
                  <dgm:param type="parTxRTLAlign" val="r"/>
                </dgm:alg>
              </dgm:if>
              <dgm:else name="Name44">
                <dgm:alg type="tx">
                  <dgm:param type="parTxLTRAlign" val="r"/>
                  <dgm:param type="parTxRTLAlign" val="r"/>
                </dgm:alg>
              </dgm:else>
            </dgm:choose>
          </dgm:else>
        </dgm:choose>
        <dgm:shape xmlns:r="http://schemas.openxmlformats.org/officeDocument/2006/relationships" type="rect" r:blip="">
          <dgm:adjLst/>
        </dgm:shape>
        <dgm:presOf axis="desOrSelf" ptType="node"/>
        <dgm:choose name="Name45">
          <dgm:if name="Name46" func="var" arg="dir" op="equ" val="norm">
            <dgm:constrLst>
              <dgm:constr type="tMarg" refType="primFontSz" fact="0.1"/>
              <dgm:constr type="bMarg" refType="primFontSz" fact="0.1"/>
              <dgm:constr type="rMarg" refType="primFontSz" fact="0.1"/>
            </dgm:constrLst>
          </dgm:if>
          <dgm:else name="Name47">
            <dgm:constrLst>
              <dgm:constr type="tMarg" refType="primFontSz" fact="0.1"/>
              <dgm:constr type="bMarg" refType="primFontSz" fact="0.1"/>
              <dgm:constr type="lMarg" refType="primFontSz" fact="0.1"/>
            </dgm:constrLst>
          </dgm:else>
        </dgm:choose>
        <dgm:ruleLst>
          <dgm:rule type="primFontSz" val="5" fact="NaN" max="NaN"/>
        </dgm:ruleLst>
      </dgm:layoutNode>
      <dgm:layoutNode name="line2" styleLbl="callout">
        <dgm:alg type="sp"/>
        <dgm:shape xmlns:r="http://schemas.openxmlformats.org/officeDocument/2006/relationships" type="line" r:blip="">
          <dgm:adjLst/>
        </dgm:shape>
        <dgm:presOf/>
        <dgm:constrLst/>
        <dgm:ruleLst/>
      </dgm:layoutNode>
      <dgm:layoutNode name="d2" styleLbl="callout">
        <dgm:alg type="sp"/>
        <dgm:choose name="Name48">
          <dgm:if name="Name49" func="var" arg="dir" op="equ" val="norm">
            <dgm:shape xmlns:r="http://schemas.openxmlformats.org/officeDocument/2006/relationships" rot="90" type="line" r:blip="">
              <dgm:adjLst/>
            </dgm:shape>
          </dgm:if>
          <dgm:else name="Name50">
            <dgm:shape xmlns:r="http://schemas.openxmlformats.org/officeDocument/2006/relationships" rot="180" type="line" r:blip="">
              <dgm:adjLst/>
            </dgm:shape>
          </dgm:else>
        </dgm:choose>
        <dgm:presOf/>
        <dgm:constrLst/>
        <dgm:ruleLst/>
      </dgm:layoutNode>
    </dgm:forEach>
    <dgm:forEach name="Name51" axis="ch" ptType="node" st="3" cnt="1">
      <dgm:layoutNode name="circle3" styleLbl="lnNode1">
        <dgm:alg type="sp"/>
        <dgm:shape xmlns:r="http://schemas.openxmlformats.org/officeDocument/2006/relationships" type="ellipse" r:blip="" zOrderOff="-10">
          <dgm:adjLst/>
        </dgm:shape>
        <dgm:presOf/>
        <dgm:constrLst/>
        <dgm:ruleLst/>
      </dgm:layoutNode>
      <dgm:layoutNode name="text3" styleLbl="revTx">
        <dgm:varLst>
          <dgm:bulletEnabled val="1"/>
        </dgm:varLst>
        <dgm:choose name="Name52">
          <dgm:if name="Name53" func="var" arg="dir" op="equ" val="norm">
            <dgm:choose name="Name54">
              <dgm:if name="Name55" axis="root des" ptType="all node" func="maxDepth" op="gt" val="1">
                <dgm:alg type="tx">
                  <dgm:param type="parTxLTRAlign" val="l"/>
                  <dgm:param type="parTxRTLAlign" val="r"/>
                </dgm:alg>
              </dgm:if>
              <dgm:else name="Name56">
                <dgm:alg type="tx">
                  <dgm:param type="parTxLTRAlign" val="l"/>
                  <dgm:param type="parTxRTLAlign" val="l"/>
                </dgm:alg>
              </dgm:else>
            </dgm:choose>
          </dgm:if>
          <dgm:else name="Name57">
            <dgm:choose name="Name58">
              <dgm:if name="Name59" axis="root des" ptType="all node" func="maxDepth" op="gt" val="1">
                <dgm:alg type="tx">
                  <dgm:param type="parTxLTRAlign" val="l"/>
                  <dgm:param type="parTxRTLAlign" val="r"/>
                </dgm:alg>
              </dgm:if>
              <dgm:else name="Name60">
                <dgm:alg type="tx">
                  <dgm:param type="parTxLTRAlign" val="r"/>
                  <dgm:param type="parTxRTLAlign" val="r"/>
                </dgm:alg>
              </dgm:else>
            </dgm:choose>
          </dgm:else>
        </dgm:choose>
        <dgm:shape xmlns:r="http://schemas.openxmlformats.org/officeDocument/2006/relationships" type="rect" r:blip="">
          <dgm:adjLst/>
        </dgm:shape>
        <dgm:presOf axis="desOrSelf" ptType="node"/>
        <dgm:choose name="Name61">
          <dgm:if name="Name62" func="var" arg="dir" op="equ" val="norm">
            <dgm:constrLst>
              <dgm:constr type="tMarg" refType="primFontSz" fact="0.1"/>
              <dgm:constr type="bMarg" refType="primFontSz" fact="0.1"/>
              <dgm:constr type="rMarg" refType="primFontSz" fact="0.1"/>
            </dgm:constrLst>
          </dgm:if>
          <dgm:else name="Name63">
            <dgm:constrLst>
              <dgm:constr type="tMarg" refType="primFontSz" fact="0.1"/>
              <dgm:constr type="bMarg" refType="primFontSz" fact="0.1"/>
              <dgm:constr type="lMarg" refType="primFontSz" fact="0.1"/>
            </dgm:constrLst>
          </dgm:else>
        </dgm:choose>
        <dgm:ruleLst>
          <dgm:rule type="primFontSz" val="5" fact="NaN" max="NaN"/>
        </dgm:ruleLst>
      </dgm:layoutNode>
      <dgm:layoutNode name="line3" styleLbl="callout">
        <dgm:alg type="sp"/>
        <dgm:shape xmlns:r="http://schemas.openxmlformats.org/officeDocument/2006/relationships" type="line" r:blip="">
          <dgm:adjLst/>
        </dgm:shape>
        <dgm:presOf/>
        <dgm:constrLst/>
        <dgm:ruleLst/>
      </dgm:layoutNode>
      <dgm:layoutNode name="d3" styleLbl="callout">
        <dgm:alg type="sp"/>
        <dgm:choose name="Name64">
          <dgm:if name="Name65" func="var" arg="dir" op="equ" val="norm">
            <dgm:shape xmlns:r="http://schemas.openxmlformats.org/officeDocument/2006/relationships" rot="90" type="line" r:blip="">
              <dgm:adjLst/>
            </dgm:shape>
          </dgm:if>
          <dgm:else name="Name66">
            <dgm:shape xmlns:r="http://schemas.openxmlformats.org/officeDocument/2006/relationships" rot="180" type="line" r:blip="">
              <dgm:adjLst/>
            </dgm:shape>
          </dgm:else>
        </dgm:choose>
        <dgm:presOf/>
        <dgm:constrLst/>
        <dgm:ruleLst/>
      </dgm:layoutNode>
    </dgm:forEach>
    <dgm:forEach name="Name67" axis="ch" ptType="node" st="4" cnt="1">
      <dgm:layoutNode name="circle4" styleLbl="lnNode1">
        <dgm:alg type="sp"/>
        <dgm:shape xmlns:r="http://schemas.openxmlformats.org/officeDocument/2006/relationships" type="ellipse" r:blip="" zOrderOff="-15">
          <dgm:adjLst/>
        </dgm:shape>
        <dgm:presOf/>
        <dgm:constrLst/>
        <dgm:ruleLst/>
      </dgm:layoutNode>
      <dgm:layoutNode name="text4" styleLbl="revTx">
        <dgm:varLst>
          <dgm:bulletEnabled val="1"/>
        </dgm:varLst>
        <dgm:choose name="Name68">
          <dgm:if name="Name69" func="var" arg="dir" op="equ" val="norm">
            <dgm:choose name="Name70">
              <dgm:if name="Name71" axis="root des" ptType="all node" func="maxDepth" op="gt" val="1">
                <dgm:alg type="tx">
                  <dgm:param type="parTxLTRAlign" val="l"/>
                  <dgm:param type="parTxRTLAlign" val="r"/>
                </dgm:alg>
              </dgm:if>
              <dgm:else name="Name72">
                <dgm:alg type="tx">
                  <dgm:param type="parTxLTRAlign" val="l"/>
                  <dgm:param type="parTxRTLAlign" val="l"/>
                </dgm:alg>
              </dgm:else>
            </dgm:choose>
          </dgm:if>
          <dgm:else name="Name73">
            <dgm:choose name="Name74">
              <dgm:if name="Name75" axis="root des" ptType="all node" func="maxDepth" op="gt" val="1">
                <dgm:alg type="tx">
                  <dgm:param type="parTxLTRAlign" val="l"/>
                  <dgm:param type="parTxRTLAlign" val="r"/>
                </dgm:alg>
              </dgm:if>
              <dgm:else name="Name76">
                <dgm:alg type="tx">
                  <dgm:param type="parTxLTRAlign" val="r"/>
                  <dgm:param type="parTxRTLAlign" val="r"/>
                </dgm:alg>
              </dgm:else>
            </dgm:choose>
          </dgm:else>
        </dgm:choose>
        <dgm:shape xmlns:r="http://schemas.openxmlformats.org/officeDocument/2006/relationships" type="rect" r:blip="">
          <dgm:adjLst/>
        </dgm:shape>
        <dgm:presOf axis="desOrSelf" ptType="node"/>
        <dgm:choose name="Name77">
          <dgm:if name="Name78" func="var" arg="dir" op="equ" val="norm">
            <dgm:constrLst>
              <dgm:constr type="tMarg" refType="primFontSz" fact="0.1"/>
              <dgm:constr type="bMarg" refType="primFontSz" fact="0.1"/>
              <dgm:constr type="rMarg" refType="primFontSz" fact="0.1"/>
            </dgm:constrLst>
          </dgm:if>
          <dgm:else name="Name79">
            <dgm:constrLst>
              <dgm:constr type="tMarg" refType="primFontSz" fact="0.1"/>
              <dgm:constr type="bMarg" refType="primFontSz" fact="0.1"/>
              <dgm:constr type="lMarg" refType="primFontSz" fact="0.1"/>
            </dgm:constrLst>
          </dgm:else>
        </dgm:choose>
        <dgm:ruleLst>
          <dgm:rule type="primFontSz" val="5" fact="NaN" max="NaN"/>
        </dgm:ruleLst>
      </dgm:layoutNode>
      <dgm:layoutNode name="line4" styleLbl="callout">
        <dgm:alg type="sp"/>
        <dgm:shape xmlns:r="http://schemas.openxmlformats.org/officeDocument/2006/relationships" type="line" r:blip="">
          <dgm:adjLst/>
        </dgm:shape>
        <dgm:presOf/>
        <dgm:constrLst/>
        <dgm:ruleLst/>
      </dgm:layoutNode>
      <dgm:layoutNode name="d4" styleLbl="callout">
        <dgm:alg type="sp"/>
        <dgm:choose name="Name80">
          <dgm:if name="Name81" func="var" arg="dir" op="equ" val="norm">
            <dgm:shape xmlns:r="http://schemas.openxmlformats.org/officeDocument/2006/relationships" rot="90" type="line" r:blip="">
              <dgm:adjLst/>
            </dgm:shape>
          </dgm:if>
          <dgm:else name="Name82">
            <dgm:shape xmlns:r="http://schemas.openxmlformats.org/officeDocument/2006/relationships" rot="180" type="line" r:blip="">
              <dgm:adjLst/>
            </dgm:shape>
          </dgm:else>
        </dgm:choose>
        <dgm:presOf/>
        <dgm:constrLst/>
        <dgm:ruleLst/>
      </dgm:layoutNode>
    </dgm:forEach>
    <dgm:forEach name="Name83" axis="ch" ptType="node" st="5" cnt="1">
      <dgm:layoutNode name="circle5" styleLbl="lnNode1">
        <dgm:alg type="sp"/>
        <dgm:shape xmlns:r="http://schemas.openxmlformats.org/officeDocument/2006/relationships" type="ellipse" r:blip="" zOrderOff="-20">
          <dgm:adjLst/>
        </dgm:shape>
        <dgm:presOf/>
        <dgm:constrLst/>
        <dgm:ruleLst/>
      </dgm:layoutNode>
      <dgm:layoutNode name="text5" styleLbl="revTx">
        <dgm:varLst>
          <dgm:bulletEnabled val="1"/>
        </dgm:varLst>
        <dgm:choose name="Name84">
          <dgm:if name="Name85" func="var" arg="dir" op="equ" val="norm">
            <dgm:choose name="Name86">
              <dgm:if name="Name87" axis="root des" ptType="all node" func="maxDepth" op="gt" val="1">
                <dgm:alg type="tx">
                  <dgm:param type="parTxLTRAlign" val="l"/>
                  <dgm:param type="parTxRTLAlign" val="r"/>
                </dgm:alg>
              </dgm:if>
              <dgm:else name="Name88">
                <dgm:alg type="tx">
                  <dgm:param type="parTxLTRAlign" val="l"/>
                  <dgm:param type="parTxRTLAlign" val="l"/>
                </dgm:alg>
              </dgm:else>
            </dgm:choose>
          </dgm:if>
          <dgm:else name="Name89">
            <dgm:choose name="Name90">
              <dgm:if name="Name91" axis="root des" ptType="all node" func="maxDepth" op="gt" val="1">
                <dgm:alg type="tx">
                  <dgm:param type="parTxLTRAlign" val="l"/>
                  <dgm:param type="parTxRTLAlign" val="r"/>
                </dgm:alg>
              </dgm:if>
              <dgm:else name="Name92">
                <dgm:alg type="tx">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tMarg" refType="primFontSz" fact="0.1"/>
              <dgm:constr type="bMarg" refType="primFontSz" fact="0.1"/>
              <dgm:constr type="rMarg" refType="primFontSz" fact="0.1"/>
            </dgm:constrLst>
          </dgm:if>
          <dgm:else name="Name95">
            <dgm:constrLst>
              <dgm:constr type="tMarg" refType="primFontSz" fact="0.1"/>
              <dgm:constr type="bMarg" refType="primFontSz" fact="0.1"/>
              <dgm:constr type="lMarg" refType="primFontSz" fact="0.1"/>
            </dgm:constrLst>
          </dgm:else>
        </dgm:choose>
        <dgm:ruleLst>
          <dgm:rule type="primFontSz" val="5" fact="NaN" max="NaN"/>
        </dgm:ruleLst>
      </dgm:layoutNode>
      <dgm:layoutNode name="line5" styleLbl="callout">
        <dgm:alg type="sp"/>
        <dgm:shape xmlns:r="http://schemas.openxmlformats.org/officeDocument/2006/relationships" type="line" r:blip="">
          <dgm:adjLst/>
        </dgm:shape>
        <dgm:presOf/>
        <dgm:constrLst/>
        <dgm:ruleLst/>
      </dgm:layoutNode>
      <dgm:layoutNode name="d5" styleLbl="callout">
        <dgm:alg type="sp"/>
        <dgm:choose name="Name96">
          <dgm:if name="Name97" func="var" arg="dir" op="equ" val="norm">
            <dgm:shape xmlns:r="http://schemas.openxmlformats.org/officeDocument/2006/relationships" rot="90" type="line" r:blip="">
              <dgm:adjLst/>
            </dgm:shape>
          </dgm:if>
          <dgm:else name="Name98">
            <dgm:shape xmlns:r="http://schemas.openxmlformats.org/officeDocument/2006/relationships" rot="180" type="line" r:blip="">
              <dgm:adjLst/>
            </dgm:shape>
          </dgm:else>
        </dgm:choose>
        <dgm:presOf/>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57.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47.emf"/></Relationships>
</file>

<file path=ppt/drawings/drawing1.xml><?xml version="1.0" encoding="utf-8"?>
<c:userShapes xmlns:c="http://schemas.openxmlformats.org/drawingml/2006/chart">
  <cdr:relSizeAnchor xmlns:cdr="http://schemas.openxmlformats.org/drawingml/2006/chartDrawing">
    <cdr:from>
      <cdr:x>0.24347</cdr:x>
      <cdr:y>0.83513</cdr:y>
    </cdr:from>
    <cdr:to>
      <cdr:x>0.8054</cdr:x>
      <cdr:y>0.87096</cdr:y>
    </cdr:to>
    <cdr:sp macro="" textlink="">
      <cdr:nvSpPr>
        <cdr:cNvPr id="2" name="TextBox 1">
          <a:extLst xmlns:a="http://schemas.openxmlformats.org/drawingml/2006/main">
            <a:ext uri="{FF2B5EF4-FFF2-40B4-BE49-F238E27FC236}">
              <a16:creationId xmlns="" xmlns:a16="http://schemas.microsoft.com/office/drawing/2014/main" id="{1C32E879-7F47-4DFD-9CA1-5D952E82AEFD}"/>
            </a:ext>
          </a:extLst>
        </cdr:cNvPr>
        <cdr:cNvSpPr txBox="1"/>
      </cdr:nvSpPr>
      <cdr:spPr>
        <a:xfrm xmlns:a="http://schemas.openxmlformats.org/drawingml/2006/main">
          <a:off x="1747299" y="5029251"/>
          <a:ext cx="4032778" cy="21577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GB" sz="1400" b="1" dirty="0"/>
            <a:t>Source: 9</a:t>
          </a:r>
          <a:r>
            <a:rPr lang="en-GB" sz="1400" b="1" baseline="30000" dirty="0"/>
            <a:t>th</a:t>
          </a:r>
          <a:r>
            <a:rPr lang="en-GB" sz="1400" b="1" dirty="0"/>
            <a:t> rural Development sectorial review, 2019</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6400" cy="4968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49688" y="1"/>
            <a:ext cx="2946400" cy="496888"/>
          </a:xfrm>
          <a:prstGeom prst="rect">
            <a:avLst/>
          </a:prstGeom>
        </p:spPr>
        <p:txBody>
          <a:bodyPr vert="horz" lIns="91440" tIns="45720" rIns="91440" bIns="45720" rtlCol="0"/>
          <a:lstStyle>
            <a:lvl1pPr algn="r">
              <a:defRPr sz="1200"/>
            </a:lvl1pPr>
          </a:lstStyle>
          <a:p>
            <a:fld id="{5E002C66-1AE0-419A-B1B0-58B18CD55154}" type="datetimeFigureOut">
              <a:rPr lang="en-US" smtClean="0"/>
              <a:t>8/22/2019</a:t>
            </a:fld>
            <a:endParaRPr lang="en-US" dirty="0"/>
          </a:p>
        </p:txBody>
      </p:sp>
      <p:sp>
        <p:nvSpPr>
          <p:cNvPr id="4" name="Footer Placeholder 3"/>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29F6CF1D-04BC-4F68-A476-0574EA44820C}" type="slidenum">
              <a:rPr lang="en-US" smtClean="0"/>
              <a:t>‹#›</a:t>
            </a:fld>
            <a:endParaRPr lang="en-US" dirty="0"/>
          </a:p>
        </p:txBody>
      </p:sp>
    </p:spTree>
    <p:extLst>
      <p:ext uri="{BB962C8B-B14F-4D97-AF65-F5344CB8AC3E}">
        <p14:creationId xmlns:p14="http://schemas.microsoft.com/office/powerpoint/2010/main" val="3731876399"/>
      </p:ext>
    </p:extLst>
  </p:cSld>
  <p:clrMap bg1="lt1" tx1="dk1" bg2="lt2" tx2="dk2" accent1="accent1" accent2="accent2" accent3="accent3" accent4="accent4" accent5="accent5" accent6="accent6" hlink="hlink" folHlink="folHlink"/>
  <p:hf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45659" cy="496332"/>
          </a:xfrm>
          <a:prstGeom prst="rect">
            <a:avLst/>
          </a:prstGeom>
          <a:noFill/>
          <a:ln>
            <a:noFill/>
          </a:ln>
        </p:spPr>
        <p:txBody>
          <a:bodyPr spcFirstLastPara="1" wrap="square" lIns="93175" tIns="46575" rIns="93175" bIns="46575" anchor="t" anchorCtr="0"/>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
        <p:nvSpPr>
          <p:cNvPr id="4" name="Google Shape;4;n"/>
          <p:cNvSpPr txBox="1">
            <a:spLocks noGrp="1"/>
          </p:cNvSpPr>
          <p:nvPr>
            <p:ph type="dt" idx="10"/>
          </p:nvPr>
        </p:nvSpPr>
        <p:spPr>
          <a:xfrm>
            <a:off x="3850443" y="0"/>
            <a:ext cx="2945659" cy="496332"/>
          </a:xfrm>
          <a:prstGeom prst="rect">
            <a:avLst/>
          </a:prstGeom>
          <a:noFill/>
          <a:ln>
            <a:noFill/>
          </a:ln>
        </p:spPr>
        <p:txBody>
          <a:bodyPr spcFirstLastPara="1" wrap="square" lIns="93175" tIns="46575" rIns="93175" bIns="46575" anchor="t" anchorCtr="0"/>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
        <p:nvSpPr>
          <p:cNvPr id="5" name="Google Shape;5;n"/>
          <p:cNvSpPr>
            <a:spLocks noGrp="1" noRot="1" noChangeAspect="1"/>
          </p:cNvSpPr>
          <p:nvPr>
            <p:ph type="sldImg" idx="3"/>
          </p:nvPr>
        </p:nvSpPr>
        <p:spPr>
          <a:xfrm>
            <a:off x="711200" y="744538"/>
            <a:ext cx="5375275" cy="37226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79768" y="4715153"/>
            <a:ext cx="5438140" cy="4466987"/>
          </a:xfrm>
          <a:prstGeom prst="rect">
            <a:avLst/>
          </a:prstGeom>
          <a:noFill/>
          <a:ln>
            <a:noFill/>
          </a:ln>
        </p:spPr>
        <p:txBody>
          <a:bodyPr spcFirstLastPara="1" wrap="square" lIns="93175" tIns="46575" rIns="93175" bIns="46575" anchor="t" anchorCtr="0"/>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9428584"/>
            <a:ext cx="2945659" cy="496332"/>
          </a:xfrm>
          <a:prstGeom prst="rect">
            <a:avLst/>
          </a:prstGeom>
          <a:noFill/>
          <a:ln>
            <a:noFill/>
          </a:ln>
        </p:spPr>
        <p:txBody>
          <a:bodyPr spcFirstLastPara="1" wrap="square" lIns="93175" tIns="46575" rIns="93175" bIns="46575" anchor="b" anchorCtr="0"/>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
        <p:nvSpPr>
          <p:cNvPr id="8" name="Google Shape;8;n"/>
          <p:cNvSpPr txBox="1">
            <a:spLocks noGrp="1"/>
          </p:cNvSpPr>
          <p:nvPr>
            <p:ph type="sldNum" idx="12"/>
          </p:nvPr>
        </p:nvSpPr>
        <p:spPr>
          <a:xfrm>
            <a:off x="3850443" y="9428584"/>
            <a:ext cx="2945659" cy="496332"/>
          </a:xfrm>
          <a:prstGeom prst="rect">
            <a:avLst/>
          </a:prstGeom>
          <a:noFill/>
          <a:ln>
            <a:noFill/>
          </a:ln>
        </p:spPr>
        <p:txBody>
          <a:bodyPr spcFirstLastPara="1" wrap="square" lIns="93175" tIns="46575" rIns="93175" bIns="46575"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609548250"/>
      </p:ext>
    </p:extLst>
  </p:cSld>
  <p:clrMap bg1="lt1" tx1="dk1" bg2="dk2" tx2="lt2" accent1="accent1" accent2="accent2" accent3="accent3" accent4="accent4" accent5="accent5" accent6="accent6" hlink="hlink" folHlink="folHlink"/>
  <p:hf ftr="0" dt="0"/>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
        <p:cNvGrpSpPr/>
        <p:nvPr/>
      </p:nvGrpSpPr>
      <p:grpSpPr>
        <a:xfrm>
          <a:off x="0" y="0"/>
          <a:ext cx="0" cy="0"/>
          <a:chOff x="0" y="0"/>
          <a:chExt cx="0" cy="0"/>
        </a:xfrm>
      </p:grpSpPr>
      <p:sp>
        <p:nvSpPr>
          <p:cNvPr id="155" name="Google Shape;155;p1:notes"/>
          <p:cNvSpPr txBox="1">
            <a:spLocks noGrp="1"/>
          </p:cNvSpPr>
          <p:nvPr>
            <p:ph type="body" idx="1"/>
          </p:nvPr>
        </p:nvSpPr>
        <p:spPr>
          <a:xfrm>
            <a:off x="679768" y="4715153"/>
            <a:ext cx="5438140" cy="4466987"/>
          </a:xfrm>
          <a:prstGeom prst="rect">
            <a:avLst/>
          </a:prstGeom>
        </p:spPr>
        <p:txBody>
          <a:bodyPr spcFirstLastPara="1" wrap="square" lIns="93175" tIns="46575" rIns="93175" bIns="46575" anchor="t" anchorCtr="0">
            <a:noAutofit/>
          </a:bodyPr>
          <a:lstStyle/>
          <a:p>
            <a:pPr marL="0" lvl="0" indent="0" algn="l" rtl="0">
              <a:spcBef>
                <a:spcPts val="0"/>
              </a:spcBef>
              <a:spcAft>
                <a:spcPts val="0"/>
              </a:spcAft>
              <a:buNone/>
            </a:pPr>
            <a:endParaRPr dirty="0"/>
          </a:p>
        </p:txBody>
      </p:sp>
      <p:sp>
        <p:nvSpPr>
          <p:cNvPr id="156" name="Google Shape;156;p1:notes"/>
          <p:cNvSpPr>
            <a:spLocks noGrp="1" noRot="1" noChangeAspect="1"/>
          </p:cNvSpPr>
          <p:nvPr>
            <p:ph type="sldImg" idx="2"/>
          </p:nvPr>
        </p:nvSpPr>
        <p:spPr>
          <a:xfrm>
            <a:off x="711200" y="744538"/>
            <a:ext cx="5375275" cy="372268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 name="Header Placeholder 1"/>
          <p:cNvSpPr>
            <a:spLocks noGrp="1"/>
          </p:cNvSpPr>
          <p:nvPr>
            <p:ph type="hdr" idx="10"/>
          </p:nvPr>
        </p:nvSpPr>
        <p:spPr/>
        <p:txBody>
          <a:bodyPr/>
          <a:lstStyle/>
          <a:p>
            <a:endParaRPr lang="en-US" dirty="0"/>
          </a:p>
        </p:txBody>
      </p:sp>
    </p:spTree>
    <p:extLst>
      <p:ext uri="{BB962C8B-B14F-4D97-AF65-F5344CB8AC3E}">
        <p14:creationId xmlns:p14="http://schemas.microsoft.com/office/powerpoint/2010/main" val="41000908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8"/>
        <p:cNvGrpSpPr/>
        <p:nvPr/>
      </p:nvGrpSpPr>
      <p:grpSpPr>
        <a:xfrm>
          <a:off x="0" y="0"/>
          <a:ext cx="0" cy="0"/>
          <a:chOff x="0" y="0"/>
          <a:chExt cx="0" cy="0"/>
        </a:xfrm>
      </p:grpSpPr>
      <p:sp>
        <p:nvSpPr>
          <p:cNvPr id="539" name="Google Shape;539;p38:notes"/>
          <p:cNvSpPr txBox="1">
            <a:spLocks noGrp="1"/>
          </p:cNvSpPr>
          <p:nvPr>
            <p:ph type="body" idx="1"/>
          </p:nvPr>
        </p:nvSpPr>
        <p:spPr>
          <a:xfrm>
            <a:off x="679768" y="4715153"/>
            <a:ext cx="5438140" cy="4466987"/>
          </a:xfrm>
          <a:prstGeom prst="rect">
            <a:avLst/>
          </a:prstGeom>
        </p:spPr>
        <p:txBody>
          <a:bodyPr spcFirstLastPara="1" wrap="square" lIns="93175" tIns="46575" rIns="93175" bIns="46575" anchor="t" anchorCtr="0">
            <a:noAutofit/>
          </a:bodyPr>
          <a:lstStyle/>
          <a:p>
            <a:pPr marL="0" lvl="0" indent="0" algn="l" rtl="0">
              <a:spcBef>
                <a:spcPts val="0"/>
              </a:spcBef>
              <a:spcAft>
                <a:spcPts val="0"/>
              </a:spcAft>
              <a:buNone/>
            </a:pPr>
            <a:endParaRPr dirty="0"/>
          </a:p>
        </p:txBody>
      </p:sp>
      <p:sp>
        <p:nvSpPr>
          <p:cNvPr id="540" name="Google Shape;540;p38:notes"/>
          <p:cNvSpPr>
            <a:spLocks noGrp="1" noRot="1" noChangeAspect="1"/>
          </p:cNvSpPr>
          <p:nvPr>
            <p:ph type="sldImg" idx="2"/>
          </p:nvPr>
        </p:nvSpPr>
        <p:spPr>
          <a:xfrm>
            <a:off x="711200" y="744538"/>
            <a:ext cx="5375275" cy="372268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 name="Header Placeholder 1"/>
          <p:cNvSpPr>
            <a:spLocks noGrp="1"/>
          </p:cNvSpPr>
          <p:nvPr>
            <p:ph type="hdr" idx="10"/>
          </p:nvPr>
        </p:nvSpPr>
        <p:spPr/>
        <p:txBody>
          <a:bodyPr/>
          <a:lstStyle/>
          <a:p>
            <a:endParaRPr lang="en-US" dirty="0"/>
          </a:p>
        </p:txBody>
      </p:sp>
    </p:spTree>
    <p:extLst>
      <p:ext uri="{BB962C8B-B14F-4D97-AF65-F5344CB8AC3E}">
        <p14:creationId xmlns:p14="http://schemas.microsoft.com/office/powerpoint/2010/main" val="11104150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0"/>
        <p:cNvGrpSpPr/>
        <p:nvPr/>
      </p:nvGrpSpPr>
      <p:grpSpPr>
        <a:xfrm>
          <a:off x="0" y="0"/>
          <a:ext cx="0" cy="0"/>
          <a:chOff x="0" y="0"/>
          <a:chExt cx="0" cy="0"/>
        </a:xfrm>
      </p:grpSpPr>
      <p:sp>
        <p:nvSpPr>
          <p:cNvPr id="171" name="Google Shape;171;p3:notes"/>
          <p:cNvSpPr txBox="1">
            <a:spLocks noGrp="1"/>
          </p:cNvSpPr>
          <p:nvPr>
            <p:ph type="body" idx="1"/>
          </p:nvPr>
        </p:nvSpPr>
        <p:spPr>
          <a:xfrm>
            <a:off x="679768" y="4715153"/>
            <a:ext cx="5438140" cy="4466987"/>
          </a:xfrm>
          <a:prstGeom prst="rect">
            <a:avLst/>
          </a:prstGeom>
        </p:spPr>
        <p:txBody>
          <a:bodyPr spcFirstLastPara="1" wrap="square" lIns="93175" tIns="46575" rIns="93175" bIns="46575" anchor="t" anchorCtr="0">
            <a:noAutofit/>
          </a:bodyPr>
          <a:lstStyle/>
          <a:p>
            <a:pPr marL="0" lvl="0" indent="0" algn="l" rtl="0">
              <a:spcBef>
                <a:spcPts val="0"/>
              </a:spcBef>
              <a:spcAft>
                <a:spcPts val="0"/>
              </a:spcAft>
              <a:buNone/>
            </a:pPr>
            <a:endParaRPr dirty="0"/>
          </a:p>
        </p:txBody>
      </p:sp>
      <p:sp>
        <p:nvSpPr>
          <p:cNvPr id="172" name="Google Shape;172;p3:notes"/>
          <p:cNvSpPr>
            <a:spLocks noGrp="1" noRot="1" noChangeAspect="1"/>
          </p:cNvSpPr>
          <p:nvPr>
            <p:ph type="sldImg" idx="2"/>
          </p:nvPr>
        </p:nvSpPr>
        <p:spPr>
          <a:xfrm>
            <a:off x="711200" y="744538"/>
            <a:ext cx="5375275" cy="372268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 name="Header Placeholder 1"/>
          <p:cNvSpPr>
            <a:spLocks noGrp="1"/>
          </p:cNvSpPr>
          <p:nvPr>
            <p:ph type="hdr" idx="10"/>
          </p:nvPr>
        </p:nvSpPr>
        <p:spPr/>
        <p:txBody>
          <a:bodyPr/>
          <a:lstStyle/>
          <a:p>
            <a:endParaRPr lang="en-US" dirty="0"/>
          </a:p>
        </p:txBody>
      </p:sp>
    </p:spTree>
    <p:extLst>
      <p:ext uri="{BB962C8B-B14F-4D97-AF65-F5344CB8AC3E}">
        <p14:creationId xmlns:p14="http://schemas.microsoft.com/office/powerpoint/2010/main" val="22407295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p:cNvGrpSpPr/>
        <p:nvPr/>
      </p:nvGrpSpPr>
      <p:grpSpPr>
        <a:xfrm>
          <a:off x="0" y="0"/>
          <a:ext cx="0" cy="0"/>
          <a:chOff x="0" y="0"/>
          <a:chExt cx="0" cy="0"/>
        </a:xfrm>
      </p:grpSpPr>
      <p:sp>
        <p:nvSpPr>
          <p:cNvPr id="163" name="Google Shape;163;p2:notes"/>
          <p:cNvSpPr txBox="1">
            <a:spLocks noGrp="1"/>
          </p:cNvSpPr>
          <p:nvPr>
            <p:ph type="body" idx="1"/>
          </p:nvPr>
        </p:nvSpPr>
        <p:spPr>
          <a:xfrm>
            <a:off x="679768" y="4715153"/>
            <a:ext cx="5438140" cy="4466987"/>
          </a:xfrm>
          <a:prstGeom prst="rect">
            <a:avLst/>
          </a:prstGeom>
        </p:spPr>
        <p:txBody>
          <a:bodyPr spcFirstLastPara="1" wrap="square" lIns="93175" tIns="46575" rIns="93175" bIns="46575" anchor="t" anchorCtr="0">
            <a:noAutofit/>
          </a:bodyPr>
          <a:lstStyle/>
          <a:p>
            <a:pPr marL="0" lvl="0" indent="0" algn="l" rtl="0">
              <a:spcBef>
                <a:spcPts val="0"/>
              </a:spcBef>
              <a:spcAft>
                <a:spcPts val="0"/>
              </a:spcAft>
              <a:buNone/>
            </a:pPr>
            <a:endParaRPr dirty="0"/>
          </a:p>
        </p:txBody>
      </p:sp>
      <p:sp>
        <p:nvSpPr>
          <p:cNvPr id="164" name="Google Shape;164;p2:notes"/>
          <p:cNvSpPr>
            <a:spLocks noGrp="1" noRot="1" noChangeAspect="1"/>
          </p:cNvSpPr>
          <p:nvPr>
            <p:ph type="sldImg" idx="2"/>
          </p:nvPr>
        </p:nvSpPr>
        <p:spPr>
          <a:xfrm>
            <a:off x="711200" y="744538"/>
            <a:ext cx="5375275" cy="372268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 name="Header Placeholder 1"/>
          <p:cNvSpPr>
            <a:spLocks noGrp="1"/>
          </p:cNvSpPr>
          <p:nvPr>
            <p:ph type="hdr" idx="10"/>
          </p:nvPr>
        </p:nvSpPr>
        <p:spPr/>
        <p:txBody>
          <a:bodyPr/>
          <a:lstStyle/>
          <a:p>
            <a:endParaRPr lang="en-US" dirty="0"/>
          </a:p>
        </p:txBody>
      </p:sp>
    </p:spTree>
    <p:extLst>
      <p:ext uri="{BB962C8B-B14F-4D97-AF65-F5344CB8AC3E}">
        <p14:creationId xmlns:p14="http://schemas.microsoft.com/office/powerpoint/2010/main" val="37705179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p:cNvGrpSpPr/>
        <p:nvPr/>
      </p:nvGrpSpPr>
      <p:grpSpPr>
        <a:xfrm>
          <a:off x="0" y="0"/>
          <a:ext cx="0" cy="0"/>
          <a:chOff x="0" y="0"/>
          <a:chExt cx="0" cy="0"/>
        </a:xfrm>
      </p:grpSpPr>
      <p:sp>
        <p:nvSpPr>
          <p:cNvPr id="248" name="Google Shape;248;p14:notes"/>
          <p:cNvSpPr txBox="1">
            <a:spLocks noGrp="1"/>
          </p:cNvSpPr>
          <p:nvPr>
            <p:ph type="body" idx="1"/>
          </p:nvPr>
        </p:nvSpPr>
        <p:spPr>
          <a:xfrm>
            <a:off x="679768" y="4715153"/>
            <a:ext cx="5438140" cy="4466987"/>
          </a:xfrm>
          <a:prstGeom prst="rect">
            <a:avLst/>
          </a:prstGeom>
        </p:spPr>
        <p:txBody>
          <a:bodyPr spcFirstLastPara="1" wrap="square" lIns="93175" tIns="46575" rIns="93175" bIns="46575" anchor="t" anchorCtr="0">
            <a:noAutofit/>
          </a:bodyPr>
          <a:lstStyle/>
          <a:p>
            <a:pPr marL="0" lvl="0" indent="0" algn="l" rtl="0">
              <a:spcBef>
                <a:spcPts val="0"/>
              </a:spcBef>
              <a:spcAft>
                <a:spcPts val="0"/>
              </a:spcAft>
              <a:buNone/>
            </a:pPr>
            <a:endParaRPr dirty="0"/>
          </a:p>
        </p:txBody>
      </p:sp>
      <p:sp>
        <p:nvSpPr>
          <p:cNvPr id="249" name="Google Shape;249;p14:notes"/>
          <p:cNvSpPr>
            <a:spLocks noGrp="1" noRot="1" noChangeAspect="1"/>
          </p:cNvSpPr>
          <p:nvPr>
            <p:ph type="sldImg" idx="2"/>
          </p:nvPr>
        </p:nvSpPr>
        <p:spPr>
          <a:xfrm>
            <a:off x="711200" y="744538"/>
            <a:ext cx="5375275" cy="372268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 name="Header Placeholder 1"/>
          <p:cNvSpPr>
            <a:spLocks noGrp="1"/>
          </p:cNvSpPr>
          <p:nvPr>
            <p:ph type="hdr" idx="10"/>
          </p:nvPr>
        </p:nvSpPr>
        <p:spPr/>
        <p:txBody>
          <a:bodyPr/>
          <a:lstStyle/>
          <a:p>
            <a:pPr>
              <a:defRPr/>
            </a:pPr>
            <a:endParaRPr lang="en-US" dirty="0">
              <a:solidFill>
                <a:srgbClr val="000000"/>
              </a:solidFill>
            </a:endParaRPr>
          </a:p>
        </p:txBody>
      </p:sp>
    </p:spTree>
    <p:extLst>
      <p:ext uri="{BB962C8B-B14F-4D97-AF65-F5344CB8AC3E}">
        <p14:creationId xmlns:p14="http://schemas.microsoft.com/office/powerpoint/2010/main" val="8157476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p:cNvGrpSpPr/>
        <p:nvPr/>
      </p:nvGrpSpPr>
      <p:grpSpPr>
        <a:xfrm>
          <a:off x="0" y="0"/>
          <a:ext cx="0" cy="0"/>
          <a:chOff x="0" y="0"/>
          <a:chExt cx="0" cy="0"/>
        </a:xfrm>
      </p:grpSpPr>
      <p:sp>
        <p:nvSpPr>
          <p:cNvPr id="248" name="Google Shape;248;p14:notes"/>
          <p:cNvSpPr txBox="1">
            <a:spLocks noGrp="1"/>
          </p:cNvSpPr>
          <p:nvPr>
            <p:ph type="body" idx="1"/>
          </p:nvPr>
        </p:nvSpPr>
        <p:spPr>
          <a:xfrm>
            <a:off x="679768" y="4715153"/>
            <a:ext cx="5438140" cy="4466987"/>
          </a:xfrm>
          <a:prstGeom prst="rect">
            <a:avLst/>
          </a:prstGeom>
        </p:spPr>
        <p:txBody>
          <a:bodyPr spcFirstLastPara="1" wrap="square" lIns="93175" tIns="46575" rIns="93175" bIns="46575" anchor="t" anchorCtr="0">
            <a:noAutofit/>
          </a:bodyPr>
          <a:lstStyle/>
          <a:p>
            <a:pPr marL="0" lvl="0" indent="0" algn="l" rtl="0">
              <a:spcBef>
                <a:spcPts val="0"/>
              </a:spcBef>
              <a:spcAft>
                <a:spcPts val="0"/>
              </a:spcAft>
              <a:buNone/>
            </a:pPr>
            <a:endParaRPr dirty="0"/>
          </a:p>
        </p:txBody>
      </p:sp>
      <p:sp>
        <p:nvSpPr>
          <p:cNvPr id="249" name="Google Shape;249;p14:notes"/>
          <p:cNvSpPr>
            <a:spLocks noGrp="1" noRot="1" noChangeAspect="1"/>
          </p:cNvSpPr>
          <p:nvPr>
            <p:ph type="sldImg" idx="2"/>
          </p:nvPr>
        </p:nvSpPr>
        <p:spPr>
          <a:xfrm>
            <a:off x="711200" y="744538"/>
            <a:ext cx="5375275" cy="372268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 name="Header Placeholder 1"/>
          <p:cNvSpPr>
            <a:spLocks noGrp="1"/>
          </p:cNvSpPr>
          <p:nvPr>
            <p:ph type="hdr" idx="10"/>
          </p:nvPr>
        </p:nvSpPr>
        <p:spPr/>
        <p:txBody>
          <a:bodyPr/>
          <a:lstStyle/>
          <a:p>
            <a:pPr>
              <a:defRPr/>
            </a:pPr>
            <a:endParaRPr lang="en-US" dirty="0">
              <a:solidFill>
                <a:srgbClr val="000000"/>
              </a:solidFill>
            </a:endParaRPr>
          </a:p>
        </p:txBody>
      </p:sp>
    </p:spTree>
    <p:extLst>
      <p:ext uri="{BB962C8B-B14F-4D97-AF65-F5344CB8AC3E}">
        <p14:creationId xmlns:p14="http://schemas.microsoft.com/office/powerpoint/2010/main" val="10325059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p:cNvGrpSpPr/>
        <p:nvPr/>
      </p:nvGrpSpPr>
      <p:grpSpPr>
        <a:xfrm>
          <a:off x="0" y="0"/>
          <a:ext cx="0" cy="0"/>
          <a:chOff x="0" y="0"/>
          <a:chExt cx="0" cy="0"/>
        </a:xfrm>
      </p:grpSpPr>
      <p:sp>
        <p:nvSpPr>
          <p:cNvPr id="248" name="Google Shape;248;p14:notes"/>
          <p:cNvSpPr txBox="1">
            <a:spLocks noGrp="1"/>
          </p:cNvSpPr>
          <p:nvPr>
            <p:ph type="body" idx="1"/>
          </p:nvPr>
        </p:nvSpPr>
        <p:spPr>
          <a:xfrm>
            <a:off x="679768" y="4715153"/>
            <a:ext cx="5438140" cy="4466987"/>
          </a:xfrm>
          <a:prstGeom prst="rect">
            <a:avLst/>
          </a:prstGeom>
        </p:spPr>
        <p:txBody>
          <a:bodyPr spcFirstLastPara="1" wrap="square" lIns="93175" tIns="46575" rIns="93175" bIns="46575" anchor="t" anchorCtr="0">
            <a:noAutofit/>
          </a:bodyPr>
          <a:lstStyle/>
          <a:p>
            <a:pPr marL="0" lvl="0" indent="0" algn="l" rtl="0">
              <a:spcBef>
                <a:spcPts val="0"/>
              </a:spcBef>
              <a:spcAft>
                <a:spcPts val="0"/>
              </a:spcAft>
              <a:buNone/>
            </a:pPr>
            <a:endParaRPr dirty="0"/>
          </a:p>
        </p:txBody>
      </p:sp>
      <p:sp>
        <p:nvSpPr>
          <p:cNvPr id="249" name="Google Shape;249;p14:notes"/>
          <p:cNvSpPr>
            <a:spLocks noGrp="1" noRot="1" noChangeAspect="1"/>
          </p:cNvSpPr>
          <p:nvPr>
            <p:ph type="sldImg" idx="2"/>
          </p:nvPr>
        </p:nvSpPr>
        <p:spPr>
          <a:xfrm>
            <a:off x="711200" y="744538"/>
            <a:ext cx="5375275" cy="372268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 name="Header Placeholder 1"/>
          <p:cNvSpPr>
            <a:spLocks noGrp="1"/>
          </p:cNvSpPr>
          <p:nvPr>
            <p:ph type="hdr" idx="10"/>
          </p:nvPr>
        </p:nvSpPr>
        <p:spPr/>
        <p:txBody>
          <a:bodyPr/>
          <a:lstStyle/>
          <a:p>
            <a:endParaRPr lang="en-US" dirty="0">
              <a:solidFill>
                <a:srgbClr val="000000"/>
              </a:solidFill>
            </a:endParaRPr>
          </a:p>
        </p:txBody>
      </p:sp>
    </p:spTree>
    <p:extLst>
      <p:ext uri="{BB962C8B-B14F-4D97-AF65-F5344CB8AC3E}">
        <p14:creationId xmlns:p14="http://schemas.microsoft.com/office/powerpoint/2010/main" val="15090124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p:cNvGrpSpPr/>
        <p:nvPr/>
      </p:nvGrpSpPr>
      <p:grpSpPr>
        <a:xfrm>
          <a:off x="0" y="0"/>
          <a:ext cx="0" cy="0"/>
          <a:chOff x="0" y="0"/>
          <a:chExt cx="0" cy="0"/>
        </a:xfrm>
      </p:grpSpPr>
      <p:sp>
        <p:nvSpPr>
          <p:cNvPr id="248" name="Google Shape;248;p14:notes"/>
          <p:cNvSpPr txBox="1">
            <a:spLocks noGrp="1"/>
          </p:cNvSpPr>
          <p:nvPr>
            <p:ph type="body" idx="1"/>
          </p:nvPr>
        </p:nvSpPr>
        <p:spPr>
          <a:xfrm>
            <a:off x="679768" y="4715153"/>
            <a:ext cx="5438140" cy="4466987"/>
          </a:xfrm>
          <a:prstGeom prst="rect">
            <a:avLst/>
          </a:prstGeom>
        </p:spPr>
        <p:txBody>
          <a:bodyPr spcFirstLastPara="1" wrap="square" lIns="93175" tIns="46575" rIns="93175" bIns="46575" anchor="t" anchorCtr="0">
            <a:noAutofit/>
          </a:bodyPr>
          <a:lstStyle/>
          <a:p>
            <a:pPr marL="0" lvl="0" indent="0" algn="l" rtl="0">
              <a:spcBef>
                <a:spcPts val="0"/>
              </a:spcBef>
              <a:spcAft>
                <a:spcPts val="0"/>
              </a:spcAft>
              <a:buNone/>
            </a:pPr>
            <a:endParaRPr dirty="0"/>
          </a:p>
        </p:txBody>
      </p:sp>
      <p:sp>
        <p:nvSpPr>
          <p:cNvPr id="249" name="Google Shape;249;p14:notes"/>
          <p:cNvSpPr>
            <a:spLocks noGrp="1" noRot="1" noChangeAspect="1"/>
          </p:cNvSpPr>
          <p:nvPr>
            <p:ph type="sldImg" idx="2"/>
          </p:nvPr>
        </p:nvSpPr>
        <p:spPr>
          <a:xfrm>
            <a:off x="711200" y="744538"/>
            <a:ext cx="5375275" cy="372268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 name="Header Placeholder 1"/>
          <p:cNvSpPr>
            <a:spLocks noGrp="1"/>
          </p:cNvSpPr>
          <p:nvPr>
            <p:ph type="hdr" idx="10"/>
          </p:nvPr>
        </p:nvSpPr>
        <p:spPr/>
        <p:txBody>
          <a:bodyPr/>
          <a:lstStyle/>
          <a:p>
            <a:pPr>
              <a:defRPr/>
            </a:pPr>
            <a:endParaRPr lang="en-US" dirty="0">
              <a:solidFill>
                <a:srgbClr val="000000"/>
              </a:solidFill>
            </a:endParaRPr>
          </a:p>
        </p:txBody>
      </p:sp>
    </p:spTree>
    <p:extLst>
      <p:ext uri="{BB962C8B-B14F-4D97-AF65-F5344CB8AC3E}">
        <p14:creationId xmlns:p14="http://schemas.microsoft.com/office/powerpoint/2010/main" val="5541386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p:cNvGrpSpPr/>
        <p:nvPr/>
      </p:nvGrpSpPr>
      <p:grpSpPr>
        <a:xfrm>
          <a:off x="0" y="0"/>
          <a:ext cx="0" cy="0"/>
          <a:chOff x="0" y="0"/>
          <a:chExt cx="0" cy="0"/>
        </a:xfrm>
      </p:grpSpPr>
      <p:sp>
        <p:nvSpPr>
          <p:cNvPr id="248" name="Google Shape;248;p14:notes"/>
          <p:cNvSpPr txBox="1">
            <a:spLocks noGrp="1"/>
          </p:cNvSpPr>
          <p:nvPr>
            <p:ph type="body" idx="1"/>
          </p:nvPr>
        </p:nvSpPr>
        <p:spPr>
          <a:xfrm>
            <a:off x="679768" y="4715153"/>
            <a:ext cx="5438140" cy="4466987"/>
          </a:xfrm>
          <a:prstGeom prst="rect">
            <a:avLst/>
          </a:prstGeom>
        </p:spPr>
        <p:txBody>
          <a:bodyPr spcFirstLastPara="1" wrap="square" lIns="93175" tIns="46575" rIns="93175" bIns="46575" anchor="t" anchorCtr="0">
            <a:noAutofit/>
          </a:bodyPr>
          <a:lstStyle/>
          <a:p>
            <a:pPr marL="0" lvl="0" indent="0" algn="l" rtl="0">
              <a:spcBef>
                <a:spcPts val="0"/>
              </a:spcBef>
              <a:spcAft>
                <a:spcPts val="0"/>
              </a:spcAft>
              <a:buNone/>
            </a:pPr>
            <a:endParaRPr dirty="0"/>
          </a:p>
        </p:txBody>
      </p:sp>
      <p:sp>
        <p:nvSpPr>
          <p:cNvPr id="249" name="Google Shape;249;p14:notes"/>
          <p:cNvSpPr>
            <a:spLocks noGrp="1" noRot="1" noChangeAspect="1"/>
          </p:cNvSpPr>
          <p:nvPr>
            <p:ph type="sldImg" idx="2"/>
          </p:nvPr>
        </p:nvSpPr>
        <p:spPr>
          <a:xfrm>
            <a:off x="711200" y="744538"/>
            <a:ext cx="5375275" cy="372268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 name="Header Placeholder 1"/>
          <p:cNvSpPr>
            <a:spLocks noGrp="1"/>
          </p:cNvSpPr>
          <p:nvPr>
            <p:ph type="hdr" idx="10"/>
          </p:nvPr>
        </p:nvSpPr>
        <p:spPr/>
        <p:txBody>
          <a:bodyPr/>
          <a:lstStyle/>
          <a:p>
            <a:pPr>
              <a:defRPr/>
            </a:pPr>
            <a:endParaRPr lang="en-US" dirty="0">
              <a:solidFill>
                <a:srgbClr val="000000"/>
              </a:solidFill>
            </a:endParaRPr>
          </a:p>
        </p:txBody>
      </p:sp>
    </p:spTree>
    <p:extLst>
      <p:ext uri="{BB962C8B-B14F-4D97-AF65-F5344CB8AC3E}">
        <p14:creationId xmlns:p14="http://schemas.microsoft.com/office/powerpoint/2010/main" val="31021325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6063" y="622300"/>
            <a:ext cx="6308725" cy="43688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2D2EAAD-0662-4A29-8FB2-1DE05A219A4D}" type="slidenum">
              <a:rPr lang="en-US" smtClean="0">
                <a:solidFill>
                  <a:prstClr val="black"/>
                </a:solidFill>
              </a:rPr>
              <a:pPr/>
              <a:t>29</a:t>
            </a:fld>
            <a:endParaRPr lang="en-US" dirty="0">
              <a:solidFill>
                <a:prstClr val="black"/>
              </a:solidFill>
            </a:endParaRPr>
          </a:p>
        </p:txBody>
      </p:sp>
      <p:sp>
        <p:nvSpPr>
          <p:cNvPr id="5" name="Header Placeholder 4"/>
          <p:cNvSpPr>
            <a:spLocks noGrp="1"/>
          </p:cNvSpPr>
          <p:nvPr>
            <p:ph type="hdr" idx="11"/>
          </p:nvPr>
        </p:nvSpPr>
        <p:spPr/>
        <p:txBody>
          <a:bodyPr/>
          <a:lstStyle/>
          <a:p>
            <a:endParaRPr lang="en-US" dirty="0">
              <a:solidFill>
                <a:srgbClr val="000000"/>
              </a:solidFill>
            </a:endParaRPr>
          </a:p>
        </p:txBody>
      </p:sp>
    </p:spTree>
    <p:extLst>
      <p:ext uri="{BB962C8B-B14F-4D97-AF65-F5344CB8AC3E}">
        <p14:creationId xmlns:p14="http://schemas.microsoft.com/office/powerpoint/2010/main" val="38426767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8"/>
        <p:cNvGrpSpPr/>
        <p:nvPr/>
      </p:nvGrpSpPr>
      <p:grpSpPr>
        <a:xfrm>
          <a:off x="0" y="0"/>
          <a:ext cx="0" cy="0"/>
          <a:chOff x="0" y="0"/>
          <a:chExt cx="0" cy="0"/>
        </a:xfrm>
      </p:grpSpPr>
      <p:sp>
        <p:nvSpPr>
          <p:cNvPr id="539" name="Google Shape;539;p38:notes"/>
          <p:cNvSpPr txBox="1">
            <a:spLocks noGrp="1"/>
          </p:cNvSpPr>
          <p:nvPr>
            <p:ph type="body" idx="1"/>
          </p:nvPr>
        </p:nvSpPr>
        <p:spPr>
          <a:xfrm>
            <a:off x="679768" y="4715153"/>
            <a:ext cx="5438140" cy="4466987"/>
          </a:xfrm>
          <a:prstGeom prst="rect">
            <a:avLst/>
          </a:prstGeom>
        </p:spPr>
        <p:txBody>
          <a:bodyPr spcFirstLastPara="1" wrap="square" lIns="93175" tIns="46575" rIns="93175" bIns="46575" anchor="t" anchorCtr="0">
            <a:noAutofit/>
          </a:bodyPr>
          <a:lstStyle/>
          <a:p>
            <a:pPr marL="0" lvl="0" indent="0" algn="l" rtl="0">
              <a:spcBef>
                <a:spcPts val="0"/>
              </a:spcBef>
              <a:spcAft>
                <a:spcPts val="0"/>
              </a:spcAft>
              <a:buNone/>
            </a:pPr>
            <a:endParaRPr dirty="0"/>
          </a:p>
        </p:txBody>
      </p:sp>
      <p:sp>
        <p:nvSpPr>
          <p:cNvPr id="540" name="Google Shape;540;p38:notes"/>
          <p:cNvSpPr>
            <a:spLocks noGrp="1" noRot="1" noChangeAspect="1"/>
          </p:cNvSpPr>
          <p:nvPr>
            <p:ph type="sldImg" idx="2"/>
          </p:nvPr>
        </p:nvSpPr>
        <p:spPr>
          <a:xfrm>
            <a:off x="711200" y="744538"/>
            <a:ext cx="5375275" cy="372268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 name="Header Placeholder 1"/>
          <p:cNvSpPr>
            <a:spLocks noGrp="1"/>
          </p:cNvSpPr>
          <p:nvPr>
            <p:ph type="hdr" idx="10"/>
          </p:nvPr>
        </p:nvSpPr>
        <p:spPr/>
        <p:txBody>
          <a:bodyPr/>
          <a:lstStyle/>
          <a:p>
            <a:endParaRPr lang="en-US" dirty="0"/>
          </a:p>
        </p:txBody>
      </p:sp>
    </p:spTree>
    <p:extLst>
      <p:ext uri="{BB962C8B-B14F-4D97-AF65-F5344CB8AC3E}">
        <p14:creationId xmlns:p14="http://schemas.microsoft.com/office/powerpoint/2010/main" val="1677566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3.bin"/></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1.emf"/><Relationship Id="rId5" Type="http://schemas.openxmlformats.org/officeDocument/2006/relationships/oleObject" Target="../embeddings/oleObject5.bin"/><Relationship Id="rId4"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11.emf"/><Relationship Id="rId5" Type="http://schemas.openxmlformats.org/officeDocument/2006/relationships/oleObject" Target="../embeddings/oleObject6.bin"/><Relationship Id="rId4"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11.emf"/><Relationship Id="rId5" Type="http://schemas.openxmlformats.org/officeDocument/2006/relationships/oleObject" Target="../embeddings/oleObject7.bin"/><Relationship Id="rId4"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11.emf"/><Relationship Id="rId5" Type="http://schemas.openxmlformats.org/officeDocument/2006/relationships/oleObject" Target="../embeddings/oleObject8.bin"/><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image" Target="../media/image14.emf"/><Relationship Id="rId5" Type="http://schemas.openxmlformats.org/officeDocument/2006/relationships/oleObject" Target="../embeddings/oleObject9.bin"/><Relationship Id="rId4"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14.emf"/><Relationship Id="rId5" Type="http://schemas.openxmlformats.org/officeDocument/2006/relationships/oleObject" Target="../embeddings/oleObject10.bin"/><Relationship Id="rId4"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image" Target="../media/image14.emf"/><Relationship Id="rId5" Type="http://schemas.openxmlformats.org/officeDocument/2006/relationships/oleObject" Target="../embeddings/oleObject11.bin"/><Relationship Id="rId4"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image" Target="../media/image15.emf"/><Relationship Id="rId5" Type="http://schemas.openxmlformats.org/officeDocument/2006/relationships/oleObject" Target="../embeddings/oleObject12.bin"/><Relationship Id="rId4"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4.vml"/><Relationship Id="rId6" Type="http://schemas.openxmlformats.org/officeDocument/2006/relationships/image" Target="../media/image11.emf"/><Relationship Id="rId5" Type="http://schemas.openxmlformats.org/officeDocument/2006/relationships/oleObject" Target="../embeddings/oleObject14.bin"/><Relationship Id="rId4"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15.vml"/><Relationship Id="rId6" Type="http://schemas.openxmlformats.org/officeDocument/2006/relationships/image" Target="../media/image11.emf"/><Relationship Id="rId5" Type="http://schemas.openxmlformats.org/officeDocument/2006/relationships/oleObject" Target="../embeddings/oleObject15.bin"/><Relationship Id="rId4"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16.vml"/><Relationship Id="rId6" Type="http://schemas.openxmlformats.org/officeDocument/2006/relationships/image" Target="../media/image11.emf"/><Relationship Id="rId5" Type="http://schemas.openxmlformats.org/officeDocument/2006/relationships/oleObject" Target="../embeddings/oleObject16.bin"/><Relationship Id="rId4"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17.vml"/><Relationship Id="rId6" Type="http://schemas.openxmlformats.org/officeDocument/2006/relationships/image" Target="../media/image11.emf"/><Relationship Id="rId5" Type="http://schemas.openxmlformats.org/officeDocument/2006/relationships/oleObject" Target="../embeddings/oleObject17.bin"/><Relationship Id="rId4"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18.vml"/><Relationship Id="rId6" Type="http://schemas.openxmlformats.org/officeDocument/2006/relationships/image" Target="../media/image14.emf"/><Relationship Id="rId5" Type="http://schemas.openxmlformats.org/officeDocument/2006/relationships/oleObject" Target="../embeddings/oleObject18.bin"/><Relationship Id="rId4"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19.vml"/><Relationship Id="rId6" Type="http://schemas.openxmlformats.org/officeDocument/2006/relationships/image" Target="../media/image14.emf"/><Relationship Id="rId5" Type="http://schemas.openxmlformats.org/officeDocument/2006/relationships/oleObject" Target="../embeddings/oleObject19.bin"/><Relationship Id="rId4"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20.vml"/><Relationship Id="rId6" Type="http://schemas.openxmlformats.org/officeDocument/2006/relationships/image" Target="../media/image14.emf"/><Relationship Id="rId5" Type="http://schemas.openxmlformats.org/officeDocument/2006/relationships/oleObject" Target="../embeddings/oleObject20.bin"/><Relationship Id="rId4"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21.vml"/><Relationship Id="rId6" Type="http://schemas.openxmlformats.org/officeDocument/2006/relationships/image" Target="../media/image15.emf"/><Relationship Id="rId5" Type="http://schemas.openxmlformats.org/officeDocument/2006/relationships/oleObject" Target="../embeddings/oleObject21.bin"/><Relationship Id="rId4"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3.vml"/><Relationship Id="rId6" Type="http://schemas.openxmlformats.org/officeDocument/2006/relationships/image" Target="../media/image11.emf"/><Relationship Id="rId5" Type="http://schemas.openxmlformats.org/officeDocument/2006/relationships/oleObject" Target="../embeddings/oleObject23.bin"/><Relationship Id="rId4"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4.vml"/><Relationship Id="rId6" Type="http://schemas.openxmlformats.org/officeDocument/2006/relationships/image" Target="../media/image11.emf"/><Relationship Id="rId5" Type="http://schemas.openxmlformats.org/officeDocument/2006/relationships/oleObject" Target="../embeddings/oleObject24.bin"/><Relationship Id="rId4"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5.vml"/><Relationship Id="rId6" Type="http://schemas.openxmlformats.org/officeDocument/2006/relationships/image" Target="../media/image11.emf"/><Relationship Id="rId5" Type="http://schemas.openxmlformats.org/officeDocument/2006/relationships/oleObject" Target="../embeddings/oleObject25.bin"/><Relationship Id="rId4"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6.vml"/><Relationship Id="rId6" Type="http://schemas.openxmlformats.org/officeDocument/2006/relationships/image" Target="../media/image11.emf"/><Relationship Id="rId5" Type="http://schemas.openxmlformats.org/officeDocument/2006/relationships/oleObject" Target="../embeddings/oleObject26.bin"/><Relationship Id="rId4"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7.vml"/><Relationship Id="rId6" Type="http://schemas.openxmlformats.org/officeDocument/2006/relationships/image" Target="../media/image14.emf"/><Relationship Id="rId5" Type="http://schemas.openxmlformats.org/officeDocument/2006/relationships/oleObject" Target="../embeddings/oleObject27.bin"/><Relationship Id="rId4"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28.vml"/><Relationship Id="rId6" Type="http://schemas.openxmlformats.org/officeDocument/2006/relationships/image" Target="../media/image14.emf"/><Relationship Id="rId5" Type="http://schemas.openxmlformats.org/officeDocument/2006/relationships/oleObject" Target="../embeddings/oleObject28.bin"/><Relationship Id="rId4"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29.vml"/><Relationship Id="rId6" Type="http://schemas.openxmlformats.org/officeDocument/2006/relationships/image" Target="../media/image14.emf"/><Relationship Id="rId5" Type="http://schemas.openxmlformats.org/officeDocument/2006/relationships/oleObject" Target="../embeddings/oleObject29.bin"/><Relationship Id="rId4"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vmlDrawing" Target="../drawings/vmlDrawing30.vml"/><Relationship Id="rId6" Type="http://schemas.openxmlformats.org/officeDocument/2006/relationships/image" Target="../media/image15.emf"/><Relationship Id="rId5" Type="http://schemas.openxmlformats.org/officeDocument/2006/relationships/oleObject" Target="../embeddings/oleObject30.bin"/><Relationship Id="rId4"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32.vml"/><Relationship Id="rId6" Type="http://schemas.openxmlformats.org/officeDocument/2006/relationships/image" Target="../media/image11.emf"/><Relationship Id="rId5" Type="http://schemas.openxmlformats.org/officeDocument/2006/relationships/oleObject" Target="../embeddings/oleObject32.bin"/><Relationship Id="rId4"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33.vml"/><Relationship Id="rId6" Type="http://schemas.openxmlformats.org/officeDocument/2006/relationships/image" Target="../media/image11.emf"/><Relationship Id="rId5" Type="http://schemas.openxmlformats.org/officeDocument/2006/relationships/oleObject" Target="../embeddings/oleObject33.bin"/><Relationship Id="rId4"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34.vml"/><Relationship Id="rId6" Type="http://schemas.openxmlformats.org/officeDocument/2006/relationships/image" Target="../media/image11.emf"/><Relationship Id="rId5" Type="http://schemas.openxmlformats.org/officeDocument/2006/relationships/oleObject" Target="../embeddings/oleObject34.bin"/><Relationship Id="rId4"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35.vml"/><Relationship Id="rId6" Type="http://schemas.openxmlformats.org/officeDocument/2006/relationships/image" Target="../media/image11.emf"/><Relationship Id="rId5" Type="http://schemas.openxmlformats.org/officeDocument/2006/relationships/oleObject" Target="../embeddings/oleObject35.bin"/><Relationship Id="rId4"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vmlDrawing" Target="../drawings/vmlDrawing36.vml"/><Relationship Id="rId6" Type="http://schemas.openxmlformats.org/officeDocument/2006/relationships/image" Target="../media/image14.emf"/><Relationship Id="rId5" Type="http://schemas.openxmlformats.org/officeDocument/2006/relationships/oleObject" Target="../embeddings/oleObject36.bin"/><Relationship Id="rId4"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37.vml"/><Relationship Id="rId6" Type="http://schemas.openxmlformats.org/officeDocument/2006/relationships/image" Target="../media/image14.emf"/><Relationship Id="rId5" Type="http://schemas.openxmlformats.org/officeDocument/2006/relationships/oleObject" Target="../embeddings/oleObject37.bin"/><Relationship Id="rId4"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38.vml"/><Relationship Id="rId6" Type="http://schemas.openxmlformats.org/officeDocument/2006/relationships/image" Target="../media/image14.emf"/><Relationship Id="rId5" Type="http://schemas.openxmlformats.org/officeDocument/2006/relationships/oleObject" Target="../embeddings/oleObject38.bin"/><Relationship Id="rId4"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9.xml"/><Relationship Id="rId1" Type="http://schemas.openxmlformats.org/officeDocument/2006/relationships/vmlDrawing" Target="../drawings/vmlDrawing40.vml"/><Relationship Id="rId6" Type="http://schemas.openxmlformats.org/officeDocument/2006/relationships/image" Target="../media/image20.jpeg"/><Relationship Id="rId5" Type="http://schemas.openxmlformats.org/officeDocument/2006/relationships/image" Target="../media/image19.emf"/><Relationship Id="rId4" Type="http://schemas.openxmlformats.org/officeDocument/2006/relationships/oleObject" Target="../embeddings/oleObject40.bin"/></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vmlDrawing" Target="../drawings/vmlDrawing41.vml"/><Relationship Id="rId6" Type="http://schemas.openxmlformats.org/officeDocument/2006/relationships/image" Target="../media/image21.emf"/><Relationship Id="rId5" Type="http://schemas.openxmlformats.org/officeDocument/2006/relationships/oleObject" Target="../embeddings/oleObject41.bin"/><Relationship Id="rId4"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8.xml"/><Relationship Id="rId1" Type="http://schemas.openxmlformats.org/officeDocument/2006/relationships/vmlDrawing" Target="../drawings/vmlDrawing43.vml"/><Relationship Id="rId6" Type="http://schemas.openxmlformats.org/officeDocument/2006/relationships/image" Target="../media/image20.jpeg"/><Relationship Id="rId5" Type="http://schemas.openxmlformats.org/officeDocument/2006/relationships/image" Target="../media/image19.emf"/><Relationship Id="rId4" Type="http://schemas.openxmlformats.org/officeDocument/2006/relationships/oleObject" Target="../embeddings/oleObject43.bin"/></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26.xml"/><Relationship Id="rId1" Type="http://schemas.openxmlformats.org/officeDocument/2006/relationships/vmlDrawing" Target="../drawings/vmlDrawing45.vml"/><Relationship Id="rId6" Type="http://schemas.openxmlformats.org/officeDocument/2006/relationships/image" Target="../media/image20.jpeg"/><Relationship Id="rId5" Type="http://schemas.openxmlformats.org/officeDocument/2006/relationships/image" Target="../media/image19.emf"/><Relationship Id="rId4" Type="http://schemas.openxmlformats.org/officeDocument/2006/relationships/oleObject" Target="../embeddings/oleObject45.bin"/></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128.xml"/><Relationship Id="rId2" Type="http://schemas.openxmlformats.org/officeDocument/2006/relationships/tags" Target="../tags/tag127.xml"/><Relationship Id="rId1" Type="http://schemas.openxmlformats.org/officeDocument/2006/relationships/vmlDrawing" Target="../drawings/vmlDrawing46.vml"/><Relationship Id="rId6" Type="http://schemas.openxmlformats.org/officeDocument/2006/relationships/image" Target="../media/image21.emf"/><Relationship Id="rId5" Type="http://schemas.openxmlformats.org/officeDocument/2006/relationships/oleObject" Target="../embeddings/oleObject46.bin"/><Relationship Id="rId4"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45.xml"/><Relationship Id="rId1" Type="http://schemas.openxmlformats.org/officeDocument/2006/relationships/vmlDrawing" Target="../drawings/vmlDrawing48.vml"/><Relationship Id="rId6" Type="http://schemas.openxmlformats.org/officeDocument/2006/relationships/image" Target="../media/image20.jpeg"/><Relationship Id="rId5" Type="http://schemas.openxmlformats.org/officeDocument/2006/relationships/image" Target="../media/image19.emf"/><Relationship Id="rId4" Type="http://schemas.openxmlformats.org/officeDocument/2006/relationships/oleObject" Target="../embeddings/oleObject48.bin"/></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147.xml"/><Relationship Id="rId2" Type="http://schemas.openxmlformats.org/officeDocument/2006/relationships/tags" Target="../tags/tag146.xml"/><Relationship Id="rId1" Type="http://schemas.openxmlformats.org/officeDocument/2006/relationships/vmlDrawing" Target="../drawings/vmlDrawing49.vml"/><Relationship Id="rId6" Type="http://schemas.openxmlformats.org/officeDocument/2006/relationships/image" Target="../media/image15.emf"/><Relationship Id="rId5" Type="http://schemas.openxmlformats.org/officeDocument/2006/relationships/oleObject" Target="../embeddings/oleObject49.bin"/><Relationship Id="rId4" Type="http://schemas.openxmlformats.org/officeDocument/2006/relationships/slideMaster" Target="../slideMasters/slideMaster10.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48.xml"/><Relationship Id="rId1" Type="http://schemas.openxmlformats.org/officeDocument/2006/relationships/vmlDrawing" Target="../drawings/vmlDrawing50.vml"/><Relationship Id="rId5" Type="http://schemas.openxmlformats.org/officeDocument/2006/relationships/image" Target="../media/image11.emf"/><Relationship Id="rId4" Type="http://schemas.openxmlformats.org/officeDocument/2006/relationships/oleObject" Target="../embeddings/oleObject50.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49.xml"/><Relationship Id="rId1" Type="http://schemas.openxmlformats.org/officeDocument/2006/relationships/vmlDrawing" Target="../drawings/vmlDrawing51.vml"/><Relationship Id="rId5" Type="http://schemas.openxmlformats.org/officeDocument/2006/relationships/image" Target="../media/image11.emf"/><Relationship Id="rId4" Type="http://schemas.openxmlformats.org/officeDocument/2006/relationships/oleObject" Target="../embeddings/oleObject51.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67.xml"/><Relationship Id="rId1" Type="http://schemas.openxmlformats.org/officeDocument/2006/relationships/vmlDrawing" Target="../drawings/vmlDrawing53.vml"/><Relationship Id="rId6" Type="http://schemas.openxmlformats.org/officeDocument/2006/relationships/image" Target="../media/image20.jpeg"/><Relationship Id="rId5" Type="http://schemas.openxmlformats.org/officeDocument/2006/relationships/image" Target="../media/image19.emf"/><Relationship Id="rId4" Type="http://schemas.openxmlformats.org/officeDocument/2006/relationships/oleObject" Target="../embeddings/oleObject53.bin"/></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169.xml"/><Relationship Id="rId2" Type="http://schemas.openxmlformats.org/officeDocument/2006/relationships/tags" Target="../tags/tag168.xml"/><Relationship Id="rId1" Type="http://schemas.openxmlformats.org/officeDocument/2006/relationships/vmlDrawing" Target="../drawings/vmlDrawing54.vml"/><Relationship Id="rId6" Type="http://schemas.openxmlformats.org/officeDocument/2006/relationships/image" Target="../media/image11.emf"/><Relationship Id="rId5" Type="http://schemas.openxmlformats.org/officeDocument/2006/relationships/oleObject" Target="../embeddings/oleObject54.bin"/><Relationship Id="rId4" Type="http://schemas.openxmlformats.org/officeDocument/2006/relationships/slideMaster" Target="../slideMasters/slideMaster11.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87.xml"/><Relationship Id="rId1" Type="http://schemas.openxmlformats.org/officeDocument/2006/relationships/vmlDrawing" Target="../drawings/vmlDrawing56.vml"/><Relationship Id="rId6" Type="http://schemas.openxmlformats.org/officeDocument/2006/relationships/image" Target="../media/image20.jpeg"/><Relationship Id="rId5" Type="http://schemas.openxmlformats.org/officeDocument/2006/relationships/image" Target="../media/image19.emf"/><Relationship Id="rId4" Type="http://schemas.openxmlformats.org/officeDocument/2006/relationships/oleObject" Target="../embeddings/oleObject56.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189.xml"/><Relationship Id="rId2" Type="http://schemas.openxmlformats.org/officeDocument/2006/relationships/tags" Target="../tags/tag188.xml"/><Relationship Id="rId1" Type="http://schemas.openxmlformats.org/officeDocument/2006/relationships/vmlDrawing" Target="../drawings/vmlDrawing57.vml"/><Relationship Id="rId6" Type="http://schemas.openxmlformats.org/officeDocument/2006/relationships/image" Target="../media/image11.emf"/><Relationship Id="rId5" Type="http://schemas.openxmlformats.org/officeDocument/2006/relationships/oleObject" Target="../embeddings/oleObject57.bin"/><Relationship Id="rId4" Type="http://schemas.openxmlformats.org/officeDocument/2006/relationships/slideMaster" Target="../slideMasters/slideMaster12.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07.xml"/><Relationship Id="rId1" Type="http://schemas.openxmlformats.org/officeDocument/2006/relationships/vmlDrawing" Target="../drawings/vmlDrawing59.vml"/><Relationship Id="rId6" Type="http://schemas.openxmlformats.org/officeDocument/2006/relationships/image" Target="../media/image20.jpeg"/><Relationship Id="rId5" Type="http://schemas.openxmlformats.org/officeDocument/2006/relationships/image" Target="../media/image19.emf"/><Relationship Id="rId4" Type="http://schemas.openxmlformats.org/officeDocument/2006/relationships/oleObject" Target="../embeddings/oleObject59.bin"/></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209.xml"/><Relationship Id="rId2" Type="http://schemas.openxmlformats.org/officeDocument/2006/relationships/tags" Target="../tags/tag208.xml"/><Relationship Id="rId1" Type="http://schemas.openxmlformats.org/officeDocument/2006/relationships/vmlDrawing" Target="../drawings/vmlDrawing60.vml"/><Relationship Id="rId6" Type="http://schemas.openxmlformats.org/officeDocument/2006/relationships/image" Target="../media/image15.emf"/><Relationship Id="rId5" Type="http://schemas.openxmlformats.org/officeDocument/2006/relationships/oleObject" Target="../embeddings/oleObject60.bin"/><Relationship Id="rId4" Type="http://schemas.openxmlformats.org/officeDocument/2006/relationships/slideMaster" Target="../slideMasters/slideMaster1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10.xml"/><Relationship Id="rId1" Type="http://schemas.openxmlformats.org/officeDocument/2006/relationships/vmlDrawing" Target="../drawings/vmlDrawing61.vml"/><Relationship Id="rId5" Type="http://schemas.openxmlformats.org/officeDocument/2006/relationships/image" Target="../media/image11.emf"/><Relationship Id="rId4" Type="http://schemas.openxmlformats.org/officeDocument/2006/relationships/oleObject" Target="../embeddings/oleObject61.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227.xml"/><Relationship Id="rId1" Type="http://schemas.openxmlformats.org/officeDocument/2006/relationships/vmlDrawing" Target="../drawings/vmlDrawing63.vml"/><Relationship Id="rId6" Type="http://schemas.openxmlformats.org/officeDocument/2006/relationships/image" Target="../media/image20.jpeg"/><Relationship Id="rId5" Type="http://schemas.openxmlformats.org/officeDocument/2006/relationships/image" Target="../media/image19.emf"/><Relationship Id="rId4" Type="http://schemas.openxmlformats.org/officeDocument/2006/relationships/oleObject" Target="../embeddings/oleObject63.bin"/></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229.xml"/><Relationship Id="rId2" Type="http://schemas.openxmlformats.org/officeDocument/2006/relationships/tags" Target="../tags/tag228.xml"/><Relationship Id="rId1" Type="http://schemas.openxmlformats.org/officeDocument/2006/relationships/vmlDrawing" Target="../drawings/vmlDrawing64.vml"/><Relationship Id="rId6" Type="http://schemas.openxmlformats.org/officeDocument/2006/relationships/image" Target="../media/image23.emf"/><Relationship Id="rId5" Type="http://schemas.openxmlformats.org/officeDocument/2006/relationships/oleObject" Target="../embeddings/oleObject64.bin"/><Relationship Id="rId4" Type="http://schemas.openxmlformats.org/officeDocument/2006/relationships/slideMaster" Target="../slideMasters/slideMaster1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246.xml"/><Relationship Id="rId1" Type="http://schemas.openxmlformats.org/officeDocument/2006/relationships/vmlDrawing" Target="../drawings/vmlDrawing66.vml"/><Relationship Id="rId6" Type="http://schemas.openxmlformats.org/officeDocument/2006/relationships/image" Target="../media/image20.jpeg"/><Relationship Id="rId5" Type="http://schemas.openxmlformats.org/officeDocument/2006/relationships/image" Target="../media/image19.emf"/><Relationship Id="rId4" Type="http://schemas.openxmlformats.org/officeDocument/2006/relationships/oleObject" Target="../embeddings/oleObject66.bin"/></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248.xml"/><Relationship Id="rId2" Type="http://schemas.openxmlformats.org/officeDocument/2006/relationships/tags" Target="../tags/tag247.xml"/><Relationship Id="rId1" Type="http://schemas.openxmlformats.org/officeDocument/2006/relationships/vmlDrawing" Target="../drawings/vmlDrawing67.vml"/><Relationship Id="rId6" Type="http://schemas.openxmlformats.org/officeDocument/2006/relationships/image" Target="../media/image23.emf"/><Relationship Id="rId5" Type="http://schemas.openxmlformats.org/officeDocument/2006/relationships/oleObject" Target="../embeddings/oleObject67.bin"/><Relationship Id="rId4" Type="http://schemas.openxmlformats.org/officeDocument/2006/relationships/slideMaster" Target="../slideMasters/slideMaster1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250.xml"/><Relationship Id="rId2" Type="http://schemas.openxmlformats.org/officeDocument/2006/relationships/tags" Target="../tags/tag249.xml"/><Relationship Id="rId1" Type="http://schemas.openxmlformats.org/officeDocument/2006/relationships/vmlDrawing" Target="../drawings/vmlDrawing68.vml"/><Relationship Id="rId6" Type="http://schemas.openxmlformats.org/officeDocument/2006/relationships/image" Target="../media/image11.emf"/><Relationship Id="rId5" Type="http://schemas.openxmlformats.org/officeDocument/2006/relationships/oleObject" Target="../embeddings/oleObject68.bin"/><Relationship Id="rId4" Type="http://schemas.openxmlformats.org/officeDocument/2006/relationships/slideMaster" Target="../slideMasters/slideMaster16.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252.xml"/><Relationship Id="rId2" Type="http://schemas.openxmlformats.org/officeDocument/2006/relationships/tags" Target="../tags/tag251.xml"/><Relationship Id="rId1" Type="http://schemas.openxmlformats.org/officeDocument/2006/relationships/vmlDrawing" Target="../drawings/vmlDrawing69.vml"/><Relationship Id="rId6" Type="http://schemas.openxmlformats.org/officeDocument/2006/relationships/image" Target="../media/image11.emf"/><Relationship Id="rId5" Type="http://schemas.openxmlformats.org/officeDocument/2006/relationships/oleObject" Target="../embeddings/oleObject69.bin"/><Relationship Id="rId4" Type="http://schemas.openxmlformats.org/officeDocument/2006/relationships/slideMaster" Target="../slideMasters/slideMaster16.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254.xml"/><Relationship Id="rId2" Type="http://schemas.openxmlformats.org/officeDocument/2006/relationships/tags" Target="../tags/tag253.xml"/><Relationship Id="rId1" Type="http://schemas.openxmlformats.org/officeDocument/2006/relationships/vmlDrawing" Target="../drawings/vmlDrawing70.vml"/><Relationship Id="rId6" Type="http://schemas.openxmlformats.org/officeDocument/2006/relationships/image" Target="../media/image21.emf"/><Relationship Id="rId5" Type="http://schemas.openxmlformats.org/officeDocument/2006/relationships/oleObject" Target="../embeddings/oleObject70.bin"/><Relationship Id="rId4" Type="http://schemas.openxmlformats.org/officeDocument/2006/relationships/slideMaster" Target="../slideMasters/slideMaster16.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6.xml"/><Relationship Id="rId7" Type="http://schemas.openxmlformats.org/officeDocument/2006/relationships/image" Target="../media/image13.png"/><Relationship Id="rId2" Type="http://schemas.openxmlformats.org/officeDocument/2006/relationships/tags" Target="../tags/tag255.xml"/><Relationship Id="rId1" Type="http://schemas.openxmlformats.org/officeDocument/2006/relationships/vmlDrawing" Target="../drawings/vmlDrawing71.v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71.bin"/></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273.xml"/><Relationship Id="rId1" Type="http://schemas.openxmlformats.org/officeDocument/2006/relationships/vmlDrawing" Target="../drawings/vmlDrawing73.vml"/><Relationship Id="rId6" Type="http://schemas.openxmlformats.org/officeDocument/2006/relationships/image" Target="../media/image20.jpeg"/><Relationship Id="rId5" Type="http://schemas.openxmlformats.org/officeDocument/2006/relationships/image" Target="../media/image19.emf"/><Relationship Id="rId4" Type="http://schemas.openxmlformats.org/officeDocument/2006/relationships/oleObject" Target="../embeddings/oleObject73.bin"/></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275.xml"/><Relationship Id="rId2" Type="http://schemas.openxmlformats.org/officeDocument/2006/relationships/tags" Target="../tags/tag274.xml"/><Relationship Id="rId1" Type="http://schemas.openxmlformats.org/officeDocument/2006/relationships/vmlDrawing" Target="../drawings/vmlDrawing74.vml"/><Relationship Id="rId6" Type="http://schemas.openxmlformats.org/officeDocument/2006/relationships/image" Target="../media/image11.emf"/><Relationship Id="rId5" Type="http://schemas.openxmlformats.org/officeDocument/2006/relationships/oleObject" Target="../embeddings/oleObject74.bin"/><Relationship Id="rId4" Type="http://schemas.openxmlformats.org/officeDocument/2006/relationships/slideMaster" Target="../slideMasters/slideMaster17.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p:cSld name="Title Slide">
    <p:bg>
      <p:bgPr>
        <a:solidFill>
          <a:srgbClr val="006547"/>
        </a:solidFill>
        <a:effectLst/>
      </p:bgPr>
    </p:bg>
    <p:spTree>
      <p:nvGrpSpPr>
        <p:cNvPr id="1" name="Shape 11"/>
        <p:cNvGrpSpPr/>
        <p:nvPr/>
      </p:nvGrpSpPr>
      <p:grpSpPr>
        <a:xfrm>
          <a:off x="0" y="0"/>
          <a:ext cx="0" cy="0"/>
          <a:chOff x="0" y="0"/>
          <a:chExt cx="0" cy="0"/>
        </a:xfrm>
      </p:grpSpPr>
      <p:pic>
        <p:nvPicPr>
          <p:cNvPr id="12" name="Google Shape;12;p2"/>
          <p:cNvPicPr preferRelativeResize="0"/>
          <p:nvPr/>
        </p:nvPicPr>
        <p:blipFill rotWithShape="1">
          <a:blip r:embed="rId2">
            <a:alphaModFix/>
          </a:blip>
          <a:srcRect/>
          <a:stretch/>
        </p:blipFill>
        <p:spPr>
          <a:xfrm>
            <a:off x="1588" y="1588"/>
            <a:ext cx="1588" cy="1588"/>
          </a:xfrm>
          <a:prstGeom prst="rect">
            <a:avLst/>
          </a:prstGeom>
          <a:noFill/>
          <a:ln>
            <a:noFill/>
          </a:ln>
        </p:spPr>
      </p:pic>
      <p:pic>
        <p:nvPicPr>
          <p:cNvPr id="13" name="Google Shape;13;p2"/>
          <p:cNvPicPr preferRelativeResize="0"/>
          <p:nvPr/>
        </p:nvPicPr>
        <p:blipFill rotWithShape="1">
          <a:blip r:embed="rId3">
            <a:alphaModFix/>
          </a:blip>
          <a:srcRect/>
          <a:stretch/>
        </p:blipFill>
        <p:spPr>
          <a:xfrm>
            <a:off x="766" y="1"/>
            <a:ext cx="9904468" cy="4759523"/>
          </a:xfrm>
          <a:prstGeom prst="rect">
            <a:avLst/>
          </a:prstGeom>
          <a:noFill/>
          <a:ln>
            <a:noFill/>
          </a:ln>
        </p:spPr>
      </p:pic>
      <p:sp>
        <p:nvSpPr>
          <p:cNvPr id="14" name="Google Shape;14;p2"/>
          <p:cNvSpPr txBox="1">
            <a:spLocks noGrp="1"/>
          </p:cNvSpPr>
          <p:nvPr>
            <p:ph type="title"/>
          </p:nvPr>
        </p:nvSpPr>
        <p:spPr>
          <a:xfrm>
            <a:off x="495300" y="4824250"/>
            <a:ext cx="8915400" cy="1143000"/>
          </a:xfrm>
          <a:prstGeom prst="rect">
            <a:avLst/>
          </a:prstGeom>
          <a:noFill/>
          <a:ln>
            <a:noFill/>
          </a:ln>
        </p:spPr>
        <p:txBody>
          <a:bodyPr spcFirstLastPara="1" wrap="square" lIns="91425" tIns="45700" rIns="91425" bIns="45700" anchor="t" anchorCtr="0"/>
          <a:lstStyle>
            <a:lvl1pPr marR="0" lvl="0" algn="l" rtl="0">
              <a:lnSpc>
                <a:spcPct val="90000"/>
              </a:lnSpc>
              <a:spcBef>
                <a:spcPts val="0"/>
              </a:spcBef>
              <a:spcAft>
                <a:spcPts val="0"/>
              </a:spcAft>
              <a:buClr>
                <a:schemeClr val="lt1"/>
              </a:buClr>
              <a:buSzPts val="3600"/>
              <a:buFont typeface="Arial"/>
              <a:buNone/>
              <a:defRPr sz="3600" b="0"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5" name="Google Shape;15;p2"/>
          <p:cNvSpPr txBox="1">
            <a:spLocks noGrp="1"/>
          </p:cNvSpPr>
          <p:nvPr>
            <p:ph type="subTitle" idx="1"/>
          </p:nvPr>
        </p:nvSpPr>
        <p:spPr>
          <a:xfrm>
            <a:off x="495300" y="6031975"/>
            <a:ext cx="8397935" cy="384595"/>
          </a:xfrm>
          <a:prstGeom prst="rect">
            <a:avLst/>
          </a:prstGeom>
          <a:noFill/>
          <a:ln>
            <a:noFill/>
          </a:ln>
        </p:spPr>
        <p:txBody>
          <a:bodyPr spcFirstLastPara="1" wrap="square" lIns="0" tIns="0" rIns="0" bIns="0" anchor="t" anchorCtr="0"/>
          <a:lstStyle>
            <a:lvl1pPr marR="0" lvl="0" algn="l" rtl="0">
              <a:lnSpc>
                <a:spcPct val="90000"/>
              </a:lnSpc>
              <a:spcBef>
                <a:spcPts val="1000"/>
              </a:spcBef>
              <a:spcAft>
                <a:spcPts val="0"/>
              </a:spcAft>
              <a:buClr>
                <a:schemeClr val="lt1"/>
              </a:buClr>
              <a:buSzPts val="1600"/>
              <a:buFont typeface="Arial"/>
              <a:buNone/>
              <a:defRPr sz="1600" b="0" i="1" u="none" strike="noStrike" cap="none">
                <a:solidFill>
                  <a:schemeClr val="lt1"/>
                </a:solidFill>
                <a:latin typeface="Arial"/>
                <a:ea typeface="Arial"/>
                <a:cs typeface="Arial"/>
                <a:sym typeface="Arial"/>
              </a:defRPr>
            </a:lvl1pPr>
            <a:lvl2pPr marR="0" lvl="1" algn="ctr" rtl="0">
              <a:lnSpc>
                <a:spcPct val="90000"/>
              </a:lnSpc>
              <a:spcBef>
                <a:spcPts val="500"/>
              </a:spcBef>
              <a:spcAft>
                <a:spcPts val="0"/>
              </a:spcAft>
              <a:buClr>
                <a:srgbClr val="888888"/>
              </a:buClr>
              <a:buSzPts val="2400"/>
              <a:buFont typeface="Arial"/>
              <a:buNone/>
              <a:defRPr sz="2400" b="0" i="0" u="none" strike="noStrike" cap="none">
                <a:solidFill>
                  <a:srgbClr val="888888"/>
                </a:solidFill>
                <a:latin typeface="Calibri"/>
                <a:ea typeface="Calibri"/>
                <a:cs typeface="Calibri"/>
                <a:sym typeface="Calibri"/>
              </a:defRPr>
            </a:lvl2pPr>
            <a:lvl3pPr marR="0" lvl="2" algn="ctr" rtl="0">
              <a:lnSpc>
                <a:spcPct val="90000"/>
              </a:lnSpc>
              <a:spcBef>
                <a:spcPts val="500"/>
              </a:spcBef>
              <a:spcAft>
                <a:spcPts val="0"/>
              </a:spcAft>
              <a:buClr>
                <a:srgbClr val="888888"/>
              </a:buClr>
              <a:buSzPts val="2000"/>
              <a:buFont typeface="Arial"/>
              <a:buNone/>
              <a:defRPr sz="2000" b="0" i="0" u="none" strike="noStrike" cap="none">
                <a:solidFill>
                  <a:srgbClr val="888888"/>
                </a:solidFill>
                <a:latin typeface="Calibri"/>
                <a:ea typeface="Calibri"/>
                <a:cs typeface="Calibri"/>
                <a:sym typeface="Calibri"/>
              </a:defRPr>
            </a:lvl3pPr>
            <a:lvl4pPr marR="0" lvl="3"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4pPr>
            <a:lvl5pPr marR="0" lvl="4"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5pPr>
            <a:lvl6pPr marR="0" lvl="5"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6pPr>
            <a:lvl7pPr marR="0" lvl="6"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7pPr>
            <a:lvl8pPr marR="0" lvl="7"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8pPr>
            <a:lvl9pPr marR="0" lvl="8"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9pPr>
          </a:lstStyle>
          <a:p>
            <a:endParaRPr/>
          </a:p>
        </p:txBody>
      </p:sp>
      <p:sp>
        <p:nvSpPr>
          <p:cNvPr id="16" name="Google Shape;16;p2"/>
          <p:cNvSpPr txBox="1">
            <a:spLocks noGrp="1"/>
          </p:cNvSpPr>
          <p:nvPr>
            <p:ph type="body" idx="2"/>
          </p:nvPr>
        </p:nvSpPr>
        <p:spPr>
          <a:xfrm>
            <a:off x="495300" y="6478666"/>
            <a:ext cx="8397831" cy="311885"/>
          </a:xfrm>
          <a:prstGeom prst="rect">
            <a:avLst/>
          </a:prstGeom>
          <a:noFill/>
          <a:ln>
            <a:noFill/>
          </a:ln>
        </p:spPr>
        <p:txBody>
          <a:bodyPr spcFirstLastPara="1" wrap="square" lIns="0" tIns="0" rIns="0" bIns="0" anchor="t" anchorCtr="0"/>
          <a:lstStyle>
            <a:lvl1pPr marL="457200" marR="0" lvl="0" indent="-228600" algn="l" rtl="0">
              <a:lnSpc>
                <a:spcPct val="90000"/>
              </a:lnSpc>
              <a:spcBef>
                <a:spcPts val="100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L="914400" marR="0" lvl="1"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2pPr>
            <a:lvl3pPr marL="1371600" marR="0" lvl="2"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2_Blank">
  <p:cSld name="2_Blank">
    <p:bg>
      <p:bgPr>
        <a:solidFill>
          <a:srgbClr val="A8D08C"/>
        </a:solidFill>
        <a:effectLst/>
      </p:bgPr>
    </p:bg>
    <p:spTree>
      <p:nvGrpSpPr>
        <p:cNvPr id="1" name="Shape 77"/>
        <p:cNvGrpSpPr/>
        <p:nvPr/>
      </p:nvGrpSpPr>
      <p:grpSpPr>
        <a:xfrm>
          <a:off x="0" y="0"/>
          <a:ext cx="0" cy="0"/>
          <a:chOff x="0" y="0"/>
          <a:chExt cx="0" cy="0"/>
        </a:xfrm>
      </p:grpSpPr>
      <p:pic>
        <p:nvPicPr>
          <p:cNvPr id="78" name="Google Shape;78;p13"/>
          <p:cNvPicPr preferRelativeResize="0"/>
          <p:nvPr/>
        </p:nvPicPr>
        <p:blipFill rotWithShape="1">
          <a:blip r:embed="rId2">
            <a:alphaModFix/>
          </a:blip>
          <a:srcRect/>
          <a:stretch/>
        </p:blipFill>
        <p:spPr>
          <a:xfrm>
            <a:off x="1588" y="1588"/>
            <a:ext cx="1588" cy="1588"/>
          </a:xfrm>
          <a:prstGeom prst="rect">
            <a:avLst/>
          </a:prstGeom>
          <a:noFill/>
          <a:ln>
            <a:noFill/>
          </a:ln>
        </p:spPr>
      </p:pic>
      <p:pic>
        <p:nvPicPr>
          <p:cNvPr id="79" name="Google Shape;79;p13"/>
          <p:cNvPicPr preferRelativeResize="0"/>
          <p:nvPr/>
        </p:nvPicPr>
        <p:blipFill rotWithShape="1">
          <a:blip r:embed="rId3">
            <a:alphaModFix/>
          </a:blip>
          <a:srcRect/>
          <a:stretch/>
        </p:blipFill>
        <p:spPr>
          <a:xfrm>
            <a:off x="0" y="5947172"/>
            <a:ext cx="9906000" cy="910828"/>
          </a:xfrm>
          <a:prstGeom prst="rect">
            <a:avLst/>
          </a:prstGeom>
          <a:noFill/>
          <a:ln>
            <a:noFill/>
          </a:ln>
        </p:spPr>
      </p:pic>
      <p:sp>
        <p:nvSpPr>
          <p:cNvPr id="80" name="Google Shape;80;p13"/>
          <p:cNvSpPr txBox="1">
            <a:spLocks noGrp="1"/>
          </p:cNvSpPr>
          <p:nvPr>
            <p:ph type="title"/>
          </p:nvPr>
        </p:nvSpPr>
        <p:spPr>
          <a:xfrm>
            <a:off x="577850" y="2514600"/>
            <a:ext cx="8915400" cy="1143000"/>
          </a:xfrm>
          <a:prstGeom prst="rect">
            <a:avLst/>
          </a:prstGeom>
          <a:noFill/>
          <a:ln>
            <a:noFill/>
          </a:ln>
        </p:spPr>
        <p:txBody>
          <a:bodyPr spcFirstLastPara="1" wrap="square" lIns="91425" tIns="45700" rIns="91425" bIns="45700" anchor="t" anchorCtr="0"/>
          <a:lstStyle>
            <a:lvl1pPr marR="0" lvl="0" algn="l" rtl="0">
              <a:lnSpc>
                <a:spcPct val="90000"/>
              </a:lnSpc>
              <a:spcBef>
                <a:spcPts val="0"/>
              </a:spcBef>
              <a:spcAft>
                <a:spcPts val="0"/>
              </a:spcAft>
              <a:buClr>
                <a:srgbClr val="385623"/>
              </a:buClr>
              <a:buSzPts val="4400"/>
              <a:buFont typeface="Arial"/>
              <a:buNone/>
              <a:defRPr sz="4400" b="0" i="0" u="none" strike="noStrike" cap="none">
                <a:solidFill>
                  <a:srgbClr val="385623"/>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2_Text">
  <p:cSld name="2_Text">
    <p:spTree>
      <p:nvGrpSpPr>
        <p:cNvPr id="1" name="Shape 92"/>
        <p:cNvGrpSpPr/>
        <p:nvPr/>
      </p:nvGrpSpPr>
      <p:grpSpPr>
        <a:xfrm>
          <a:off x="0" y="0"/>
          <a:ext cx="0" cy="0"/>
          <a:chOff x="0" y="0"/>
          <a:chExt cx="0" cy="0"/>
        </a:xfrm>
      </p:grpSpPr>
      <p:pic>
        <p:nvPicPr>
          <p:cNvPr id="93" name="Google Shape;93;p16"/>
          <p:cNvPicPr preferRelativeResize="0"/>
          <p:nvPr/>
        </p:nvPicPr>
        <p:blipFill rotWithShape="1">
          <a:blip r:embed="rId2">
            <a:alphaModFix/>
          </a:blip>
          <a:srcRect/>
          <a:stretch/>
        </p:blipFill>
        <p:spPr>
          <a:xfrm>
            <a:off x="1" y="3"/>
            <a:ext cx="156345" cy="140074"/>
          </a:xfrm>
          <a:prstGeom prst="rect">
            <a:avLst/>
          </a:prstGeom>
          <a:noFill/>
          <a:ln>
            <a:noFill/>
          </a:ln>
        </p:spPr>
      </p:pic>
      <p:sp>
        <p:nvSpPr>
          <p:cNvPr id="94" name="Google Shape;94;p16"/>
          <p:cNvSpPr txBox="1">
            <a:spLocks noGrp="1"/>
          </p:cNvSpPr>
          <p:nvPr>
            <p:ph type="title"/>
          </p:nvPr>
        </p:nvSpPr>
        <p:spPr>
          <a:xfrm>
            <a:off x="450741" y="134054"/>
            <a:ext cx="7245459" cy="582389"/>
          </a:xfrm>
          <a:prstGeom prst="rect">
            <a:avLst/>
          </a:prstGeom>
          <a:noFill/>
          <a:ln>
            <a:noFill/>
          </a:ln>
        </p:spPr>
        <p:txBody>
          <a:bodyPr spcFirstLastPara="1" wrap="square" lIns="0" tIns="0" rIns="0" bIns="0" anchor="b" anchorCtr="0"/>
          <a:lstStyle>
            <a:lvl1pPr marR="0" lvl="0" algn="l" rtl="0">
              <a:lnSpc>
                <a:spcPct val="90000"/>
              </a:lnSpc>
              <a:spcBef>
                <a:spcPts val="0"/>
              </a:spcBef>
              <a:spcAft>
                <a:spcPts val="0"/>
              </a:spcAft>
              <a:buClr>
                <a:schemeClr val="dk1"/>
              </a:buClr>
              <a:buSzPts val="2200"/>
              <a:buFont typeface="Arial"/>
              <a:buNone/>
              <a:defRPr sz="22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95" name="Google Shape;95;p16"/>
          <p:cNvSpPr txBox="1">
            <a:spLocks noGrp="1"/>
          </p:cNvSpPr>
          <p:nvPr>
            <p:ph type="body" idx="1"/>
          </p:nvPr>
        </p:nvSpPr>
        <p:spPr>
          <a:xfrm>
            <a:off x="450276" y="1066801"/>
            <a:ext cx="9005453" cy="4876799"/>
          </a:xfrm>
          <a:prstGeom prst="rect">
            <a:avLst/>
          </a:prstGeom>
          <a:noFill/>
          <a:ln>
            <a:noFill/>
          </a:ln>
        </p:spPr>
        <p:txBody>
          <a:bodyPr spcFirstLastPara="1" wrap="square" lIns="0" tIns="0" rIns="0" bIns="0" anchor="t" anchorCtr="0"/>
          <a:lstStyle>
            <a:lvl1pPr marL="457200" marR="0" lvl="0" indent="-330200" algn="l" rtl="0">
              <a:lnSpc>
                <a:spcPct val="90000"/>
              </a:lnSpc>
              <a:spcBef>
                <a:spcPts val="718"/>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17500" algn="l" rtl="0">
              <a:lnSpc>
                <a:spcPct val="90000"/>
              </a:lnSpc>
              <a:spcBef>
                <a:spcPts val="718"/>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2pPr>
            <a:lvl3pPr marL="1371600" marR="0" lvl="2" indent="-317500" algn="l" rtl="0">
              <a:lnSpc>
                <a:spcPct val="90000"/>
              </a:lnSpc>
              <a:spcBef>
                <a:spcPts val="500"/>
              </a:spcBef>
              <a:spcAft>
                <a:spcPts val="0"/>
              </a:spcAft>
              <a:buClr>
                <a:schemeClr val="dk1"/>
              </a:buClr>
              <a:buSzPts val="1400"/>
              <a:buFont typeface="Courier New"/>
              <a:buChar char="o"/>
              <a:defRPr sz="1400" b="0" i="0" u="none" strike="noStrike" cap="none">
                <a:solidFill>
                  <a:schemeClr val="dk1"/>
                </a:solidFill>
                <a:latin typeface="Arial"/>
                <a:ea typeface="Arial"/>
                <a:cs typeface="Arial"/>
                <a:sym typeface="Arial"/>
              </a:defRPr>
            </a:lvl3pPr>
            <a:lvl4pPr marL="1828800" marR="0" lvl="3" indent="-317500" algn="l" rtl="0">
              <a:lnSpc>
                <a:spcPct val="90000"/>
              </a:lnSpc>
              <a:spcBef>
                <a:spcPts val="5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6" name="Google Shape;96;p16"/>
          <p:cNvSpPr txBox="1">
            <a:spLocks noGrp="1"/>
          </p:cNvSpPr>
          <p:nvPr>
            <p:ph type="body" idx="2"/>
          </p:nvPr>
        </p:nvSpPr>
        <p:spPr>
          <a:xfrm>
            <a:off x="450588" y="6055245"/>
            <a:ext cx="7702813" cy="386679"/>
          </a:xfrm>
          <a:prstGeom prst="rect">
            <a:avLst/>
          </a:prstGeom>
          <a:noFill/>
          <a:ln>
            <a:noFill/>
          </a:ln>
        </p:spPr>
        <p:txBody>
          <a:bodyPr spcFirstLastPara="1" wrap="square" lIns="0" tIns="0" rIns="0" bIns="0" anchor="b" anchorCtr="0"/>
          <a:lstStyle>
            <a:lvl1pPr marL="457200" marR="0" lvl="0" indent="-228600" algn="l" rtl="0">
              <a:lnSpc>
                <a:spcPct val="90000"/>
              </a:lnSpc>
              <a:spcBef>
                <a:spcPts val="1000"/>
              </a:spcBef>
              <a:spcAft>
                <a:spcPts val="0"/>
              </a:spcAft>
              <a:buClr>
                <a:schemeClr val="dk1"/>
              </a:buClr>
              <a:buSzPts val="923"/>
              <a:buFont typeface="Arial"/>
              <a:buNone/>
              <a:defRPr sz="922"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3_Title Slide">
  <p:cSld name="3_Title Slide">
    <p:spTree>
      <p:nvGrpSpPr>
        <p:cNvPr id="1" name="Shape 116"/>
        <p:cNvGrpSpPr/>
        <p:nvPr/>
      </p:nvGrpSpPr>
      <p:grpSpPr>
        <a:xfrm>
          <a:off x="0" y="0"/>
          <a:ext cx="0" cy="0"/>
          <a:chOff x="0" y="0"/>
          <a:chExt cx="0" cy="0"/>
        </a:xfrm>
      </p:grpSpPr>
      <p:pic>
        <p:nvPicPr>
          <p:cNvPr id="117" name="Google Shape;117;p18"/>
          <p:cNvPicPr preferRelativeResize="0"/>
          <p:nvPr/>
        </p:nvPicPr>
        <p:blipFill rotWithShape="1">
          <a:blip r:embed="rId2">
            <a:alphaModFix/>
          </a:blip>
          <a:srcRect/>
          <a:stretch/>
        </p:blipFill>
        <p:spPr>
          <a:xfrm>
            <a:off x="1588" y="1588"/>
            <a:ext cx="1588" cy="1588"/>
          </a:xfrm>
          <a:prstGeom prst="rect">
            <a:avLst/>
          </a:prstGeom>
          <a:noFill/>
          <a:ln>
            <a:noFill/>
          </a:ln>
        </p:spPr>
      </p:pic>
      <p:sp>
        <p:nvSpPr>
          <p:cNvPr id="118" name="Google Shape;118;p18"/>
          <p:cNvSpPr txBox="1">
            <a:spLocks noGrp="1"/>
          </p:cNvSpPr>
          <p:nvPr>
            <p:ph type="body" idx="1"/>
          </p:nvPr>
        </p:nvSpPr>
        <p:spPr>
          <a:xfrm>
            <a:off x="450326" y="1008557"/>
            <a:ext cx="4319158" cy="460302"/>
          </a:xfrm>
          <a:prstGeom prst="rect">
            <a:avLst/>
          </a:prstGeom>
          <a:solidFill>
            <a:srgbClr val="3F5F1F"/>
          </a:solidFill>
          <a:ln>
            <a:noFill/>
          </a:ln>
        </p:spPr>
        <p:txBody>
          <a:bodyPr spcFirstLastPara="1" wrap="square" lIns="0" tIns="0" rIns="0" bIns="0" anchor="ctr" anchorCtr="0"/>
          <a:lstStyle>
            <a:lvl1pPr marL="457200" marR="0" lvl="0" indent="-228600" algn="ctr" rtl="0">
              <a:lnSpc>
                <a:spcPct val="90000"/>
              </a:lnSpc>
              <a:spcBef>
                <a:spcPts val="1000"/>
              </a:spcBef>
              <a:spcAft>
                <a:spcPts val="0"/>
              </a:spcAft>
              <a:buClr>
                <a:schemeClr val="lt1"/>
              </a:buClr>
              <a:buSzPts val="1600"/>
              <a:buFont typeface="Arial"/>
              <a:buNone/>
              <a:defRPr sz="1600" b="1" i="0" u="none" strike="noStrike" cap="none">
                <a:solidFill>
                  <a:schemeClr val="lt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cxnSp>
        <p:nvCxnSpPr>
          <p:cNvPr id="119" name="Google Shape;119;p18"/>
          <p:cNvCxnSpPr/>
          <p:nvPr/>
        </p:nvCxnSpPr>
        <p:spPr>
          <a:xfrm>
            <a:off x="450322" y="1549540"/>
            <a:ext cx="4308549" cy="0"/>
          </a:xfrm>
          <a:prstGeom prst="straightConnector1">
            <a:avLst/>
          </a:prstGeom>
          <a:noFill/>
          <a:ln w="9525" cap="flat" cmpd="sng">
            <a:solidFill>
              <a:schemeClr val="dk1"/>
            </a:solidFill>
            <a:prstDash val="solid"/>
            <a:miter lim="800000"/>
            <a:headEnd type="none" w="sm" len="sm"/>
            <a:tailEnd type="none" w="sm" len="sm"/>
          </a:ln>
        </p:spPr>
      </p:cxnSp>
      <p:sp>
        <p:nvSpPr>
          <p:cNvPr id="120" name="Google Shape;120;p18"/>
          <p:cNvSpPr txBox="1">
            <a:spLocks noGrp="1"/>
          </p:cNvSpPr>
          <p:nvPr>
            <p:ph type="body" idx="2"/>
          </p:nvPr>
        </p:nvSpPr>
        <p:spPr>
          <a:xfrm>
            <a:off x="450326" y="1644574"/>
            <a:ext cx="4319158" cy="4222236"/>
          </a:xfrm>
          <a:prstGeom prst="rect">
            <a:avLst/>
          </a:prstGeom>
          <a:noFill/>
          <a:ln>
            <a:noFill/>
          </a:ln>
        </p:spPr>
        <p:txBody>
          <a:bodyPr spcFirstLastPara="1" wrap="square" lIns="0" tIns="0" rIns="0" bIns="0" anchor="t" anchorCtr="0"/>
          <a:lstStyle>
            <a:lvl1pPr marL="457200" marR="0" lvl="0" indent="-317500" algn="l" rtl="0">
              <a:lnSpc>
                <a:spcPct val="90000"/>
              </a:lnSpc>
              <a:spcBef>
                <a:spcPts val="10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1pPr>
            <a:lvl2pPr marL="914400" marR="0" lvl="1" indent="-304800" algn="l" rtl="0">
              <a:lnSpc>
                <a:spcPct val="90000"/>
              </a:lnSpc>
              <a:spcBef>
                <a:spcPts val="500"/>
              </a:spcBef>
              <a:spcAft>
                <a:spcPts val="0"/>
              </a:spcAft>
              <a:buClr>
                <a:schemeClr val="dk1"/>
              </a:buClr>
              <a:buSzPts val="1200"/>
              <a:buFont typeface="Noto Sans Symbols"/>
              <a:buChar char="✓"/>
              <a:defRPr sz="1200" b="0" i="0" u="none" strike="noStrike" cap="none">
                <a:solidFill>
                  <a:schemeClr val="dk1"/>
                </a:solidFill>
                <a:latin typeface="Arial"/>
                <a:ea typeface="Arial"/>
                <a:cs typeface="Arial"/>
                <a:sym typeface="Arial"/>
              </a:defRPr>
            </a:lvl2pPr>
            <a:lvl3pPr marL="1371600" marR="0" lvl="2" indent="-304800" algn="l" rtl="0">
              <a:lnSpc>
                <a:spcPct val="90000"/>
              </a:lnSpc>
              <a:spcBef>
                <a:spcPts val="500"/>
              </a:spcBef>
              <a:spcAft>
                <a:spcPts val="0"/>
              </a:spcAft>
              <a:buClr>
                <a:schemeClr val="dk1"/>
              </a:buClr>
              <a:buSzPts val="1200"/>
              <a:buFont typeface="Courier New"/>
              <a:buChar char="o"/>
              <a:defRPr sz="1200" b="0" i="0" u="none" strike="noStrike" cap="none">
                <a:solidFill>
                  <a:schemeClr val="dk1"/>
                </a:solidFill>
                <a:latin typeface="Arial"/>
                <a:ea typeface="Arial"/>
                <a:cs typeface="Arial"/>
                <a:sym typeface="Arial"/>
              </a:defRPr>
            </a:lvl3pPr>
            <a:lvl4pPr marL="1828800" marR="0" lvl="3" indent="-304800" algn="l" rtl="0">
              <a:lnSpc>
                <a:spcPct val="90000"/>
              </a:lnSpc>
              <a:spcBef>
                <a:spcPts val="500"/>
              </a:spcBef>
              <a:spcAft>
                <a:spcPts val="0"/>
              </a:spcAft>
              <a:buClr>
                <a:schemeClr val="dk1"/>
              </a:buClr>
              <a:buSzPts val="1200"/>
              <a:buFont typeface="Noto Sans Symbols"/>
              <a:buChar char="➢"/>
              <a:defRPr sz="12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1" name="Google Shape;121;p18"/>
          <p:cNvSpPr txBox="1">
            <a:spLocks noGrp="1"/>
          </p:cNvSpPr>
          <p:nvPr>
            <p:ph type="body" idx="3"/>
          </p:nvPr>
        </p:nvSpPr>
        <p:spPr>
          <a:xfrm>
            <a:off x="5151120" y="1009149"/>
            <a:ext cx="4304296" cy="460302"/>
          </a:xfrm>
          <a:prstGeom prst="rect">
            <a:avLst/>
          </a:prstGeom>
          <a:solidFill>
            <a:srgbClr val="3F5F1F"/>
          </a:solidFill>
          <a:ln>
            <a:noFill/>
          </a:ln>
        </p:spPr>
        <p:txBody>
          <a:bodyPr spcFirstLastPara="1" wrap="square" lIns="0" tIns="0" rIns="0" bIns="0" anchor="ctr" anchorCtr="0"/>
          <a:lstStyle>
            <a:lvl1pPr marL="457200" marR="0" lvl="0" indent="-228600" algn="ctr" rtl="0">
              <a:lnSpc>
                <a:spcPct val="90000"/>
              </a:lnSpc>
              <a:spcBef>
                <a:spcPts val="1000"/>
              </a:spcBef>
              <a:spcAft>
                <a:spcPts val="0"/>
              </a:spcAft>
              <a:buClr>
                <a:schemeClr val="lt1"/>
              </a:buClr>
              <a:buSzPts val="1600"/>
              <a:buFont typeface="Arial"/>
              <a:buNone/>
              <a:defRPr sz="1600" b="1" i="0" u="none" strike="noStrike" cap="none">
                <a:solidFill>
                  <a:schemeClr val="lt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cxnSp>
        <p:nvCxnSpPr>
          <p:cNvPr id="122" name="Google Shape;122;p18"/>
          <p:cNvCxnSpPr/>
          <p:nvPr/>
        </p:nvCxnSpPr>
        <p:spPr>
          <a:xfrm>
            <a:off x="5151120" y="1550132"/>
            <a:ext cx="4304297" cy="0"/>
          </a:xfrm>
          <a:prstGeom prst="straightConnector1">
            <a:avLst/>
          </a:prstGeom>
          <a:noFill/>
          <a:ln w="9525" cap="flat" cmpd="sng">
            <a:solidFill>
              <a:schemeClr val="dk1"/>
            </a:solidFill>
            <a:prstDash val="solid"/>
            <a:miter lim="800000"/>
            <a:headEnd type="none" w="sm" len="sm"/>
            <a:tailEnd type="none" w="sm" len="sm"/>
          </a:ln>
        </p:spPr>
      </p:cxnSp>
      <p:sp>
        <p:nvSpPr>
          <p:cNvPr id="123" name="Google Shape;123;p18"/>
          <p:cNvSpPr txBox="1">
            <a:spLocks noGrp="1"/>
          </p:cNvSpPr>
          <p:nvPr>
            <p:ph type="body" idx="4"/>
          </p:nvPr>
        </p:nvSpPr>
        <p:spPr>
          <a:xfrm>
            <a:off x="5151120" y="1645165"/>
            <a:ext cx="4304296" cy="4222236"/>
          </a:xfrm>
          <a:prstGeom prst="rect">
            <a:avLst/>
          </a:prstGeom>
          <a:noFill/>
          <a:ln>
            <a:noFill/>
          </a:ln>
        </p:spPr>
        <p:txBody>
          <a:bodyPr spcFirstLastPara="1" wrap="square" lIns="0" tIns="0" rIns="0" bIns="0" anchor="t" anchorCtr="0"/>
          <a:lstStyle>
            <a:lvl1pPr marL="457200" marR="0" lvl="0" indent="-310642" algn="l" rtl="0">
              <a:lnSpc>
                <a:spcPct val="90000"/>
              </a:lnSpc>
              <a:spcBef>
                <a:spcPts val="1000"/>
              </a:spcBef>
              <a:spcAft>
                <a:spcPts val="0"/>
              </a:spcAft>
              <a:buClr>
                <a:schemeClr val="dk1"/>
              </a:buClr>
              <a:buSzPts val="1292"/>
              <a:buFont typeface="Arial"/>
              <a:buChar char="•"/>
              <a:defRPr sz="1292" b="0" i="0" u="none" strike="noStrike" cap="none">
                <a:solidFill>
                  <a:schemeClr val="dk1"/>
                </a:solidFill>
                <a:latin typeface="Arial"/>
                <a:ea typeface="Arial"/>
                <a:cs typeface="Arial"/>
                <a:sym typeface="Arial"/>
              </a:defRPr>
            </a:lvl1pPr>
            <a:lvl2pPr marL="914400" marR="0" lvl="1" indent="-298958" algn="l" rtl="0">
              <a:lnSpc>
                <a:spcPct val="90000"/>
              </a:lnSpc>
              <a:spcBef>
                <a:spcPts val="500"/>
              </a:spcBef>
              <a:spcAft>
                <a:spcPts val="0"/>
              </a:spcAft>
              <a:buClr>
                <a:schemeClr val="dk1"/>
              </a:buClr>
              <a:buSzPts val="1108"/>
              <a:buFont typeface="Noto Sans Symbols"/>
              <a:buChar char="✓"/>
              <a:defRPr sz="1108" b="0" i="0" u="none" strike="noStrike" cap="none">
                <a:solidFill>
                  <a:schemeClr val="dk1"/>
                </a:solidFill>
                <a:latin typeface="Arial"/>
                <a:ea typeface="Arial"/>
                <a:cs typeface="Arial"/>
                <a:sym typeface="Arial"/>
              </a:defRPr>
            </a:lvl2pPr>
            <a:lvl3pPr marL="1371600" marR="0" lvl="2" indent="-298958" algn="l" rtl="0">
              <a:lnSpc>
                <a:spcPct val="90000"/>
              </a:lnSpc>
              <a:spcBef>
                <a:spcPts val="500"/>
              </a:spcBef>
              <a:spcAft>
                <a:spcPts val="0"/>
              </a:spcAft>
              <a:buClr>
                <a:schemeClr val="dk1"/>
              </a:buClr>
              <a:buSzPts val="1108"/>
              <a:buFont typeface="Courier New"/>
              <a:buChar char="o"/>
              <a:defRPr sz="1108" b="0" i="0" u="none" strike="noStrike" cap="none">
                <a:solidFill>
                  <a:schemeClr val="dk1"/>
                </a:solidFill>
                <a:latin typeface="Arial"/>
                <a:ea typeface="Arial"/>
                <a:cs typeface="Arial"/>
                <a:sym typeface="Arial"/>
              </a:defRPr>
            </a:lvl3pPr>
            <a:lvl4pPr marL="1828800" marR="0" lvl="3" indent="-298958" algn="l" rtl="0">
              <a:lnSpc>
                <a:spcPct val="90000"/>
              </a:lnSpc>
              <a:spcBef>
                <a:spcPts val="500"/>
              </a:spcBef>
              <a:spcAft>
                <a:spcPts val="0"/>
              </a:spcAft>
              <a:buClr>
                <a:schemeClr val="dk1"/>
              </a:buClr>
              <a:buSzPts val="1108"/>
              <a:buFont typeface="Noto Sans Symbols"/>
              <a:buChar char="➢"/>
              <a:defRPr sz="1108"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4" name="Google Shape;124;p18"/>
          <p:cNvSpPr txBox="1">
            <a:spLocks noGrp="1"/>
          </p:cNvSpPr>
          <p:nvPr>
            <p:ph type="body" idx="5"/>
          </p:nvPr>
        </p:nvSpPr>
        <p:spPr>
          <a:xfrm>
            <a:off x="450588" y="6055245"/>
            <a:ext cx="7702813" cy="386679"/>
          </a:xfrm>
          <a:prstGeom prst="rect">
            <a:avLst/>
          </a:prstGeom>
          <a:noFill/>
          <a:ln>
            <a:noFill/>
          </a:ln>
        </p:spPr>
        <p:txBody>
          <a:bodyPr spcFirstLastPara="1" wrap="square" lIns="0" tIns="0" rIns="0" bIns="0" anchor="b" anchorCtr="0"/>
          <a:lstStyle>
            <a:lvl1pPr marL="457200" marR="0" lvl="0" indent="-228600" algn="l" rtl="0">
              <a:lnSpc>
                <a:spcPct val="90000"/>
              </a:lnSpc>
              <a:spcBef>
                <a:spcPts val="1000"/>
              </a:spcBef>
              <a:spcAft>
                <a:spcPts val="0"/>
              </a:spcAft>
              <a:buClr>
                <a:schemeClr val="dk1"/>
              </a:buClr>
              <a:buSzPts val="923"/>
              <a:buFont typeface="Arial"/>
              <a:buNone/>
              <a:defRPr sz="922"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5" name="Google Shape;125;p18"/>
          <p:cNvSpPr txBox="1">
            <a:spLocks noGrp="1"/>
          </p:cNvSpPr>
          <p:nvPr>
            <p:ph type="title"/>
          </p:nvPr>
        </p:nvSpPr>
        <p:spPr>
          <a:xfrm>
            <a:off x="450741" y="134054"/>
            <a:ext cx="7245459" cy="582389"/>
          </a:xfrm>
          <a:prstGeom prst="rect">
            <a:avLst/>
          </a:prstGeom>
          <a:noFill/>
          <a:ln>
            <a:noFill/>
          </a:ln>
        </p:spPr>
        <p:txBody>
          <a:bodyPr spcFirstLastPara="1" wrap="square" lIns="0" tIns="0" rIns="0" bIns="0" anchor="b" anchorCtr="0"/>
          <a:lstStyle>
            <a:lvl1pPr marR="0" lvl="0" algn="l" rtl="0">
              <a:lnSpc>
                <a:spcPct val="90000"/>
              </a:lnSpc>
              <a:spcBef>
                <a:spcPts val="0"/>
              </a:spcBef>
              <a:spcAft>
                <a:spcPts val="0"/>
              </a:spcAft>
              <a:buClr>
                <a:schemeClr val="dk1"/>
              </a:buClr>
              <a:buSzPts val="2200"/>
              <a:buFont typeface="Arial"/>
              <a:buNone/>
              <a:defRPr sz="22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6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2" y="3"/>
          <a:ext cx="156345" cy="140074"/>
        </p:xfrm>
        <a:graphic>
          <a:graphicData uri="http://schemas.openxmlformats.org/presentationml/2006/ole">
            <mc:AlternateContent xmlns:mc="http://schemas.openxmlformats.org/markup-compatibility/2006">
              <mc:Choice xmlns:v="urn:schemas-microsoft-com:vml" Requires="v">
                <p:oleObj spid="_x0000_s15374"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031" b="1" i="0" baseline="0" dirty="0">
              <a:latin typeface="Calibri" panose="020F0502020204030204" pitchFamily="34" charset="0"/>
              <a:ea typeface="+mj-ea"/>
              <a:cs typeface="Arial" panose="020B0604020202020204" pitchFamily="34" charset="0"/>
              <a:sym typeface="Calibri" panose="020F0502020204030204" pitchFamily="34" charset="0"/>
            </a:endParaRPr>
          </a:p>
        </p:txBody>
      </p:sp>
      <p:sp>
        <p:nvSpPr>
          <p:cNvPr id="6" name="Title 1"/>
          <p:cNvSpPr>
            <a:spLocks noGrp="1"/>
          </p:cNvSpPr>
          <p:nvPr>
            <p:ph type="title"/>
          </p:nvPr>
        </p:nvSpPr>
        <p:spPr>
          <a:xfrm>
            <a:off x="450741" y="134056"/>
            <a:ext cx="7245459" cy="582389"/>
          </a:xfrm>
          <a:prstGeom prst="rect">
            <a:avLst/>
          </a:prstGeom>
        </p:spPr>
        <p:txBody>
          <a:bodyPr lIns="0" tIns="0" rIns="0" bIns="0" anchor="b"/>
          <a:lstStyle>
            <a:lvl1pPr marL="0" marR="0" indent="0" algn="l" defTabSz="844078" rtl="0" eaLnBrk="1" fontAlgn="auto" latinLnBrk="0" hangingPunct="1">
              <a:lnSpc>
                <a:spcPct val="90000"/>
              </a:lnSpc>
              <a:spcBef>
                <a:spcPct val="0"/>
              </a:spcBef>
              <a:spcAft>
                <a:spcPts val="0"/>
              </a:spcAft>
              <a:buClrTx/>
              <a:buSzTx/>
              <a:buFontTx/>
              <a:buNone/>
              <a:tabLst/>
              <a:defRPr lang="en-US" sz="2031" b="1" smtClean="0">
                <a:solidFill>
                  <a:schemeClr val="tx1"/>
                </a:solidFill>
                <a:latin typeface="Arial" panose="020B0604020202020204" pitchFamily="34" charset="0"/>
                <a:cs typeface="Arial" panose="020B0604020202020204" pitchFamily="34" charset="0"/>
              </a:defRPr>
            </a:lvl1pPr>
          </a:lstStyle>
          <a:p>
            <a:r>
              <a:rPr lang="en-US" sz="2031"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15500175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5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16398"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prstClr val="white"/>
              </a:solidFill>
              <a:cs typeface="Arial" panose="020B0604020202020204" pitchFamily="34" charset="0"/>
              <a:sym typeface="Calibri" panose="020F0502020204030204" pitchFamily="34" charset="0"/>
            </a:endParaRPr>
          </a:p>
        </p:txBody>
      </p:sp>
      <p:sp>
        <p:nvSpPr>
          <p:cNvPr id="6"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39562811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17422"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
          <p:cNvSpPr>
            <a:spLocks noGrp="1"/>
          </p:cNvSpPr>
          <p:nvPr>
            <p:ph type="title"/>
          </p:nvPr>
        </p:nvSpPr>
        <p:spPr>
          <a:xfrm>
            <a:off x="273320" y="284184"/>
            <a:ext cx="7639159" cy="582389"/>
          </a:xfrm>
          <a:prstGeom prst="rect">
            <a:avLst/>
          </a:prstGeom>
        </p:spPr>
        <p:txBody>
          <a:bodyPr lIns="0" tIns="0" rIns="0" bIns="0" anchor="b"/>
          <a:lstStyle>
            <a:lvl1pPr marL="0" marR="0" indent="0" algn="l" defTabSz="844083" rtl="0" eaLnBrk="1" fontAlgn="auto" latinLnBrk="0" hangingPunct="1">
              <a:lnSpc>
                <a:spcPct val="90000"/>
              </a:lnSpc>
              <a:spcBef>
                <a:spcPct val="0"/>
              </a:spcBef>
              <a:spcAft>
                <a:spcPts val="0"/>
              </a:spcAft>
              <a:buClrTx/>
              <a:buSzTx/>
              <a:buFontTx/>
              <a:buNone/>
              <a:tabLst/>
              <a:defRPr lang="en-US" sz="2031" b="1" smtClean="0">
                <a:solidFill>
                  <a:schemeClr val="tx1"/>
                </a:solidFill>
                <a:latin typeface="+mn-lt"/>
              </a:defRPr>
            </a:lvl1pPr>
          </a:lstStyle>
          <a:p>
            <a:r>
              <a:rPr lang="en-US" sz="2031" b="1" dirty="0">
                <a:solidFill>
                  <a:schemeClr val="tx1"/>
                </a:solidFill>
                <a:latin typeface="+mn-lt"/>
              </a:rPr>
              <a:t>Click to edit Master title style</a:t>
            </a:r>
            <a:endParaRPr lang="en-US" dirty="0"/>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222318" y="174388"/>
            <a:ext cx="1507886" cy="466473"/>
          </a:xfrm>
          <a:prstGeom prst="rect">
            <a:avLst/>
          </a:prstGeom>
        </p:spPr>
      </p:pic>
      <p:sp>
        <p:nvSpPr>
          <p:cNvPr id="9" name="Slide Number Placeholder 5"/>
          <p:cNvSpPr txBox="1">
            <a:spLocks/>
          </p:cNvSpPr>
          <p:nvPr userDrawn="1"/>
        </p:nvSpPr>
        <p:spPr>
          <a:xfrm>
            <a:off x="8441873" y="6481185"/>
            <a:ext cx="1334936" cy="365592"/>
          </a:xfrm>
          <a:prstGeom prst="rect">
            <a:avLst/>
          </a:prstGeom>
        </p:spPr>
        <p:txBody>
          <a:bodyPr vert="horz" lIns="82058" tIns="41029" rIns="82058" bIns="41029" rtlCol="0" anchor="ctr"/>
          <a:lstStyle>
            <a:lvl1pPr algn="r">
              <a:defRPr sz="1200">
                <a:solidFill>
                  <a:schemeClr val="tx1">
                    <a:tint val="75000"/>
                  </a:schemeClr>
                </a:solidFill>
              </a:defRPr>
            </a:lvl1pPr>
          </a:lstStyle>
          <a:p>
            <a:pPr marL="0" marR="0" lvl="0" indent="0" algn="r" defTabSz="914293" rtl="0" eaLnBrk="1" fontAlgn="auto" latinLnBrk="0" hangingPunct="1">
              <a:lnSpc>
                <a:spcPct val="100000"/>
              </a:lnSpc>
              <a:spcBef>
                <a:spcPts val="0"/>
              </a:spcBef>
              <a:spcAft>
                <a:spcPts val="0"/>
              </a:spcAft>
              <a:buClrTx/>
              <a:buSzTx/>
              <a:buFontTx/>
              <a:buNone/>
              <a:tabLst/>
              <a:defRPr/>
            </a:pPr>
            <a:fld id="{FA26E27B-9644-4D47-9CB9-4DAD21E549BD}" type="slidenum">
              <a:rPr kumimoji="0" lang="en-US" sz="900" b="0" i="0" u="none" strike="noStrike" kern="1200" cap="none" spc="0" normalizeH="0" baseline="0" noProof="0" smtClean="0">
                <a:ln>
                  <a:noFill/>
                </a:ln>
                <a:solidFill>
                  <a:srgbClr val="3F5F1F"/>
                </a:solidFill>
                <a:effectLst/>
                <a:uLnTx/>
                <a:uFillTx/>
                <a:latin typeface="Calibri"/>
                <a:ea typeface="+mn-ea"/>
                <a:cs typeface="+mn-cs"/>
              </a:rPr>
              <a:pPr marL="0" marR="0" lvl="0" indent="0" algn="r" defTabSz="91429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3F5F1F"/>
              </a:solidFill>
              <a:effectLst/>
              <a:uLnTx/>
              <a:uFillTx/>
              <a:latin typeface="Calibri"/>
              <a:ea typeface="+mn-ea"/>
              <a:cs typeface="+mn-cs"/>
            </a:endParaRPr>
          </a:p>
        </p:txBody>
      </p:sp>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6564699"/>
            <a:ext cx="4705350" cy="293305"/>
          </a:xfrm>
          <a:prstGeom prst="rect">
            <a:avLst/>
          </a:prstGeom>
        </p:spPr>
      </p:pic>
    </p:spTree>
    <p:extLst>
      <p:ext uri="{BB962C8B-B14F-4D97-AF65-F5344CB8AC3E}">
        <p14:creationId xmlns:p14="http://schemas.microsoft.com/office/powerpoint/2010/main" val="20169158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19470"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prstClr val="white"/>
              </a:solidFill>
              <a:cs typeface="Arial" panose="020B0604020202020204" pitchFamily="34" charset="0"/>
              <a:sym typeface="Calibri" panose="020F0502020204030204" pitchFamily="34" charset="0"/>
            </a:endParaRPr>
          </a:p>
        </p:txBody>
      </p:sp>
      <p:sp>
        <p:nvSpPr>
          <p:cNvPr id="6" name="Title 1"/>
          <p:cNvSpPr>
            <a:spLocks noGrp="1"/>
          </p:cNvSpPr>
          <p:nvPr>
            <p:ph type="title" hasCustomPrompt="1"/>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Style</a:t>
            </a:r>
            <a:endParaRPr lang="en-US" dirty="0"/>
          </a:p>
        </p:txBody>
      </p:sp>
      <p:sp>
        <p:nvSpPr>
          <p:cNvPr id="5" name="Text Placeholder 7"/>
          <p:cNvSpPr>
            <a:spLocks noGrp="1"/>
          </p:cNvSpPr>
          <p:nvPr>
            <p:ph type="body" sz="quarter" idx="13" hasCustomPrompt="1"/>
          </p:nvPr>
        </p:nvSpPr>
        <p:spPr>
          <a:xfrm>
            <a:off x="450276" y="1066801"/>
            <a:ext cx="9005453" cy="5181599"/>
          </a:xfrm>
          <a:prstGeom prst="rect">
            <a:avLst/>
          </a:prstGeom>
        </p:spPr>
        <p:txBody>
          <a:bodyPr lIns="0" tIns="0" rIns="0" bIns="0">
            <a:noAutofit/>
          </a:bodyPr>
          <a:lstStyle>
            <a:lvl1pPr marL="173037" indent="-173037">
              <a:spcBef>
                <a:spcPts val="718"/>
              </a:spcBef>
              <a:defRPr sz="1600" baseline="0">
                <a:latin typeface="Arial" panose="020B0604020202020204" pitchFamily="34" charset="0"/>
                <a:cs typeface="Arial" panose="020B0604020202020204" pitchFamily="34" charset="0"/>
              </a:defRPr>
            </a:lvl1pPr>
            <a:lvl2pPr marL="347661" indent="-174624">
              <a:spcBef>
                <a:spcPts val="718"/>
              </a:spcBef>
              <a:buFont typeface="Wingdings" panose="05000000000000000000" pitchFamily="2" charset="2"/>
              <a:buChar char="ü"/>
              <a:defRPr sz="1400">
                <a:latin typeface="Arial" panose="020B0604020202020204" pitchFamily="34" charset="0"/>
                <a:cs typeface="Arial" panose="020B0604020202020204" pitchFamily="34" charset="0"/>
              </a:defRPr>
            </a:lvl2pPr>
            <a:lvl3pPr marL="509585" indent="-161924">
              <a:buFont typeface="Courier New" pitchFamily="49" charset="0"/>
              <a:buChar char="o"/>
              <a:defRPr sz="1400">
                <a:latin typeface="Arial" panose="020B0604020202020204" pitchFamily="34" charset="0"/>
                <a:cs typeface="Arial" panose="020B0604020202020204" pitchFamily="34" charset="0"/>
              </a:defRPr>
            </a:lvl3pPr>
            <a:lvl4pPr marL="682621" indent="-173037">
              <a:defRPr sz="1400">
                <a:latin typeface="Arial" panose="020B0604020202020204" pitchFamily="34" charset="0"/>
                <a:cs typeface="Arial" panose="020B0604020202020204" pitchFamily="34" charset="0"/>
              </a:defRPr>
            </a:lvl4pPr>
            <a:lvl5pPr>
              <a:defRPr sz="1800"/>
            </a:lvl5pPr>
          </a:lstStyle>
          <a:p>
            <a:pPr lvl="0"/>
            <a:r>
              <a:rPr lang="en-US" dirty="0"/>
              <a:t>Click to edit Master text first level</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9185043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20494"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prstClr val="white"/>
              </a:solidFill>
              <a:cs typeface="Arial" panose="020B0604020202020204" pitchFamily="34" charset="0"/>
              <a:sym typeface="Calibri" panose="020F0502020204030204" pitchFamily="34" charset="0"/>
            </a:endParaRPr>
          </a:p>
        </p:txBody>
      </p:sp>
      <p:sp>
        <p:nvSpPr>
          <p:cNvPr id="6"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9753060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21518"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prstClr val="white"/>
              </a:solidFill>
              <a:cs typeface="Arial" panose="020B0604020202020204" pitchFamily="34" charset="0"/>
              <a:sym typeface="Calibri" panose="020F0502020204030204" pitchFamily="34" charset="0"/>
            </a:endParaRPr>
          </a:p>
        </p:txBody>
      </p:sp>
      <p:sp>
        <p:nvSpPr>
          <p:cNvPr id="6"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
        <p:nvSpPr>
          <p:cNvPr id="5" name="Text Placeholder 7"/>
          <p:cNvSpPr>
            <a:spLocks noGrp="1"/>
          </p:cNvSpPr>
          <p:nvPr>
            <p:ph type="body" sz="quarter" idx="13" hasCustomPrompt="1"/>
          </p:nvPr>
        </p:nvSpPr>
        <p:spPr>
          <a:xfrm>
            <a:off x="450276" y="1066801"/>
            <a:ext cx="9005453" cy="4876799"/>
          </a:xfrm>
          <a:prstGeom prst="rect">
            <a:avLst/>
          </a:prstGeom>
        </p:spPr>
        <p:txBody>
          <a:bodyPr lIns="0" tIns="0" rIns="0" bIns="0">
            <a:noAutofit/>
          </a:bodyPr>
          <a:lstStyle>
            <a:lvl1pPr marL="173037" indent="-173037">
              <a:spcBef>
                <a:spcPts val="718"/>
              </a:spcBef>
              <a:defRPr sz="1600" baseline="0">
                <a:latin typeface="Arial" panose="020B0604020202020204" pitchFamily="34" charset="0"/>
                <a:cs typeface="Arial" panose="020B0604020202020204" pitchFamily="34" charset="0"/>
              </a:defRPr>
            </a:lvl1pPr>
            <a:lvl2pPr marL="347661" indent="-174624">
              <a:spcBef>
                <a:spcPts val="718"/>
              </a:spcBef>
              <a:buFont typeface="Wingdings" panose="05000000000000000000" pitchFamily="2" charset="2"/>
              <a:buChar char="ü"/>
              <a:defRPr sz="1400">
                <a:latin typeface="Arial" panose="020B0604020202020204" pitchFamily="34" charset="0"/>
                <a:cs typeface="Arial" panose="020B0604020202020204" pitchFamily="34" charset="0"/>
              </a:defRPr>
            </a:lvl2pPr>
            <a:lvl3pPr marL="509585" indent="-161924">
              <a:buFont typeface="Courier New" pitchFamily="49" charset="0"/>
              <a:buChar char="o"/>
              <a:defRPr sz="1400">
                <a:latin typeface="Arial" panose="020B0604020202020204" pitchFamily="34" charset="0"/>
                <a:cs typeface="Arial" panose="020B0604020202020204" pitchFamily="34" charset="0"/>
              </a:defRPr>
            </a:lvl3pPr>
            <a:lvl4pPr marL="682621" indent="-173037">
              <a:defRPr sz="1400">
                <a:latin typeface="Arial" panose="020B0604020202020204" pitchFamily="34" charset="0"/>
                <a:cs typeface="Arial" panose="020B0604020202020204" pitchFamily="34" charset="0"/>
              </a:defRPr>
            </a:lvl4pPr>
            <a:lvl5pPr>
              <a:defRPr sz="1800"/>
            </a:lvl5pPr>
          </a:lstStyle>
          <a:p>
            <a:pPr lvl="0"/>
            <a:r>
              <a:rPr lang="en-US" dirty="0"/>
              <a:t>Click to edit Master text first level</a:t>
            </a:r>
          </a:p>
          <a:p>
            <a:pPr lvl="1"/>
            <a:r>
              <a:rPr lang="en-US" dirty="0"/>
              <a:t>Second level</a:t>
            </a:r>
          </a:p>
          <a:p>
            <a:pPr lvl="2"/>
            <a:r>
              <a:rPr lang="en-US" dirty="0"/>
              <a:t>Third level</a:t>
            </a:r>
          </a:p>
          <a:p>
            <a:pPr lvl="3"/>
            <a:r>
              <a:rPr lang="en-US" dirty="0"/>
              <a:t>Fourth level</a:t>
            </a:r>
          </a:p>
        </p:txBody>
      </p:sp>
      <p:sp>
        <p:nvSpPr>
          <p:cNvPr id="9"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Tree>
    <p:extLst>
      <p:ext uri="{BB962C8B-B14F-4D97-AF65-F5344CB8AC3E}">
        <p14:creationId xmlns:p14="http://schemas.microsoft.com/office/powerpoint/2010/main" val="16600806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22542"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prstClr val="white"/>
              </a:solidFill>
              <a:cs typeface="Arial" panose="020B0604020202020204" pitchFamily="34" charset="0"/>
              <a:sym typeface="Calibri" panose="020F0502020204030204" pitchFamily="34" charset="0"/>
            </a:endParaRPr>
          </a:p>
        </p:txBody>
      </p:sp>
      <p:sp>
        <p:nvSpPr>
          <p:cNvPr id="9"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
        <p:nvSpPr>
          <p:cNvPr id="10"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32843298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1_Title Slide">
  <p:cSld name="1_Title Slide">
    <p:bg>
      <p:bgPr>
        <a:solidFill>
          <a:srgbClr val="006547"/>
        </a:solidFill>
        <a:effectLst/>
      </p:bgPr>
    </p:bg>
    <p:spTree>
      <p:nvGrpSpPr>
        <p:cNvPr id="1" name="Shape 21"/>
        <p:cNvGrpSpPr/>
        <p:nvPr/>
      </p:nvGrpSpPr>
      <p:grpSpPr>
        <a:xfrm>
          <a:off x="0" y="0"/>
          <a:ext cx="0" cy="0"/>
          <a:chOff x="0" y="0"/>
          <a:chExt cx="0" cy="0"/>
        </a:xfrm>
      </p:grpSpPr>
      <p:pic>
        <p:nvPicPr>
          <p:cNvPr id="22" name="Google Shape;22;p4"/>
          <p:cNvPicPr preferRelativeResize="0"/>
          <p:nvPr/>
        </p:nvPicPr>
        <p:blipFill rotWithShape="1">
          <a:blip r:embed="rId2">
            <a:alphaModFix/>
          </a:blip>
          <a:srcRect/>
          <a:stretch/>
        </p:blipFill>
        <p:spPr>
          <a:xfrm>
            <a:off x="1588" y="1588"/>
            <a:ext cx="1588" cy="1588"/>
          </a:xfrm>
          <a:prstGeom prst="rect">
            <a:avLst/>
          </a:prstGeom>
          <a:noFill/>
          <a:ln>
            <a:noFill/>
          </a:ln>
        </p:spPr>
      </p:pic>
      <p:sp>
        <p:nvSpPr>
          <p:cNvPr id="23" name="Google Shape;23;p4"/>
          <p:cNvSpPr txBox="1">
            <a:spLocks noGrp="1"/>
          </p:cNvSpPr>
          <p:nvPr>
            <p:ph type="title"/>
          </p:nvPr>
        </p:nvSpPr>
        <p:spPr>
          <a:xfrm>
            <a:off x="495300" y="4824250"/>
            <a:ext cx="8915400" cy="1143000"/>
          </a:xfrm>
          <a:prstGeom prst="rect">
            <a:avLst/>
          </a:prstGeom>
          <a:noFill/>
          <a:ln>
            <a:noFill/>
          </a:ln>
        </p:spPr>
        <p:txBody>
          <a:bodyPr spcFirstLastPara="1" wrap="square" lIns="91425" tIns="45700" rIns="91425" bIns="45700" anchor="t" anchorCtr="0"/>
          <a:lstStyle>
            <a:lvl1pPr marR="0" lvl="0" algn="l" rtl="0">
              <a:lnSpc>
                <a:spcPct val="90000"/>
              </a:lnSpc>
              <a:spcBef>
                <a:spcPts val="0"/>
              </a:spcBef>
              <a:spcAft>
                <a:spcPts val="0"/>
              </a:spcAft>
              <a:buClr>
                <a:schemeClr val="lt1"/>
              </a:buClr>
              <a:buSzPts val="3600"/>
              <a:buFont typeface="Arial"/>
              <a:buNone/>
              <a:defRPr sz="3600" b="0"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pic>
        <p:nvPicPr>
          <p:cNvPr id="24" name="Google Shape;24;p4"/>
          <p:cNvPicPr preferRelativeResize="0"/>
          <p:nvPr/>
        </p:nvPicPr>
        <p:blipFill rotWithShape="1">
          <a:blip r:embed="rId3">
            <a:alphaModFix/>
          </a:blip>
          <a:srcRect/>
          <a:stretch/>
        </p:blipFill>
        <p:spPr>
          <a:xfrm>
            <a:off x="767" y="3"/>
            <a:ext cx="9904468" cy="4759523"/>
          </a:xfrm>
          <a:prstGeom prst="rect">
            <a:avLst/>
          </a:prstGeom>
          <a:noFill/>
          <a:ln>
            <a:noFill/>
          </a:ln>
        </p:spPr>
      </p:pic>
      <p:sp>
        <p:nvSpPr>
          <p:cNvPr id="25" name="Google Shape;25;p4"/>
          <p:cNvSpPr txBox="1">
            <a:spLocks noGrp="1"/>
          </p:cNvSpPr>
          <p:nvPr>
            <p:ph type="subTitle" idx="1"/>
          </p:nvPr>
        </p:nvSpPr>
        <p:spPr>
          <a:xfrm>
            <a:off x="495300" y="6031975"/>
            <a:ext cx="8397935" cy="384595"/>
          </a:xfrm>
          <a:prstGeom prst="rect">
            <a:avLst/>
          </a:prstGeom>
          <a:noFill/>
          <a:ln>
            <a:noFill/>
          </a:ln>
        </p:spPr>
        <p:txBody>
          <a:bodyPr spcFirstLastPara="1" wrap="square" lIns="0" tIns="0" rIns="0" bIns="0" anchor="t" anchorCtr="0"/>
          <a:lstStyle>
            <a:lvl1pPr marR="0" lvl="0" algn="l" rtl="0">
              <a:lnSpc>
                <a:spcPct val="90000"/>
              </a:lnSpc>
              <a:spcBef>
                <a:spcPts val="1000"/>
              </a:spcBef>
              <a:spcAft>
                <a:spcPts val="0"/>
              </a:spcAft>
              <a:buClr>
                <a:schemeClr val="lt1"/>
              </a:buClr>
              <a:buSzPts val="1600"/>
              <a:buFont typeface="Arial"/>
              <a:buNone/>
              <a:defRPr sz="1600" b="0" i="1" u="none" strike="noStrike" cap="none">
                <a:solidFill>
                  <a:schemeClr val="lt1"/>
                </a:solidFill>
                <a:latin typeface="Arial"/>
                <a:ea typeface="Arial"/>
                <a:cs typeface="Arial"/>
                <a:sym typeface="Arial"/>
              </a:defRPr>
            </a:lvl1pPr>
            <a:lvl2pPr marR="0" lvl="1" algn="ctr" rtl="0">
              <a:lnSpc>
                <a:spcPct val="90000"/>
              </a:lnSpc>
              <a:spcBef>
                <a:spcPts val="500"/>
              </a:spcBef>
              <a:spcAft>
                <a:spcPts val="0"/>
              </a:spcAft>
              <a:buClr>
                <a:srgbClr val="888888"/>
              </a:buClr>
              <a:buSzPts val="2400"/>
              <a:buFont typeface="Arial"/>
              <a:buNone/>
              <a:defRPr sz="2400" b="0" i="0" u="none" strike="noStrike" cap="none">
                <a:solidFill>
                  <a:srgbClr val="888888"/>
                </a:solidFill>
                <a:latin typeface="Calibri"/>
                <a:ea typeface="Calibri"/>
                <a:cs typeface="Calibri"/>
                <a:sym typeface="Calibri"/>
              </a:defRPr>
            </a:lvl2pPr>
            <a:lvl3pPr marR="0" lvl="2" algn="ctr" rtl="0">
              <a:lnSpc>
                <a:spcPct val="90000"/>
              </a:lnSpc>
              <a:spcBef>
                <a:spcPts val="500"/>
              </a:spcBef>
              <a:spcAft>
                <a:spcPts val="0"/>
              </a:spcAft>
              <a:buClr>
                <a:srgbClr val="888888"/>
              </a:buClr>
              <a:buSzPts val="2000"/>
              <a:buFont typeface="Arial"/>
              <a:buNone/>
              <a:defRPr sz="2000" b="0" i="0" u="none" strike="noStrike" cap="none">
                <a:solidFill>
                  <a:srgbClr val="888888"/>
                </a:solidFill>
                <a:latin typeface="Calibri"/>
                <a:ea typeface="Calibri"/>
                <a:cs typeface="Calibri"/>
                <a:sym typeface="Calibri"/>
              </a:defRPr>
            </a:lvl3pPr>
            <a:lvl4pPr marR="0" lvl="3"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4pPr>
            <a:lvl5pPr marR="0" lvl="4"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5pPr>
            <a:lvl6pPr marR="0" lvl="5"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6pPr>
            <a:lvl7pPr marR="0" lvl="6"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7pPr>
            <a:lvl8pPr marR="0" lvl="7"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8pPr>
            <a:lvl9pPr marR="0" lvl="8"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9pPr>
          </a:lstStyle>
          <a:p>
            <a:endParaRPr/>
          </a:p>
        </p:txBody>
      </p:sp>
      <p:sp>
        <p:nvSpPr>
          <p:cNvPr id="26" name="Google Shape;26;p4"/>
          <p:cNvSpPr txBox="1">
            <a:spLocks noGrp="1"/>
          </p:cNvSpPr>
          <p:nvPr>
            <p:ph type="body" idx="2"/>
          </p:nvPr>
        </p:nvSpPr>
        <p:spPr>
          <a:xfrm>
            <a:off x="495300" y="6478666"/>
            <a:ext cx="8397831" cy="311885"/>
          </a:xfrm>
          <a:prstGeom prst="rect">
            <a:avLst/>
          </a:prstGeom>
          <a:noFill/>
          <a:ln>
            <a:noFill/>
          </a:ln>
        </p:spPr>
        <p:txBody>
          <a:bodyPr spcFirstLastPara="1" wrap="square" lIns="0" tIns="0" rIns="0" bIns="0" anchor="t" anchorCtr="0"/>
          <a:lstStyle>
            <a:lvl1pPr marL="457200" marR="0" lvl="0" indent="-228600" algn="l" rtl="0">
              <a:lnSpc>
                <a:spcPct val="90000"/>
              </a:lnSpc>
              <a:spcBef>
                <a:spcPts val="100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L="914400" marR="0" lvl="1"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2pPr>
            <a:lvl3pPr marL="1371600" marR="0" lvl="2"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6"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srgbClr val="70AD47">
                  <a:lumMod val="50000"/>
                </a:srgbClr>
              </a:solidFill>
              <a:cs typeface="Arial" panose="020B0604020202020204" pitchFamily="34" charset="0"/>
              <a:sym typeface="Calibri" panose="020F0502020204030204" pitchFamily="34" charset="0"/>
            </a:endParaRPr>
          </a:p>
        </p:txBody>
      </p:sp>
      <p:sp>
        <p:nvSpPr>
          <p:cNvPr id="4" name="SmartArt Placeholder 26"/>
          <p:cNvSpPr>
            <a:spLocks noGrp="1"/>
          </p:cNvSpPr>
          <p:nvPr>
            <p:ph type="dgm" sz="quarter" idx="18" hasCustomPrompt="1"/>
          </p:nvPr>
        </p:nvSpPr>
        <p:spPr>
          <a:xfrm>
            <a:off x="1350818" y="922317"/>
            <a:ext cx="7204364" cy="4639235"/>
          </a:xfrm>
          <a:prstGeom prst="rect">
            <a:avLst/>
          </a:prstGeom>
          <a:ln w="9525">
            <a:solidFill>
              <a:schemeClr val="tx1"/>
            </a:solidFill>
          </a:ln>
        </p:spPr>
        <p:txBody>
          <a:bodyPr lIns="82058" tIns="41029" rIns="82058" bIns="41029"/>
          <a:lstStyle>
            <a:lvl1pPr>
              <a:defRPr>
                <a:solidFill>
                  <a:schemeClr val="bg2"/>
                </a:solidFill>
                <a:latin typeface="Arial" panose="020B0604020202020204" pitchFamily="34" charset="0"/>
                <a:cs typeface="Arial" panose="020B0604020202020204" pitchFamily="34" charset="0"/>
              </a:defRPr>
            </a:lvl1pPr>
          </a:lstStyle>
          <a:p>
            <a:r>
              <a:rPr lang="en-US" dirty="0"/>
              <a:t>`</a:t>
            </a:r>
          </a:p>
        </p:txBody>
      </p:sp>
      <p:cxnSp>
        <p:nvCxnSpPr>
          <p:cNvPr id="5" name="Straight Connector 4"/>
          <p:cNvCxnSpPr/>
          <p:nvPr userDrawn="1"/>
        </p:nvCxnSpPr>
        <p:spPr>
          <a:xfrm>
            <a:off x="4953000" y="922317"/>
            <a:ext cx="0" cy="463923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a:off x="1350818" y="3141080"/>
            <a:ext cx="720436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 Placeholder 42"/>
          <p:cNvSpPr>
            <a:spLocks noGrp="1"/>
          </p:cNvSpPr>
          <p:nvPr>
            <p:ph type="body" sz="quarter" idx="21" hasCustomPrompt="1"/>
          </p:nvPr>
        </p:nvSpPr>
        <p:spPr>
          <a:xfrm>
            <a:off x="1350821" y="989556"/>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0" name="Text Placeholder 42"/>
          <p:cNvSpPr>
            <a:spLocks noGrp="1"/>
          </p:cNvSpPr>
          <p:nvPr>
            <p:ph type="body" sz="quarter" idx="22" hasCustomPrompt="1"/>
          </p:nvPr>
        </p:nvSpPr>
        <p:spPr>
          <a:xfrm>
            <a:off x="4953004" y="989556"/>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1" name="Text Placeholder 42"/>
          <p:cNvSpPr>
            <a:spLocks noGrp="1"/>
          </p:cNvSpPr>
          <p:nvPr>
            <p:ph type="body" sz="quarter" idx="23" hasCustomPrompt="1"/>
          </p:nvPr>
        </p:nvSpPr>
        <p:spPr>
          <a:xfrm>
            <a:off x="1350821" y="3208318"/>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2" name="Text Placeholder 42"/>
          <p:cNvSpPr>
            <a:spLocks noGrp="1"/>
          </p:cNvSpPr>
          <p:nvPr>
            <p:ph type="body" sz="quarter" idx="24" hasCustomPrompt="1"/>
          </p:nvPr>
        </p:nvSpPr>
        <p:spPr>
          <a:xfrm>
            <a:off x="4953004" y="3208318"/>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3" name="Text Placeholder 42"/>
          <p:cNvSpPr>
            <a:spLocks noGrp="1"/>
          </p:cNvSpPr>
          <p:nvPr>
            <p:ph type="body" sz="quarter" idx="25" hasCustomPrompt="1"/>
          </p:nvPr>
        </p:nvSpPr>
        <p:spPr>
          <a:xfrm rot="16200000">
            <a:off x="-72049" y="1894916"/>
            <a:ext cx="2245379" cy="300182"/>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4" name="Text Placeholder 42"/>
          <p:cNvSpPr>
            <a:spLocks noGrp="1"/>
          </p:cNvSpPr>
          <p:nvPr>
            <p:ph type="body" sz="quarter" idx="26" hasCustomPrompt="1"/>
          </p:nvPr>
        </p:nvSpPr>
        <p:spPr>
          <a:xfrm rot="16200000">
            <a:off x="-125978" y="4234844"/>
            <a:ext cx="2353235" cy="300183"/>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5" name="Text Placeholder 42"/>
          <p:cNvSpPr>
            <a:spLocks noGrp="1"/>
          </p:cNvSpPr>
          <p:nvPr>
            <p:ph type="body" sz="quarter" idx="27" hasCustomPrompt="1"/>
          </p:nvPr>
        </p:nvSpPr>
        <p:spPr>
          <a:xfrm>
            <a:off x="1350821" y="5696027"/>
            <a:ext cx="3602182" cy="268941"/>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6" name="Text Placeholder 42"/>
          <p:cNvSpPr>
            <a:spLocks noGrp="1"/>
          </p:cNvSpPr>
          <p:nvPr>
            <p:ph type="body" sz="quarter" idx="28" hasCustomPrompt="1"/>
          </p:nvPr>
        </p:nvSpPr>
        <p:spPr>
          <a:xfrm>
            <a:off x="5028046" y="5696027"/>
            <a:ext cx="3527136" cy="268941"/>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7" name="Text Placeholder 51"/>
          <p:cNvSpPr>
            <a:spLocks noGrp="1"/>
          </p:cNvSpPr>
          <p:nvPr>
            <p:ph type="body" sz="quarter" idx="29" hasCustomPrompt="1"/>
          </p:nvPr>
        </p:nvSpPr>
        <p:spPr>
          <a:xfrm>
            <a:off x="1425867" y="1325727"/>
            <a:ext cx="3452090" cy="1748118"/>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dirty="0"/>
              <a:t>Click to edit text </a:t>
            </a:r>
          </a:p>
        </p:txBody>
      </p:sp>
      <p:sp>
        <p:nvSpPr>
          <p:cNvPr id="18" name="Text Placeholder 51"/>
          <p:cNvSpPr>
            <a:spLocks noGrp="1"/>
          </p:cNvSpPr>
          <p:nvPr>
            <p:ph type="body" sz="quarter" idx="30" hasCustomPrompt="1"/>
          </p:nvPr>
        </p:nvSpPr>
        <p:spPr>
          <a:xfrm>
            <a:off x="1425867" y="3544492"/>
            <a:ext cx="3452090" cy="1949824"/>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dirty="0"/>
              <a:t>Click to edit text </a:t>
            </a:r>
          </a:p>
        </p:txBody>
      </p:sp>
      <p:sp>
        <p:nvSpPr>
          <p:cNvPr id="19" name="Text Placeholder 51"/>
          <p:cNvSpPr>
            <a:spLocks noGrp="1"/>
          </p:cNvSpPr>
          <p:nvPr>
            <p:ph type="body" sz="quarter" idx="31" hasCustomPrompt="1"/>
          </p:nvPr>
        </p:nvSpPr>
        <p:spPr>
          <a:xfrm>
            <a:off x="5028049" y="3544492"/>
            <a:ext cx="3452090" cy="1949824"/>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dirty="0"/>
              <a:t>Click to edit text </a:t>
            </a:r>
          </a:p>
        </p:txBody>
      </p:sp>
      <p:sp>
        <p:nvSpPr>
          <p:cNvPr id="20" name="Text Placeholder 51"/>
          <p:cNvSpPr>
            <a:spLocks noGrp="1"/>
          </p:cNvSpPr>
          <p:nvPr>
            <p:ph type="body" sz="quarter" idx="32" hasCustomPrompt="1"/>
          </p:nvPr>
        </p:nvSpPr>
        <p:spPr>
          <a:xfrm>
            <a:off x="5028049" y="1325727"/>
            <a:ext cx="3452090" cy="1748118"/>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dirty="0"/>
              <a:t>Click to edit text </a:t>
            </a:r>
          </a:p>
        </p:txBody>
      </p:sp>
      <p:sp>
        <p:nvSpPr>
          <p:cNvPr id="21"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
        <p:nvSpPr>
          <p:cNvPr id="23"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30003878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90"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srgbClr val="70AD47">
                  <a:lumMod val="50000"/>
                </a:srgbClr>
              </a:solidFill>
              <a:cs typeface="Arial" panose="020B0604020202020204" pitchFamily="34" charset="0"/>
              <a:sym typeface="Calibri" panose="020F0502020204030204" pitchFamily="34" charset="0"/>
            </a:endParaRPr>
          </a:p>
        </p:txBody>
      </p:sp>
      <p:sp>
        <p:nvSpPr>
          <p:cNvPr id="4" name="Text Placeholder 14"/>
          <p:cNvSpPr>
            <a:spLocks noGrp="1"/>
          </p:cNvSpPr>
          <p:nvPr>
            <p:ph type="body" sz="quarter" idx="35" hasCustomPrompt="1"/>
          </p:nvPr>
        </p:nvSpPr>
        <p:spPr>
          <a:xfrm>
            <a:off x="450326" y="1008557"/>
            <a:ext cx="4319158" cy="460302"/>
          </a:xfrm>
          <a:prstGeom prst="rect">
            <a:avLst/>
          </a:prstGeom>
          <a:solidFill>
            <a:srgbClr val="3F5F1F"/>
          </a:solidFill>
        </p:spPr>
        <p:txBody>
          <a:bodyPr lIns="0" tIns="0" rIns="0" bIns="0" anchor="ctr"/>
          <a:lstStyle>
            <a:lvl1pPr marL="0" indent="0" algn="ctr">
              <a:buNone/>
              <a:defRPr sz="1600" b="1" baseline="0">
                <a:solidFill>
                  <a:schemeClr val="bg1"/>
                </a:solidFill>
                <a:latin typeface="Arial" panose="020B0604020202020204" pitchFamily="34" charset="0"/>
                <a:cs typeface="Arial" panose="020B0604020202020204" pitchFamily="34" charset="0"/>
              </a:defRPr>
            </a:lvl1pPr>
          </a:lstStyle>
          <a:p>
            <a:pPr lvl="0"/>
            <a:r>
              <a:rPr lang="en-US" dirty="0"/>
              <a:t>Click to edit Header text</a:t>
            </a:r>
          </a:p>
        </p:txBody>
      </p:sp>
      <p:cxnSp>
        <p:nvCxnSpPr>
          <p:cNvPr id="5" name="Straight Connector 4"/>
          <p:cNvCxnSpPr/>
          <p:nvPr userDrawn="1"/>
        </p:nvCxnSpPr>
        <p:spPr>
          <a:xfrm>
            <a:off x="450322" y="1549540"/>
            <a:ext cx="43085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 Placeholder 9"/>
          <p:cNvSpPr>
            <a:spLocks noGrp="1"/>
          </p:cNvSpPr>
          <p:nvPr>
            <p:ph type="body" sz="quarter" idx="10"/>
          </p:nvPr>
        </p:nvSpPr>
        <p:spPr>
          <a:xfrm>
            <a:off x="450326" y="1644574"/>
            <a:ext cx="4319158" cy="4222236"/>
          </a:xfrm>
          <a:prstGeom prst="rect">
            <a:avLst/>
          </a:prstGeom>
        </p:spPr>
        <p:txBody>
          <a:bodyPr lIns="0" tIns="0" rIns="0" bIns="0"/>
          <a:lstStyle>
            <a:lvl1pPr marL="168274" indent="-168274">
              <a:buFont typeface="Arial" panose="020B0604020202020204" pitchFamily="34" charset="0"/>
              <a:buChar char="•"/>
              <a:defRPr sz="1400">
                <a:latin typeface="Arial" panose="020B0604020202020204" pitchFamily="34" charset="0"/>
                <a:cs typeface="Arial" panose="020B0604020202020204" pitchFamily="34" charset="0"/>
              </a:defRPr>
            </a:lvl1pPr>
            <a:lvl2pPr marL="320927" indent="-161195">
              <a:buFont typeface="Wingdings" panose="05000000000000000000" pitchFamily="2" charset="2"/>
              <a:buChar char="ü"/>
              <a:defRPr sz="1200">
                <a:latin typeface="Arial" panose="020B0604020202020204" pitchFamily="34" charset="0"/>
                <a:cs typeface="Arial" panose="020B0604020202020204" pitchFamily="34" charset="0"/>
              </a:defRPr>
            </a:lvl2pPr>
            <a:lvl3pPr marL="470398" indent="-149473">
              <a:buFont typeface="Courier New" panose="02070309020205020404" pitchFamily="49" charset="0"/>
              <a:buChar char="o"/>
              <a:defRPr sz="1200">
                <a:latin typeface="Arial" panose="020B0604020202020204" pitchFamily="34" charset="0"/>
                <a:cs typeface="Arial" panose="020B0604020202020204" pitchFamily="34" charset="0"/>
              </a:defRPr>
            </a:lvl3pPr>
            <a:lvl4pPr marL="630127" indent="-159730">
              <a:buFont typeface="Wingdings" panose="05000000000000000000" pitchFamily="2" charset="2"/>
              <a:buChar char="Ø"/>
              <a:defRPr sz="1200">
                <a:latin typeface="Arial" panose="020B0604020202020204" pitchFamily="34" charset="0"/>
                <a:cs typeface="Arial" panose="020B0604020202020204" pitchFamily="34"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14"/>
          <p:cNvSpPr>
            <a:spLocks noGrp="1"/>
          </p:cNvSpPr>
          <p:nvPr>
            <p:ph type="body" sz="quarter" idx="38" hasCustomPrompt="1"/>
          </p:nvPr>
        </p:nvSpPr>
        <p:spPr>
          <a:xfrm>
            <a:off x="5151120" y="1009149"/>
            <a:ext cx="4304296" cy="460302"/>
          </a:xfrm>
          <a:prstGeom prst="rect">
            <a:avLst/>
          </a:prstGeom>
          <a:solidFill>
            <a:srgbClr val="3F5F1F"/>
          </a:solidFill>
        </p:spPr>
        <p:txBody>
          <a:bodyPr lIns="0" tIns="0" rIns="0" bIns="0" anchor="ctr"/>
          <a:lstStyle>
            <a:lvl1pPr marL="0" indent="0" algn="ctr">
              <a:buNone/>
              <a:defRPr sz="1600" b="1" baseline="0">
                <a:solidFill>
                  <a:schemeClr val="bg1"/>
                </a:solidFill>
                <a:latin typeface="Arial" panose="020B0604020202020204" pitchFamily="34" charset="0"/>
                <a:cs typeface="Arial" panose="020B0604020202020204" pitchFamily="34" charset="0"/>
              </a:defRPr>
            </a:lvl1pPr>
          </a:lstStyle>
          <a:p>
            <a:pPr lvl="0"/>
            <a:r>
              <a:rPr lang="en-US" dirty="0"/>
              <a:t>Click to edit Header text</a:t>
            </a:r>
          </a:p>
        </p:txBody>
      </p:sp>
      <p:cxnSp>
        <p:nvCxnSpPr>
          <p:cNvPr id="10" name="Straight Connector 9"/>
          <p:cNvCxnSpPr/>
          <p:nvPr userDrawn="1"/>
        </p:nvCxnSpPr>
        <p:spPr>
          <a:xfrm>
            <a:off x="5151120" y="1550132"/>
            <a:ext cx="430429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9"/>
          <p:cNvSpPr>
            <a:spLocks noGrp="1"/>
          </p:cNvSpPr>
          <p:nvPr>
            <p:ph type="body" sz="quarter" idx="39"/>
          </p:nvPr>
        </p:nvSpPr>
        <p:spPr>
          <a:xfrm>
            <a:off x="5151120" y="1645165"/>
            <a:ext cx="4304296" cy="4222236"/>
          </a:xfrm>
          <a:prstGeom prst="rect">
            <a:avLst/>
          </a:prstGeom>
        </p:spPr>
        <p:txBody>
          <a:bodyPr lIns="0" tIns="0" rIns="0" bIns="0"/>
          <a:lstStyle>
            <a:lvl1pPr marL="168274" indent="-168274">
              <a:buFont typeface="Arial" panose="020B0604020202020204" pitchFamily="34" charset="0"/>
              <a:buChar char="•"/>
              <a:defRPr sz="1292">
                <a:latin typeface="Arial" panose="020B0604020202020204" pitchFamily="34" charset="0"/>
                <a:cs typeface="Arial" panose="020B0604020202020204" pitchFamily="34" charset="0"/>
              </a:defRPr>
            </a:lvl1pPr>
            <a:lvl2pPr marL="320927" indent="-161195">
              <a:buFont typeface="Wingdings" panose="05000000000000000000" pitchFamily="2" charset="2"/>
              <a:buChar char="ü"/>
              <a:defRPr sz="1108">
                <a:latin typeface="Arial" panose="020B0604020202020204" pitchFamily="34" charset="0"/>
                <a:cs typeface="Arial" panose="020B0604020202020204" pitchFamily="34" charset="0"/>
              </a:defRPr>
            </a:lvl2pPr>
            <a:lvl3pPr marL="470398" indent="-149473">
              <a:buFont typeface="Courier New" panose="02070309020205020404" pitchFamily="49" charset="0"/>
              <a:buChar char="o"/>
              <a:defRPr sz="1108">
                <a:latin typeface="Arial" panose="020B0604020202020204" pitchFamily="34" charset="0"/>
                <a:cs typeface="Arial" panose="020B0604020202020204" pitchFamily="34" charset="0"/>
              </a:defRPr>
            </a:lvl3pPr>
            <a:lvl4pPr marL="630127" indent="-159730">
              <a:buFont typeface="Wingdings" panose="05000000000000000000" pitchFamily="2" charset="2"/>
              <a:buChar char="Ø"/>
              <a:defRPr sz="1108">
                <a:latin typeface="Arial" panose="020B0604020202020204" pitchFamily="34" charset="0"/>
                <a:cs typeface="Arial" panose="020B0604020202020204" pitchFamily="34"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
        <p:nvSpPr>
          <p:cNvPr id="13"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118595051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4"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srgbClr val="70AD47">
                  <a:lumMod val="50000"/>
                </a:srgbClr>
              </a:solidFill>
              <a:cs typeface="Arial" panose="020B0604020202020204" pitchFamily="34" charset="0"/>
              <a:sym typeface="Calibri" panose="020F0502020204030204" pitchFamily="34" charset="0"/>
            </a:endParaRPr>
          </a:p>
        </p:txBody>
      </p:sp>
      <p:sp>
        <p:nvSpPr>
          <p:cNvPr id="9"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
        <p:nvSpPr>
          <p:cNvPr id="4" name="Content Placeholder 2"/>
          <p:cNvSpPr>
            <a:spLocks noGrp="1"/>
          </p:cNvSpPr>
          <p:nvPr>
            <p:ph idx="1" hasCustomPrompt="1"/>
          </p:nvPr>
        </p:nvSpPr>
        <p:spPr>
          <a:xfrm>
            <a:off x="450588" y="1277003"/>
            <a:ext cx="3602182" cy="201706"/>
          </a:xfrm>
          <a:prstGeom prst="rect">
            <a:avLst/>
          </a:prstGeom>
        </p:spPr>
        <p:txBody>
          <a:bodyPr lIns="0" tIns="0" rIns="0" bIns="0"/>
          <a:lstStyle>
            <a:lvl1pPr marL="0" indent="0">
              <a:buFont typeface="Arial" pitchFamily="34" charset="0"/>
              <a:buNone/>
              <a:defRPr sz="1200">
                <a:latin typeface="Arial" panose="020B0604020202020204" pitchFamily="34" charset="0"/>
                <a:cs typeface="Arial" panose="020B0604020202020204" pitchFamily="34" charset="0"/>
              </a:defRPr>
            </a:lvl1pPr>
            <a:lvl2pPr marL="708819" indent="-284052">
              <a:defRPr sz="1108"/>
            </a:lvl2pPr>
            <a:lvl3pPr>
              <a:buFont typeface="Courier New" pitchFamily="49" charset="0"/>
              <a:buChar char="o"/>
              <a:defRPr sz="1108"/>
            </a:lvl3pPr>
            <a:lvl4pPr>
              <a:defRPr sz="1108"/>
            </a:lvl4pPr>
          </a:lstStyle>
          <a:p>
            <a:pPr lvl="0"/>
            <a:r>
              <a:rPr lang="en-US" dirty="0"/>
              <a:t>Click to edit Master Graph units</a:t>
            </a:r>
          </a:p>
        </p:txBody>
      </p:sp>
      <p:sp>
        <p:nvSpPr>
          <p:cNvPr id="5" name="Text Placeholder 10"/>
          <p:cNvSpPr>
            <a:spLocks noGrp="1"/>
          </p:cNvSpPr>
          <p:nvPr>
            <p:ph type="body" sz="quarter" idx="21" hasCustomPrompt="1"/>
          </p:nvPr>
        </p:nvSpPr>
        <p:spPr>
          <a:xfrm>
            <a:off x="450588" y="1008063"/>
            <a:ext cx="3602182" cy="201706"/>
          </a:xfrm>
          <a:prstGeom prst="rect">
            <a:avLst/>
          </a:prstGeom>
        </p:spPr>
        <p:txBody>
          <a:bodyPr lIns="0" tIns="0" rIns="0" bIns="0"/>
          <a:lstStyle>
            <a:lvl1pPr marL="0" indent="0">
              <a:buNone/>
              <a:defRPr sz="1400" b="1" i="0" baseline="0">
                <a:solidFill>
                  <a:schemeClr val="tx1"/>
                </a:solidFill>
                <a:latin typeface="Arial" panose="020B0604020202020204" pitchFamily="34" charset="0"/>
                <a:cs typeface="Arial" panose="020B0604020202020204" pitchFamily="34" charset="0"/>
              </a:defRPr>
            </a:lvl1pPr>
          </a:lstStyle>
          <a:p>
            <a:pPr lvl="0"/>
            <a:r>
              <a:rPr lang="en-US" dirty="0"/>
              <a:t>Click to insert Master Graph title</a:t>
            </a:r>
          </a:p>
        </p:txBody>
      </p:sp>
      <p:sp>
        <p:nvSpPr>
          <p:cNvPr id="6" name="SmartArt Placeholder 12"/>
          <p:cNvSpPr>
            <a:spLocks noGrp="1"/>
          </p:cNvSpPr>
          <p:nvPr>
            <p:ph type="dgm" sz="quarter" idx="20" hasCustomPrompt="1"/>
          </p:nvPr>
        </p:nvSpPr>
        <p:spPr>
          <a:xfrm rot="5400000">
            <a:off x="4022002" y="3302283"/>
            <a:ext cx="3577155" cy="360462"/>
          </a:xfrm>
          <a:prstGeom prst="triangle">
            <a:avLst>
              <a:gd name="adj" fmla="val 50232"/>
            </a:avLst>
          </a:prstGeom>
          <a:solidFill>
            <a:srgbClr val="3F5F1F"/>
          </a:solidFill>
        </p:spPr>
        <p:txBody>
          <a:bodyPr lIns="82058" tIns="41029" rIns="82058" bIns="41029"/>
          <a:lstStyle>
            <a:lvl1pPr>
              <a:defRPr lang="en-US">
                <a:solidFill>
                  <a:schemeClr val="tx2"/>
                </a:solidFill>
                <a:latin typeface="Arial" panose="020B0604020202020204" pitchFamily="34" charset="0"/>
                <a:cs typeface="Arial" panose="020B0604020202020204" pitchFamily="34" charset="0"/>
              </a:defRPr>
            </a:lvl1pPr>
          </a:lstStyle>
          <a:p>
            <a:r>
              <a:rPr lang="en-US" dirty="0"/>
              <a:t>`</a:t>
            </a:r>
          </a:p>
        </p:txBody>
      </p:sp>
      <p:sp>
        <p:nvSpPr>
          <p:cNvPr id="7" name="Text Placeholder 5"/>
          <p:cNvSpPr>
            <a:spLocks noGrp="1"/>
          </p:cNvSpPr>
          <p:nvPr>
            <p:ph type="body" sz="quarter" idx="29"/>
          </p:nvPr>
        </p:nvSpPr>
        <p:spPr>
          <a:xfrm>
            <a:off x="6138356" y="1008064"/>
            <a:ext cx="3317841" cy="4676161"/>
          </a:xfrm>
          <a:prstGeom prst="rect">
            <a:avLst/>
          </a:prstGeom>
        </p:spPr>
        <p:txBody>
          <a:bodyPr lIns="0" tIns="0" rIns="0" bIns="0" numCol="1"/>
          <a:lstStyle>
            <a:lvl1pPr marL="168274" indent="-168274" algn="just">
              <a:buFont typeface="Arial" pitchFamily="34" charset="0"/>
              <a:buChar char="•"/>
              <a:tabLst>
                <a:tab pos="3595378" algn="l"/>
              </a:tabLst>
              <a:defRPr sz="1400" baseline="0">
                <a:latin typeface="Arial" panose="020B0604020202020204" pitchFamily="34" charset="0"/>
                <a:cs typeface="Arial" panose="020B0604020202020204" pitchFamily="34" charset="0"/>
              </a:defRPr>
            </a:lvl1pPr>
            <a:lvl2pPr algn="just">
              <a:tabLst>
                <a:tab pos="3595378" algn="l"/>
              </a:tabLst>
              <a:defRPr sz="1108"/>
            </a:lvl2pPr>
            <a:lvl3pPr algn="just">
              <a:buFont typeface="Courier New" pitchFamily="49" charset="0"/>
              <a:buChar char="o"/>
              <a:tabLst>
                <a:tab pos="3595378" algn="l"/>
              </a:tabLst>
              <a:defRPr sz="1108"/>
            </a:lvl3pPr>
            <a:lvl4pPr algn="just">
              <a:tabLst>
                <a:tab pos="3595378" algn="l"/>
              </a:tabLst>
              <a:defRPr sz="1108"/>
            </a:lvl4pPr>
          </a:lstStyle>
          <a:p>
            <a:pPr lvl="0"/>
            <a:r>
              <a:rPr lang="en-US" dirty="0"/>
              <a:t>Click to edit Master text</a:t>
            </a:r>
          </a:p>
        </p:txBody>
      </p:sp>
      <p:sp>
        <p:nvSpPr>
          <p:cNvPr id="10"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28967975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4_Text">
  <p:cSld name="6_Text">
    <p:spTree>
      <p:nvGrpSpPr>
        <p:cNvPr id="1" name="Shape 73"/>
        <p:cNvGrpSpPr/>
        <p:nvPr/>
      </p:nvGrpSpPr>
      <p:grpSpPr>
        <a:xfrm>
          <a:off x="0" y="0"/>
          <a:ext cx="0" cy="0"/>
          <a:chOff x="0" y="0"/>
          <a:chExt cx="0" cy="0"/>
        </a:xfrm>
      </p:grpSpPr>
      <p:pic>
        <p:nvPicPr>
          <p:cNvPr id="74" name="Google Shape;74;p12"/>
          <p:cNvPicPr preferRelativeResize="0"/>
          <p:nvPr/>
        </p:nvPicPr>
        <p:blipFill rotWithShape="1">
          <a:blip r:embed="rId2">
            <a:alphaModFix/>
          </a:blip>
          <a:srcRect/>
          <a:stretch/>
        </p:blipFill>
        <p:spPr>
          <a:xfrm>
            <a:off x="1" y="3"/>
            <a:ext cx="156345" cy="140074"/>
          </a:xfrm>
          <a:prstGeom prst="rect">
            <a:avLst/>
          </a:prstGeom>
          <a:noFill/>
          <a:ln>
            <a:noFill/>
          </a:ln>
        </p:spPr>
      </p:pic>
      <p:sp>
        <p:nvSpPr>
          <p:cNvPr id="75" name="Google Shape;75;p12"/>
          <p:cNvSpPr txBox="1">
            <a:spLocks noGrp="1"/>
          </p:cNvSpPr>
          <p:nvPr>
            <p:ph type="title"/>
          </p:nvPr>
        </p:nvSpPr>
        <p:spPr>
          <a:xfrm>
            <a:off x="450741" y="134054"/>
            <a:ext cx="7245459" cy="582389"/>
          </a:xfrm>
          <a:prstGeom prst="rect">
            <a:avLst/>
          </a:prstGeom>
          <a:noFill/>
          <a:ln>
            <a:noFill/>
          </a:ln>
        </p:spPr>
        <p:txBody>
          <a:bodyPr spcFirstLastPara="1" wrap="square" lIns="0" tIns="0" rIns="0" bIns="0" anchor="b" anchorCtr="0"/>
          <a:lstStyle>
            <a:lvl1pPr marR="0" lvl="0" algn="l" rtl="0">
              <a:lnSpc>
                <a:spcPct val="90000"/>
              </a:lnSpc>
              <a:spcBef>
                <a:spcPts val="0"/>
              </a:spcBef>
              <a:spcAft>
                <a:spcPts val="0"/>
              </a:spcAft>
              <a:buClr>
                <a:schemeClr val="dk1"/>
              </a:buClr>
              <a:buSzPts val="2200"/>
              <a:buFont typeface="Arial"/>
              <a:buNone/>
              <a:defRPr sz="22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76" name="Google Shape;76;p12"/>
          <p:cNvSpPr txBox="1">
            <a:spLocks noGrp="1"/>
          </p:cNvSpPr>
          <p:nvPr>
            <p:ph type="body" idx="1"/>
          </p:nvPr>
        </p:nvSpPr>
        <p:spPr>
          <a:xfrm>
            <a:off x="450276" y="1066801"/>
            <a:ext cx="9005453" cy="5181599"/>
          </a:xfrm>
          <a:prstGeom prst="rect">
            <a:avLst/>
          </a:prstGeom>
          <a:noFill/>
          <a:ln>
            <a:noFill/>
          </a:ln>
        </p:spPr>
        <p:txBody>
          <a:bodyPr spcFirstLastPara="1" wrap="square" lIns="0" tIns="0" rIns="0" bIns="0" anchor="t" anchorCtr="0"/>
          <a:lstStyle>
            <a:lvl1pPr marL="457200" marR="0" lvl="0" indent="-330200" algn="l" rtl="0">
              <a:lnSpc>
                <a:spcPct val="90000"/>
              </a:lnSpc>
              <a:spcBef>
                <a:spcPts val="718"/>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17500" algn="l" rtl="0">
              <a:lnSpc>
                <a:spcPct val="90000"/>
              </a:lnSpc>
              <a:spcBef>
                <a:spcPts val="718"/>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2pPr>
            <a:lvl3pPr marL="1371600" marR="0" lvl="2" indent="-317500" algn="l" rtl="0">
              <a:lnSpc>
                <a:spcPct val="90000"/>
              </a:lnSpc>
              <a:spcBef>
                <a:spcPts val="500"/>
              </a:spcBef>
              <a:spcAft>
                <a:spcPts val="0"/>
              </a:spcAft>
              <a:buClr>
                <a:schemeClr val="dk1"/>
              </a:buClr>
              <a:buSzPts val="1400"/>
              <a:buFont typeface="Courier New"/>
              <a:buChar char="o"/>
              <a:defRPr sz="1400" b="0" i="0" u="none" strike="noStrike" cap="none">
                <a:solidFill>
                  <a:schemeClr val="dk1"/>
                </a:solidFill>
                <a:latin typeface="Arial"/>
                <a:ea typeface="Arial"/>
                <a:cs typeface="Arial"/>
                <a:sym typeface="Arial"/>
              </a:defRPr>
            </a:lvl3pPr>
            <a:lvl4pPr marL="1828800" marR="0" lvl="3" indent="-317500" algn="l" rtl="0">
              <a:lnSpc>
                <a:spcPct val="90000"/>
              </a:lnSpc>
              <a:spcBef>
                <a:spcPts val="5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7050319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7_Title Slide">
  <p:cSld name="8_Title Slide">
    <p:spTree>
      <p:nvGrpSpPr>
        <p:cNvPr id="1" name="Shape 84"/>
        <p:cNvGrpSpPr/>
        <p:nvPr/>
      </p:nvGrpSpPr>
      <p:grpSpPr>
        <a:xfrm>
          <a:off x="0" y="0"/>
          <a:ext cx="0" cy="0"/>
          <a:chOff x="0" y="0"/>
          <a:chExt cx="0" cy="0"/>
        </a:xfrm>
      </p:grpSpPr>
      <p:pic>
        <p:nvPicPr>
          <p:cNvPr id="85" name="Google Shape;85;p15"/>
          <p:cNvPicPr preferRelativeResize="0"/>
          <p:nvPr/>
        </p:nvPicPr>
        <p:blipFill rotWithShape="1">
          <a:blip r:embed="rId2">
            <a:alphaModFix/>
          </a:blip>
          <a:srcRect/>
          <a:stretch/>
        </p:blipFill>
        <p:spPr>
          <a:xfrm>
            <a:off x="1588" y="1588"/>
            <a:ext cx="1588" cy="1588"/>
          </a:xfrm>
          <a:prstGeom prst="rect">
            <a:avLst/>
          </a:prstGeom>
          <a:noFill/>
          <a:ln>
            <a:noFill/>
          </a:ln>
        </p:spPr>
      </p:pic>
      <p:sp>
        <p:nvSpPr>
          <p:cNvPr id="86" name="Google Shape;86;p15"/>
          <p:cNvSpPr txBox="1">
            <a:spLocks noGrp="1"/>
          </p:cNvSpPr>
          <p:nvPr>
            <p:ph type="body" idx="1"/>
          </p:nvPr>
        </p:nvSpPr>
        <p:spPr>
          <a:xfrm>
            <a:off x="450588" y="6055245"/>
            <a:ext cx="7702813" cy="386679"/>
          </a:xfrm>
          <a:prstGeom prst="rect">
            <a:avLst/>
          </a:prstGeom>
          <a:noFill/>
          <a:ln>
            <a:noFill/>
          </a:ln>
        </p:spPr>
        <p:txBody>
          <a:bodyPr spcFirstLastPara="1" wrap="square" lIns="0" tIns="0" rIns="0" bIns="0" anchor="b" anchorCtr="0"/>
          <a:lstStyle>
            <a:lvl1pPr marL="457200" marR="0" lvl="0" indent="-228600" algn="l" rtl="0">
              <a:lnSpc>
                <a:spcPct val="90000"/>
              </a:lnSpc>
              <a:spcBef>
                <a:spcPts val="1000"/>
              </a:spcBef>
              <a:spcAft>
                <a:spcPts val="0"/>
              </a:spcAft>
              <a:buClr>
                <a:schemeClr val="dk1"/>
              </a:buClr>
              <a:buSzPts val="923"/>
              <a:buFont typeface="Arial"/>
              <a:buNone/>
              <a:defRPr sz="922"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7" name="Google Shape;87;p15"/>
          <p:cNvSpPr txBox="1">
            <a:spLocks noGrp="1"/>
          </p:cNvSpPr>
          <p:nvPr>
            <p:ph type="body" idx="2"/>
          </p:nvPr>
        </p:nvSpPr>
        <p:spPr>
          <a:xfrm>
            <a:off x="450588" y="1277003"/>
            <a:ext cx="3602182" cy="201706"/>
          </a:xfrm>
          <a:prstGeom prst="rect">
            <a:avLst/>
          </a:prstGeom>
          <a:noFill/>
          <a:ln>
            <a:noFill/>
          </a:ln>
        </p:spPr>
        <p:txBody>
          <a:bodyPr spcFirstLastPara="1" wrap="square" lIns="0" tIns="0" rIns="0" bIns="0" anchor="t" anchorCtr="0"/>
          <a:lstStyle>
            <a:lvl1pPr marL="457200" marR="0" lvl="0" indent="-228600" algn="l" rtl="0">
              <a:lnSpc>
                <a:spcPct val="90000"/>
              </a:lnSpc>
              <a:spcBef>
                <a:spcPts val="10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1pPr>
            <a:lvl2pPr marL="914400" marR="0" lvl="1" indent="-298958" algn="l" rtl="0">
              <a:lnSpc>
                <a:spcPct val="90000"/>
              </a:lnSpc>
              <a:spcBef>
                <a:spcPts val="500"/>
              </a:spcBef>
              <a:spcAft>
                <a:spcPts val="0"/>
              </a:spcAft>
              <a:buClr>
                <a:schemeClr val="dk1"/>
              </a:buClr>
              <a:buSzPts val="1108"/>
              <a:buFont typeface="Arial"/>
              <a:buChar char="•"/>
              <a:defRPr sz="1108" b="0" i="0" u="none" strike="noStrike" cap="none">
                <a:solidFill>
                  <a:schemeClr val="dk1"/>
                </a:solidFill>
                <a:latin typeface="Calibri"/>
                <a:ea typeface="Calibri"/>
                <a:cs typeface="Calibri"/>
                <a:sym typeface="Calibri"/>
              </a:defRPr>
            </a:lvl2pPr>
            <a:lvl3pPr marL="1371600" marR="0" lvl="2" indent="-298958" algn="l" rtl="0">
              <a:lnSpc>
                <a:spcPct val="90000"/>
              </a:lnSpc>
              <a:spcBef>
                <a:spcPts val="500"/>
              </a:spcBef>
              <a:spcAft>
                <a:spcPts val="0"/>
              </a:spcAft>
              <a:buClr>
                <a:schemeClr val="dk1"/>
              </a:buClr>
              <a:buSzPts val="1108"/>
              <a:buFont typeface="Courier New"/>
              <a:buChar char="o"/>
              <a:defRPr sz="1108" b="0" i="0" u="none" strike="noStrike" cap="none">
                <a:solidFill>
                  <a:schemeClr val="dk1"/>
                </a:solidFill>
                <a:latin typeface="Calibri"/>
                <a:ea typeface="Calibri"/>
                <a:cs typeface="Calibri"/>
                <a:sym typeface="Calibri"/>
              </a:defRPr>
            </a:lvl3pPr>
            <a:lvl4pPr marL="1828800" marR="0" lvl="3" indent="-298958" algn="l" rtl="0">
              <a:lnSpc>
                <a:spcPct val="90000"/>
              </a:lnSpc>
              <a:spcBef>
                <a:spcPts val="500"/>
              </a:spcBef>
              <a:spcAft>
                <a:spcPts val="0"/>
              </a:spcAft>
              <a:buClr>
                <a:schemeClr val="dk1"/>
              </a:buClr>
              <a:buSzPts val="1108"/>
              <a:buFont typeface="Arial"/>
              <a:buChar char="•"/>
              <a:defRPr sz="1108"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8" name="Google Shape;88;p15"/>
          <p:cNvSpPr txBox="1">
            <a:spLocks noGrp="1"/>
          </p:cNvSpPr>
          <p:nvPr>
            <p:ph type="body" idx="3"/>
          </p:nvPr>
        </p:nvSpPr>
        <p:spPr>
          <a:xfrm>
            <a:off x="450588" y="1008063"/>
            <a:ext cx="3602182" cy="201706"/>
          </a:xfrm>
          <a:prstGeom prst="rect">
            <a:avLst/>
          </a:prstGeom>
          <a:noFill/>
          <a:ln>
            <a:noFill/>
          </a:ln>
        </p:spPr>
        <p:txBody>
          <a:bodyPr spcFirstLastPara="1" wrap="square" lIns="0" tIns="0" rIns="0" bIns="0" anchor="t" anchorCtr="0"/>
          <a:lstStyle>
            <a:lvl1pPr marL="457200" marR="0" lvl="0" indent="-228600" algn="l" rtl="0">
              <a:lnSpc>
                <a:spcPct val="90000"/>
              </a:lnSpc>
              <a:spcBef>
                <a:spcPts val="1000"/>
              </a:spcBef>
              <a:spcAft>
                <a:spcPts val="0"/>
              </a:spcAft>
              <a:buClr>
                <a:schemeClr val="dk1"/>
              </a:buClr>
              <a:buSzPts val="1400"/>
              <a:buFont typeface="Arial"/>
              <a:buNone/>
              <a:defRPr sz="1400" b="1"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9" name="Google Shape;89;p15"/>
          <p:cNvSpPr>
            <a:spLocks noGrp="1"/>
          </p:cNvSpPr>
          <p:nvPr>
            <p:ph type="dgm" idx="4"/>
          </p:nvPr>
        </p:nvSpPr>
        <p:spPr>
          <a:xfrm rot="5400000">
            <a:off x="4022002" y="3302283"/>
            <a:ext cx="3577155" cy="360462"/>
          </a:xfrm>
          <a:prstGeom prst="triangle">
            <a:avLst>
              <a:gd name="adj" fmla="val 50232"/>
            </a:avLst>
          </a:prstGeom>
          <a:solidFill>
            <a:srgbClr val="3F5F1F"/>
          </a:solidFill>
          <a:ln>
            <a:noFill/>
          </a:ln>
        </p:spPr>
        <p:txBody>
          <a:bodyPr spcFirstLastPara="1" wrap="square" lIns="82050" tIns="41025" rIns="82050" bIns="41025" anchor="t" anchorCtr="0"/>
          <a:lstStyle>
            <a:lvl1pPr marR="0" lvl="0" algn="l" rtl="0">
              <a:lnSpc>
                <a:spcPct val="90000"/>
              </a:lnSpc>
              <a:spcBef>
                <a:spcPts val="1000"/>
              </a:spcBef>
              <a:spcAft>
                <a:spcPts val="0"/>
              </a:spcAft>
              <a:buClr>
                <a:schemeClr val="dk2"/>
              </a:buClr>
              <a:buSzPts val="2800"/>
              <a:buFont typeface="Arial"/>
              <a:buChar char="•"/>
              <a:defRPr sz="2800" b="0" i="0" u="none" strike="noStrike" cap="none">
                <a:solidFill>
                  <a:schemeClr val="dk2"/>
                </a:solidFill>
                <a:latin typeface="Arial"/>
                <a:ea typeface="Arial"/>
                <a:cs typeface="Arial"/>
                <a:sym typeface="Arial"/>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90" name="Google Shape;90;p15"/>
          <p:cNvSpPr txBox="1">
            <a:spLocks noGrp="1"/>
          </p:cNvSpPr>
          <p:nvPr>
            <p:ph type="body" idx="5"/>
          </p:nvPr>
        </p:nvSpPr>
        <p:spPr>
          <a:xfrm>
            <a:off x="6138356" y="1008064"/>
            <a:ext cx="3317841" cy="4676161"/>
          </a:xfrm>
          <a:prstGeom prst="rect">
            <a:avLst/>
          </a:prstGeom>
          <a:noFill/>
          <a:ln>
            <a:noFill/>
          </a:ln>
        </p:spPr>
        <p:txBody>
          <a:bodyPr spcFirstLastPara="1" wrap="square" lIns="0" tIns="0" rIns="0" bIns="0" anchor="t" anchorCtr="0"/>
          <a:lstStyle>
            <a:lvl1pPr marL="457200" marR="0" lvl="0" indent="-317500" algn="just" rtl="0">
              <a:lnSpc>
                <a:spcPct val="90000"/>
              </a:lnSpc>
              <a:spcBef>
                <a:spcPts val="10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1pPr>
            <a:lvl2pPr marL="914400" marR="0" lvl="1" indent="-298958" algn="just" rtl="0">
              <a:lnSpc>
                <a:spcPct val="90000"/>
              </a:lnSpc>
              <a:spcBef>
                <a:spcPts val="500"/>
              </a:spcBef>
              <a:spcAft>
                <a:spcPts val="0"/>
              </a:spcAft>
              <a:buClr>
                <a:schemeClr val="dk1"/>
              </a:buClr>
              <a:buSzPts val="1108"/>
              <a:buFont typeface="Arial"/>
              <a:buChar char="•"/>
              <a:defRPr sz="1108" b="0" i="0" u="none" strike="noStrike" cap="none">
                <a:solidFill>
                  <a:schemeClr val="dk1"/>
                </a:solidFill>
                <a:latin typeface="Calibri"/>
                <a:ea typeface="Calibri"/>
                <a:cs typeface="Calibri"/>
                <a:sym typeface="Calibri"/>
              </a:defRPr>
            </a:lvl2pPr>
            <a:lvl3pPr marL="1371600" marR="0" lvl="2" indent="-298958" algn="just" rtl="0">
              <a:lnSpc>
                <a:spcPct val="90000"/>
              </a:lnSpc>
              <a:spcBef>
                <a:spcPts val="500"/>
              </a:spcBef>
              <a:spcAft>
                <a:spcPts val="0"/>
              </a:spcAft>
              <a:buClr>
                <a:schemeClr val="dk1"/>
              </a:buClr>
              <a:buSzPts val="1108"/>
              <a:buFont typeface="Courier New"/>
              <a:buChar char="o"/>
              <a:defRPr sz="1108" b="0" i="0" u="none" strike="noStrike" cap="none">
                <a:solidFill>
                  <a:schemeClr val="dk1"/>
                </a:solidFill>
                <a:latin typeface="Calibri"/>
                <a:ea typeface="Calibri"/>
                <a:cs typeface="Calibri"/>
                <a:sym typeface="Calibri"/>
              </a:defRPr>
            </a:lvl3pPr>
            <a:lvl4pPr marL="1828800" marR="0" lvl="3" indent="-298958" algn="just" rtl="0">
              <a:lnSpc>
                <a:spcPct val="90000"/>
              </a:lnSpc>
              <a:spcBef>
                <a:spcPts val="500"/>
              </a:spcBef>
              <a:spcAft>
                <a:spcPts val="0"/>
              </a:spcAft>
              <a:buClr>
                <a:schemeClr val="dk1"/>
              </a:buClr>
              <a:buSzPts val="1108"/>
              <a:buFont typeface="Arial"/>
              <a:buChar char="•"/>
              <a:defRPr sz="1108"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1" name="Google Shape;91;p15"/>
          <p:cNvSpPr txBox="1">
            <a:spLocks noGrp="1"/>
          </p:cNvSpPr>
          <p:nvPr>
            <p:ph type="title"/>
          </p:nvPr>
        </p:nvSpPr>
        <p:spPr>
          <a:xfrm>
            <a:off x="450741" y="134054"/>
            <a:ext cx="7245459" cy="582389"/>
          </a:xfrm>
          <a:prstGeom prst="rect">
            <a:avLst/>
          </a:prstGeom>
          <a:noFill/>
          <a:ln>
            <a:noFill/>
          </a:ln>
        </p:spPr>
        <p:txBody>
          <a:bodyPr spcFirstLastPara="1" wrap="square" lIns="0" tIns="0" rIns="0" bIns="0" anchor="b" anchorCtr="0"/>
          <a:lstStyle>
            <a:lvl1pPr marR="0" lvl="0" algn="l" rtl="0">
              <a:lnSpc>
                <a:spcPct val="90000"/>
              </a:lnSpc>
              <a:spcBef>
                <a:spcPts val="0"/>
              </a:spcBef>
              <a:spcAft>
                <a:spcPts val="0"/>
              </a:spcAft>
              <a:buClr>
                <a:schemeClr val="dk1"/>
              </a:buClr>
              <a:buSzPts val="2200"/>
              <a:buFont typeface="Arial"/>
              <a:buNone/>
              <a:defRPr sz="22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extLst>
      <p:ext uri="{BB962C8B-B14F-4D97-AF65-F5344CB8AC3E}">
        <p14:creationId xmlns:p14="http://schemas.microsoft.com/office/powerpoint/2010/main" val="21941900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3_Text">
  <p:cSld name="6_Text">
    <p:spTree>
      <p:nvGrpSpPr>
        <p:cNvPr id="1" name="Shape 69"/>
        <p:cNvGrpSpPr/>
        <p:nvPr/>
      </p:nvGrpSpPr>
      <p:grpSpPr>
        <a:xfrm>
          <a:off x="0" y="0"/>
          <a:ext cx="0" cy="0"/>
          <a:chOff x="0" y="0"/>
          <a:chExt cx="0" cy="0"/>
        </a:xfrm>
      </p:grpSpPr>
      <p:pic>
        <p:nvPicPr>
          <p:cNvPr id="70" name="Google Shape;70;p11"/>
          <p:cNvPicPr preferRelativeResize="0"/>
          <p:nvPr/>
        </p:nvPicPr>
        <p:blipFill rotWithShape="1">
          <a:blip r:embed="rId2">
            <a:alphaModFix/>
          </a:blip>
          <a:srcRect/>
          <a:stretch/>
        </p:blipFill>
        <p:spPr>
          <a:xfrm>
            <a:off x="1" y="3"/>
            <a:ext cx="156345" cy="140074"/>
          </a:xfrm>
          <a:prstGeom prst="rect">
            <a:avLst/>
          </a:prstGeom>
          <a:noFill/>
          <a:ln>
            <a:noFill/>
          </a:ln>
        </p:spPr>
      </p:pic>
      <p:sp>
        <p:nvSpPr>
          <p:cNvPr id="71" name="Google Shape;71;p11"/>
          <p:cNvSpPr txBox="1">
            <a:spLocks noGrp="1"/>
          </p:cNvSpPr>
          <p:nvPr>
            <p:ph type="body" idx="1"/>
          </p:nvPr>
        </p:nvSpPr>
        <p:spPr>
          <a:xfrm>
            <a:off x="450588" y="6055245"/>
            <a:ext cx="7702813" cy="386679"/>
          </a:xfrm>
          <a:prstGeom prst="rect">
            <a:avLst/>
          </a:prstGeom>
          <a:noFill/>
          <a:ln>
            <a:noFill/>
          </a:ln>
        </p:spPr>
        <p:txBody>
          <a:bodyPr spcFirstLastPara="1" wrap="square" lIns="0" tIns="0" rIns="0" bIns="0" anchor="b" anchorCtr="0"/>
          <a:lstStyle>
            <a:lvl1pPr marL="457200" marR="0" lvl="0" indent="-228600" algn="l" rtl="0">
              <a:lnSpc>
                <a:spcPct val="90000"/>
              </a:lnSpc>
              <a:spcBef>
                <a:spcPts val="1000"/>
              </a:spcBef>
              <a:spcAft>
                <a:spcPts val="0"/>
              </a:spcAft>
              <a:buClr>
                <a:schemeClr val="dk1"/>
              </a:buClr>
              <a:buSzPts val="923"/>
              <a:buFont typeface="Arial"/>
              <a:buNone/>
              <a:defRPr sz="922"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72" name="Google Shape;72;p11"/>
          <p:cNvSpPr txBox="1">
            <a:spLocks noGrp="1"/>
          </p:cNvSpPr>
          <p:nvPr>
            <p:ph type="title"/>
          </p:nvPr>
        </p:nvSpPr>
        <p:spPr>
          <a:xfrm>
            <a:off x="450741" y="134054"/>
            <a:ext cx="7245459" cy="582389"/>
          </a:xfrm>
          <a:prstGeom prst="rect">
            <a:avLst/>
          </a:prstGeom>
          <a:noFill/>
          <a:ln>
            <a:noFill/>
          </a:ln>
        </p:spPr>
        <p:txBody>
          <a:bodyPr spcFirstLastPara="1" wrap="square" lIns="0" tIns="0" rIns="0" bIns="0" anchor="b" anchorCtr="0"/>
          <a:lstStyle>
            <a:lvl1pPr marR="0" lvl="0" algn="l" rtl="0">
              <a:lnSpc>
                <a:spcPct val="90000"/>
              </a:lnSpc>
              <a:spcBef>
                <a:spcPts val="0"/>
              </a:spcBef>
              <a:spcAft>
                <a:spcPts val="0"/>
              </a:spcAft>
              <a:buClr>
                <a:schemeClr val="dk1"/>
              </a:buClr>
              <a:buSzPts val="2200"/>
              <a:buFont typeface="Arial"/>
              <a:buNone/>
              <a:defRPr sz="22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extLst>
      <p:ext uri="{BB962C8B-B14F-4D97-AF65-F5344CB8AC3E}">
        <p14:creationId xmlns:p14="http://schemas.microsoft.com/office/powerpoint/2010/main" val="367146086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29710"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721" y="1589"/>
                        <a:ext cx="1719" cy="1587"/>
                      </a:xfrm>
                      <a:prstGeom prst="rect">
                        <a:avLst/>
                      </a:prstGeom>
                    </p:spPr>
                  </p:pic>
                </p:oleObj>
              </mc:Fallback>
            </mc:AlternateContent>
          </a:graphicData>
        </a:graphic>
      </p:graphicFrame>
      <p:sp>
        <p:nvSpPr>
          <p:cNvPr id="10"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3">
              <a:buClrTx/>
              <a:buFontTx/>
              <a:buNone/>
            </a:pPr>
            <a:endParaRPr lang="en-US" kern="1200" dirty="0">
              <a:solidFill>
                <a:prstClr val="black"/>
              </a:solidFill>
            </a:endParaRPr>
          </a:p>
        </p:txBody>
      </p:sp>
      <p:sp>
        <p:nvSpPr>
          <p:cNvPr id="2" name="McK 2. Slide Title"/>
          <p:cNvSpPr>
            <a:spLocks noGrp="1"/>
          </p:cNvSpPr>
          <p:nvPr>
            <p:ph type="title"/>
          </p:nvPr>
        </p:nvSpPr>
        <p:spPr>
          <a:xfrm>
            <a:off x="247650" y="388621"/>
            <a:ext cx="8007350" cy="292388"/>
          </a:xfrm>
          <a:prstGeom prst="rect">
            <a:avLst/>
          </a:prstGeom>
        </p:spPr>
        <p:txBody>
          <a:bodyPr/>
          <a:lstStyle>
            <a:lvl1pPr>
              <a:defRPr sz="1900"/>
            </a:lvl1pPr>
          </a:lstStyle>
          <a:p>
            <a:r>
              <a:rPr lang="en-US" dirty="0"/>
              <a:t>Click to edit Master title style</a:t>
            </a:r>
          </a:p>
        </p:txBody>
      </p:sp>
    </p:spTree>
    <p:extLst>
      <p:ext uri="{BB962C8B-B14F-4D97-AF65-F5344CB8AC3E}">
        <p14:creationId xmlns:p14="http://schemas.microsoft.com/office/powerpoint/2010/main" val="29887813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31758"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prstClr val="white"/>
              </a:solidFill>
              <a:cs typeface="Arial" panose="020B0604020202020204" pitchFamily="34" charset="0"/>
              <a:sym typeface="Calibri" panose="020F0502020204030204" pitchFamily="34" charset="0"/>
            </a:endParaRPr>
          </a:p>
        </p:txBody>
      </p:sp>
      <p:sp>
        <p:nvSpPr>
          <p:cNvPr id="6" name="Title 1"/>
          <p:cNvSpPr>
            <a:spLocks noGrp="1"/>
          </p:cNvSpPr>
          <p:nvPr>
            <p:ph type="title" hasCustomPrompt="1"/>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Style</a:t>
            </a:r>
            <a:endParaRPr lang="en-US" dirty="0"/>
          </a:p>
        </p:txBody>
      </p:sp>
      <p:sp>
        <p:nvSpPr>
          <p:cNvPr id="5" name="Text Placeholder 7"/>
          <p:cNvSpPr>
            <a:spLocks noGrp="1"/>
          </p:cNvSpPr>
          <p:nvPr>
            <p:ph type="body" sz="quarter" idx="13" hasCustomPrompt="1"/>
          </p:nvPr>
        </p:nvSpPr>
        <p:spPr>
          <a:xfrm>
            <a:off x="450276" y="1066801"/>
            <a:ext cx="9005453" cy="5181599"/>
          </a:xfrm>
          <a:prstGeom prst="rect">
            <a:avLst/>
          </a:prstGeom>
        </p:spPr>
        <p:txBody>
          <a:bodyPr lIns="0" tIns="0" rIns="0" bIns="0">
            <a:noAutofit/>
          </a:bodyPr>
          <a:lstStyle>
            <a:lvl1pPr marL="173037" indent="-173037">
              <a:spcBef>
                <a:spcPts val="718"/>
              </a:spcBef>
              <a:defRPr sz="1600" baseline="0">
                <a:latin typeface="Arial" panose="020B0604020202020204" pitchFamily="34" charset="0"/>
                <a:cs typeface="Arial" panose="020B0604020202020204" pitchFamily="34" charset="0"/>
              </a:defRPr>
            </a:lvl1pPr>
            <a:lvl2pPr marL="347661" indent="-174624">
              <a:spcBef>
                <a:spcPts val="718"/>
              </a:spcBef>
              <a:buFont typeface="Wingdings" panose="05000000000000000000" pitchFamily="2" charset="2"/>
              <a:buChar char="ü"/>
              <a:defRPr sz="1400">
                <a:latin typeface="Arial" panose="020B0604020202020204" pitchFamily="34" charset="0"/>
                <a:cs typeface="Arial" panose="020B0604020202020204" pitchFamily="34" charset="0"/>
              </a:defRPr>
            </a:lvl2pPr>
            <a:lvl3pPr marL="509585" indent="-161924">
              <a:buFont typeface="Courier New" pitchFamily="49" charset="0"/>
              <a:buChar char="o"/>
              <a:defRPr sz="1400">
                <a:latin typeface="Arial" panose="020B0604020202020204" pitchFamily="34" charset="0"/>
                <a:cs typeface="Arial" panose="020B0604020202020204" pitchFamily="34" charset="0"/>
              </a:defRPr>
            </a:lvl3pPr>
            <a:lvl4pPr marL="682621" indent="-173037">
              <a:defRPr sz="1400">
                <a:latin typeface="Arial" panose="020B0604020202020204" pitchFamily="34" charset="0"/>
                <a:cs typeface="Arial" panose="020B0604020202020204" pitchFamily="34" charset="0"/>
              </a:defRPr>
            </a:lvl4pPr>
            <a:lvl5pPr>
              <a:defRPr sz="1800"/>
            </a:lvl5pPr>
          </a:lstStyle>
          <a:p>
            <a:pPr lvl="0"/>
            <a:r>
              <a:rPr lang="en-US" dirty="0"/>
              <a:t>Click to edit Master text first level</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119345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32782"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prstClr val="white"/>
              </a:solidFill>
              <a:cs typeface="Arial" panose="020B0604020202020204" pitchFamily="34" charset="0"/>
              <a:sym typeface="Calibri" panose="020F0502020204030204" pitchFamily="34" charset="0"/>
            </a:endParaRPr>
          </a:p>
        </p:txBody>
      </p:sp>
      <p:sp>
        <p:nvSpPr>
          <p:cNvPr id="6"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39696228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33806"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prstClr val="white"/>
              </a:solidFill>
              <a:cs typeface="Arial" panose="020B0604020202020204" pitchFamily="34" charset="0"/>
              <a:sym typeface="Calibri" panose="020F0502020204030204" pitchFamily="34" charset="0"/>
            </a:endParaRPr>
          </a:p>
        </p:txBody>
      </p:sp>
      <p:sp>
        <p:nvSpPr>
          <p:cNvPr id="6"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
        <p:nvSpPr>
          <p:cNvPr id="5" name="Text Placeholder 7"/>
          <p:cNvSpPr>
            <a:spLocks noGrp="1"/>
          </p:cNvSpPr>
          <p:nvPr>
            <p:ph type="body" sz="quarter" idx="13" hasCustomPrompt="1"/>
          </p:nvPr>
        </p:nvSpPr>
        <p:spPr>
          <a:xfrm>
            <a:off x="450276" y="1066801"/>
            <a:ext cx="9005453" cy="4876799"/>
          </a:xfrm>
          <a:prstGeom prst="rect">
            <a:avLst/>
          </a:prstGeom>
        </p:spPr>
        <p:txBody>
          <a:bodyPr lIns="0" tIns="0" rIns="0" bIns="0">
            <a:noAutofit/>
          </a:bodyPr>
          <a:lstStyle>
            <a:lvl1pPr marL="173037" indent="-173037">
              <a:spcBef>
                <a:spcPts val="718"/>
              </a:spcBef>
              <a:defRPr sz="1600" baseline="0">
                <a:latin typeface="Arial" panose="020B0604020202020204" pitchFamily="34" charset="0"/>
                <a:cs typeface="Arial" panose="020B0604020202020204" pitchFamily="34" charset="0"/>
              </a:defRPr>
            </a:lvl1pPr>
            <a:lvl2pPr marL="347661" indent="-174624">
              <a:spcBef>
                <a:spcPts val="718"/>
              </a:spcBef>
              <a:buFont typeface="Wingdings" panose="05000000000000000000" pitchFamily="2" charset="2"/>
              <a:buChar char="ü"/>
              <a:defRPr sz="1400">
                <a:latin typeface="Arial" panose="020B0604020202020204" pitchFamily="34" charset="0"/>
                <a:cs typeface="Arial" panose="020B0604020202020204" pitchFamily="34" charset="0"/>
              </a:defRPr>
            </a:lvl2pPr>
            <a:lvl3pPr marL="509585" indent="-161924">
              <a:buFont typeface="Courier New" pitchFamily="49" charset="0"/>
              <a:buChar char="o"/>
              <a:defRPr sz="1400">
                <a:latin typeface="Arial" panose="020B0604020202020204" pitchFamily="34" charset="0"/>
                <a:cs typeface="Arial" panose="020B0604020202020204" pitchFamily="34" charset="0"/>
              </a:defRPr>
            </a:lvl3pPr>
            <a:lvl4pPr marL="682621" indent="-173037">
              <a:defRPr sz="1400">
                <a:latin typeface="Arial" panose="020B0604020202020204" pitchFamily="34" charset="0"/>
                <a:cs typeface="Arial" panose="020B0604020202020204" pitchFamily="34" charset="0"/>
              </a:defRPr>
            </a:lvl4pPr>
            <a:lvl5pPr>
              <a:defRPr sz="1800"/>
            </a:lvl5pPr>
          </a:lstStyle>
          <a:p>
            <a:pPr lvl="0"/>
            <a:r>
              <a:rPr lang="en-US" dirty="0"/>
              <a:t>Click to edit Master text first level</a:t>
            </a:r>
          </a:p>
          <a:p>
            <a:pPr lvl="1"/>
            <a:r>
              <a:rPr lang="en-US" dirty="0"/>
              <a:t>Second level</a:t>
            </a:r>
          </a:p>
          <a:p>
            <a:pPr lvl="2"/>
            <a:r>
              <a:rPr lang="en-US" dirty="0"/>
              <a:t>Third level</a:t>
            </a:r>
          </a:p>
          <a:p>
            <a:pPr lvl="3"/>
            <a:r>
              <a:rPr lang="en-US" dirty="0"/>
              <a:t>Fourth level</a:t>
            </a:r>
          </a:p>
        </p:txBody>
      </p:sp>
      <p:sp>
        <p:nvSpPr>
          <p:cNvPr id="9"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Tree>
    <p:extLst>
      <p:ext uri="{BB962C8B-B14F-4D97-AF65-F5344CB8AC3E}">
        <p14:creationId xmlns:p14="http://schemas.microsoft.com/office/powerpoint/2010/main" val="36637692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2_Title Slide">
  <p:cSld name="2_Title Slide">
    <p:bg>
      <p:bgPr>
        <a:solidFill>
          <a:srgbClr val="006547"/>
        </a:solidFill>
        <a:effectLst/>
      </p:bgPr>
    </p:bg>
    <p:spTree>
      <p:nvGrpSpPr>
        <p:cNvPr id="1" name="Shape 27"/>
        <p:cNvGrpSpPr/>
        <p:nvPr/>
      </p:nvGrpSpPr>
      <p:grpSpPr>
        <a:xfrm>
          <a:off x="0" y="0"/>
          <a:ext cx="0" cy="0"/>
          <a:chOff x="0" y="0"/>
          <a:chExt cx="0" cy="0"/>
        </a:xfrm>
      </p:grpSpPr>
      <p:pic>
        <p:nvPicPr>
          <p:cNvPr id="28" name="Google Shape;28;p5"/>
          <p:cNvPicPr preferRelativeResize="0"/>
          <p:nvPr/>
        </p:nvPicPr>
        <p:blipFill rotWithShape="1">
          <a:blip r:embed="rId2">
            <a:alphaModFix/>
          </a:blip>
          <a:srcRect/>
          <a:stretch/>
        </p:blipFill>
        <p:spPr>
          <a:xfrm>
            <a:off x="1588" y="1588"/>
            <a:ext cx="1588" cy="1588"/>
          </a:xfrm>
          <a:prstGeom prst="rect">
            <a:avLst/>
          </a:prstGeom>
          <a:noFill/>
          <a:ln>
            <a:noFill/>
          </a:ln>
        </p:spPr>
      </p:pic>
      <p:pic>
        <p:nvPicPr>
          <p:cNvPr id="29" name="Google Shape;29;p5"/>
          <p:cNvPicPr preferRelativeResize="0"/>
          <p:nvPr/>
        </p:nvPicPr>
        <p:blipFill rotWithShape="1">
          <a:blip r:embed="rId3">
            <a:alphaModFix/>
          </a:blip>
          <a:srcRect/>
          <a:stretch/>
        </p:blipFill>
        <p:spPr>
          <a:xfrm>
            <a:off x="766" y="1"/>
            <a:ext cx="9904468" cy="4759523"/>
          </a:xfrm>
          <a:prstGeom prst="rect">
            <a:avLst/>
          </a:prstGeom>
          <a:noFill/>
          <a:ln>
            <a:noFill/>
          </a:ln>
        </p:spPr>
      </p:pic>
      <p:sp>
        <p:nvSpPr>
          <p:cNvPr id="30" name="Google Shape;30;p5"/>
          <p:cNvSpPr txBox="1">
            <a:spLocks noGrp="1"/>
          </p:cNvSpPr>
          <p:nvPr>
            <p:ph type="title"/>
          </p:nvPr>
        </p:nvSpPr>
        <p:spPr>
          <a:xfrm>
            <a:off x="495300" y="4824250"/>
            <a:ext cx="8915400" cy="1143000"/>
          </a:xfrm>
          <a:prstGeom prst="rect">
            <a:avLst/>
          </a:prstGeom>
          <a:noFill/>
          <a:ln>
            <a:noFill/>
          </a:ln>
        </p:spPr>
        <p:txBody>
          <a:bodyPr spcFirstLastPara="1" wrap="square" lIns="91425" tIns="45700" rIns="91425" bIns="45700" anchor="t" anchorCtr="0"/>
          <a:lstStyle>
            <a:lvl1pPr marR="0" lvl="0" algn="l" rtl="0">
              <a:lnSpc>
                <a:spcPct val="90000"/>
              </a:lnSpc>
              <a:spcBef>
                <a:spcPts val="0"/>
              </a:spcBef>
              <a:spcAft>
                <a:spcPts val="0"/>
              </a:spcAft>
              <a:buClr>
                <a:schemeClr val="lt1"/>
              </a:buClr>
              <a:buSzPts val="3600"/>
              <a:buFont typeface="Arial"/>
              <a:buNone/>
              <a:defRPr sz="3600" b="0"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31" name="Google Shape;31;p5"/>
          <p:cNvSpPr txBox="1">
            <a:spLocks noGrp="1"/>
          </p:cNvSpPr>
          <p:nvPr>
            <p:ph type="subTitle" idx="1"/>
          </p:nvPr>
        </p:nvSpPr>
        <p:spPr>
          <a:xfrm>
            <a:off x="495300" y="6031975"/>
            <a:ext cx="8397935" cy="384595"/>
          </a:xfrm>
          <a:prstGeom prst="rect">
            <a:avLst/>
          </a:prstGeom>
          <a:noFill/>
          <a:ln>
            <a:noFill/>
          </a:ln>
        </p:spPr>
        <p:txBody>
          <a:bodyPr spcFirstLastPara="1" wrap="square" lIns="0" tIns="0" rIns="0" bIns="0" anchor="t" anchorCtr="0"/>
          <a:lstStyle>
            <a:lvl1pPr marR="0" lvl="0" algn="l" rtl="0">
              <a:lnSpc>
                <a:spcPct val="90000"/>
              </a:lnSpc>
              <a:spcBef>
                <a:spcPts val="1000"/>
              </a:spcBef>
              <a:spcAft>
                <a:spcPts val="0"/>
              </a:spcAft>
              <a:buClr>
                <a:schemeClr val="lt1"/>
              </a:buClr>
              <a:buSzPts val="1600"/>
              <a:buFont typeface="Arial"/>
              <a:buNone/>
              <a:defRPr sz="1600" b="0" i="1" u="none" strike="noStrike" cap="none">
                <a:solidFill>
                  <a:schemeClr val="lt1"/>
                </a:solidFill>
                <a:latin typeface="Arial"/>
                <a:ea typeface="Arial"/>
                <a:cs typeface="Arial"/>
                <a:sym typeface="Arial"/>
              </a:defRPr>
            </a:lvl1pPr>
            <a:lvl2pPr marR="0" lvl="1" algn="ctr" rtl="0">
              <a:lnSpc>
                <a:spcPct val="90000"/>
              </a:lnSpc>
              <a:spcBef>
                <a:spcPts val="500"/>
              </a:spcBef>
              <a:spcAft>
                <a:spcPts val="0"/>
              </a:spcAft>
              <a:buClr>
                <a:srgbClr val="888888"/>
              </a:buClr>
              <a:buSzPts val="2400"/>
              <a:buFont typeface="Arial"/>
              <a:buNone/>
              <a:defRPr sz="2400" b="0" i="0" u="none" strike="noStrike" cap="none">
                <a:solidFill>
                  <a:srgbClr val="888888"/>
                </a:solidFill>
                <a:latin typeface="Calibri"/>
                <a:ea typeface="Calibri"/>
                <a:cs typeface="Calibri"/>
                <a:sym typeface="Calibri"/>
              </a:defRPr>
            </a:lvl2pPr>
            <a:lvl3pPr marR="0" lvl="2" algn="ctr" rtl="0">
              <a:lnSpc>
                <a:spcPct val="90000"/>
              </a:lnSpc>
              <a:spcBef>
                <a:spcPts val="500"/>
              </a:spcBef>
              <a:spcAft>
                <a:spcPts val="0"/>
              </a:spcAft>
              <a:buClr>
                <a:srgbClr val="888888"/>
              </a:buClr>
              <a:buSzPts val="2000"/>
              <a:buFont typeface="Arial"/>
              <a:buNone/>
              <a:defRPr sz="2000" b="0" i="0" u="none" strike="noStrike" cap="none">
                <a:solidFill>
                  <a:srgbClr val="888888"/>
                </a:solidFill>
                <a:latin typeface="Calibri"/>
                <a:ea typeface="Calibri"/>
                <a:cs typeface="Calibri"/>
                <a:sym typeface="Calibri"/>
              </a:defRPr>
            </a:lvl3pPr>
            <a:lvl4pPr marR="0" lvl="3"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4pPr>
            <a:lvl5pPr marR="0" lvl="4"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5pPr>
            <a:lvl6pPr marR="0" lvl="5"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6pPr>
            <a:lvl7pPr marR="0" lvl="6"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7pPr>
            <a:lvl8pPr marR="0" lvl="7"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8pPr>
            <a:lvl9pPr marR="0" lvl="8"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9pPr>
          </a:lstStyle>
          <a:p>
            <a:endParaRPr/>
          </a:p>
        </p:txBody>
      </p:sp>
      <p:sp>
        <p:nvSpPr>
          <p:cNvPr id="32" name="Google Shape;32;p5"/>
          <p:cNvSpPr txBox="1">
            <a:spLocks noGrp="1"/>
          </p:cNvSpPr>
          <p:nvPr>
            <p:ph type="body" idx="2"/>
          </p:nvPr>
        </p:nvSpPr>
        <p:spPr>
          <a:xfrm>
            <a:off x="495300" y="6478666"/>
            <a:ext cx="8397831" cy="311885"/>
          </a:xfrm>
          <a:prstGeom prst="rect">
            <a:avLst/>
          </a:prstGeom>
          <a:noFill/>
          <a:ln>
            <a:noFill/>
          </a:ln>
        </p:spPr>
        <p:txBody>
          <a:bodyPr spcFirstLastPara="1" wrap="square" lIns="0" tIns="0" rIns="0" bIns="0" anchor="t" anchorCtr="0"/>
          <a:lstStyle>
            <a:lvl1pPr marL="457200" marR="0" lvl="0" indent="-228600" algn="l" rtl="0">
              <a:lnSpc>
                <a:spcPct val="90000"/>
              </a:lnSpc>
              <a:spcBef>
                <a:spcPts val="100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L="914400" marR="0" lvl="1"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2pPr>
            <a:lvl3pPr marL="1371600" marR="0" lvl="2"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34830"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prstClr val="white"/>
              </a:solidFill>
              <a:cs typeface="Arial" panose="020B0604020202020204" pitchFamily="34" charset="0"/>
              <a:sym typeface="Calibri" panose="020F0502020204030204" pitchFamily="34" charset="0"/>
            </a:endParaRPr>
          </a:p>
        </p:txBody>
      </p:sp>
      <p:sp>
        <p:nvSpPr>
          <p:cNvPr id="9"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
        <p:nvSpPr>
          <p:cNvPr id="10"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32012013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54"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srgbClr val="70AD47">
                  <a:lumMod val="50000"/>
                </a:srgbClr>
              </a:solidFill>
              <a:cs typeface="Arial" panose="020B0604020202020204" pitchFamily="34" charset="0"/>
              <a:sym typeface="Calibri" panose="020F0502020204030204" pitchFamily="34" charset="0"/>
            </a:endParaRPr>
          </a:p>
        </p:txBody>
      </p:sp>
      <p:sp>
        <p:nvSpPr>
          <p:cNvPr id="4" name="SmartArt Placeholder 26"/>
          <p:cNvSpPr>
            <a:spLocks noGrp="1"/>
          </p:cNvSpPr>
          <p:nvPr>
            <p:ph type="dgm" sz="quarter" idx="18" hasCustomPrompt="1"/>
          </p:nvPr>
        </p:nvSpPr>
        <p:spPr>
          <a:xfrm>
            <a:off x="1350818" y="922317"/>
            <a:ext cx="7204364" cy="4639235"/>
          </a:xfrm>
          <a:prstGeom prst="rect">
            <a:avLst/>
          </a:prstGeom>
          <a:ln w="9525">
            <a:solidFill>
              <a:schemeClr val="tx1"/>
            </a:solidFill>
          </a:ln>
        </p:spPr>
        <p:txBody>
          <a:bodyPr lIns="82058" tIns="41029" rIns="82058" bIns="41029"/>
          <a:lstStyle>
            <a:lvl1pPr>
              <a:defRPr>
                <a:solidFill>
                  <a:schemeClr val="bg2"/>
                </a:solidFill>
                <a:latin typeface="Arial" panose="020B0604020202020204" pitchFamily="34" charset="0"/>
                <a:cs typeface="Arial" panose="020B0604020202020204" pitchFamily="34" charset="0"/>
              </a:defRPr>
            </a:lvl1pPr>
          </a:lstStyle>
          <a:p>
            <a:r>
              <a:rPr lang="en-US" dirty="0"/>
              <a:t>`</a:t>
            </a:r>
          </a:p>
        </p:txBody>
      </p:sp>
      <p:cxnSp>
        <p:nvCxnSpPr>
          <p:cNvPr id="5" name="Straight Connector 4"/>
          <p:cNvCxnSpPr/>
          <p:nvPr userDrawn="1"/>
        </p:nvCxnSpPr>
        <p:spPr>
          <a:xfrm>
            <a:off x="4953000" y="922317"/>
            <a:ext cx="0" cy="463923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a:off x="1350818" y="3141080"/>
            <a:ext cx="720436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 Placeholder 42"/>
          <p:cNvSpPr>
            <a:spLocks noGrp="1"/>
          </p:cNvSpPr>
          <p:nvPr>
            <p:ph type="body" sz="quarter" idx="21" hasCustomPrompt="1"/>
          </p:nvPr>
        </p:nvSpPr>
        <p:spPr>
          <a:xfrm>
            <a:off x="1350821" y="989556"/>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0" name="Text Placeholder 42"/>
          <p:cNvSpPr>
            <a:spLocks noGrp="1"/>
          </p:cNvSpPr>
          <p:nvPr>
            <p:ph type="body" sz="quarter" idx="22" hasCustomPrompt="1"/>
          </p:nvPr>
        </p:nvSpPr>
        <p:spPr>
          <a:xfrm>
            <a:off x="4953004" y="989556"/>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1" name="Text Placeholder 42"/>
          <p:cNvSpPr>
            <a:spLocks noGrp="1"/>
          </p:cNvSpPr>
          <p:nvPr>
            <p:ph type="body" sz="quarter" idx="23" hasCustomPrompt="1"/>
          </p:nvPr>
        </p:nvSpPr>
        <p:spPr>
          <a:xfrm>
            <a:off x="1350821" y="3208318"/>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2" name="Text Placeholder 42"/>
          <p:cNvSpPr>
            <a:spLocks noGrp="1"/>
          </p:cNvSpPr>
          <p:nvPr>
            <p:ph type="body" sz="quarter" idx="24" hasCustomPrompt="1"/>
          </p:nvPr>
        </p:nvSpPr>
        <p:spPr>
          <a:xfrm>
            <a:off x="4953004" y="3208318"/>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3" name="Text Placeholder 42"/>
          <p:cNvSpPr>
            <a:spLocks noGrp="1"/>
          </p:cNvSpPr>
          <p:nvPr>
            <p:ph type="body" sz="quarter" idx="25" hasCustomPrompt="1"/>
          </p:nvPr>
        </p:nvSpPr>
        <p:spPr>
          <a:xfrm rot="16200000">
            <a:off x="-72049" y="1894916"/>
            <a:ext cx="2245379" cy="300182"/>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4" name="Text Placeholder 42"/>
          <p:cNvSpPr>
            <a:spLocks noGrp="1"/>
          </p:cNvSpPr>
          <p:nvPr>
            <p:ph type="body" sz="quarter" idx="26" hasCustomPrompt="1"/>
          </p:nvPr>
        </p:nvSpPr>
        <p:spPr>
          <a:xfrm rot="16200000">
            <a:off x="-125978" y="4234844"/>
            <a:ext cx="2353235" cy="300183"/>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5" name="Text Placeholder 42"/>
          <p:cNvSpPr>
            <a:spLocks noGrp="1"/>
          </p:cNvSpPr>
          <p:nvPr>
            <p:ph type="body" sz="quarter" idx="27" hasCustomPrompt="1"/>
          </p:nvPr>
        </p:nvSpPr>
        <p:spPr>
          <a:xfrm>
            <a:off x="1350821" y="5696027"/>
            <a:ext cx="3602182" cy="268941"/>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6" name="Text Placeholder 42"/>
          <p:cNvSpPr>
            <a:spLocks noGrp="1"/>
          </p:cNvSpPr>
          <p:nvPr>
            <p:ph type="body" sz="quarter" idx="28" hasCustomPrompt="1"/>
          </p:nvPr>
        </p:nvSpPr>
        <p:spPr>
          <a:xfrm>
            <a:off x="5028046" y="5696027"/>
            <a:ext cx="3527136" cy="268941"/>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7" name="Text Placeholder 51"/>
          <p:cNvSpPr>
            <a:spLocks noGrp="1"/>
          </p:cNvSpPr>
          <p:nvPr>
            <p:ph type="body" sz="quarter" idx="29" hasCustomPrompt="1"/>
          </p:nvPr>
        </p:nvSpPr>
        <p:spPr>
          <a:xfrm>
            <a:off x="1425867" y="1325727"/>
            <a:ext cx="3452090" cy="1748118"/>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dirty="0"/>
              <a:t>Click to edit text </a:t>
            </a:r>
          </a:p>
        </p:txBody>
      </p:sp>
      <p:sp>
        <p:nvSpPr>
          <p:cNvPr id="18" name="Text Placeholder 51"/>
          <p:cNvSpPr>
            <a:spLocks noGrp="1"/>
          </p:cNvSpPr>
          <p:nvPr>
            <p:ph type="body" sz="quarter" idx="30" hasCustomPrompt="1"/>
          </p:nvPr>
        </p:nvSpPr>
        <p:spPr>
          <a:xfrm>
            <a:off x="1425867" y="3544492"/>
            <a:ext cx="3452090" cy="1949824"/>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dirty="0"/>
              <a:t>Click to edit text </a:t>
            </a:r>
          </a:p>
        </p:txBody>
      </p:sp>
      <p:sp>
        <p:nvSpPr>
          <p:cNvPr id="19" name="Text Placeholder 51"/>
          <p:cNvSpPr>
            <a:spLocks noGrp="1"/>
          </p:cNvSpPr>
          <p:nvPr>
            <p:ph type="body" sz="quarter" idx="31" hasCustomPrompt="1"/>
          </p:nvPr>
        </p:nvSpPr>
        <p:spPr>
          <a:xfrm>
            <a:off x="5028049" y="3544492"/>
            <a:ext cx="3452090" cy="1949824"/>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dirty="0"/>
              <a:t>Click to edit text </a:t>
            </a:r>
          </a:p>
        </p:txBody>
      </p:sp>
      <p:sp>
        <p:nvSpPr>
          <p:cNvPr id="20" name="Text Placeholder 51"/>
          <p:cNvSpPr>
            <a:spLocks noGrp="1"/>
          </p:cNvSpPr>
          <p:nvPr>
            <p:ph type="body" sz="quarter" idx="32" hasCustomPrompt="1"/>
          </p:nvPr>
        </p:nvSpPr>
        <p:spPr>
          <a:xfrm>
            <a:off x="5028049" y="1325727"/>
            <a:ext cx="3452090" cy="1748118"/>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dirty="0"/>
              <a:t>Click to edit text </a:t>
            </a:r>
          </a:p>
        </p:txBody>
      </p:sp>
      <p:sp>
        <p:nvSpPr>
          <p:cNvPr id="21"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
        <p:nvSpPr>
          <p:cNvPr id="23"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390882303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8"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srgbClr val="70AD47">
                  <a:lumMod val="50000"/>
                </a:srgbClr>
              </a:solidFill>
              <a:cs typeface="Arial" panose="020B0604020202020204" pitchFamily="34" charset="0"/>
              <a:sym typeface="Calibri" panose="020F0502020204030204" pitchFamily="34" charset="0"/>
            </a:endParaRPr>
          </a:p>
        </p:txBody>
      </p:sp>
      <p:sp>
        <p:nvSpPr>
          <p:cNvPr id="4" name="Text Placeholder 14"/>
          <p:cNvSpPr>
            <a:spLocks noGrp="1"/>
          </p:cNvSpPr>
          <p:nvPr>
            <p:ph type="body" sz="quarter" idx="35" hasCustomPrompt="1"/>
          </p:nvPr>
        </p:nvSpPr>
        <p:spPr>
          <a:xfrm>
            <a:off x="450326" y="1008557"/>
            <a:ext cx="4319158" cy="460302"/>
          </a:xfrm>
          <a:prstGeom prst="rect">
            <a:avLst/>
          </a:prstGeom>
          <a:solidFill>
            <a:srgbClr val="3F5F1F"/>
          </a:solidFill>
        </p:spPr>
        <p:txBody>
          <a:bodyPr lIns="0" tIns="0" rIns="0" bIns="0" anchor="ctr"/>
          <a:lstStyle>
            <a:lvl1pPr marL="0" indent="0" algn="ctr">
              <a:buNone/>
              <a:defRPr sz="1600" b="1" baseline="0">
                <a:solidFill>
                  <a:schemeClr val="bg1"/>
                </a:solidFill>
                <a:latin typeface="Arial" panose="020B0604020202020204" pitchFamily="34" charset="0"/>
                <a:cs typeface="Arial" panose="020B0604020202020204" pitchFamily="34" charset="0"/>
              </a:defRPr>
            </a:lvl1pPr>
          </a:lstStyle>
          <a:p>
            <a:pPr lvl="0"/>
            <a:r>
              <a:rPr lang="en-US" dirty="0"/>
              <a:t>Click to edit Header text</a:t>
            </a:r>
          </a:p>
        </p:txBody>
      </p:sp>
      <p:cxnSp>
        <p:nvCxnSpPr>
          <p:cNvPr id="5" name="Straight Connector 4"/>
          <p:cNvCxnSpPr/>
          <p:nvPr userDrawn="1"/>
        </p:nvCxnSpPr>
        <p:spPr>
          <a:xfrm>
            <a:off x="450322" y="1549540"/>
            <a:ext cx="43085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 Placeholder 9"/>
          <p:cNvSpPr>
            <a:spLocks noGrp="1"/>
          </p:cNvSpPr>
          <p:nvPr>
            <p:ph type="body" sz="quarter" idx="10"/>
          </p:nvPr>
        </p:nvSpPr>
        <p:spPr>
          <a:xfrm>
            <a:off x="450326" y="1644574"/>
            <a:ext cx="4319158" cy="4222236"/>
          </a:xfrm>
          <a:prstGeom prst="rect">
            <a:avLst/>
          </a:prstGeom>
        </p:spPr>
        <p:txBody>
          <a:bodyPr lIns="0" tIns="0" rIns="0" bIns="0"/>
          <a:lstStyle>
            <a:lvl1pPr marL="168274" indent="-168274">
              <a:buFont typeface="Arial" panose="020B0604020202020204" pitchFamily="34" charset="0"/>
              <a:buChar char="•"/>
              <a:defRPr sz="1400">
                <a:latin typeface="Arial" panose="020B0604020202020204" pitchFamily="34" charset="0"/>
                <a:cs typeface="Arial" panose="020B0604020202020204" pitchFamily="34" charset="0"/>
              </a:defRPr>
            </a:lvl1pPr>
            <a:lvl2pPr marL="320927" indent="-161195">
              <a:buFont typeface="Wingdings" panose="05000000000000000000" pitchFamily="2" charset="2"/>
              <a:buChar char="ü"/>
              <a:defRPr sz="1200">
                <a:latin typeface="Arial" panose="020B0604020202020204" pitchFamily="34" charset="0"/>
                <a:cs typeface="Arial" panose="020B0604020202020204" pitchFamily="34" charset="0"/>
              </a:defRPr>
            </a:lvl2pPr>
            <a:lvl3pPr marL="470398" indent="-149473">
              <a:buFont typeface="Courier New" panose="02070309020205020404" pitchFamily="49" charset="0"/>
              <a:buChar char="o"/>
              <a:defRPr sz="1200">
                <a:latin typeface="Arial" panose="020B0604020202020204" pitchFamily="34" charset="0"/>
                <a:cs typeface="Arial" panose="020B0604020202020204" pitchFamily="34" charset="0"/>
              </a:defRPr>
            </a:lvl3pPr>
            <a:lvl4pPr marL="630127" indent="-159730">
              <a:buFont typeface="Wingdings" panose="05000000000000000000" pitchFamily="2" charset="2"/>
              <a:buChar char="Ø"/>
              <a:defRPr sz="1200">
                <a:latin typeface="Arial" panose="020B0604020202020204" pitchFamily="34" charset="0"/>
                <a:cs typeface="Arial" panose="020B0604020202020204" pitchFamily="34"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14"/>
          <p:cNvSpPr>
            <a:spLocks noGrp="1"/>
          </p:cNvSpPr>
          <p:nvPr>
            <p:ph type="body" sz="quarter" idx="38" hasCustomPrompt="1"/>
          </p:nvPr>
        </p:nvSpPr>
        <p:spPr>
          <a:xfrm>
            <a:off x="5151120" y="1009149"/>
            <a:ext cx="4304296" cy="460302"/>
          </a:xfrm>
          <a:prstGeom prst="rect">
            <a:avLst/>
          </a:prstGeom>
          <a:solidFill>
            <a:srgbClr val="3F5F1F"/>
          </a:solidFill>
        </p:spPr>
        <p:txBody>
          <a:bodyPr lIns="0" tIns="0" rIns="0" bIns="0" anchor="ctr"/>
          <a:lstStyle>
            <a:lvl1pPr marL="0" indent="0" algn="ctr">
              <a:buNone/>
              <a:defRPr sz="1600" b="1" baseline="0">
                <a:solidFill>
                  <a:schemeClr val="bg1"/>
                </a:solidFill>
                <a:latin typeface="Arial" panose="020B0604020202020204" pitchFamily="34" charset="0"/>
                <a:cs typeface="Arial" panose="020B0604020202020204" pitchFamily="34" charset="0"/>
              </a:defRPr>
            </a:lvl1pPr>
          </a:lstStyle>
          <a:p>
            <a:pPr lvl="0"/>
            <a:r>
              <a:rPr lang="en-US" dirty="0"/>
              <a:t>Click to edit Header text</a:t>
            </a:r>
          </a:p>
        </p:txBody>
      </p:sp>
      <p:cxnSp>
        <p:nvCxnSpPr>
          <p:cNvPr id="10" name="Straight Connector 9"/>
          <p:cNvCxnSpPr/>
          <p:nvPr userDrawn="1"/>
        </p:nvCxnSpPr>
        <p:spPr>
          <a:xfrm>
            <a:off x="5151120" y="1550132"/>
            <a:ext cx="430429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9"/>
          <p:cNvSpPr>
            <a:spLocks noGrp="1"/>
          </p:cNvSpPr>
          <p:nvPr>
            <p:ph type="body" sz="quarter" idx="39"/>
          </p:nvPr>
        </p:nvSpPr>
        <p:spPr>
          <a:xfrm>
            <a:off x="5151120" y="1645165"/>
            <a:ext cx="4304296" cy="4222236"/>
          </a:xfrm>
          <a:prstGeom prst="rect">
            <a:avLst/>
          </a:prstGeom>
        </p:spPr>
        <p:txBody>
          <a:bodyPr lIns="0" tIns="0" rIns="0" bIns="0"/>
          <a:lstStyle>
            <a:lvl1pPr marL="168274" indent="-168274">
              <a:buFont typeface="Arial" panose="020B0604020202020204" pitchFamily="34" charset="0"/>
              <a:buChar char="•"/>
              <a:defRPr sz="1292">
                <a:latin typeface="Arial" panose="020B0604020202020204" pitchFamily="34" charset="0"/>
                <a:cs typeface="Arial" panose="020B0604020202020204" pitchFamily="34" charset="0"/>
              </a:defRPr>
            </a:lvl1pPr>
            <a:lvl2pPr marL="320927" indent="-161195">
              <a:buFont typeface="Wingdings" panose="05000000000000000000" pitchFamily="2" charset="2"/>
              <a:buChar char="ü"/>
              <a:defRPr sz="1108">
                <a:latin typeface="Arial" panose="020B0604020202020204" pitchFamily="34" charset="0"/>
                <a:cs typeface="Arial" panose="020B0604020202020204" pitchFamily="34" charset="0"/>
              </a:defRPr>
            </a:lvl2pPr>
            <a:lvl3pPr marL="470398" indent="-149473">
              <a:buFont typeface="Courier New" panose="02070309020205020404" pitchFamily="49" charset="0"/>
              <a:buChar char="o"/>
              <a:defRPr sz="1108">
                <a:latin typeface="Arial" panose="020B0604020202020204" pitchFamily="34" charset="0"/>
                <a:cs typeface="Arial" panose="020B0604020202020204" pitchFamily="34" charset="0"/>
              </a:defRPr>
            </a:lvl3pPr>
            <a:lvl4pPr marL="630127" indent="-159730">
              <a:buFont typeface="Wingdings" panose="05000000000000000000" pitchFamily="2" charset="2"/>
              <a:buChar char="Ø"/>
              <a:defRPr sz="1108">
                <a:latin typeface="Arial" panose="020B0604020202020204" pitchFamily="34" charset="0"/>
                <a:cs typeface="Arial" panose="020B0604020202020204" pitchFamily="34"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
        <p:nvSpPr>
          <p:cNvPr id="13"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31073182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02"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srgbClr val="70AD47">
                  <a:lumMod val="50000"/>
                </a:srgbClr>
              </a:solidFill>
              <a:cs typeface="Arial" panose="020B0604020202020204" pitchFamily="34" charset="0"/>
              <a:sym typeface="Calibri" panose="020F0502020204030204" pitchFamily="34" charset="0"/>
            </a:endParaRPr>
          </a:p>
        </p:txBody>
      </p:sp>
      <p:sp>
        <p:nvSpPr>
          <p:cNvPr id="9"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
        <p:nvSpPr>
          <p:cNvPr id="4" name="Content Placeholder 2"/>
          <p:cNvSpPr>
            <a:spLocks noGrp="1"/>
          </p:cNvSpPr>
          <p:nvPr>
            <p:ph idx="1" hasCustomPrompt="1"/>
          </p:nvPr>
        </p:nvSpPr>
        <p:spPr>
          <a:xfrm>
            <a:off x="450588" y="1277003"/>
            <a:ext cx="3602182" cy="201706"/>
          </a:xfrm>
          <a:prstGeom prst="rect">
            <a:avLst/>
          </a:prstGeom>
        </p:spPr>
        <p:txBody>
          <a:bodyPr lIns="0" tIns="0" rIns="0" bIns="0"/>
          <a:lstStyle>
            <a:lvl1pPr marL="0" indent="0">
              <a:buFont typeface="Arial" pitchFamily="34" charset="0"/>
              <a:buNone/>
              <a:defRPr sz="1200">
                <a:latin typeface="Arial" panose="020B0604020202020204" pitchFamily="34" charset="0"/>
                <a:cs typeface="Arial" panose="020B0604020202020204" pitchFamily="34" charset="0"/>
              </a:defRPr>
            </a:lvl1pPr>
            <a:lvl2pPr marL="708819" indent="-284052">
              <a:defRPr sz="1108"/>
            </a:lvl2pPr>
            <a:lvl3pPr>
              <a:buFont typeface="Courier New" pitchFamily="49" charset="0"/>
              <a:buChar char="o"/>
              <a:defRPr sz="1108"/>
            </a:lvl3pPr>
            <a:lvl4pPr>
              <a:defRPr sz="1108"/>
            </a:lvl4pPr>
          </a:lstStyle>
          <a:p>
            <a:pPr lvl="0"/>
            <a:r>
              <a:rPr lang="en-US" dirty="0"/>
              <a:t>Click to edit Master Graph units</a:t>
            </a:r>
          </a:p>
        </p:txBody>
      </p:sp>
      <p:sp>
        <p:nvSpPr>
          <p:cNvPr id="5" name="Text Placeholder 10"/>
          <p:cNvSpPr>
            <a:spLocks noGrp="1"/>
          </p:cNvSpPr>
          <p:nvPr>
            <p:ph type="body" sz="quarter" idx="21" hasCustomPrompt="1"/>
          </p:nvPr>
        </p:nvSpPr>
        <p:spPr>
          <a:xfrm>
            <a:off x="450588" y="1008063"/>
            <a:ext cx="3602182" cy="201706"/>
          </a:xfrm>
          <a:prstGeom prst="rect">
            <a:avLst/>
          </a:prstGeom>
        </p:spPr>
        <p:txBody>
          <a:bodyPr lIns="0" tIns="0" rIns="0" bIns="0"/>
          <a:lstStyle>
            <a:lvl1pPr marL="0" indent="0">
              <a:buNone/>
              <a:defRPr sz="1400" b="1" i="0" baseline="0">
                <a:solidFill>
                  <a:schemeClr val="tx1"/>
                </a:solidFill>
                <a:latin typeface="Arial" panose="020B0604020202020204" pitchFamily="34" charset="0"/>
                <a:cs typeface="Arial" panose="020B0604020202020204" pitchFamily="34" charset="0"/>
              </a:defRPr>
            </a:lvl1pPr>
          </a:lstStyle>
          <a:p>
            <a:pPr lvl="0"/>
            <a:r>
              <a:rPr lang="en-US" dirty="0"/>
              <a:t>Click to insert Master Graph title</a:t>
            </a:r>
          </a:p>
        </p:txBody>
      </p:sp>
      <p:sp>
        <p:nvSpPr>
          <p:cNvPr id="6" name="SmartArt Placeholder 12"/>
          <p:cNvSpPr>
            <a:spLocks noGrp="1"/>
          </p:cNvSpPr>
          <p:nvPr>
            <p:ph type="dgm" sz="quarter" idx="20" hasCustomPrompt="1"/>
          </p:nvPr>
        </p:nvSpPr>
        <p:spPr>
          <a:xfrm rot="5400000">
            <a:off x="4022002" y="3302283"/>
            <a:ext cx="3577155" cy="360462"/>
          </a:xfrm>
          <a:prstGeom prst="triangle">
            <a:avLst>
              <a:gd name="adj" fmla="val 50232"/>
            </a:avLst>
          </a:prstGeom>
          <a:solidFill>
            <a:srgbClr val="3F5F1F"/>
          </a:solidFill>
        </p:spPr>
        <p:txBody>
          <a:bodyPr lIns="82058" tIns="41029" rIns="82058" bIns="41029"/>
          <a:lstStyle>
            <a:lvl1pPr>
              <a:defRPr lang="en-US">
                <a:solidFill>
                  <a:schemeClr val="tx2"/>
                </a:solidFill>
                <a:latin typeface="Arial" panose="020B0604020202020204" pitchFamily="34" charset="0"/>
                <a:cs typeface="Arial" panose="020B0604020202020204" pitchFamily="34" charset="0"/>
              </a:defRPr>
            </a:lvl1pPr>
          </a:lstStyle>
          <a:p>
            <a:r>
              <a:rPr lang="en-US" dirty="0"/>
              <a:t>`</a:t>
            </a:r>
          </a:p>
        </p:txBody>
      </p:sp>
      <p:sp>
        <p:nvSpPr>
          <p:cNvPr id="7" name="Text Placeholder 5"/>
          <p:cNvSpPr>
            <a:spLocks noGrp="1"/>
          </p:cNvSpPr>
          <p:nvPr>
            <p:ph type="body" sz="quarter" idx="29"/>
          </p:nvPr>
        </p:nvSpPr>
        <p:spPr>
          <a:xfrm>
            <a:off x="6138356" y="1008064"/>
            <a:ext cx="3317841" cy="4676161"/>
          </a:xfrm>
          <a:prstGeom prst="rect">
            <a:avLst/>
          </a:prstGeom>
        </p:spPr>
        <p:txBody>
          <a:bodyPr lIns="0" tIns="0" rIns="0" bIns="0" numCol="1"/>
          <a:lstStyle>
            <a:lvl1pPr marL="168274" indent="-168274" algn="just">
              <a:buFont typeface="Arial" pitchFamily="34" charset="0"/>
              <a:buChar char="•"/>
              <a:tabLst>
                <a:tab pos="3595378" algn="l"/>
              </a:tabLst>
              <a:defRPr sz="1400" baseline="0">
                <a:latin typeface="Arial" panose="020B0604020202020204" pitchFamily="34" charset="0"/>
                <a:cs typeface="Arial" panose="020B0604020202020204" pitchFamily="34" charset="0"/>
              </a:defRPr>
            </a:lvl1pPr>
            <a:lvl2pPr algn="just">
              <a:tabLst>
                <a:tab pos="3595378" algn="l"/>
              </a:tabLst>
              <a:defRPr sz="1108"/>
            </a:lvl2pPr>
            <a:lvl3pPr algn="just">
              <a:buFont typeface="Courier New" pitchFamily="49" charset="0"/>
              <a:buChar char="o"/>
              <a:tabLst>
                <a:tab pos="3595378" algn="l"/>
              </a:tabLst>
              <a:defRPr sz="1108"/>
            </a:lvl3pPr>
            <a:lvl4pPr algn="just">
              <a:tabLst>
                <a:tab pos="3595378" algn="l"/>
              </a:tabLst>
              <a:defRPr sz="1108"/>
            </a:lvl4pPr>
          </a:lstStyle>
          <a:p>
            <a:pPr lvl="0"/>
            <a:r>
              <a:rPr lang="en-US" dirty="0"/>
              <a:t>Click to edit Master text</a:t>
            </a:r>
          </a:p>
        </p:txBody>
      </p:sp>
      <p:sp>
        <p:nvSpPr>
          <p:cNvPr id="10"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414340037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7_Title Slide">
  <p:cSld name="8_Title Slide">
    <p:spTree>
      <p:nvGrpSpPr>
        <p:cNvPr id="1" name="Shape 84"/>
        <p:cNvGrpSpPr/>
        <p:nvPr/>
      </p:nvGrpSpPr>
      <p:grpSpPr>
        <a:xfrm>
          <a:off x="0" y="0"/>
          <a:ext cx="0" cy="0"/>
          <a:chOff x="0" y="0"/>
          <a:chExt cx="0" cy="0"/>
        </a:xfrm>
      </p:grpSpPr>
      <p:pic>
        <p:nvPicPr>
          <p:cNvPr id="85" name="Google Shape;85;p15"/>
          <p:cNvPicPr preferRelativeResize="0"/>
          <p:nvPr/>
        </p:nvPicPr>
        <p:blipFill rotWithShape="1">
          <a:blip r:embed="rId2">
            <a:alphaModFix/>
          </a:blip>
          <a:srcRect/>
          <a:stretch/>
        </p:blipFill>
        <p:spPr>
          <a:xfrm>
            <a:off x="1588" y="1588"/>
            <a:ext cx="1588" cy="1588"/>
          </a:xfrm>
          <a:prstGeom prst="rect">
            <a:avLst/>
          </a:prstGeom>
          <a:noFill/>
          <a:ln>
            <a:noFill/>
          </a:ln>
        </p:spPr>
      </p:pic>
      <p:sp>
        <p:nvSpPr>
          <p:cNvPr id="86" name="Google Shape;86;p15"/>
          <p:cNvSpPr txBox="1">
            <a:spLocks noGrp="1"/>
          </p:cNvSpPr>
          <p:nvPr>
            <p:ph type="body" idx="1"/>
          </p:nvPr>
        </p:nvSpPr>
        <p:spPr>
          <a:xfrm>
            <a:off x="450588" y="6055245"/>
            <a:ext cx="7702813" cy="386679"/>
          </a:xfrm>
          <a:prstGeom prst="rect">
            <a:avLst/>
          </a:prstGeom>
          <a:noFill/>
          <a:ln>
            <a:noFill/>
          </a:ln>
        </p:spPr>
        <p:txBody>
          <a:bodyPr spcFirstLastPara="1" wrap="square" lIns="0" tIns="0" rIns="0" bIns="0" anchor="b" anchorCtr="0"/>
          <a:lstStyle>
            <a:lvl1pPr marL="457200" marR="0" lvl="0" indent="-228600" algn="l" rtl="0">
              <a:lnSpc>
                <a:spcPct val="90000"/>
              </a:lnSpc>
              <a:spcBef>
                <a:spcPts val="1000"/>
              </a:spcBef>
              <a:spcAft>
                <a:spcPts val="0"/>
              </a:spcAft>
              <a:buClr>
                <a:schemeClr val="dk1"/>
              </a:buClr>
              <a:buSzPts val="923"/>
              <a:buFont typeface="Arial"/>
              <a:buNone/>
              <a:defRPr sz="922"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7" name="Google Shape;87;p15"/>
          <p:cNvSpPr txBox="1">
            <a:spLocks noGrp="1"/>
          </p:cNvSpPr>
          <p:nvPr>
            <p:ph type="body" idx="2"/>
          </p:nvPr>
        </p:nvSpPr>
        <p:spPr>
          <a:xfrm>
            <a:off x="450588" y="1277003"/>
            <a:ext cx="3602182" cy="201706"/>
          </a:xfrm>
          <a:prstGeom prst="rect">
            <a:avLst/>
          </a:prstGeom>
          <a:noFill/>
          <a:ln>
            <a:noFill/>
          </a:ln>
        </p:spPr>
        <p:txBody>
          <a:bodyPr spcFirstLastPara="1" wrap="square" lIns="0" tIns="0" rIns="0" bIns="0" anchor="t" anchorCtr="0"/>
          <a:lstStyle>
            <a:lvl1pPr marL="457200" marR="0" lvl="0" indent="-228600" algn="l" rtl="0">
              <a:lnSpc>
                <a:spcPct val="90000"/>
              </a:lnSpc>
              <a:spcBef>
                <a:spcPts val="10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1pPr>
            <a:lvl2pPr marL="914400" marR="0" lvl="1" indent="-298958" algn="l" rtl="0">
              <a:lnSpc>
                <a:spcPct val="90000"/>
              </a:lnSpc>
              <a:spcBef>
                <a:spcPts val="500"/>
              </a:spcBef>
              <a:spcAft>
                <a:spcPts val="0"/>
              </a:spcAft>
              <a:buClr>
                <a:schemeClr val="dk1"/>
              </a:buClr>
              <a:buSzPts val="1108"/>
              <a:buFont typeface="Arial"/>
              <a:buChar char="•"/>
              <a:defRPr sz="1108" b="0" i="0" u="none" strike="noStrike" cap="none">
                <a:solidFill>
                  <a:schemeClr val="dk1"/>
                </a:solidFill>
                <a:latin typeface="Calibri"/>
                <a:ea typeface="Calibri"/>
                <a:cs typeface="Calibri"/>
                <a:sym typeface="Calibri"/>
              </a:defRPr>
            </a:lvl2pPr>
            <a:lvl3pPr marL="1371600" marR="0" lvl="2" indent="-298958" algn="l" rtl="0">
              <a:lnSpc>
                <a:spcPct val="90000"/>
              </a:lnSpc>
              <a:spcBef>
                <a:spcPts val="500"/>
              </a:spcBef>
              <a:spcAft>
                <a:spcPts val="0"/>
              </a:spcAft>
              <a:buClr>
                <a:schemeClr val="dk1"/>
              </a:buClr>
              <a:buSzPts val="1108"/>
              <a:buFont typeface="Courier New"/>
              <a:buChar char="o"/>
              <a:defRPr sz="1108" b="0" i="0" u="none" strike="noStrike" cap="none">
                <a:solidFill>
                  <a:schemeClr val="dk1"/>
                </a:solidFill>
                <a:latin typeface="Calibri"/>
                <a:ea typeface="Calibri"/>
                <a:cs typeface="Calibri"/>
                <a:sym typeface="Calibri"/>
              </a:defRPr>
            </a:lvl3pPr>
            <a:lvl4pPr marL="1828800" marR="0" lvl="3" indent="-298958" algn="l" rtl="0">
              <a:lnSpc>
                <a:spcPct val="90000"/>
              </a:lnSpc>
              <a:spcBef>
                <a:spcPts val="500"/>
              </a:spcBef>
              <a:spcAft>
                <a:spcPts val="0"/>
              </a:spcAft>
              <a:buClr>
                <a:schemeClr val="dk1"/>
              </a:buClr>
              <a:buSzPts val="1108"/>
              <a:buFont typeface="Arial"/>
              <a:buChar char="•"/>
              <a:defRPr sz="1108"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8" name="Google Shape;88;p15"/>
          <p:cNvSpPr txBox="1">
            <a:spLocks noGrp="1"/>
          </p:cNvSpPr>
          <p:nvPr>
            <p:ph type="body" idx="3"/>
          </p:nvPr>
        </p:nvSpPr>
        <p:spPr>
          <a:xfrm>
            <a:off x="450588" y="1008063"/>
            <a:ext cx="3602182" cy="201706"/>
          </a:xfrm>
          <a:prstGeom prst="rect">
            <a:avLst/>
          </a:prstGeom>
          <a:noFill/>
          <a:ln>
            <a:noFill/>
          </a:ln>
        </p:spPr>
        <p:txBody>
          <a:bodyPr spcFirstLastPara="1" wrap="square" lIns="0" tIns="0" rIns="0" bIns="0" anchor="t" anchorCtr="0"/>
          <a:lstStyle>
            <a:lvl1pPr marL="457200" marR="0" lvl="0" indent="-228600" algn="l" rtl="0">
              <a:lnSpc>
                <a:spcPct val="90000"/>
              </a:lnSpc>
              <a:spcBef>
                <a:spcPts val="1000"/>
              </a:spcBef>
              <a:spcAft>
                <a:spcPts val="0"/>
              </a:spcAft>
              <a:buClr>
                <a:schemeClr val="dk1"/>
              </a:buClr>
              <a:buSzPts val="1400"/>
              <a:buFont typeface="Arial"/>
              <a:buNone/>
              <a:defRPr sz="1400" b="1"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9" name="Google Shape;89;p15"/>
          <p:cNvSpPr>
            <a:spLocks noGrp="1"/>
          </p:cNvSpPr>
          <p:nvPr>
            <p:ph type="dgm" idx="4"/>
          </p:nvPr>
        </p:nvSpPr>
        <p:spPr>
          <a:xfrm rot="5400000">
            <a:off x="4022002" y="3302283"/>
            <a:ext cx="3577155" cy="360462"/>
          </a:xfrm>
          <a:prstGeom prst="triangle">
            <a:avLst>
              <a:gd name="adj" fmla="val 50232"/>
            </a:avLst>
          </a:prstGeom>
          <a:solidFill>
            <a:srgbClr val="3F5F1F"/>
          </a:solidFill>
          <a:ln>
            <a:noFill/>
          </a:ln>
        </p:spPr>
        <p:txBody>
          <a:bodyPr spcFirstLastPara="1" wrap="square" lIns="82050" tIns="41025" rIns="82050" bIns="41025" anchor="t" anchorCtr="0"/>
          <a:lstStyle>
            <a:lvl1pPr marR="0" lvl="0" algn="l" rtl="0">
              <a:lnSpc>
                <a:spcPct val="90000"/>
              </a:lnSpc>
              <a:spcBef>
                <a:spcPts val="1000"/>
              </a:spcBef>
              <a:spcAft>
                <a:spcPts val="0"/>
              </a:spcAft>
              <a:buClr>
                <a:schemeClr val="dk2"/>
              </a:buClr>
              <a:buSzPts val="2800"/>
              <a:buFont typeface="Arial"/>
              <a:buChar char="•"/>
              <a:defRPr sz="2800" b="0" i="0" u="none" strike="noStrike" cap="none">
                <a:solidFill>
                  <a:schemeClr val="dk2"/>
                </a:solidFill>
                <a:latin typeface="Arial"/>
                <a:ea typeface="Arial"/>
                <a:cs typeface="Arial"/>
                <a:sym typeface="Arial"/>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90" name="Google Shape;90;p15"/>
          <p:cNvSpPr txBox="1">
            <a:spLocks noGrp="1"/>
          </p:cNvSpPr>
          <p:nvPr>
            <p:ph type="body" idx="5"/>
          </p:nvPr>
        </p:nvSpPr>
        <p:spPr>
          <a:xfrm>
            <a:off x="6138356" y="1008064"/>
            <a:ext cx="3317841" cy="4676161"/>
          </a:xfrm>
          <a:prstGeom prst="rect">
            <a:avLst/>
          </a:prstGeom>
          <a:noFill/>
          <a:ln>
            <a:noFill/>
          </a:ln>
        </p:spPr>
        <p:txBody>
          <a:bodyPr spcFirstLastPara="1" wrap="square" lIns="0" tIns="0" rIns="0" bIns="0" anchor="t" anchorCtr="0"/>
          <a:lstStyle>
            <a:lvl1pPr marL="457200" marR="0" lvl="0" indent="-317500" algn="just" rtl="0">
              <a:lnSpc>
                <a:spcPct val="90000"/>
              </a:lnSpc>
              <a:spcBef>
                <a:spcPts val="10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1pPr>
            <a:lvl2pPr marL="914400" marR="0" lvl="1" indent="-298958" algn="just" rtl="0">
              <a:lnSpc>
                <a:spcPct val="90000"/>
              </a:lnSpc>
              <a:spcBef>
                <a:spcPts val="500"/>
              </a:spcBef>
              <a:spcAft>
                <a:spcPts val="0"/>
              </a:spcAft>
              <a:buClr>
                <a:schemeClr val="dk1"/>
              </a:buClr>
              <a:buSzPts val="1108"/>
              <a:buFont typeface="Arial"/>
              <a:buChar char="•"/>
              <a:defRPr sz="1108" b="0" i="0" u="none" strike="noStrike" cap="none">
                <a:solidFill>
                  <a:schemeClr val="dk1"/>
                </a:solidFill>
                <a:latin typeface="Calibri"/>
                <a:ea typeface="Calibri"/>
                <a:cs typeface="Calibri"/>
                <a:sym typeface="Calibri"/>
              </a:defRPr>
            </a:lvl2pPr>
            <a:lvl3pPr marL="1371600" marR="0" lvl="2" indent="-298958" algn="just" rtl="0">
              <a:lnSpc>
                <a:spcPct val="90000"/>
              </a:lnSpc>
              <a:spcBef>
                <a:spcPts val="500"/>
              </a:spcBef>
              <a:spcAft>
                <a:spcPts val="0"/>
              </a:spcAft>
              <a:buClr>
                <a:schemeClr val="dk1"/>
              </a:buClr>
              <a:buSzPts val="1108"/>
              <a:buFont typeface="Courier New"/>
              <a:buChar char="o"/>
              <a:defRPr sz="1108" b="0" i="0" u="none" strike="noStrike" cap="none">
                <a:solidFill>
                  <a:schemeClr val="dk1"/>
                </a:solidFill>
                <a:latin typeface="Calibri"/>
                <a:ea typeface="Calibri"/>
                <a:cs typeface="Calibri"/>
                <a:sym typeface="Calibri"/>
              </a:defRPr>
            </a:lvl3pPr>
            <a:lvl4pPr marL="1828800" marR="0" lvl="3" indent="-298958" algn="just" rtl="0">
              <a:lnSpc>
                <a:spcPct val="90000"/>
              </a:lnSpc>
              <a:spcBef>
                <a:spcPts val="500"/>
              </a:spcBef>
              <a:spcAft>
                <a:spcPts val="0"/>
              </a:spcAft>
              <a:buClr>
                <a:schemeClr val="dk1"/>
              </a:buClr>
              <a:buSzPts val="1108"/>
              <a:buFont typeface="Arial"/>
              <a:buChar char="•"/>
              <a:defRPr sz="1108"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1" name="Google Shape;91;p15"/>
          <p:cNvSpPr txBox="1">
            <a:spLocks noGrp="1"/>
          </p:cNvSpPr>
          <p:nvPr>
            <p:ph type="title"/>
          </p:nvPr>
        </p:nvSpPr>
        <p:spPr>
          <a:xfrm>
            <a:off x="450741" y="134054"/>
            <a:ext cx="7245459" cy="582389"/>
          </a:xfrm>
          <a:prstGeom prst="rect">
            <a:avLst/>
          </a:prstGeom>
          <a:noFill/>
          <a:ln>
            <a:noFill/>
          </a:ln>
        </p:spPr>
        <p:txBody>
          <a:bodyPr spcFirstLastPara="1" wrap="square" lIns="0" tIns="0" rIns="0" bIns="0" anchor="b" anchorCtr="0"/>
          <a:lstStyle>
            <a:lvl1pPr marR="0" lvl="0" algn="l" rtl="0">
              <a:lnSpc>
                <a:spcPct val="90000"/>
              </a:lnSpc>
              <a:spcBef>
                <a:spcPts val="0"/>
              </a:spcBef>
              <a:spcAft>
                <a:spcPts val="0"/>
              </a:spcAft>
              <a:buClr>
                <a:schemeClr val="dk1"/>
              </a:buClr>
              <a:buSzPts val="2200"/>
              <a:buFont typeface="Arial"/>
              <a:buNone/>
              <a:defRPr sz="22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extLst>
      <p:ext uri="{BB962C8B-B14F-4D97-AF65-F5344CB8AC3E}">
        <p14:creationId xmlns:p14="http://schemas.microsoft.com/office/powerpoint/2010/main" val="427730494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3_Text">
  <p:cSld name="6_Text">
    <p:spTree>
      <p:nvGrpSpPr>
        <p:cNvPr id="1" name="Shape 69"/>
        <p:cNvGrpSpPr/>
        <p:nvPr/>
      </p:nvGrpSpPr>
      <p:grpSpPr>
        <a:xfrm>
          <a:off x="0" y="0"/>
          <a:ext cx="0" cy="0"/>
          <a:chOff x="0" y="0"/>
          <a:chExt cx="0" cy="0"/>
        </a:xfrm>
      </p:grpSpPr>
      <p:pic>
        <p:nvPicPr>
          <p:cNvPr id="70" name="Google Shape;70;p11"/>
          <p:cNvPicPr preferRelativeResize="0"/>
          <p:nvPr/>
        </p:nvPicPr>
        <p:blipFill rotWithShape="1">
          <a:blip r:embed="rId2">
            <a:alphaModFix/>
          </a:blip>
          <a:srcRect/>
          <a:stretch/>
        </p:blipFill>
        <p:spPr>
          <a:xfrm>
            <a:off x="1" y="3"/>
            <a:ext cx="156345" cy="140074"/>
          </a:xfrm>
          <a:prstGeom prst="rect">
            <a:avLst/>
          </a:prstGeom>
          <a:noFill/>
          <a:ln>
            <a:noFill/>
          </a:ln>
        </p:spPr>
      </p:pic>
      <p:sp>
        <p:nvSpPr>
          <p:cNvPr id="71" name="Google Shape;71;p11"/>
          <p:cNvSpPr txBox="1">
            <a:spLocks noGrp="1"/>
          </p:cNvSpPr>
          <p:nvPr>
            <p:ph type="body" idx="1"/>
          </p:nvPr>
        </p:nvSpPr>
        <p:spPr>
          <a:xfrm>
            <a:off x="450588" y="6055245"/>
            <a:ext cx="7702813" cy="386679"/>
          </a:xfrm>
          <a:prstGeom prst="rect">
            <a:avLst/>
          </a:prstGeom>
          <a:noFill/>
          <a:ln>
            <a:noFill/>
          </a:ln>
        </p:spPr>
        <p:txBody>
          <a:bodyPr spcFirstLastPara="1" wrap="square" lIns="0" tIns="0" rIns="0" bIns="0" anchor="b" anchorCtr="0"/>
          <a:lstStyle>
            <a:lvl1pPr marL="457200" marR="0" lvl="0" indent="-228600" algn="l" rtl="0">
              <a:lnSpc>
                <a:spcPct val="90000"/>
              </a:lnSpc>
              <a:spcBef>
                <a:spcPts val="1000"/>
              </a:spcBef>
              <a:spcAft>
                <a:spcPts val="0"/>
              </a:spcAft>
              <a:buClr>
                <a:schemeClr val="dk1"/>
              </a:buClr>
              <a:buSzPts val="923"/>
              <a:buFont typeface="Arial"/>
              <a:buNone/>
              <a:defRPr sz="922"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72" name="Google Shape;72;p11"/>
          <p:cNvSpPr txBox="1">
            <a:spLocks noGrp="1"/>
          </p:cNvSpPr>
          <p:nvPr>
            <p:ph type="title"/>
          </p:nvPr>
        </p:nvSpPr>
        <p:spPr>
          <a:xfrm>
            <a:off x="450741" y="134054"/>
            <a:ext cx="7245459" cy="582389"/>
          </a:xfrm>
          <a:prstGeom prst="rect">
            <a:avLst/>
          </a:prstGeom>
          <a:noFill/>
          <a:ln>
            <a:noFill/>
          </a:ln>
        </p:spPr>
        <p:txBody>
          <a:bodyPr spcFirstLastPara="1" wrap="square" lIns="0" tIns="0" rIns="0" bIns="0" anchor="b" anchorCtr="0"/>
          <a:lstStyle>
            <a:lvl1pPr marR="0" lvl="0" algn="l" rtl="0">
              <a:lnSpc>
                <a:spcPct val="90000"/>
              </a:lnSpc>
              <a:spcBef>
                <a:spcPts val="0"/>
              </a:spcBef>
              <a:spcAft>
                <a:spcPts val="0"/>
              </a:spcAft>
              <a:buClr>
                <a:schemeClr val="dk1"/>
              </a:buClr>
              <a:buSzPts val="2200"/>
              <a:buFont typeface="Arial"/>
              <a:buNone/>
              <a:defRPr sz="22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extLst>
      <p:ext uri="{BB962C8B-B14F-4D97-AF65-F5344CB8AC3E}">
        <p14:creationId xmlns:p14="http://schemas.microsoft.com/office/powerpoint/2010/main" val="91319836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40974"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721" y="1589"/>
                        <a:ext cx="1719" cy="1587"/>
                      </a:xfrm>
                      <a:prstGeom prst="rect">
                        <a:avLst/>
                      </a:prstGeom>
                    </p:spPr>
                  </p:pic>
                </p:oleObj>
              </mc:Fallback>
            </mc:AlternateContent>
          </a:graphicData>
        </a:graphic>
      </p:graphicFrame>
      <p:sp>
        <p:nvSpPr>
          <p:cNvPr id="10"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3">
              <a:buClrTx/>
              <a:buFontTx/>
              <a:buNone/>
            </a:pPr>
            <a:endParaRPr lang="en-US" kern="1200" dirty="0">
              <a:solidFill>
                <a:prstClr val="black"/>
              </a:solidFill>
            </a:endParaRPr>
          </a:p>
        </p:txBody>
      </p:sp>
      <p:sp>
        <p:nvSpPr>
          <p:cNvPr id="2" name="McK 2. Slide Title"/>
          <p:cNvSpPr>
            <a:spLocks noGrp="1"/>
          </p:cNvSpPr>
          <p:nvPr>
            <p:ph type="title"/>
          </p:nvPr>
        </p:nvSpPr>
        <p:spPr>
          <a:xfrm>
            <a:off x="247650" y="388621"/>
            <a:ext cx="8007350" cy="292388"/>
          </a:xfrm>
          <a:prstGeom prst="rect">
            <a:avLst/>
          </a:prstGeom>
        </p:spPr>
        <p:txBody>
          <a:bodyPr/>
          <a:lstStyle>
            <a:lvl1pPr>
              <a:defRPr sz="1900"/>
            </a:lvl1pPr>
          </a:lstStyle>
          <a:p>
            <a:r>
              <a:rPr lang="en-US" dirty="0"/>
              <a:t>Click to edit Master title style</a:t>
            </a:r>
          </a:p>
        </p:txBody>
      </p:sp>
    </p:spTree>
    <p:extLst>
      <p:ext uri="{BB962C8B-B14F-4D97-AF65-F5344CB8AC3E}">
        <p14:creationId xmlns:p14="http://schemas.microsoft.com/office/powerpoint/2010/main" val="142978980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43022"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prstClr val="white"/>
              </a:solidFill>
              <a:cs typeface="Arial" panose="020B0604020202020204" pitchFamily="34" charset="0"/>
              <a:sym typeface="Calibri" panose="020F0502020204030204" pitchFamily="34" charset="0"/>
            </a:endParaRPr>
          </a:p>
        </p:txBody>
      </p:sp>
      <p:sp>
        <p:nvSpPr>
          <p:cNvPr id="6" name="Title 1"/>
          <p:cNvSpPr>
            <a:spLocks noGrp="1"/>
          </p:cNvSpPr>
          <p:nvPr>
            <p:ph type="title" hasCustomPrompt="1"/>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Style</a:t>
            </a:r>
            <a:endParaRPr lang="en-US" dirty="0"/>
          </a:p>
        </p:txBody>
      </p:sp>
      <p:sp>
        <p:nvSpPr>
          <p:cNvPr id="5" name="Text Placeholder 7"/>
          <p:cNvSpPr>
            <a:spLocks noGrp="1"/>
          </p:cNvSpPr>
          <p:nvPr>
            <p:ph type="body" sz="quarter" idx="13" hasCustomPrompt="1"/>
          </p:nvPr>
        </p:nvSpPr>
        <p:spPr>
          <a:xfrm>
            <a:off x="450276" y="1066801"/>
            <a:ext cx="9005453" cy="5181599"/>
          </a:xfrm>
          <a:prstGeom prst="rect">
            <a:avLst/>
          </a:prstGeom>
        </p:spPr>
        <p:txBody>
          <a:bodyPr lIns="0" tIns="0" rIns="0" bIns="0">
            <a:noAutofit/>
          </a:bodyPr>
          <a:lstStyle>
            <a:lvl1pPr marL="173037" indent="-173037">
              <a:spcBef>
                <a:spcPts val="718"/>
              </a:spcBef>
              <a:defRPr sz="1600" baseline="0">
                <a:latin typeface="Arial" panose="020B0604020202020204" pitchFamily="34" charset="0"/>
                <a:cs typeface="Arial" panose="020B0604020202020204" pitchFamily="34" charset="0"/>
              </a:defRPr>
            </a:lvl1pPr>
            <a:lvl2pPr marL="347661" indent="-174624">
              <a:spcBef>
                <a:spcPts val="718"/>
              </a:spcBef>
              <a:buFont typeface="Wingdings" panose="05000000000000000000" pitchFamily="2" charset="2"/>
              <a:buChar char="ü"/>
              <a:defRPr sz="1400">
                <a:latin typeface="Arial" panose="020B0604020202020204" pitchFamily="34" charset="0"/>
                <a:cs typeface="Arial" panose="020B0604020202020204" pitchFamily="34" charset="0"/>
              </a:defRPr>
            </a:lvl2pPr>
            <a:lvl3pPr marL="509585" indent="-161924">
              <a:buFont typeface="Courier New" pitchFamily="49" charset="0"/>
              <a:buChar char="o"/>
              <a:defRPr sz="1400">
                <a:latin typeface="Arial" panose="020B0604020202020204" pitchFamily="34" charset="0"/>
                <a:cs typeface="Arial" panose="020B0604020202020204" pitchFamily="34" charset="0"/>
              </a:defRPr>
            </a:lvl3pPr>
            <a:lvl4pPr marL="682621" indent="-173037">
              <a:defRPr sz="1400">
                <a:latin typeface="Arial" panose="020B0604020202020204" pitchFamily="34" charset="0"/>
                <a:cs typeface="Arial" panose="020B0604020202020204" pitchFamily="34" charset="0"/>
              </a:defRPr>
            </a:lvl4pPr>
            <a:lvl5pPr>
              <a:defRPr sz="1800"/>
            </a:lvl5pPr>
          </a:lstStyle>
          <a:p>
            <a:pPr lvl="0"/>
            <a:r>
              <a:rPr lang="en-US" dirty="0"/>
              <a:t>Click to edit Master text first level</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399854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44046"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prstClr val="white"/>
              </a:solidFill>
              <a:cs typeface="Arial" panose="020B0604020202020204" pitchFamily="34" charset="0"/>
              <a:sym typeface="Calibri" panose="020F0502020204030204" pitchFamily="34" charset="0"/>
            </a:endParaRPr>
          </a:p>
        </p:txBody>
      </p:sp>
      <p:sp>
        <p:nvSpPr>
          <p:cNvPr id="6"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319892894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45070"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prstClr val="white"/>
              </a:solidFill>
              <a:cs typeface="Arial" panose="020B0604020202020204" pitchFamily="34" charset="0"/>
              <a:sym typeface="Calibri" panose="020F0502020204030204" pitchFamily="34" charset="0"/>
            </a:endParaRPr>
          </a:p>
        </p:txBody>
      </p:sp>
      <p:sp>
        <p:nvSpPr>
          <p:cNvPr id="6"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
        <p:nvSpPr>
          <p:cNvPr id="5" name="Text Placeholder 7"/>
          <p:cNvSpPr>
            <a:spLocks noGrp="1"/>
          </p:cNvSpPr>
          <p:nvPr>
            <p:ph type="body" sz="quarter" idx="13" hasCustomPrompt="1"/>
          </p:nvPr>
        </p:nvSpPr>
        <p:spPr>
          <a:xfrm>
            <a:off x="450276" y="1066801"/>
            <a:ext cx="9005453" cy="4876799"/>
          </a:xfrm>
          <a:prstGeom prst="rect">
            <a:avLst/>
          </a:prstGeom>
        </p:spPr>
        <p:txBody>
          <a:bodyPr lIns="0" tIns="0" rIns="0" bIns="0">
            <a:noAutofit/>
          </a:bodyPr>
          <a:lstStyle>
            <a:lvl1pPr marL="173037" indent="-173037">
              <a:spcBef>
                <a:spcPts val="718"/>
              </a:spcBef>
              <a:defRPr sz="1600" baseline="0">
                <a:latin typeface="Arial" panose="020B0604020202020204" pitchFamily="34" charset="0"/>
                <a:cs typeface="Arial" panose="020B0604020202020204" pitchFamily="34" charset="0"/>
              </a:defRPr>
            </a:lvl1pPr>
            <a:lvl2pPr marL="347661" indent="-174624">
              <a:spcBef>
                <a:spcPts val="718"/>
              </a:spcBef>
              <a:buFont typeface="Wingdings" panose="05000000000000000000" pitchFamily="2" charset="2"/>
              <a:buChar char="ü"/>
              <a:defRPr sz="1400">
                <a:latin typeface="Arial" panose="020B0604020202020204" pitchFamily="34" charset="0"/>
                <a:cs typeface="Arial" panose="020B0604020202020204" pitchFamily="34" charset="0"/>
              </a:defRPr>
            </a:lvl2pPr>
            <a:lvl3pPr marL="509585" indent="-161924">
              <a:buFont typeface="Courier New" pitchFamily="49" charset="0"/>
              <a:buChar char="o"/>
              <a:defRPr sz="1400">
                <a:latin typeface="Arial" panose="020B0604020202020204" pitchFamily="34" charset="0"/>
                <a:cs typeface="Arial" panose="020B0604020202020204" pitchFamily="34" charset="0"/>
              </a:defRPr>
            </a:lvl3pPr>
            <a:lvl4pPr marL="682621" indent="-173037">
              <a:defRPr sz="1400">
                <a:latin typeface="Arial" panose="020B0604020202020204" pitchFamily="34" charset="0"/>
                <a:cs typeface="Arial" panose="020B0604020202020204" pitchFamily="34" charset="0"/>
              </a:defRPr>
            </a:lvl4pPr>
            <a:lvl5pPr>
              <a:defRPr sz="1800"/>
            </a:lvl5pPr>
          </a:lstStyle>
          <a:p>
            <a:pPr lvl="0"/>
            <a:r>
              <a:rPr lang="en-US" dirty="0"/>
              <a:t>Click to edit Master text first level</a:t>
            </a:r>
          </a:p>
          <a:p>
            <a:pPr lvl="1"/>
            <a:r>
              <a:rPr lang="en-US" dirty="0"/>
              <a:t>Second level</a:t>
            </a:r>
          </a:p>
          <a:p>
            <a:pPr lvl="2"/>
            <a:r>
              <a:rPr lang="en-US" dirty="0"/>
              <a:t>Third level</a:t>
            </a:r>
          </a:p>
          <a:p>
            <a:pPr lvl="3"/>
            <a:r>
              <a:rPr lang="en-US" dirty="0"/>
              <a:t>Fourth level</a:t>
            </a:r>
          </a:p>
        </p:txBody>
      </p:sp>
      <p:sp>
        <p:nvSpPr>
          <p:cNvPr id="9"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Tree>
    <p:extLst>
      <p:ext uri="{BB962C8B-B14F-4D97-AF65-F5344CB8AC3E}">
        <p14:creationId xmlns:p14="http://schemas.microsoft.com/office/powerpoint/2010/main" val="5362015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AGRA cover 1">
  <p:cSld name="AGRA cover 1">
    <p:bg>
      <p:bgPr>
        <a:solidFill>
          <a:srgbClr val="F9FCF6"/>
        </a:solidFill>
        <a:effectLst/>
      </p:bgPr>
    </p:bg>
    <p:spTree>
      <p:nvGrpSpPr>
        <p:cNvPr id="1" name="Shape 33"/>
        <p:cNvGrpSpPr/>
        <p:nvPr/>
      </p:nvGrpSpPr>
      <p:grpSpPr>
        <a:xfrm>
          <a:off x="0" y="0"/>
          <a:ext cx="0" cy="0"/>
          <a:chOff x="0" y="0"/>
          <a:chExt cx="0" cy="0"/>
        </a:xfrm>
      </p:grpSpPr>
      <p:sp>
        <p:nvSpPr>
          <p:cNvPr id="34" name="Google Shape;34;p6"/>
          <p:cNvSpPr/>
          <p:nvPr/>
        </p:nvSpPr>
        <p:spPr>
          <a:xfrm>
            <a:off x="0" y="0"/>
            <a:ext cx="171979" cy="158750"/>
          </a:xfrm>
          <a:prstGeom prst="rect">
            <a:avLst/>
          </a:prstGeom>
          <a:noFill/>
          <a:ln>
            <a:noFill/>
          </a:ln>
        </p:spPr>
      </p:sp>
      <p:pic>
        <p:nvPicPr>
          <p:cNvPr id="35" name="Google Shape;35;p6" descr="http://downloads.clipart.com/24666832.jpg?t=1279123826&amp;h=f68d76e4ad2619ae90f6543f6c0c93e0&amp;u=design.admin"/>
          <p:cNvPicPr preferRelativeResize="0"/>
          <p:nvPr/>
        </p:nvPicPr>
        <p:blipFill rotWithShape="1">
          <a:blip r:embed="rId2">
            <a:alphaModFix/>
          </a:blip>
          <a:srcRect/>
          <a:stretch/>
        </p:blipFill>
        <p:spPr>
          <a:xfrm>
            <a:off x="0" y="0"/>
            <a:ext cx="2022475" cy="6858000"/>
          </a:xfrm>
          <a:prstGeom prst="rect">
            <a:avLst/>
          </a:prstGeom>
          <a:noFill/>
          <a:ln>
            <a:noFill/>
          </a:ln>
        </p:spPr>
      </p:pic>
      <p:sp>
        <p:nvSpPr>
          <p:cNvPr id="36" name="Google Shape;36;p6"/>
          <p:cNvSpPr/>
          <p:nvPr/>
        </p:nvSpPr>
        <p:spPr>
          <a:xfrm rot="5400000">
            <a:off x="-1259482" y="3280330"/>
            <a:ext cx="6858000" cy="297523"/>
          </a:xfrm>
          <a:prstGeom prst="rect">
            <a:avLst/>
          </a:prstGeom>
          <a:solidFill>
            <a:srgbClr val="3F5F1F"/>
          </a:solidFill>
          <a:ln>
            <a:noFill/>
          </a:ln>
        </p:spPr>
        <p:txBody>
          <a:bodyPr spcFirstLastPara="1" wrap="square" lIns="45700" tIns="45700" rIns="45700" bIns="45700" anchor="ctr" anchorCtr="0">
            <a:noAutofit/>
          </a:bodyPr>
          <a:lstStyle/>
          <a:p>
            <a:pPr marL="0" marR="0" lvl="0" indent="0" algn="ctr" rtl="0">
              <a:spcBef>
                <a:spcPts val="0"/>
              </a:spcBef>
              <a:spcAft>
                <a:spcPts val="0"/>
              </a:spcAft>
              <a:buNone/>
            </a:pPr>
            <a:endParaRPr sz="1200" dirty="0">
              <a:solidFill>
                <a:srgbClr val="000000"/>
              </a:solidFill>
              <a:latin typeface="Calibri"/>
              <a:ea typeface="Calibri"/>
              <a:cs typeface="Calibri"/>
              <a:sym typeface="Calibri"/>
            </a:endParaRPr>
          </a:p>
        </p:txBody>
      </p:sp>
      <p:sp>
        <p:nvSpPr>
          <p:cNvPr id="37" name="Google Shape;37;p6"/>
          <p:cNvSpPr txBox="1">
            <a:spLocks noGrp="1"/>
          </p:cNvSpPr>
          <p:nvPr>
            <p:ph type="ctrTitle"/>
          </p:nvPr>
        </p:nvSpPr>
        <p:spPr>
          <a:xfrm>
            <a:off x="2916055" y="1524000"/>
            <a:ext cx="6508954" cy="1143000"/>
          </a:xfrm>
          <a:prstGeom prst="rect">
            <a:avLst/>
          </a:prstGeom>
          <a:noFill/>
          <a:ln>
            <a:noFill/>
          </a:ln>
        </p:spPr>
        <p:txBody>
          <a:bodyPr spcFirstLastPara="1" wrap="square" lIns="91425" tIns="45700" rIns="91425" bIns="45700" anchor="t" anchorCtr="0"/>
          <a:lstStyle>
            <a:lvl1pPr marR="0" lvl="0" algn="l" rtl="0">
              <a:lnSpc>
                <a:spcPct val="90000"/>
              </a:lnSpc>
              <a:spcBef>
                <a:spcPts val="0"/>
              </a:spcBef>
              <a:spcAft>
                <a:spcPts val="0"/>
              </a:spcAft>
              <a:buClr>
                <a:schemeClr val="dk1"/>
              </a:buClr>
              <a:buSzPts val="3200"/>
              <a:buFont typeface="Arial"/>
              <a:buNone/>
              <a:defRPr sz="3200" b="0"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38" name="Google Shape;38;p6"/>
          <p:cNvSpPr txBox="1">
            <a:spLocks noGrp="1"/>
          </p:cNvSpPr>
          <p:nvPr>
            <p:ph type="body" idx="1"/>
          </p:nvPr>
        </p:nvSpPr>
        <p:spPr>
          <a:xfrm>
            <a:off x="2916767" y="2948676"/>
            <a:ext cx="6508242" cy="546100"/>
          </a:xfrm>
          <a:prstGeom prst="rect">
            <a:avLst/>
          </a:prstGeom>
          <a:noFill/>
          <a:ln>
            <a:noFill/>
          </a:ln>
        </p:spPr>
        <p:txBody>
          <a:bodyPr spcFirstLastPara="1" wrap="square" lIns="91425" tIns="45700" rIns="91425" bIns="45700" anchor="t" anchorCtr="0"/>
          <a:lstStyle>
            <a:lvl1pPr marL="457200" marR="0" lvl="0" indent="-228600" algn="l" rtl="0">
              <a:lnSpc>
                <a:spcPct val="90000"/>
              </a:lnSpc>
              <a:spcBef>
                <a:spcPts val="1000"/>
              </a:spcBef>
              <a:spcAft>
                <a:spcPts val="0"/>
              </a:spcAft>
              <a:buClr>
                <a:schemeClr val="dk1"/>
              </a:buClr>
              <a:buSzPts val="2400"/>
              <a:buFont typeface="Arial"/>
              <a:buNone/>
              <a:defRPr sz="2400" b="0" i="1"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9" name="Google Shape;39;p6"/>
          <p:cNvSpPr txBox="1">
            <a:spLocks noGrp="1"/>
          </p:cNvSpPr>
          <p:nvPr>
            <p:ph type="body" idx="2"/>
          </p:nvPr>
        </p:nvSpPr>
        <p:spPr>
          <a:xfrm>
            <a:off x="2916767" y="3657600"/>
            <a:ext cx="6508242" cy="546100"/>
          </a:xfrm>
          <a:prstGeom prst="rect">
            <a:avLst/>
          </a:prstGeom>
          <a:noFill/>
          <a:ln>
            <a:noFill/>
          </a:ln>
        </p:spPr>
        <p:txBody>
          <a:bodyPr spcFirstLastPara="1" wrap="square" lIns="91425" tIns="45700" rIns="91425" bIns="45700" anchor="t" anchorCtr="0"/>
          <a:lstStyle>
            <a:lvl1pPr marL="457200" marR="0" lvl="0" indent="-228600" algn="l" rtl="0">
              <a:lnSpc>
                <a:spcPct val="90000"/>
              </a:lnSpc>
              <a:spcBef>
                <a:spcPts val="1000"/>
              </a:spcBef>
              <a:spcAft>
                <a:spcPts val="0"/>
              </a:spcAft>
              <a:buClr>
                <a:schemeClr val="dk1"/>
              </a:buClr>
              <a:buSzPts val="1800"/>
              <a:buFont typeface="Arial"/>
              <a:buNone/>
              <a:defRPr sz="1800" b="0" i="1"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pic>
        <p:nvPicPr>
          <p:cNvPr id="40" name="Google Shape;40;p6"/>
          <p:cNvPicPr preferRelativeResize="0"/>
          <p:nvPr/>
        </p:nvPicPr>
        <p:blipFill rotWithShape="1">
          <a:blip r:embed="rId3">
            <a:alphaModFix/>
          </a:blip>
          <a:srcRect/>
          <a:stretch/>
        </p:blipFill>
        <p:spPr>
          <a:xfrm>
            <a:off x="7162800" y="5360773"/>
            <a:ext cx="2448862" cy="820700"/>
          </a:xfrm>
          <a:prstGeom prst="rect">
            <a:avLst/>
          </a:prstGeom>
          <a:noFill/>
          <a:ln>
            <a:noFill/>
          </a:ln>
        </p:spPr>
      </p:pic>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46094"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prstClr val="white"/>
              </a:solidFill>
              <a:cs typeface="Arial" panose="020B0604020202020204" pitchFamily="34" charset="0"/>
              <a:sym typeface="Calibri" panose="020F0502020204030204" pitchFamily="34" charset="0"/>
            </a:endParaRPr>
          </a:p>
        </p:txBody>
      </p:sp>
      <p:sp>
        <p:nvSpPr>
          <p:cNvPr id="9"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
        <p:nvSpPr>
          <p:cNvPr id="10"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107185302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8"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srgbClr val="70AD47">
                  <a:lumMod val="50000"/>
                </a:srgbClr>
              </a:solidFill>
              <a:cs typeface="Arial" panose="020B0604020202020204" pitchFamily="34" charset="0"/>
              <a:sym typeface="Calibri" panose="020F0502020204030204" pitchFamily="34" charset="0"/>
            </a:endParaRPr>
          </a:p>
        </p:txBody>
      </p:sp>
      <p:sp>
        <p:nvSpPr>
          <p:cNvPr id="4" name="SmartArt Placeholder 26"/>
          <p:cNvSpPr>
            <a:spLocks noGrp="1"/>
          </p:cNvSpPr>
          <p:nvPr>
            <p:ph type="dgm" sz="quarter" idx="18" hasCustomPrompt="1"/>
          </p:nvPr>
        </p:nvSpPr>
        <p:spPr>
          <a:xfrm>
            <a:off x="1350818" y="922317"/>
            <a:ext cx="7204364" cy="4639235"/>
          </a:xfrm>
          <a:prstGeom prst="rect">
            <a:avLst/>
          </a:prstGeom>
          <a:ln w="9525">
            <a:solidFill>
              <a:schemeClr val="tx1"/>
            </a:solidFill>
          </a:ln>
        </p:spPr>
        <p:txBody>
          <a:bodyPr lIns="82058" tIns="41029" rIns="82058" bIns="41029"/>
          <a:lstStyle>
            <a:lvl1pPr>
              <a:defRPr>
                <a:solidFill>
                  <a:schemeClr val="bg2"/>
                </a:solidFill>
                <a:latin typeface="Arial" panose="020B0604020202020204" pitchFamily="34" charset="0"/>
                <a:cs typeface="Arial" panose="020B0604020202020204" pitchFamily="34" charset="0"/>
              </a:defRPr>
            </a:lvl1pPr>
          </a:lstStyle>
          <a:p>
            <a:r>
              <a:rPr lang="en-US" dirty="0"/>
              <a:t>`</a:t>
            </a:r>
          </a:p>
        </p:txBody>
      </p:sp>
      <p:cxnSp>
        <p:nvCxnSpPr>
          <p:cNvPr id="5" name="Straight Connector 4"/>
          <p:cNvCxnSpPr/>
          <p:nvPr userDrawn="1"/>
        </p:nvCxnSpPr>
        <p:spPr>
          <a:xfrm>
            <a:off x="4953000" y="922317"/>
            <a:ext cx="0" cy="463923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a:off x="1350818" y="3141080"/>
            <a:ext cx="720436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 Placeholder 42"/>
          <p:cNvSpPr>
            <a:spLocks noGrp="1"/>
          </p:cNvSpPr>
          <p:nvPr>
            <p:ph type="body" sz="quarter" idx="21" hasCustomPrompt="1"/>
          </p:nvPr>
        </p:nvSpPr>
        <p:spPr>
          <a:xfrm>
            <a:off x="1350821" y="989556"/>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0" name="Text Placeholder 42"/>
          <p:cNvSpPr>
            <a:spLocks noGrp="1"/>
          </p:cNvSpPr>
          <p:nvPr>
            <p:ph type="body" sz="quarter" idx="22" hasCustomPrompt="1"/>
          </p:nvPr>
        </p:nvSpPr>
        <p:spPr>
          <a:xfrm>
            <a:off x="4953004" y="989556"/>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1" name="Text Placeholder 42"/>
          <p:cNvSpPr>
            <a:spLocks noGrp="1"/>
          </p:cNvSpPr>
          <p:nvPr>
            <p:ph type="body" sz="quarter" idx="23" hasCustomPrompt="1"/>
          </p:nvPr>
        </p:nvSpPr>
        <p:spPr>
          <a:xfrm>
            <a:off x="1350821" y="3208318"/>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2" name="Text Placeholder 42"/>
          <p:cNvSpPr>
            <a:spLocks noGrp="1"/>
          </p:cNvSpPr>
          <p:nvPr>
            <p:ph type="body" sz="quarter" idx="24" hasCustomPrompt="1"/>
          </p:nvPr>
        </p:nvSpPr>
        <p:spPr>
          <a:xfrm>
            <a:off x="4953004" y="3208318"/>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3" name="Text Placeholder 42"/>
          <p:cNvSpPr>
            <a:spLocks noGrp="1"/>
          </p:cNvSpPr>
          <p:nvPr>
            <p:ph type="body" sz="quarter" idx="25" hasCustomPrompt="1"/>
          </p:nvPr>
        </p:nvSpPr>
        <p:spPr>
          <a:xfrm rot="16200000">
            <a:off x="-72049" y="1894916"/>
            <a:ext cx="2245379" cy="300182"/>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4" name="Text Placeholder 42"/>
          <p:cNvSpPr>
            <a:spLocks noGrp="1"/>
          </p:cNvSpPr>
          <p:nvPr>
            <p:ph type="body" sz="quarter" idx="26" hasCustomPrompt="1"/>
          </p:nvPr>
        </p:nvSpPr>
        <p:spPr>
          <a:xfrm rot="16200000">
            <a:off x="-125978" y="4234844"/>
            <a:ext cx="2353235" cy="300183"/>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5" name="Text Placeholder 42"/>
          <p:cNvSpPr>
            <a:spLocks noGrp="1"/>
          </p:cNvSpPr>
          <p:nvPr>
            <p:ph type="body" sz="quarter" idx="27" hasCustomPrompt="1"/>
          </p:nvPr>
        </p:nvSpPr>
        <p:spPr>
          <a:xfrm>
            <a:off x="1350821" y="5696027"/>
            <a:ext cx="3602182" cy="268941"/>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6" name="Text Placeholder 42"/>
          <p:cNvSpPr>
            <a:spLocks noGrp="1"/>
          </p:cNvSpPr>
          <p:nvPr>
            <p:ph type="body" sz="quarter" idx="28" hasCustomPrompt="1"/>
          </p:nvPr>
        </p:nvSpPr>
        <p:spPr>
          <a:xfrm>
            <a:off x="5028046" y="5696027"/>
            <a:ext cx="3527136" cy="268941"/>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7" name="Text Placeholder 51"/>
          <p:cNvSpPr>
            <a:spLocks noGrp="1"/>
          </p:cNvSpPr>
          <p:nvPr>
            <p:ph type="body" sz="quarter" idx="29" hasCustomPrompt="1"/>
          </p:nvPr>
        </p:nvSpPr>
        <p:spPr>
          <a:xfrm>
            <a:off x="1425867" y="1325727"/>
            <a:ext cx="3452090" cy="1748118"/>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dirty="0"/>
              <a:t>Click to edit text </a:t>
            </a:r>
          </a:p>
        </p:txBody>
      </p:sp>
      <p:sp>
        <p:nvSpPr>
          <p:cNvPr id="18" name="Text Placeholder 51"/>
          <p:cNvSpPr>
            <a:spLocks noGrp="1"/>
          </p:cNvSpPr>
          <p:nvPr>
            <p:ph type="body" sz="quarter" idx="30" hasCustomPrompt="1"/>
          </p:nvPr>
        </p:nvSpPr>
        <p:spPr>
          <a:xfrm>
            <a:off x="1425867" y="3544492"/>
            <a:ext cx="3452090" cy="1949824"/>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dirty="0"/>
              <a:t>Click to edit text </a:t>
            </a:r>
          </a:p>
        </p:txBody>
      </p:sp>
      <p:sp>
        <p:nvSpPr>
          <p:cNvPr id="19" name="Text Placeholder 51"/>
          <p:cNvSpPr>
            <a:spLocks noGrp="1"/>
          </p:cNvSpPr>
          <p:nvPr>
            <p:ph type="body" sz="quarter" idx="31" hasCustomPrompt="1"/>
          </p:nvPr>
        </p:nvSpPr>
        <p:spPr>
          <a:xfrm>
            <a:off x="5028049" y="3544492"/>
            <a:ext cx="3452090" cy="1949824"/>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dirty="0"/>
              <a:t>Click to edit text </a:t>
            </a:r>
          </a:p>
        </p:txBody>
      </p:sp>
      <p:sp>
        <p:nvSpPr>
          <p:cNvPr id="20" name="Text Placeholder 51"/>
          <p:cNvSpPr>
            <a:spLocks noGrp="1"/>
          </p:cNvSpPr>
          <p:nvPr>
            <p:ph type="body" sz="quarter" idx="32" hasCustomPrompt="1"/>
          </p:nvPr>
        </p:nvSpPr>
        <p:spPr>
          <a:xfrm>
            <a:off x="5028049" y="1325727"/>
            <a:ext cx="3452090" cy="1748118"/>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dirty="0"/>
              <a:t>Click to edit text </a:t>
            </a:r>
          </a:p>
        </p:txBody>
      </p:sp>
      <p:sp>
        <p:nvSpPr>
          <p:cNvPr id="21"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
        <p:nvSpPr>
          <p:cNvPr id="23"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168879105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42"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srgbClr val="70AD47">
                  <a:lumMod val="50000"/>
                </a:srgbClr>
              </a:solidFill>
              <a:cs typeface="Arial" panose="020B0604020202020204" pitchFamily="34" charset="0"/>
              <a:sym typeface="Calibri" panose="020F0502020204030204" pitchFamily="34" charset="0"/>
            </a:endParaRPr>
          </a:p>
        </p:txBody>
      </p:sp>
      <p:sp>
        <p:nvSpPr>
          <p:cNvPr id="4" name="Text Placeholder 14"/>
          <p:cNvSpPr>
            <a:spLocks noGrp="1"/>
          </p:cNvSpPr>
          <p:nvPr>
            <p:ph type="body" sz="quarter" idx="35" hasCustomPrompt="1"/>
          </p:nvPr>
        </p:nvSpPr>
        <p:spPr>
          <a:xfrm>
            <a:off x="450326" y="1008557"/>
            <a:ext cx="4319158" cy="460302"/>
          </a:xfrm>
          <a:prstGeom prst="rect">
            <a:avLst/>
          </a:prstGeom>
          <a:solidFill>
            <a:srgbClr val="3F5F1F"/>
          </a:solidFill>
        </p:spPr>
        <p:txBody>
          <a:bodyPr lIns="0" tIns="0" rIns="0" bIns="0" anchor="ctr"/>
          <a:lstStyle>
            <a:lvl1pPr marL="0" indent="0" algn="ctr">
              <a:buNone/>
              <a:defRPr sz="1600" b="1" baseline="0">
                <a:solidFill>
                  <a:schemeClr val="bg1"/>
                </a:solidFill>
                <a:latin typeface="Arial" panose="020B0604020202020204" pitchFamily="34" charset="0"/>
                <a:cs typeface="Arial" panose="020B0604020202020204" pitchFamily="34" charset="0"/>
              </a:defRPr>
            </a:lvl1pPr>
          </a:lstStyle>
          <a:p>
            <a:pPr lvl="0"/>
            <a:r>
              <a:rPr lang="en-US" dirty="0"/>
              <a:t>Click to edit Header text</a:t>
            </a:r>
          </a:p>
        </p:txBody>
      </p:sp>
      <p:cxnSp>
        <p:nvCxnSpPr>
          <p:cNvPr id="5" name="Straight Connector 4"/>
          <p:cNvCxnSpPr/>
          <p:nvPr userDrawn="1"/>
        </p:nvCxnSpPr>
        <p:spPr>
          <a:xfrm>
            <a:off x="450322" y="1549540"/>
            <a:ext cx="43085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 Placeholder 9"/>
          <p:cNvSpPr>
            <a:spLocks noGrp="1"/>
          </p:cNvSpPr>
          <p:nvPr>
            <p:ph type="body" sz="quarter" idx="10"/>
          </p:nvPr>
        </p:nvSpPr>
        <p:spPr>
          <a:xfrm>
            <a:off x="450326" y="1644574"/>
            <a:ext cx="4319158" cy="4222236"/>
          </a:xfrm>
          <a:prstGeom prst="rect">
            <a:avLst/>
          </a:prstGeom>
        </p:spPr>
        <p:txBody>
          <a:bodyPr lIns="0" tIns="0" rIns="0" bIns="0"/>
          <a:lstStyle>
            <a:lvl1pPr marL="168274" indent="-168274">
              <a:buFont typeface="Arial" panose="020B0604020202020204" pitchFamily="34" charset="0"/>
              <a:buChar char="•"/>
              <a:defRPr sz="1400">
                <a:latin typeface="Arial" panose="020B0604020202020204" pitchFamily="34" charset="0"/>
                <a:cs typeface="Arial" panose="020B0604020202020204" pitchFamily="34" charset="0"/>
              </a:defRPr>
            </a:lvl1pPr>
            <a:lvl2pPr marL="320927" indent="-161195">
              <a:buFont typeface="Wingdings" panose="05000000000000000000" pitchFamily="2" charset="2"/>
              <a:buChar char="ü"/>
              <a:defRPr sz="1200">
                <a:latin typeface="Arial" panose="020B0604020202020204" pitchFamily="34" charset="0"/>
                <a:cs typeface="Arial" panose="020B0604020202020204" pitchFamily="34" charset="0"/>
              </a:defRPr>
            </a:lvl2pPr>
            <a:lvl3pPr marL="470398" indent="-149473">
              <a:buFont typeface="Courier New" panose="02070309020205020404" pitchFamily="49" charset="0"/>
              <a:buChar char="o"/>
              <a:defRPr sz="1200">
                <a:latin typeface="Arial" panose="020B0604020202020204" pitchFamily="34" charset="0"/>
                <a:cs typeface="Arial" panose="020B0604020202020204" pitchFamily="34" charset="0"/>
              </a:defRPr>
            </a:lvl3pPr>
            <a:lvl4pPr marL="630127" indent="-159730">
              <a:buFont typeface="Wingdings" panose="05000000000000000000" pitchFamily="2" charset="2"/>
              <a:buChar char="Ø"/>
              <a:defRPr sz="1200">
                <a:latin typeface="Arial" panose="020B0604020202020204" pitchFamily="34" charset="0"/>
                <a:cs typeface="Arial" panose="020B0604020202020204" pitchFamily="34"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14"/>
          <p:cNvSpPr>
            <a:spLocks noGrp="1"/>
          </p:cNvSpPr>
          <p:nvPr>
            <p:ph type="body" sz="quarter" idx="38" hasCustomPrompt="1"/>
          </p:nvPr>
        </p:nvSpPr>
        <p:spPr>
          <a:xfrm>
            <a:off x="5151120" y="1009149"/>
            <a:ext cx="4304296" cy="460302"/>
          </a:xfrm>
          <a:prstGeom prst="rect">
            <a:avLst/>
          </a:prstGeom>
          <a:solidFill>
            <a:srgbClr val="3F5F1F"/>
          </a:solidFill>
        </p:spPr>
        <p:txBody>
          <a:bodyPr lIns="0" tIns="0" rIns="0" bIns="0" anchor="ctr"/>
          <a:lstStyle>
            <a:lvl1pPr marL="0" indent="0" algn="ctr">
              <a:buNone/>
              <a:defRPr sz="1600" b="1" baseline="0">
                <a:solidFill>
                  <a:schemeClr val="bg1"/>
                </a:solidFill>
                <a:latin typeface="Arial" panose="020B0604020202020204" pitchFamily="34" charset="0"/>
                <a:cs typeface="Arial" panose="020B0604020202020204" pitchFamily="34" charset="0"/>
              </a:defRPr>
            </a:lvl1pPr>
          </a:lstStyle>
          <a:p>
            <a:pPr lvl="0"/>
            <a:r>
              <a:rPr lang="en-US" dirty="0"/>
              <a:t>Click to edit Header text</a:t>
            </a:r>
          </a:p>
        </p:txBody>
      </p:sp>
      <p:cxnSp>
        <p:nvCxnSpPr>
          <p:cNvPr id="10" name="Straight Connector 9"/>
          <p:cNvCxnSpPr/>
          <p:nvPr userDrawn="1"/>
        </p:nvCxnSpPr>
        <p:spPr>
          <a:xfrm>
            <a:off x="5151120" y="1550132"/>
            <a:ext cx="430429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9"/>
          <p:cNvSpPr>
            <a:spLocks noGrp="1"/>
          </p:cNvSpPr>
          <p:nvPr>
            <p:ph type="body" sz="quarter" idx="39"/>
          </p:nvPr>
        </p:nvSpPr>
        <p:spPr>
          <a:xfrm>
            <a:off x="5151120" y="1645165"/>
            <a:ext cx="4304296" cy="4222236"/>
          </a:xfrm>
          <a:prstGeom prst="rect">
            <a:avLst/>
          </a:prstGeom>
        </p:spPr>
        <p:txBody>
          <a:bodyPr lIns="0" tIns="0" rIns="0" bIns="0"/>
          <a:lstStyle>
            <a:lvl1pPr marL="168274" indent="-168274">
              <a:buFont typeface="Arial" panose="020B0604020202020204" pitchFamily="34" charset="0"/>
              <a:buChar char="•"/>
              <a:defRPr sz="1292">
                <a:latin typeface="Arial" panose="020B0604020202020204" pitchFamily="34" charset="0"/>
                <a:cs typeface="Arial" panose="020B0604020202020204" pitchFamily="34" charset="0"/>
              </a:defRPr>
            </a:lvl1pPr>
            <a:lvl2pPr marL="320927" indent="-161195">
              <a:buFont typeface="Wingdings" panose="05000000000000000000" pitchFamily="2" charset="2"/>
              <a:buChar char="ü"/>
              <a:defRPr sz="1108">
                <a:latin typeface="Arial" panose="020B0604020202020204" pitchFamily="34" charset="0"/>
                <a:cs typeface="Arial" panose="020B0604020202020204" pitchFamily="34" charset="0"/>
              </a:defRPr>
            </a:lvl2pPr>
            <a:lvl3pPr marL="470398" indent="-149473">
              <a:buFont typeface="Courier New" panose="02070309020205020404" pitchFamily="49" charset="0"/>
              <a:buChar char="o"/>
              <a:defRPr sz="1108">
                <a:latin typeface="Arial" panose="020B0604020202020204" pitchFamily="34" charset="0"/>
                <a:cs typeface="Arial" panose="020B0604020202020204" pitchFamily="34" charset="0"/>
              </a:defRPr>
            </a:lvl3pPr>
            <a:lvl4pPr marL="630127" indent="-159730">
              <a:buFont typeface="Wingdings" panose="05000000000000000000" pitchFamily="2" charset="2"/>
              <a:buChar char="Ø"/>
              <a:defRPr sz="1108">
                <a:latin typeface="Arial" panose="020B0604020202020204" pitchFamily="34" charset="0"/>
                <a:cs typeface="Arial" panose="020B0604020202020204" pitchFamily="34"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
        <p:nvSpPr>
          <p:cNvPr id="13"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344664006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6"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srgbClr val="70AD47">
                  <a:lumMod val="50000"/>
                </a:srgbClr>
              </a:solidFill>
              <a:cs typeface="Arial" panose="020B0604020202020204" pitchFamily="34" charset="0"/>
              <a:sym typeface="Calibri" panose="020F0502020204030204" pitchFamily="34" charset="0"/>
            </a:endParaRPr>
          </a:p>
        </p:txBody>
      </p:sp>
      <p:sp>
        <p:nvSpPr>
          <p:cNvPr id="9"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
        <p:nvSpPr>
          <p:cNvPr id="4" name="Content Placeholder 2"/>
          <p:cNvSpPr>
            <a:spLocks noGrp="1"/>
          </p:cNvSpPr>
          <p:nvPr>
            <p:ph idx="1" hasCustomPrompt="1"/>
          </p:nvPr>
        </p:nvSpPr>
        <p:spPr>
          <a:xfrm>
            <a:off x="450588" y="1277003"/>
            <a:ext cx="3602182" cy="201706"/>
          </a:xfrm>
          <a:prstGeom prst="rect">
            <a:avLst/>
          </a:prstGeom>
        </p:spPr>
        <p:txBody>
          <a:bodyPr lIns="0" tIns="0" rIns="0" bIns="0"/>
          <a:lstStyle>
            <a:lvl1pPr marL="0" indent="0">
              <a:buFont typeface="Arial" pitchFamily="34" charset="0"/>
              <a:buNone/>
              <a:defRPr sz="1200">
                <a:latin typeface="Arial" panose="020B0604020202020204" pitchFamily="34" charset="0"/>
                <a:cs typeface="Arial" panose="020B0604020202020204" pitchFamily="34" charset="0"/>
              </a:defRPr>
            </a:lvl1pPr>
            <a:lvl2pPr marL="708819" indent="-284052">
              <a:defRPr sz="1108"/>
            </a:lvl2pPr>
            <a:lvl3pPr>
              <a:buFont typeface="Courier New" pitchFamily="49" charset="0"/>
              <a:buChar char="o"/>
              <a:defRPr sz="1108"/>
            </a:lvl3pPr>
            <a:lvl4pPr>
              <a:defRPr sz="1108"/>
            </a:lvl4pPr>
          </a:lstStyle>
          <a:p>
            <a:pPr lvl="0"/>
            <a:r>
              <a:rPr lang="en-US" dirty="0"/>
              <a:t>Click to edit Master Graph units</a:t>
            </a:r>
          </a:p>
        </p:txBody>
      </p:sp>
      <p:sp>
        <p:nvSpPr>
          <p:cNvPr id="5" name="Text Placeholder 10"/>
          <p:cNvSpPr>
            <a:spLocks noGrp="1"/>
          </p:cNvSpPr>
          <p:nvPr>
            <p:ph type="body" sz="quarter" idx="21" hasCustomPrompt="1"/>
          </p:nvPr>
        </p:nvSpPr>
        <p:spPr>
          <a:xfrm>
            <a:off x="450588" y="1008063"/>
            <a:ext cx="3602182" cy="201706"/>
          </a:xfrm>
          <a:prstGeom prst="rect">
            <a:avLst/>
          </a:prstGeom>
        </p:spPr>
        <p:txBody>
          <a:bodyPr lIns="0" tIns="0" rIns="0" bIns="0"/>
          <a:lstStyle>
            <a:lvl1pPr marL="0" indent="0">
              <a:buNone/>
              <a:defRPr sz="1400" b="1" i="0" baseline="0">
                <a:solidFill>
                  <a:schemeClr val="tx1"/>
                </a:solidFill>
                <a:latin typeface="Arial" panose="020B0604020202020204" pitchFamily="34" charset="0"/>
                <a:cs typeface="Arial" panose="020B0604020202020204" pitchFamily="34" charset="0"/>
              </a:defRPr>
            </a:lvl1pPr>
          </a:lstStyle>
          <a:p>
            <a:pPr lvl="0"/>
            <a:r>
              <a:rPr lang="en-US" dirty="0"/>
              <a:t>Click to insert Master Graph title</a:t>
            </a:r>
          </a:p>
        </p:txBody>
      </p:sp>
      <p:sp>
        <p:nvSpPr>
          <p:cNvPr id="6" name="SmartArt Placeholder 12"/>
          <p:cNvSpPr>
            <a:spLocks noGrp="1"/>
          </p:cNvSpPr>
          <p:nvPr>
            <p:ph type="dgm" sz="quarter" idx="20" hasCustomPrompt="1"/>
          </p:nvPr>
        </p:nvSpPr>
        <p:spPr>
          <a:xfrm rot="5400000">
            <a:off x="4022002" y="3302283"/>
            <a:ext cx="3577155" cy="360462"/>
          </a:xfrm>
          <a:prstGeom prst="triangle">
            <a:avLst>
              <a:gd name="adj" fmla="val 50232"/>
            </a:avLst>
          </a:prstGeom>
          <a:solidFill>
            <a:srgbClr val="3F5F1F"/>
          </a:solidFill>
        </p:spPr>
        <p:txBody>
          <a:bodyPr lIns="82058" tIns="41029" rIns="82058" bIns="41029"/>
          <a:lstStyle>
            <a:lvl1pPr>
              <a:defRPr lang="en-US">
                <a:solidFill>
                  <a:schemeClr val="tx2"/>
                </a:solidFill>
                <a:latin typeface="Arial" panose="020B0604020202020204" pitchFamily="34" charset="0"/>
                <a:cs typeface="Arial" panose="020B0604020202020204" pitchFamily="34" charset="0"/>
              </a:defRPr>
            </a:lvl1pPr>
          </a:lstStyle>
          <a:p>
            <a:r>
              <a:rPr lang="en-US" dirty="0"/>
              <a:t>`</a:t>
            </a:r>
          </a:p>
        </p:txBody>
      </p:sp>
      <p:sp>
        <p:nvSpPr>
          <p:cNvPr id="7" name="Text Placeholder 5"/>
          <p:cNvSpPr>
            <a:spLocks noGrp="1"/>
          </p:cNvSpPr>
          <p:nvPr>
            <p:ph type="body" sz="quarter" idx="29"/>
          </p:nvPr>
        </p:nvSpPr>
        <p:spPr>
          <a:xfrm>
            <a:off x="6138356" y="1008064"/>
            <a:ext cx="3317841" cy="4676161"/>
          </a:xfrm>
          <a:prstGeom prst="rect">
            <a:avLst/>
          </a:prstGeom>
        </p:spPr>
        <p:txBody>
          <a:bodyPr lIns="0" tIns="0" rIns="0" bIns="0" numCol="1"/>
          <a:lstStyle>
            <a:lvl1pPr marL="168274" indent="-168274" algn="just">
              <a:buFont typeface="Arial" pitchFamily="34" charset="0"/>
              <a:buChar char="•"/>
              <a:tabLst>
                <a:tab pos="3595378" algn="l"/>
              </a:tabLst>
              <a:defRPr sz="1400" baseline="0">
                <a:latin typeface="Arial" panose="020B0604020202020204" pitchFamily="34" charset="0"/>
                <a:cs typeface="Arial" panose="020B0604020202020204" pitchFamily="34" charset="0"/>
              </a:defRPr>
            </a:lvl1pPr>
            <a:lvl2pPr algn="just">
              <a:tabLst>
                <a:tab pos="3595378" algn="l"/>
              </a:tabLst>
              <a:defRPr sz="1108"/>
            </a:lvl2pPr>
            <a:lvl3pPr algn="just">
              <a:buFont typeface="Courier New" pitchFamily="49" charset="0"/>
              <a:buChar char="o"/>
              <a:tabLst>
                <a:tab pos="3595378" algn="l"/>
              </a:tabLst>
              <a:defRPr sz="1108"/>
            </a:lvl3pPr>
            <a:lvl4pPr algn="just">
              <a:tabLst>
                <a:tab pos="3595378" algn="l"/>
              </a:tabLst>
              <a:defRPr sz="1108"/>
            </a:lvl4pPr>
          </a:lstStyle>
          <a:p>
            <a:pPr lvl="0"/>
            <a:r>
              <a:rPr lang="en-US" dirty="0"/>
              <a:t>Click to edit Master text</a:t>
            </a:r>
          </a:p>
        </p:txBody>
      </p:sp>
      <p:sp>
        <p:nvSpPr>
          <p:cNvPr id="10"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234043590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4_Text">
  <p:cSld name="6_Text">
    <p:spTree>
      <p:nvGrpSpPr>
        <p:cNvPr id="1" name="Shape 73"/>
        <p:cNvGrpSpPr/>
        <p:nvPr/>
      </p:nvGrpSpPr>
      <p:grpSpPr>
        <a:xfrm>
          <a:off x="0" y="0"/>
          <a:ext cx="0" cy="0"/>
          <a:chOff x="0" y="0"/>
          <a:chExt cx="0" cy="0"/>
        </a:xfrm>
      </p:grpSpPr>
      <p:pic>
        <p:nvPicPr>
          <p:cNvPr id="74" name="Google Shape;74;p12"/>
          <p:cNvPicPr preferRelativeResize="0"/>
          <p:nvPr/>
        </p:nvPicPr>
        <p:blipFill rotWithShape="1">
          <a:blip r:embed="rId2">
            <a:alphaModFix/>
          </a:blip>
          <a:srcRect/>
          <a:stretch/>
        </p:blipFill>
        <p:spPr>
          <a:xfrm>
            <a:off x="1" y="3"/>
            <a:ext cx="156345" cy="140074"/>
          </a:xfrm>
          <a:prstGeom prst="rect">
            <a:avLst/>
          </a:prstGeom>
          <a:noFill/>
          <a:ln>
            <a:noFill/>
          </a:ln>
        </p:spPr>
      </p:pic>
      <p:sp>
        <p:nvSpPr>
          <p:cNvPr id="75" name="Google Shape;75;p12"/>
          <p:cNvSpPr txBox="1">
            <a:spLocks noGrp="1"/>
          </p:cNvSpPr>
          <p:nvPr>
            <p:ph type="title"/>
          </p:nvPr>
        </p:nvSpPr>
        <p:spPr>
          <a:xfrm>
            <a:off x="450741" y="134054"/>
            <a:ext cx="7245459" cy="582389"/>
          </a:xfrm>
          <a:prstGeom prst="rect">
            <a:avLst/>
          </a:prstGeom>
          <a:noFill/>
          <a:ln>
            <a:noFill/>
          </a:ln>
        </p:spPr>
        <p:txBody>
          <a:bodyPr spcFirstLastPara="1" wrap="square" lIns="0" tIns="0" rIns="0" bIns="0" anchor="b" anchorCtr="0"/>
          <a:lstStyle>
            <a:lvl1pPr marR="0" lvl="0" algn="l" rtl="0">
              <a:lnSpc>
                <a:spcPct val="90000"/>
              </a:lnSpc>
              <a:spcBef>
                <a:spcPts val="0"/>
              </a:spcBef>
              <a:spcAft>
                <a:spcPts val="0"/>
              </a:spcAft>
              <a:buClr>
                <a:schemeClr val="dk1"/>
              </a:buClr>
              <a:buSzPts val="2200"/>
              <a:buFont typeface="Arial"/>
              <a:buNone/>
              <a:defRPr sz="22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76" name="Google Shape;76;p12"/>
          <p:cNvSpPr txBox="1">
            <a:spLocks noGrp="1"/>
          </p:cNvSpPr>
          <p:nvPr>
            <p:ph type="body" idx="1"/>
          </p:nvPr>
        </p:nvSpPr>
        <p:spPr>
          <a:xfrm>
            <a:off x="450276" y="1066801"/>
            <a:ext cx="9005453" cy="5181599"/>
          </a:xfrm>
          <a:prstGeom prst="rect">
            <a:avLst/>
          </a:prstGeom>
          <a:noFill/>
          <a:ln>
            <a:noFill/>
          </a:ln>
        </p:spPr>
        <p:txBody>
          <a:bodyPr spcFirstLastPara="1" wrap="square" lIns="0" tIns="0" rIns="0" bIns="0" anchor="t" anchorCtr="0"/>
          <a:lstStyle>
            <a:lvl1pPr marL="457200" marR="0" lvl="0" indent="-330200" algn="l" rtl="0">
              <a:lnSpc>
                <a:spcPct val="90000"/>
              </a:lnSpc>
              <a:spcBef>
                <a:spcPts val="718"/>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17500" algn="l" rtl="0">
              <a:lnSpc>
                <a:spcPct val="90000"/>
              </a:lnSpc>
              <a:spcBef>
                <a:spcPts val="718"/>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2pPr>
            <a:lvl3pPr marL="1371600" marR="0" lvl="2" indent="-317500" algn="l" rtl="0">
              <a:lnSpc>
                <a:spcPct val="90000"/>
              </a:lnSpc>
              <a:spcBef>
                <a:spcPts val="500"/>
              </a:spcBef>
              <a:spcAft>
                <a:spcPts val="0"/>
              </a:spcAft>
              <a:buClr>
                <a:schemeClr val="dk1"/>
              </a:buClr>
              <a:buSzPts val="1400"/>
              <a:buFont typeface="Courier New"/>
              <a:buChar char="o"/>
              <a:defRPr sz="1400" b="0" i="0" u="none" strike="noStrike" cap="none">
                <a:solidFill>
                  <a:schemeClr val="dk1"/>
                </a:solidFill>
                <a:latin typeface="Arial"/>
                <a:ea typeface="Arial"/>
                <a:cs typeface="Arial"/>
                <a:sym typeface="Arial"/>
              </a:defRPr>
            </a:lvl3pPr>
            <a:lvl4pPr marL="1828800" marR="0" lvl="3" indent="-317500" algn="l" rtl="0">
              <a:lnSpc>
                <a:spcPct val="90000"/>
              </a:lnSpc>
              <a:spcBef>
                <a:spcPts val="5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393400305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7_Title Slide">
  <p:cSld name="8_Title Slide">
    <p:spTree>
      <p:nvGrpSpPr>
        <p:cNvPr id="1" name="Shape 84"/>
        <p:cNvGrpSpPr/>
        <p:nvPr/>
      </p:nvGrpSpPr>
      <p:grpSpPr>
        <a:xfrm>
          <a:off x="0" y="0"/>
          <a:ext cx="0" cy="0"/>
          <a:chOff x="0" y="0"/>
          <a:chExt cx="0" cy="0"/>
        </a:xfrm>
      </p:grpSpPr>
      <p:pic>
        <p:nvPicPr>
          <p:cNvPr id="85" name="Google Shape;85;p15"/>
          <p:cNvPicPr preferRelativeResize="0"/>
          <p:nvPr/>
        </p:nvPicPr>
        <p:blipFill rotWithShape="1">
          <a:blip r:embed="rId2">
            <a:alphaModFix/>
          </a:blip>
          <a:srcRect/>
          <a:stretch/>
        </p:blipFill>
        <p:spPr>
          <a:xfrm>
            <a:off x="1588" y="1588"/>
            <a:ext cx="1588" cy="1588"/>
          </a:xfrm>
          <a:prstGeom prst="rect">
            <a:avLst/>
          </a:prstGeom>
          <a:noFill/>
          <a:ln>
            <a:noFill/>
          </a:ln>
        </p:spPr>
      </p:pic>
      <p:sp>
        <p:nvSpPr>
          <p:cNvPr id="86" name="Google Shape;86;p15"/>
          <p:cNvSpPr txBox="1">
            <a:spLocks noGrp="1"/>
          </p:cNvSpPr>
          <p:nvPr>
            <p:ph type="body" idx="1"/>
          </p:nvPr>
        </p:nvSpPr>
        <p:spPr>
          <a:xfrm>
            <a:off x="450588" y="6055245"/>
            <a:ext cx="7702813" cy="386679"/>
          </a:xfrm>
          <a:prstGeom prst="rect">
            <a:avLst/>
          </a:prstGeom>
          <a:noFill/>
          <a:ln>
            <a:noFill/>
          </a:ln>
        </p:spPr>
        <p:txBody>
          <a:bodyPr spcFirstLastPara="1" wrap="square" lIns="0" tIns="0" rIns="0" bIns="0" anchor="b" anchorCtr="0"/>
          <a:lstStyle>
            <a:lvl1pPr marL="457200" marR="0" lvl="0" indent="-228600" algn="l" rtl="0">
              <a:lnSpc>
                <a:spcPct val="90000"/>
              </a:lnSpc>
              <a:spcBef>
                <a:spcPts val="1000"/>
              </a:spcBef>
              <a:spcAft>
                <a:spcPts val="0"/>
              </a:spcAft>
              <a:buClr>
                <a:schemeClr val="dk1"/>
              </a:buClr>
              <a:buSzPts val="923"/>
              <a:buFont typeface="Arial"/>
              <a:buNone/>
              <a:defRPr sz="922"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7" name="Google Shape;87;p15"/>
          <p:cNvSpPr txBox="1">
            <a:spLocks noGrp="1"/>
          </p:cNvSpPr>
          <p:nvPr>
            <p:ph type="body" idx="2"/>
          </p:nvPr>
        </p:nvSpPr>
        <p:spPr>
          <a:xfrm>
            <a:off x="450588" y="1277003"/>
            <a:ext cx="3602182" cy="201706"/>
          </a:xfrm>
          <a:prstGeom prst="rect">
            <a:avLst/>
          </a:prstGeom>
          <a:noFill/>
          <a:ln>
            <a:noFill/>
          </a:ln>
        </p:spPr>
        <p:txBody>
          <a:bodyPr spcFirstLastPara="1" wrap="square" lIns="0" tIns="0" rIns="0" bIns="0" anchor="t" anchorCtr="0"/>
          <a:lstStyle>
            <a:lvl1pPr marL="457200" marR="0" lvl="0" indent="-228600" algn="l" rtl="0">
              <a:lnSpc>
                <a:spcPct val="90000"/>
              </a:lnSpc>
              <a:spcBef>
                <a:spcPts val="10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1pPr>
            <a:lvl2pPr marL="914400" marR="0" lvl="1" indent="-298958" algn="l" rtl="0">
              <a:lnSpc>
                <a:spcPct val="90000"/>
              </a:lnSpc>
              <a:spcBef>
                <a:spcPts val="500"/>
              </a:spcBef>
              <a:spcAft>
                <a:spcPts val="0"/>
              </a:spcAft>
              <a:buClr>
                <a:schemeClr val="dk1"/>
              </a:buClr>
              <a:buSzPts val="1108"/>
              <a:buFont typeface="Arial"/>
              <a:buChar char="•"/>
              <a:defRPr sz="1108" b="0" i="0" u="none" strike="noStrike" cap="none">
                <a:solidFill>
                  <a:schemeClr val="dk1"/>
                </a:solidFill>
                <a:latin typeface="Calibri"/>
                <a:ea typeface="Calibri"/>
                <a:cs typeface="Calibri"/>
                <a:sym typeface="Calibri"/>
              </a:defRPr>
            </a:lvl2pPr>
            <a:lvl3pPr marL="1371600" marR="0" lvl="2" indent="-298958" algn="l" rtl="0">
              <a:lnSpc>
                <a:spcPct val="90000"/>
              </a:lnSpc>
              <a:spcBef>
                <a:spcPts val="500"/>
              </a:spcBef>
              <a:spcAft>
                <a:spcPts val="0"/>
              </a:spcAft>
              <a:buClr>
                <a:schemeClr val="dk1"/>
              </a:buClr>
              <a:buSzPts val="1108"/>
              <a:buFont typeface="Courier New"/>
              <a:buChar char="o"/>
              <a:defRPr sz="1108" b="0" i="0" u="none" strike="noStrike" cap="none">
                <a:solidFill>
                  <a:schemeClr val="dk1"/>
                </a:solidFill>
                <a:latin typeface="Calibri"/>
                <a:ea typeface="Calibri"/>
                <a:cs typeface="Calibri"/>
                <a:sym typeface="Calibri"/>
              </a:defRPr>
            </a:lvl3pPr>
            <a:lvl4pPr marL="1828800" marR="0" lvl="3" indent="-298958" algn="l" rtl="0">
              <a:lnSpc>
                <a:spcPct val="90000"/>
              </a:lnSpc>
              <a:spcBef>
                <a:spcPts val="500"/>
              </a:spcBef>
              <a:spcAft>
                <a:spcPts val="0"/>
              </a:spcAft>
              <a:buClr>
                <a:schemeClr val="dk1"/>
              </a:buClr>
              <a:buSzPts val="1108"/>
              <a:buFont typeface="Arial"/>
              <a:buChar char="•"/>
              <a:defRPr sz="1108"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8" name="Google Shape;88;p15"/>
          <p:cNvSpPr txBox="1">
            <a:spLocks noGrp="1"/>
          </p:cNvSpPr>
          <p:nvPr>
            <p:ph type="body" idx="3"/>
          </p:nvPr>
        </p:nvSpPr>
        <p:spPr>
          <a:xfrm>
            <a:off x="450588" y="1008063"/>
            <a:ext cx="3602182" cy="201706"/>
          </a:xfrm>
          <a:prstGeom prst="rect">
            <a:avLst/>
          </a:prstGeom>
          <a:noFill/>
          <a:ln>
            <a:noFill/>
          </a:ln>
        </p:spPr>
        <p:txBody>
          <a:bodyPr spcFirstLastPara="1" wrap="square" lIns="0" tIns="0" rIns="0" bIns="0" anchor="t" anchorCtr="0"/>
          <a:lstStyle>
            <a:lvl1pPr marL="457200" marR="0" lvl="0" indent="-228600" algn="l" rtl="0">
              <a:lnSpc>
                <a:spcPct val="90000"/>
              </a:lnSpc>
              <a:spcBef>
                <a:spcPts val="1000"/>
              </a:spcBef>
              <a:spcAft>
                <a:spcPts val="0"/>
              </a:spcAft>
              <a:buClr>
                <a:schemeClr val="dk1"/>
              </a:buClr>
              <a:buSzPts val="1400"/>
              <a:buFont typeface="Arial"/>
              <a:buNone/>
              <a:defRPr sz="1400" b="1"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9" name="Google Shape;89;p15"/>
          <p:cNvSpPr>
            <a:spLocks noGrp="1"/>
          </p:cNvSpPr>
          <p:nvPr>
            <p:ph type="dgm" idx="4"/>
          </p:nvPr>
        </p:nvSpPr>
        <p:spPr>
          <a:xfrm rot="5400000">
            <a:off x="4022002" y="3302283"/>
            <a:ext cx="3577155" cy="360462"/>
          </a:xfrm>
          <a:prstGeom prst="triangle">
            <a:avLst>
              <a:gd name="adj" fmla="val 50232"/>
            </a:avLst>
          </a:prstGeom>
          <a:solidFill>
            <a:srgbClr val="3F5F1F"/>
          </a:solidFill>
          <a:ln>
            <a:noFill/>
          </a:ln>
        </p:spPr>
        <p:txBody>
          <a:bodyPr spcFirstLastPara="1" wrap="square" lIns="82050" tIns="41025" rIns="82050" bIns="41025" anchor="t" anchorCtr="0"/>
          <a:lstStyle>
            <a:lvl1pPr marR="0" lvl="0" algn="l" rtl="0">
              <a:lnSpc>
                <a:spcPct val="90000"/>
              </a:lnSpc>
              <a:spcBef>
                <a:spcPts val="1000"/>
              </a:spcBef>
              <a:spcAft>
                <a:spcPts val="0"/>
              </a:spcAft>
              <a:buClr>
                <a:schemeClr val="dk2"/>
              </a:buClr>
              <a:buSzPts val="2800"/>
              <a:buFont typeface="Arial"/>
              <a:buChar char="•"/>
              <a:defRPr sz="2800" b="0" i="0" u="none" strike="noStrike" cap="none">
                <a:solidFill>
                  <a:schemeClr val="dk2"/>
                </a:solidFill>
                <a:latin typeface="Arial"/>
                <a:ea typeface="Arial"/>
                <a:cs typeface="Arial"/>
                <a:sym typeface="Arial"/>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90" name="Google Shape;90;p15"/>
          <p:cNvSpPr txBox="1">
            <a:spLocks noGrp="1"/>
          </p:cNvSpPr>
          <p:nvPr>
            <p:ph type="body" idx="5"/>
          </p:nvPr>
        </p:nvSpPr>
        <p:spPr>
          <a:xfrm>
            <a:off x="6138356" y="1008064"/>
            <a:ext cx="3317841" cy="4676161"/>
          </a:xfrm>
          <a:prstGeom prst="rect">
            <a:avLst/>
          </a:prstGeom>
          <a:noFill/>
          <a:ln>
            <a:noFill/>
          </a:ln>
        </p:spPr>
        <p:txBody>
          <a:bodyPr spcFirstLastPara="1" wrap="square" lIns="0" tIns="0" rIns="0" bIns="0" anchor="t" anchorCtr="0"/>
          <a:lstStyle>
            <a:lvl1pPr marL="457200" marR="0" lvl="0" indent="-317500" algn="just" rtl="0">
              <a:lnSpc>
                <a:spcPct val="90000"/>
              </a:lnSpc>
              <a:spcBef>
                <a:spcPts val="10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1pPr>
            <a:lvl2pPr marL="914400" marR="0" lvl="1" indent="-298958" algn="just" rtl="0">
              <a:lnSpc>
                <a:spcPct val="90000"/>
              </a:lnSpc>
              <a:spcBef>
                <a:spcPts val="500"/>
              </a:spcBef>
              <a:spcAft>
                <a:spcPts val="0"/>
              </a:spcAft>
              <a:buClr>
                <a:schemeClr val="dk1"/>
              </a:buClr>
              <a:buSzPts val="1108"/>
              <a:buFont typeface="Arial"/>
              <a:buChar char="•"/>
              <a:defRPr sz="1108" b="0" i="0" u="none" strike="noStrike" cap="none">
                <a:solidFill>
                  <a:schemeClr val="dk1"/>
                </a:solidFill>
                <a:latin typeface="Calibri"/>
                <a:ea typeface="Calibri"/>
                <a:cs typeface="Calibri"/>
                <a:sym typeface="Calibri"/>
              </a:defRPr>
            </a:lvl2pPr>
            <a:lvl3pPr marL="1371600" marR="0" lvl="2" indent="-298958" algn="just" rtl="0">
              <a:lnSpc>
                <a:spcPct val="90000"/>
              </a:lnSpc>
              <a:spcBef>
                <a:spcPts val="500"/>
              </a:spcBef>
              <a:spcAft>
                <a:spcPts val="0"/>
              </a:spcAft>
              <a:buClr>
                <a:schemeClr val="dk1"/>
              </a:buClr>
              <a:buSzPts val="1108"/>
              <a:buFont typeface="Courier New"/>
              <a:buChar char="o"/>
              <a:defRPr sz="1108" b="0" i="0" u="none" strike="noStrike" cap="none">
                <a:solidFill>
                  <a:schemeClr val="dk1"/>
                </a:solidFill>
                <a:latin typeface="Calibri"/>
                <a:ea typeface="Calibri"/>
                <a:cs typeface="Calibri"/>
                <a:sym typeface="Calibri"/>
              </a:defRPr>
            </a:lvl3pPr>
            <a:lvl4pPr marL="1828800" marR="0" lvl="3" indent="-298958" algn="just" rtl="0">
              <a:lnSpc>
                <a:spcPct val="90000"/>
              </a:lnSpc>
              <a:spcBef>
                <a:spcPts val="500"/>
              </a:spcBef>
              <a:spcAft>
                <a:spcPts val="0"/>
              </a:spcAft>
              <a:buClr>
                <a:schemeClr val="dk1"/>
              </a:buClr>
              <a:buSzPts val="1108"/>
              <a:buFont typeface="Arial"/>
              <a:buChar char="•"/>
              <a:defRPr sz="1108"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1" name="Google Shape;91;p15"/>
          <p:cNvSpPr txBox="1">
            <a:spLocks noGrp="1"/>
          </p:cNvSpPr>
          <p:nvPr>
            <p:ph type="title"/>
          </p:nvPr>
        </p:nvSpPr>
        <p:spPr>
          <a:xfrm>
            <a:off x="450741" y="134054"/>
            <a:ext cx="7245459" cy="582389"/>
          </a:xfrm>
          <a:prstGeom prst="rect">
            <a:avLst/>
          </a:prstGeom>
          <a:noFill/>
          <a:ln>
            <a:noFill/>
          </a:ln>
        </p:spPr>
        <p:txBody>
          <a:bodyPr spcFirstLastPara="1" wrap="square" lIns="0" tIns="0" rIns="0" bIns="0" anchor="b" anchorCtr="0"/>
          <a:lstStyle>
            <a:lvl1pPr marR="0" lvl="0" algn="l" rtl="0">
              <a:lnSpc>
                <a:spcPct val="90000"/>
              </a:lnSpc>
              <a:spcBef>
                <a:spcPts val="0"/>
              </a:spcBef>
              <a:spcAft>
                <a:spcPts val="0"/>
              </a:spcAft>
              <a:buClr>
                <a:schemeClr val="dk1"/>
              </a:buClr>
              <a:buSzPts val="2200"/>
              <a:buFont typeface="Arial"/>
              <a:buNone/>
              <a:defRPr sz="22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extLst>
      <p:ext uri="{BB962C8B-B14F-4D97-AF65-F5344CB8AC3E}">
        <p14:creationId xmlns:p14="http://schemas.microsoft.com/office/powerpoint/2010/main" val="169607458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3_Text">
  <p:cSld name="6_Text">
    <p:spTree>
      <p:nvGrpSpPr>
        <p:cNvPr id="1" name="Shape 69"/>
        <p:cNvGrpSpPr/>
        <p:nvPr/>
      </p:nvGrpSpPr>
      <p:grpSpPr>
        <a:xfrm>
          <a:off x="0" y="0"/>
          <a:ext cx="0" cy="0"/>
          <a:chOff x="0" y="0"/>
          <a:chExt cx="0" cy="0"/>
        </a:xfrm>
      </p:grpSpPr>
      <p:pic>
        <p:nvPicPr>
          <p:cNvPr id="70" name="Google Shape;70;p11"/>
          <p:cNvPicPr preferRelativeResize="0"/>
          <p:nvPr/>
        </p:nvPicPr>
        <p:blipFill rotWithShape="1">
          <a:blip r:embed="rId2">
            <a:alphaModFix/>
          </a:blip>
          <a:srcRect/>
          <a:stretch/>
        </p:blipFill>
        <p:spPr>
          <a:xfrm>
            <a:off x="1" y="3"/>
            <a:ext cx="156345" cy="140074"/>
          </a:xfrm>
          <a:prstGeom prst="rect">
            <a:avLst/>
          </a:prstGeom>
          <a:noFill/>
          <a:ln>
            <a:noFill/>
          </a:ln>
        </p:spPr>
      </p:pic>
      <p:sp>
        <p:nvSpPr>
          <p:cNvPr id="71" name="Google Shape;71;p11"/>
          <p:cNvSpPr txBox="1">
            <a:spLocks noGrp="1"/>
          </p:cNvSpPr>
          <p:nvPr>
            <p:ph type="body" idx="1"/>
          </p:nvPr>
        </p:nvSpPr>
        <p:spPr>
          <a:xfrm>
            <a:off x="450588" y="6055245"/>
            <a:ext cx="7702813" cy="386679"/>
          </a:xfrm>
          <a:prstGeom prst="rect">
            <a:avLst/>
          </a:prstGeom>
          <a:noFill/>
          <a:ln>
            <a:noFill/>
          </a:ln>
        </p:spPr>
        <p:txBody>
          <a:bodyPr spcFirstLastPara="1" wrap="square" lIns="0" tIns="0" rIns="0" bIns="0" anchor="b" anchorCtr="0"/>
          <a:lstStyle>
            <a:lvl1pPr marL="457200" marR="0" lvl="0" indent="-228600" algn="l" rtl="0">
              <a:lnSpc>
                <a:spcPct val="90000"/>
              </a:lnSpc>
              <a:spcBef>
                <a:spcPts val="1000"/>
              </a:spcBef>
              <a:spcAft>
                <a:spcPts val="0"/>
              </a:spcAft>
              <a:buClr>
                <a:schemeClr val="dk1"/>
              </a:buClr>
              <a:buSzPts val="923"/>
              <a:buFont typeface="Arial"/>
              <a:buNone/>
              <a:defRPr sz="922"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72" name="Google Shape;72;p11"/>
          <p:cNvSpPr txBox="1">
            <a:spLocks noGrp="1"/>
          </p:cNvSpPr>
          <p:nvPr>
            <p:ph type="title"/>
          </p:nvPr>
        </p:nvSpPr>
        <p:spPr>
          <a:xfrm>
            <a:off x="450741" y="134054"/>
            <a:ext cx="7245459" cy="582389"/>
          </a:xfrm>
          <a:prstGeom prst="rect">
            <a:avLst/>
          </a:prstGeom>
          <a:noFill/>
          <a:ln>
            <a:noFill/>
          </a:ln>
        </p:spPr>
        <p:txBody>
          <a:bodyPr spcFirstLastPara="1" wrap="square" lIns="0" tIns="0" rIns="0" bIns="0" anchor="b" anchorCtr="0"/>
          <a:lstStyle>
            <a:lvl1pPr marR="0" lvl="0" algn="l" rtl="0">
              <a:lnSpc>
                <a:spcPct val="90000"/>
              </a:lnSpc>
              <a:spcBef>
                <a:spcPts val="0"/>
              </a:spcBef>
              <a:spcAft>
                <a:spcPts val="0"/>
              </a:spcAft>
              <a:buClr>
                <a:schemeClr val="dk1"/>
              </a:buClr>
              <a:buSzPts val="2200"/>
              <a:buFont typeface="Arial"/>
              <a:buNone/>
              <a:defRPr sz="22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extLst>
      <p:ext uri="{BB962C8B-B14F-4D97-AF65-F5344CB8AC3E}">
        <p14:creationId xmlns:p14="http://schemas.microsoft.com/office/powerpoint/2010/main" val="299977060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53262"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721" y="1589"/>
                        <a:ext cx="1719" cy="1587"/>
                      </a:xfrm>
                      <a:prstGeom prst="rect">
                        <a:avLst/>
                      </a:prstGeom>
                    </p:spPr>
                  </p:pic>
                </p:oleObj>
              </mc:Fallback>
            </mc:AlternateContent>
          </a:graphicData>
        </a:graphic>
      </p:graphicFrame>
      <p:sp>
        <p:nvSpPr>
          <p:cNvPr id="10"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3">
              <a:buClrTx/>
              <a:buFontTx/>
              <a:buNone/>
            </a:pPr>
            <a:endParaRPr lang="en-US" kern="1200" dirty="0">
              <a:solidFill>
                <a:prstClr val="black"/>
              </a:solidFill>
            </a:endParaRPr>
          </a:p>
        </p:txBody>
      </p:sp>
      <p:sp>
        <p:nvSpPr>
          <p:cNvPr id="2" name="McK 2. Slide Title"/>
          <p:cNvSpPr>
            <a:spLocks noGrp="1"/>
          </p:cNvSpPr>
          <p:nvPr>
            <p:ph type="title"/>
          </p:nvPr>
        </p:nvSpPr>
        <p:spPr>
          <a:xfrm>
            <a:off x="247650" y="388621"/>
            <a:ext cx="8007350" cy="292388"/>
          </a:xfrm>
          <a:prstGeom prst="rect">
            <a:avLst/>
          </a:prstGeom>
        </p:spPr>
        <p:txBody>
          <a:bodyPr/>
          <a:lstStyle>
            <a:lvl1pPr>
              <a:defRPr sz="1900"/>
            </a:lvl1pPr>
          </a:lstStyle>
          <a:p>
            <a:r>
              <a:rPr lang="en-US" dirty="0"/>
              <a:t>Click to edit Master title style</a:t>
            </a:r>
          </a:p>
        </p:txBody>
      </p:sp>
    </p:spTree>
    <p:extLst>
      <p:ext uri="{BB962C8B-B14F-4D97-AF65-F5344CB8AC3E}">
        <p14:creationId xmlns:p14="http://schemas.microsoft.com/office/powerpoint/2010/main" val="183417033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55310"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prstClr val="white"/>
              </a:solidFill>
              <a:cs typeface="Arial" panose="020B0604020202020204" pitchFamily="34" charset="0"/>
              <a:sym typeface="Calibri" panose="020F0502020204030204" pitchFamily="34" charset="0"/>
            </a:endParaRPr>
          </a:p>
        </p:txBody>
      </p:sp>
      <p:sp>
        <p:nvSpPr>
          <p:cNvPr id="6" name="Title 1"/>
          <p:cNvSpPr>
            <a:spLocks noGrp="1"/>
          </p:cNvSpPr>
          <p:nvPr>
            <p:ph type="title" hasCustomPrompt="1"/>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Style</a:t>
            </a:r>
            <a:endParaRPr lang="en-US" dirty="0"/>
          </a:p>
        </p:txBody>
      </p:sp>
      <p:sp>
        <p:nvSpPr>
          <p:cNvPr id="5" name="Text Placeholder 7"/>
          <p:cNvSpPr>
            <a:spLocks noGrp="1"/>
          </p:cNvSpPr>
          <p:nvPr>
            <p:ph type="body" sz="quarter" idx="13" hasCustomPrompt="1"/>
          </p:nvPr>
        </p:nvSpPr>
        <p:spPr>
          <a:xfrm>
            <a:off x="450276" y="1066801"/>
            <a:ext cx="9005453" cy="5181599"/>
          </a:xfrm>
          <a:prstGeom prst="rect">
            <a:avLst/>
          </a:prstGeom>
        </p:spPr>
        <p:txBody>
          <a:bodyPr lIns="0" tIns="0" rIns="0" bIns="0">
            <a:noAutofit/>
          </a:bodyPr>
          <a:lstStyle>
            <a:lvl1pPr marL="173037" indent="-173037">
              <a:spcBef>
                <a:spcPts val="718"/>
              </a:spcBef>
              <a:defRPr sz="1600" baseline="0">
                <a:latin typeface="Arial" panose="020B0604020202020204" pitchFamily="34" charset="0"/>
                <a:cs typeface="Arial" panose="020B0604020202020204" pitchFamily="34" charset="0"/>
              </a:defRPr>
            </a:lvl1pPr>
            <a:lvl2pPr marL="347661" indent="-174624">
              <a:spcBef>
                <a:spcPts val="718"/>
              </a:spcBef>
              <a:buFont typeface="Wingdings" panose="05000000000000000000" pitchFamily="2" charset="2"/>
              <a:buChar char="ü"/>
              <a:defRPr sz="1400">
                <a:latin typeface="Arial" panose="020B0604020202020204" pitchFamily="34" charset="0"/>
                <a:cs typeface="Arial" panose="020B0604020202020204" pitchFamily="34" charset="0"/>
              </a:defRPr>
            </a:lvl2pPr>
            <a:lvl3pPr marL="509585" indent="-161924">
              <a:buFont typeface="Courier New" pitchFamily="49" charset="0"/>
              <a:buChar char="o"/>
              <a:defRPr sz="1400">
                <a:latin typeface="Arial" panose="020B0604020202020204" pitchFamily="34" charset="0"/>
                <a:cs typeface="Arial" panose="020B0604020202020204" pitchFamily="34" charset="0"/>
              </a:defRPr>
            </a:lvl3pPr>
            <a:lvl4pPr marL="682621" indent="-173037">
              <a:defRPr sz="1400">
                <a:latin typeface="Arial" panose="020B0604020202020204" pitchFamily="34" charset="0"/>
                <a:cs typeface="Arial" panose="020B0604020202020204" pitchFamily="34" charset="0"/>
              </a:defRPr>
            </a:lvl4pPr>
            <a:lvl5pPr>
              <a:defRPr sz="1800"/>
            </a:lvl5pPr>
          </a:lstStyle>
          <a:p>
            <a:pPr lvl="0"/>
            <a:r>
              <a:rPr lang="en-US" dirty="0"/>
              <a:t>Click to edit Master text first level</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643529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56334"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prstClr val="white"/>
              </a:solidFill>
              <a:cs typeface="Arial" panose="020B0604020202020204" pitchFamily="34" charset="0"/>
              <a:sym typeface="Calibri" panose="020F0502020204030204" pitchFamily="34" charset="0"/>
            </a:endParaRPr>
          </a:p>
        </p:txBody>
      </p:sp>
      <p:sp>
        <p:nvSpPr>
          <p:cNvPr id="6"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26510814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Standard/Deliverable Cover Page">
  <p:cSld name="Standard/Deliverable Cover Page">
    <p:bg>
      <p:bgPr>
        <a:solidFill>
          <a:schemeClr val="lt1"/>
        </a:solidFill>
        <a:effectLst/>
      </p:bgPr>
    </p:bg>
    <p:spTree>
      <p:nvGrpSpPr>
        <p:cNvPr id="1" name="Shape 41"/>
        <p:cNvGrpSpPr/>
        <p:nvPr/>
      </p:nvGrpSpPr>
      <p:grpSpPr>
        <a:xfrm>
          <a:off x="0" y="0"/>
          <a:ext cx="0" cy="0"/>
          <a:chOff x="0" y="0"/>
          <a:chExt cx="0" cy="0"/>
        </a:xfrm>
      </p:grpSpPr>
      <p:pic>
        <p:nvPicPr>
          <p:cNvPr id="42" name="Google Shape;42;p7"/>
          <p:cNvPicPr preferRelativeResize="0"/>
          <p:nvPr/>
        </p:nvPicPr>
        <p:blipFill rotWithShape="1">
          <a:blip r:embed="rId2">
            <a:alphaModFix/>
          </a:blip>
          <a:srcRect/>
          <a:stretch/>
        </p:blipFill>
        <p:spPr>
          <a:xfrm>
            <a:off x="0" y="0"/>
            <a:ext cx="171979" cy="158750"/>
          </a:xfrm>
          <a:prstGeom prst="rect">
            <a:avLst/>
          </a:prstGeom>
          <a:noFill/>
          <a:ln>
            <a:noFill/>
          </a:ln>
        </p:spPr>
      </p:pic>
      <p:sp>
        <p:nvSpPr>
          <p:cNvPr id="43" name="Google Shape;43;p7"/>
          <p:cNvSpPr txBox="1">
            <a:spLocks noGrp="1"/>
          </p:cNvSpPr>
          <p:nvPr>
            <p:ph type="ctrTitle"/>
          </p:nvPr>
        </p:nvSpPr>
        <p:spPr>
          <a:xfrm>
            <a:off x="1058260" y="1795999"/>
            <a:ext cx="8397935" cy="1156710"/>
          </a:xfrm>
          <a:prstGeom prst="rect">
            <a:avLst/>
          </a:prstGeom>
          <a:noFill/>
          <a:ln>
            <a:noFill/>
          </a:ln>
        </p:spPr>
        <p:txBody>
          <a:bodyPr spcFirstLastPara="1" wrap="square" lIns="0" tIns="0" rIns="0" bIns="0" anchor="t" anchorCtr="0"/>
          <a:lstStyle>
            <a:lvl1pPr marR="0" lvl="0" algn="l" rtl="0">
              <a:lnSpc>
                <a:spcPct val="90000"/>
              </a:lnSpc>
              <a:spcBef>
                <a:spcPts val="0"/>
              </a:spcBef>
              <a:spcAft>
                <a:spcPts val="0"/>
              </a:spcAft>
              <a:buClr>
                <a:srgbClr val="385623"/>
              </a:buClr>
              <a:buSzPts val="2800"/>
              <a:buFont typeface="Arial"/>
              <a:buNone/>
              <a:defRPr sz="2800" b="1" i="0" u="none" strike="noStrike" cap="none">
                <a:solidFill>
                  <a:srgbClr val="385623"/>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44" name="Google Shape;44;p7"/>
          <p:cNvSpPr txBox="1">
            <a:spLocks noGrp="1"/>
          </p:cNvSpPr>
          <p:nvPr>
            <p:ph type="subTitle" idx="1"/>
          </p:nvPr>
        </p:nvSpPr>
        <p:spPr>
          <a:xfrm>
            <a:off x="1058260" y="2952712"/>
            <a:ext cx="8397935" cy="656824"/>
          </a:xfrm>
          <a:prstGeom prst="rect">
            <a:avLst/>
          </a:prstGeom>
          <a:noFill/>
          <a:ln>
            <a:noFill/>
          </a:ln>
        </p:spPr>
        <p:txBody>
          <a:bodyPr spcFirstLastPara="1" wrap="square" lIns="0" tIns="0" rIns="0" bIns="0" anchor="t" anchorCtr="0"/>
          <a:lstStyle>
            <a:lvl1pPr marR="0" lvl="0" algn="l" rtl="0">
              <a:lnSpc>
                <a:spcPct val="90000"/>
              </a:lnSpc>
              <a:spcBef>
                <a:spcPts val="1000"/>
              </a:spcBef>
              <a:spcAft>
                <a:spcPts val="0"/>
              </a:spcAft>
              <a:buClr>
                <a:srgbClr val="548135"/>
              </a:buClr>
              <a:buSzPts val="2200"/>
              <a:buFont typeface="Arial"/>
              <a:buNone/>
              <a:defRPr sz="2200" b="0" i="1" u="none" strike="noStrike" cap="none">
                <a:solidFill>
                  <a:srgbClr val="548135"/>
                </a:solidFill>
                <a:latin typeface="Arial"/>
                <a:ea typeface="Arial"/>
                <a:cs typeface="Arial"/>
                <a:sym typeface="Arial"/>
              </a:defRPr>
            </a:lvl1pPr>
            <a:lvl2pPr marR="0" lvl="1" algn="ctr" rtl="0">
              <a:lnSpc>
                <a:spcPct val="90000"/>
              </a:lnSpc>
              <a:spcBef>
                <a:spcPts val="500"/>
              </a:spcBef>
              <a:spcAft>
                <a:spcPts val="0"/>
              </a:spcAft>
              <a:buClr>
                <a:srgbClr val="888888"/>
              </a:buClr>
              <a:buSzPts val="2400"/>
              <a:buFont typeface="Arial"/>
              <a:buNone/>
              <a:defRPr sz="2400" b="0" i="0" u="none" strike="noStrike" cap="none">
                <a:solidFill>
                  <a:srgbClr val="888888"/>
                </a:solidFill>
                <a:latin typeface="Calibri"/>
                <a:ea typeface="Calibri"/>
                <a:cs typeface="Calibri"/>
                <a:sym typeface="Calibri"/>
              </a:defRPr>
            </a:lvl2pPr>
            <a:lvl3pPr marR="0" lvl="2" algn="ctr" rtl="0">
              <a:lnSpc>
                <a:spcPct val="90000"/>
              </a:lnSpc>
              <a:spcBef>
                <a:spcPts val="500"/>
              </a:spcBef>
              <a:spcAft>
                <a:spcPts val="0"/>
              </a:spcAft>
              <a:buClr>
                <a:srgbClr val="888888"/>
              </a:buClr>
              <a:buSzPts val="2000"/>
              <a:buFont typeface="Arial"/>
              <a:buNone/>
              <a:defRPr sz="2000" b="0" i="0" u="none" strike="noStrike" cap="none">
                <a:solidFill>
                  <a:srgbClr val="888888"/>
                </a:solidFill>
                <a:latin typeface="Calibri"/>
                <a:ea typeface="Calibri"/>
                <a:cs typeface="Calibri"/>
                <a:sym typeface="Calibri"/>
              </a:defRPr>
            </a:lvl3pPr>
            <a:lvl4pPr marR="0" lvl="3"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4pPr>
            <a:lvl5pPr marR="0" lvl="4"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5pPr>
            <a:lvl6pPr marR="0" lvl="5"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6pPr>
            <a:lvl7pPr marR="0" lvl="6"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7pPr>
            <a:lvl8pPr marR="0" lvl="7"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8pPr>
            <a:lvl9pPr marR="0" lvl="8"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9pPr>
          </a:lstStyle>
          <a:p>
            <a:endParaRPr/>
          </a:p>
        </p:txBody>
      </p:sp>
      <p:sp>
        <p:nvSpPr>
          <p:cNvPr id="45" name="Google Shape;45;p7"/>
          <p:cNvSpPr txBox="1">
            <a:spLocks noGrp="1"/>
          </p:cNvSpPr>
          <p:nvPr>
            <p:ph type="body" idx="2"/>
          </p:nvPr>
        </p:nvSpPr>
        <p:spPr>
          <a:xfrm>
            <a:off x="1058365" y="3962400"/>
            <a:ext cx="8397831" cy="372821"/>
          </a:xfrm>
          <a:prstGeom prst="rect">
            <a:avLst/>
          </a:prstGeom>
          <a:noFill/>
          <a:ln>
            <a:noFill/>
          </a:ln>
        </p:spPr>
        <p:txBody>
          <a:bodyPr spcFirstLastPara="1" wrap="square" lIns="0" tIns="0" rIns="0" bIns="0" anchor="t" anchorCtr="0"/>
          <a:lstStyle>
            <a:lvl1pPr marL="457200" marR="0" lvl="0" indent="-228600" algn="l" rtl="0">
              <a:lnSpc>
                <a:spcPct val="90000"/>
              </a:lnSpc>
              <a:spcBef>
                <a:spcPts val="1000"/>
              </a:spcBef>
              <a:spcAft>
                <a:spcPts val="0"/>
              </a:spcAft>
              <a:buClr>
                <a:srgbClr val="548135"/>
              </a:buClr>
              <a:buSzPts val="1800"/>
              <a:buFont typeface="Arial"/>
              <a:buNone/>
              <a:defRPr sz="1800" b="0" i="0" u="none" strike="noStrike" cap="none">
                <a:solidFill>
                  <a:srgbClr val="548135"/>
                </a:solidFill>
                <a:latin typeface="Arial"/>
                <a:ea typeface="Arial"/>
                <a:cs typeface="Arial"/>
                <a:sym typeface="Arial"/>
              </a:defRPr>
            </a:lvl1pPr>
            <a:lvl2pPr marL="914400" marR="0" lvl="1"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2pPr>
            <a:lvl3pPr marL="1371600" marR="0" lvl="2"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6" name="Google Shape;46;p7"/>
          <p:cNvSpPr/>
          <p:nvPr/>
        </p:nvSpPr>
        <p:spPr>
          <a:xfrm>
            <a:off x="457200" y="1795999"/>
            <a:ext cx="457200" cy="365736"/>
          </a:xfrm>
          <a:prstGeom prst="rect">
            <a:avLst/>
          </a:prstGeom>
          <a:solidFill>
            <a:srgbClr val="38562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dirty="0">
              <a:solidFill>
                <a:srgbClr val="FFFFFF"/>
              </a:solidFill>
              <a:latin typeface="Calibri"/>
              <a:ea typeface="Calibri"/>
              <a:cs typeface="Calibri"/>
              <a:sym typeface="Calibri"/>
            </a:endParaRPr>
          </a:p>
        </p:txBody>
      </p:sp>
      <p:pic>
        <p:nvPicPr>
          <p:cNvPr id="47" name="Google Shape;47;p7"/>
          <p:cNvPicPr preferRelativeResize="0"/>
          <p:nvPr/>
        </p:nvPicPr>
        <p:blipFill rotWithShape="1">
          <a:blip r:embed="rId3">
            <a:alphaModFix/>
          </a:blip>
          <a:srcRect/>
          <a:stretch/>
        </p:blipFill>
        <p:spPr>
          <a:xfrm>
            <a:off x="0" y="5947172"/>
            <a:ext cx="9906000" cy="910828"/>
          </a:xfrm>
          <a:prstGeom prst="rect">
            <a:avLst/>
          </a:prstGeom>
          <a:noFill/>
          <a:ln>
            <a:noFill/>
          </a:ln>
        </p:spPr>
      </p:pic>
      <p:cxnSp>
        <p:nvCxnSpPr>
          <p:cNvPr id="48" name="Google Shape;48;p7"/>
          <p:cNvCxnSpPr/>
          <p:nvPr/>
        </p:nvCxnSpPr>
        <p:spPr>
          <a:xfrm>
            <a:off x="1058260" y="3777482"/>
            <a:ext cx="8397935" cy="0"/>
          </a:xfrm>
          <a:prstGeom prst="straightConnector1">
            <a:avLst/>
          </a:prstGeom>
          <a:noFill/>
          <a:ln w="28575" cap="flat" cmpd="sng">
            <a:solidFill>
              <a:srgbClr val="385623"/>
            </a:solidFill>
            <a:prstDash val="solid"/>
            <a:miter lim="800000"/>
            <a:headEnd type="none" w="sm" len="sm"/>
            <a:tailEnd type="none" w="sm" len="sm"/>
          </a:ln>
        </p:spPr>
      </p:cxn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57358"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prstClr val="white"/>
              </a:solidFill>
              <a:cs typeface="Arial" panose="020B0604020202020204" pitchFamily="34" charset="0"/>
              <a:sym typeface="Calibri" panose="020F0502020204030204" pitchFamily="34" charset="0"/>
            </a:endParaRPr>
          </a:p>
        </p:txBody>
      </p:sp>
      <p:sp>
        <p:nvSpPr>
          <p:cNvPr id="6"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
        <p:nvSpPr>
          <p:cNvPr id="5" name="Text Placeholder 7"/>
          <p:cNvSpPr>
            <a:spLocks noGrp="1"/>
          </p:cNvSpPr>
          <p:nvPr>
            <p:ph type="body" sz="quarter" idx="13" hasCustomPrompt="1"/>
          </p:nvPr>
        </p:nvSpPr>
        <p:spPr>
          <a:xfrm>
            <a:off x="450276" y="1066801"/>
            <a:ext cx="9005453" cy="4876799"/>
          </a:xfrm>
          <a:prstGeom prst="rect">
            <a:avLst/>
          </a:prstGeom>
        </p:spPr>
        <p:txBody>
          <a:bodyPr lIns="0" tIns="0" rIns="0" bIns="0">
            <a:noAutofit/>
          </a:bodyPr>
          <a:lstStyle>
            <a:lvl1pPr marL="173037" indent="-173037">
              <a:spcBef>
                <a:spcPts val="718"/>
              </a:spcBef>
              <a:defRPr sz="1600" baseline="0">
                <a:latin typeface="Arial" panose="020B0604020202020204" pitchFamily="34" charset="0"/>
                <a:cs typeface="Arial" panose="020B0604020202020204" pitchFamily="34" charset="0"/>
              </a:defRPr>
            </a:lvl1pPr>
            <a:lvl2pPr marL="347661" indent="-174624">
              <a:spcBef>
                <a:spcPts val="718"/>
              </a:spcBef>
              <a:buFont typeface="Wingdings" panose="05000000000000000000" pitchFamily="2" charset="2"/>
              <a:buChar char="ü"/>
              <a:defRPr sz="1400">
                <a:latin typeface="Arial" panose="020B0604020202020204" pitchFamily="34" charset="0"/>
                <a:cs typeface="Arial" panose="020B0604020202020204" pitchFamily="34" charset="0"/>
              </a:defRPr>
            </a:lvl2pPr>
            <a:lvl3pPr marL="509585" indent="-161924">
              <a:buFont typeface="Courier New" pitchFamily="49" charset="0"/>
              <a:buChar char="o"/>
              <a:defRPr sz="1400">
                <a:latin typeface="Arial" panose="020B0604020202020204" pitchFamily="34" charset="0"/>
                <a:cs typeface="Arial" panose="020B0604020202020204" pitchFamily="34" charset="0"/>
              </a:defRPr>
            </a:lvl3pPr>
            <a:lvl4pPr marL="682621" indent="-173037">
              <a:defRPr sz="1400">
                <a:latin typeface="Arial" panose="020B0604020202020204" pitchFamily="34" charset="0"/>
                <a:cs typeface="Arial" panose="020B0604020202020204" pitchFamily="34" charset="0"/>
              </a:defRPr>
            </a:lvl4pPr>
            <a:lvl5pPr>
              <a:defRPr sz="1800"/>
            </a:lvl5pPr>
          </a:lstStyle>
          <a:p>
            <a:pPr lvl="0"/>
            <a:r>
              <a:rPr lang="en-US" dirty="0"/>
              <a:t>Click to edit Master text first level</a:t>
            </a:r>
          </a:p>
          <a:p>
            <a:pPr lvl="1"/>
            <a:r>
              <a:rPr lang="en-US" dirty="0"/>
              <a:t>Second level</a:t>
            </a:r>
          </a:p>
          <a:p>
            <a:pPr lvl="2"/>
            <a:r>
              <a:rPr lang="en-US" dirty="0"/>
              <a:t>Third level</a:t>
            </a:r>
          </a:p>
          <a:p>
            <a:pPr lvl="3"/>
            <a:r>
              <a:rPr lang="en-US" dirty="0"/>
              <a:t>Fourth level</a:t>
            </a:r>
          </a:p>
        </p:txBody>
      </p:sp>
      <p:sp>
        <p:nvSpPr>
          <p:cNvPr id="9"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Tree>
    <p:extLst>
      <p:ext uri="{BB962C8B-B14F-4D97-AF65-F5344CB8AC3E}">
        <p14:creationId xmlns:p14="http://schemas.microsoft.com/office/powerpoint/2010/main" val="404730645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58382"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prstClr val="white"/>
              </a:solidFill>
              <a:cs typeface="Arial" panose="020B0604020202020204" pitchFamily="34" charset="0"/>
              <a:sym typeface="Calibri" panose="020F0502020204030204" pitchFamily="34" charset="0"/>
            </a:endParaRPr>
          </a:p>
        </p:txBody>
      </p:sp>
      <p:sp>
        <p:nvSpPr>
          <p:cNvPr id="9"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
        <p:nvSpPr>
          <p:cNvPr id="10"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192913110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06"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srgbClr val="70AD47">
                  <a:lumMod val="50000"/>
                </a:srgbClr>
              </a:solidFill>
              <a:cs typeface="Arial" panose="020B0604020202020204" pitchFamily="34" charset="0"/>
              <a:sym typeface="Calibri" panose="020F0502020204030204" pitchFamily="34" charset="0"/>
            </a:endParaRPr>
          </a:p>
        </p:txBody>
      </p:sp>
      <p:sp>
        <p:nvSpPr>
          <p:cNvPr id="4" name="SmartArt Placeholder 26"/>
          <p:cNvSpPr>
            <a:spLocks noGrp="1"/>
          </p:cNvSpPr>
          <p:nvPr>
            <p:ph type="dgm" sz="quarter" idx="18" hasCustomPrompt="1"/>
          </p:nvPr>
        </p:nvSpPr>
        <p:spPr>
          <a:xfrm>
            <a:off x="1350818" y="922317"/>
            <a:ext cx="7204364" cy="4639235"/>
          </a:xfrm>
          <a:prstGeom prst="rect">
            <a:avLst/>
          </a:prstGeom>
          <a:ln w="9525">
            <a:solidFill>
              <a:schemeClr val="tx1"/>
            </a:solidFill>
          </a:ln>
        </p:spPr>
        <p:txBody>
          <a:bodyPr lIns="82058" tIns="41029" rIns="82058" bIns="41029"/>
          <a:lstStyle>
            <a:lvl1pPr>
              <a:defRPr>
                <a:solidFill>
                  <a:schemeClr val="bg2"/>
                </a:solidFill>
                <a:latin typeface="Arial" panose="020B0604020202020204" pitchFamily="34" charset="0"/>
                <a:cs typeface="Arial" panose="020B0604020202020204" pitchFamily="34" charset="0"/>
              </a:defRPr>
            </a:lvl1pPr>
          </a:lstStyle>
          <a:p>
            <a:r>
              <a:rPr lang="en-US" dirty="0"/>
              <a:t>`</a:t>
            </a:r>
          </a:p>
        </p:txBody>
      </p:sp>
      <p:cxnSp>
        <p:nvCxnSpPr>
          <p:cNvPr id="5" name="Straight Connector 4"/>
          <p:cNvCxnSpPr/>
          <p:nvPr userDrawn="1"/>
        </p:nvCxnSpPr>
        <p:spPr>
          <a:xfrm>
            <a:off x="4953000" y="922317"/>
            <a:ext cx="0" cy="463923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a:off x="1350818" y="3141080"/>
            <a:ext cx="720436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 Placeholder 42"/>
          <p:cNvSpPr>
            <a:spLocks noGrp="1"/>
          </p:cNvSpPr>
          <p:nvPr>
            <p:ph type="body" sz="quarter" idx="21" hasCustomPrompt="1"/>
          </p:nvPr>
        </p:nvSpPr>
        <p:spPr>
          <a:xfrm>
            <a:off x="1350821" y="989556"/>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0" name="Text Placeholder 42"/>
          <p:cNvSpPr>
            <a:spLocks noGrp="1"/>
          </p:cNvSpPr>
          <p:nvPr>
            <p:ph type="body" sz="quarter" idx="22" hasCustomPrompt="1"/>
          </p:nvPr>
        </p:nvSpPr>
        <p:spPr>
          <a:xfrm>
            <a:off x="4953004" y="989556"/>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1" name="Text Placeholder 42"/>
          <p:cNvSpPr>
            <a:spLocks noGrp="1"/>
          </p:cNvSpPr>
          <p:nvPr>
            <p:ph type="body" sz="quarter" idx="23" hasCustomPrompt="1"/>
          </p:nvPr>
        </p:nvSpPr>
        <p:spPr>
          <a:xfrm>
            <a:off x="1350821" y="3208318"/>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2" name="Text Placeholder 42"/>
          <p:cNvSpPr>
            <a:spLocks noGrp="1"/>
          </p:cNvSpPr>
          <p:nvPr>
            <p:ph type="body" sz="quarter" idx="24" hasCustomPrompt="1"/>
          </p:nvPr>
        </p:nvSpPr>
        <p:spPr>
          <a:xfrm>
            <a:off x="4953004" y="3208318"/>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3" name="Text Placeholder 42"/>
          <p:cNvSpPr>
            <a:spLocks noGrp="1"/>
          </p:cNvSpPr>
          <p:nvPr>
            <p:ph type="body" sz="quarter" idx="25" hasCustomPrompt="1"/>
          </p:nvPr>
        </p:nvSpPr>
        <p:spPr>
          <a:xfrm rot="16200000">
            <a:off x="-72049" y="1894916"/>
            <a:ext cx="2245379" cy="300182"/>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4" name="Text Placeholder 42"/>
          <p:cNvSpPr>
            <a:spLocks noGrp="1"/>
          </p:cNvSpPr>
          <p:nvPr>
            <p:ph type="body" sz="quarter" idx="26" hasCustomPrompt="1"/>
          </p:nvPr>
        </p:nvSpPr>
        <p:spPr>
          <a:xfrm rot="16200000">
            <a:off x="-125978" y="4234844"/>
            <a:ext cx="2353235" cy="300183"/>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5" name="Text Placeholder 42"/>
          <p:cNvSpPr>
            <a:spLocks noGrp="1"/>
          </p:cNvSpPr>
          <p:nvPr>
            <p:ph type="body" sz="quarter" idx="27" hasCustomPrompt="1"/>
          </p:nvPr>
        </p:nvSpPr>
        <p:spPr>
          <a:xfrm>
            <a:off x="1350821" y="5696027"/>
            <a:ext cx="3602182" cy="268941"/>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6" name="Text Placeholder 42"/>
          <p:cNvSpPr>
            <a:spLocks noGrp="1"/>
          </p:cNvSpPr>
          <p:nvPr>
            <p:ph type="body" sz="quarter" idx="28" hasCustomPrompt="1"/>
          </p:nvPr>
        </p:nvSpPr>
        <p:spPr>
          <a:xfrm>
            <a:off x="5028046" y="5696027"/>
            <a:ext cx="3527136" cy="268941"/>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7" name="Text Placeholder 51"/>
          <p:cNvSpPr>
            <a:spLocks noGrp="1"/>
          </p:cNvSpPr>
          <p:nvPr>
            <p:ph type="body" sz="quarter" idx="29" hasCustomPrompt="1"/>
          </p:nvPr>
        </p:nvSpPr>
        <p:spPr>
          <a:xfrm>
            <a:off x="1425867" y="1325727"/>
            <a:ext cx="3452090" cy="1748118"/>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dirty="0"/>
              <a:t>Click to edit text </a:t>
            </a:r>
          </a:p>
        </p:txBody>
      </p:sp>
      <p:sp>
        <p:nvSpPr>
          <p:cNvPr id="18" name="Text Placeholder 51"/>
          <p:cNvSpPr>
            <a:spLocks noGrp="1"/>
          </p:cNvSpPr>
          <p:nvPr>
            <p:ph type="body" sz="quarter" idx="30" hasCustomPrompt="1"/>
          </p:nvPr>
        </p:nvSpPr>
        <p:spPr>
          <a:xfrm>
            <a:off x="1425867" y="3544492"/>
            <a:ext cx="3452090" cy="1949824"/>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dirty="0"/>
              <a:t>Click to edit text </a:t>
            </a:r>
          </a:p>
        </p:txBody>
      </p:sp>
      <p:sp>
        <p:nvSpPr>
          <p:cNvPr id="19" name="Text Placeholder 51"/>
          <p:cNvSpPr>
            <a:spLocks noGrp="1"/>
          </p:cNvSpPr>
          <p:nvPr>
            <p:ph type="body" sz="quarter" idx="31" hasCustomPrompt="1"/>
          </p:nvPr>
        </p:nvSpPr>
        <p:spPr>
          <a:xfrm>
            <a:off x="5028049" y="3544492"/>
            <a:ext cx="3452090" cy="1949824"/>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dirty="0"/>
              <a:t>Click to edit text </a:t>
            </a:r>
          </a:p>
        </p:txBody>
      </p:sp>
      <p:sp>
        <p:nvSpPr>
          <p:cNvPr id="20" name="Text Placeholder 51"/>
          <p:cNvSpPr>
            <a:spLocks noGrp="1"/>
          </p:cNvSpPr>
          <p:nvPr>
            <p:ph type="body" sz="quarter" idx="32" hasCustomPrompt="1"/>
          </p:nvPr>
        </p:nvSpPr>
        <p:spPr>
          <a:xfrm>
            <a:off x="5028049" y="1325727"/>
            <a:ext cx="3452090" cy="1748118"/>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dirty="0"/>
              <a:t>Click to edit text </a:t>
            </a:r>
          </a:p>
        </p:txBody>
      </p:sp>
      <p:sp>
        <p:nvSpPr>
          <p:cNvPr id="21"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
        <p:nvSpPr>
          <p:cNvPr id="23"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44055217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30"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srgbClr val="70AD47">
                  <a:lumMod val="50000"/>
                </a:srgbClr>
              </a:solidFill>
              <a:cs typeface="Arial" panose="020B0604020202020204" pitchFamily="34" charset="0"/>
              <a:sym typeface="Calibri" panose="020F0502020204030204" pitchFamily="34" charset="0"/>
            </a:endParaRPr>
          </a:p>
        </p:txBody>
      </p:sp>
      <p:sp>
        <p:nvSpPr>
          <p:cNvPr id="4" name="Text Placeholder 14"/>
          <p:cNvSpPr>
            <a:spLocks noGrp="1"/>
          </p:cNvSpPr>
          <p:nvPr>
            <p:ph type="body" sz="quarter" idx="35" hasCustomPrompt="1"/>
          </p:nvPr>
        </p:nvSpPr>
        <p:spPr>
          <a:xfrm>
            <a:off x="450326" y="1008557"/>
            <a:ext cx="4319158" cy="460302"/>
          </a:xfrm>
          <a:prstGeom prst="rect">
            <a:avLst/>
          </a:prstGeom>
          <a:solidFill>
            <a:srgbClr val="3F5F1F"/>
          </a:solidFill>
        </p:spPr>
        <p:txBody>
          <a:bodyPr lIns="0" tIns="0" rIns="0" bIns="0" anchor="ctr"/>
          <a:lstStyle>
            <a:lvl1pPr marL="0" indent="0" algn="ctr">
              <a:buNone/>
              <a:defRPr sz="1600" b="1" baseline="0">
                <a:solidFill>
                  <a:schemeClr val="bg1"/>
                </a:solidFill>
                <a:latin typeface="Arial" panose="020B0604020202020204" pitchFamily="34" charset="0"/>
                <a:cs typeface="Arial" panose="020B0604020202020204" pitchFamily="34" charset="0"/>
              </a:defRPr>
            </a:lvl1pPr>
          </a:lstStyle>
          <a:p>
            <a:pPr lvl="0"/>
            <a:r>
              <a:rPr lang="en-US" dirty="0"/>
              <a:t>Click to edit Header text</a:t>
            </a:r>
          </a:p>
        </p:txBody>
      </p:sp>
      <p:cxnSp>
        <p:nvCxnSpPr>
          <p:cNvPr id="5" name="Straight Connector 4"/>
          <p:cNvCxnSpPr/>
          <p:nvPr userDrawn="1"/>
        </p:nvCxnSpPr>
        <p:spPr>
          <a:xfrm>
            <a:off x="450322" y="1549540"/>
            <a:ext cx="43085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 Placeholder 9"/>
          <p:cNvSpPr>
            <a:spLocks noGrp="1"/>
          </p:cNvSpPr>
          <p:nvPr>
            <p:ph type="body" sz="quarter" idx="10"/>
          </p:nvPr>
        </p:nvSpPr>
        <p:spPr>
          <a:xfrm>
            <a:off x="450326" y="1644574"/>
            <a:ext cx="4319158" cy="4222236"/>
          </a:xfrm>
          <a:prstGeom prst="rect">
            <a:avLst/>
          </a:prstGeom>
        </p:spPr>
        <p:txBody>
          <a:bodyPr lIns="0" tIns="0" rIns="0" bIns="0"/>
          <a:lstStyle>
            <a:lvl1pPr marL="168274" indent="-168274">
              <a:buFont typeface="Arial" panose="020B0604020202020204" pitchFamily="34" charset="0"/>
              <a:buChar char="•"/>
              <a:defRPr sz="1400">
                <a:latin typeface="Arial" panose="020B0604020202020204" pitchFamily="34" charset="0"/>
                <a:cs typeface="Arial" panose="020B0604020202020204" pitchFamily="34" charset="0"/>
              </a:defRPr>
            </a:lvl1pPr>
            <a:lvl2pPr marL="320927" indent="-161195">
              <a:buFont typeface="Wingdings" panose="05000000000000000000" pitchFamily="2" charset="2"/>
              <a:buChar char="ü"/>
              <a:defRPr sz="1200">
                <a:latin typeface="Arial" panose="020B0604020202020204" pitchFamily="34" charset="0"/>
                <a:cs typeface="Arial" panose="020B0604020202020204" pitchFamily="34" charset="0"/>
              </a:defRPr>
            </a:lvl2pPr>
            <a:lvl3pPr marL="470398" indent="-149473">
              <a:buFont typeface="Courier New" panose="02070309020205020404" pitchFamily="49" charset="0"/>
              <a:buChar char="o"/>
              <a:defRPr sz="1200">
                <a:latin typeface="Arial" panose="020B0604020202020204" pitchFamily="34" charset="0"/>
                <a:cs typeface="Arial" panose="020B0604020202020204" pitchFamily="34" charset="0"/>
              </a:defRPr>
            </a:lvl3pPr>
            <a:lvl4pPr marL="630127" indent="-159730">
              <a:buFont typeface="Wingdings" panose="05000000000000000000" pitchFamily="2" charset="2"/>
              <a:buChar char="Ø"/>
              <a:defRPr sz="1200">
                <a:latin typeface="Arial" panose="020B0604020202020204" pitchFamily="34" charset="0"/>
                <a:cs typeface="Arial" panose="020B0604020202020204" pitchFamily="34"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14"/>
          <p:cNvSpPr>
            <a:spLocks noGrp="1"/>
          </p:cNvSpPr>
          <p:nvPr>
            <p:ph type="body" sz="quarter" idx="38" hasCustomPrompt="1"/>
          </p:nvPr>
        </p:nvSpPr>
        <p:spPr>
          <a:xfrm>
            <a:off x="5151120" y="1009149"/>
            <a:ext cx="4304296" cy="460302"/>
          </a:xfrm>
          <a:prstGeom prst="rect">
            <a:avLst/>
          </a:prstGeom>
          <a:solidFill>
            <a:srgbClr val="3F5F1F"/>
          </a:solidFill>
        </p:spPr>
        <p:txBody>
          <a:bodyPr lIns="0" tIns="0" rIns="0" bIns="0" anchor="ctr"/>
          <a:lstStyle>
            <a:lvl1pPr marL="0" indent="0" algn="ctr">
              <a:buNone/>
              <a:defRPr sz="1600" b="1" baseline="0">
                <a:solidFill>
                  <a:schemeClr val="bg1"/>
                </a:solidFill>
                <a:latin typeface="Arial" panose="020B0604020202020204" pitchFamily="34" charset="0"/>
                <a:cs typeface="Arial" panose="020B0604020202020204" pitchFamily="34" charset="0"/>
              </a:defRPr>
            </a:lvl1pPr>
          </a:lstStyle>
          <a:p>
            <a:pPr lvl="0"/>
            <a:r>
              <a:rPr lang="en-US" dirty="0"/>
              <a:t>Click to edit Header text</a:t>
            </a:r>
          </a:p>
        </p:txBody>
      </p:sp>
      <p:cxnSp>
        <p:nvCxnSpPr>
          <p:cNvPr id="10" name="Straight Connector 9"/>
          <p:cNvCxnSpPr/>
          <p:nvPr userDrawn="1"/>
        </p:nvCxnSpPr>
        <p:spPr>
          <a:xfrm>
            <a:off x="5151120" y="1550132"/>
            <a:ext cx="430429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9"/>
          <p:cNvSpPr>
            <a:spLocks noGrp="1"/>
          </p:cNvSpPr>
          <p:nvPr>
            <p:ph type="body" sz="quarter" idx="39"/>
          </p:nvPr>
        </p:nvSpPr>
        <p:spPr>
          <a:xfrm>
            <a:off x="5151120" y="1645165"/>
            <a:ext cx="4304296" cy="4222236"/>
          </a:xfrm>
          <a:prstGeom prst="rect">
            <a:avLst/>
          </a:prstGeom>
        </p:spPr>
        <p:txBody>
          <a:bodyPr lIns="0" tIns="0" rIns="0" bIns="0"/>
          <a:lstStyle>
            <a:lvl1pPr marL="168274" indent="-168274">
              <a:buFont typeface="Arial" panose="020B0604020202020204" pitchFamily="34" charset="0"/>
              <a:buChar char="•"/>
              <a:defRPr sz="1292">
                <a:latin typeface="Arial" panose="020B0604020202020204" pitchFamily="34" charset="0"/>
                <a:cs typeface="Arial" panose="020B0604020202020204" pitchFamily="34" charset="0"/>
              </a:defRPr>
            </a:lvl1pPr>
            <a:lvl2pPr marL="320927" indent="-161195">
              <a:buFont typeface="Wingdings" panose="05000000000000000000" pitchFamily="2" charset="2"/>
              <a:buChar char="ü"/>
              <a:defRPr sz="1108">
                <a:latin typeface="Arial" panose="020B0604020202020204" pitchFamily="34" charset="0"/>
                <a:cs typeface="Arial" panose="020B0604020202020204" pitchFamily="34" charset="0"/>
              </a:defRPr>
            </a:lvl2pPr>
            <a:lvl3pPr marL="470398" indent="-149473">
              <a:buFont typeface="Courier New" panose="02070309020205020404" pitchFamily="49" charset="0"/>
              <a:buChar char="o"/>
              <a:defRPr sz="1108">
                <a:latin typeface="Arial" panose="020B0604020202020204" pitchFamily="34" charset="0"/>
                <a:cs typeface="Arial" panose="020B0604020202020204" pitchFamily="34" charset="0"/>
              </a:defRPr>
            </a:lvl3pPr>
            <a:lvl4pPr marL="630127" indent="-159730">
              <a:buFont typeface="Wingdings" panose="05000000000000000000" pitchFamily="2" charset="2"/>
              <a:buChar char="Ø"/>
              <a:defRPr sz="1108">
                <a:latin typeface="Arial" panose="020B0604020202020204" pitchFamily="34" charset="0"/>
                <a:cs typeface="Arial" panose="020B0604020202020204" pitchFamily="34"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
        <p:nvSpPr>
          <p:cNvPr id="13"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85790792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4"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srgbClr val="70AD47">
                  <a:lumMod val="50000"/>
                </a:srgbClr>
              </a:solidFill>
              <a:cs typeface="Arial" panose="020B0604020202020204" pitchFamily="34" charset="0"/>
              <a:sym typeface="Calibri" panose="020F0502020204030204" pitchFamily="34" charset="0"/>
            </a:endParaRPr>
          </a:p>
        </p:txBody>
      </p:sp>
      <p:sp>
        <p:nvSpPr>
          <p:cNvPr id="9"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
        <p:nvSpPr>
          <p:cNvPr id="4" name="Content Placeholder 2"/>
          <p:cNvSpPr>
            <a:spLocks noGrp="1"/>
          </p:cNvSpPr>
          <p:nvPr>
            <p:ph idx="1" hasCustomPrompt="1"/>
          </p:nvPr>
        </p:nvSpPr>
        <p:spPr>
          <a:xfrm>
            <a:off x="450588" y="1277003"/>
            <a:ext cx="3602182" cy="201706"/>
          </a:xfrm>
          <a:prstGeom prst="rect">
            <a:avLst/>
          </a:prstGeom>
        </p:spPr>
        <p:txBody>
          <a:bodyPr lIns="0" tIns="0" rIns="0" bIns="0"/>
          <a:lstStyle>
            <a:lvl1pPr marL="0" indent="0">
              <a:buFont typeface="Arial" pitchFamily="34" charset="0"/>
              <a:buNone/>
              <a:defRPr sz="1200">
                <a:latin typeface="Arial" panose="020B0604020202020204" pitchFamily="34" charset="0"/>
                <a:cs typeface="Arial" panose="020B0604020202020204" pitchFamily="34" charset="0"/>
              </a:defRPr>
            </a:lvl1pPr>
            <a:lvl2pPr marL="708819" indent="-284052">
              <a:defRPr sz="1108"/>
            </a:lvl2pPr>
            <a:lvl3pPr>
              <a:buFont typeface="Courier New" pitchFamily="49" charset="0"/>
              <a:buChar char="o"/>
              <a:defRPr sz="1108"/>
            </a:lvl3pPr>
            <a:lvl4pPr>
              <a:defRPr sz="1108"/>
            </a:lvl4pPr>
          </a:lstStyle>
          <a:p>
            <a:pPr lvl="0"/>
            <a:r>
              <a:rPr lang="en-US" dirty="0"/>
              <a:t>Click to edit Master Graph units</a:t>
            </a:r>
          </a:p>
        </p:txBody>
      </p:sp>
      <p:sp>
        <p:nvSpPr>
          <p:cNvPr id="5" name="Text Placeholder 10"/>
          <p:cNvSpPr>
            <a:spLocks noGrp="1"/>
          </p:cNvSpPr>
          <p:nvPr>
            <p:ph type="body" sz="quarter" idx="21" hasCustomPrompt="1"/>
          </p:nvPr>
        </p:nvSpPr>
        <p:spPr>
          <a:xfrm>
            <a:off x="450588" y="1008063"/>
            <a:ext cx="3602182" cy="201706"/>
          </a:xfrm>
          <a:prstGeom prst="rect">
            <a:avLst/>
          </a:prstGeom>
        </p:spPr>
        <p:txBody>
          <a:bodyPr lIns="0" tIns="0" rIns="0" bIns="0"/>
          <a:lstStyle>
            <a:lvl1pPr marL="0" indent="0">
              <a:buNone/>
              <a:defRPr sz="1400" b="1" i="0" baseline="0">
                <a:solidFill>
                  <a:schemeClr val="tx1"/>
                </a:solidFill>
                <a:latin typeface="Arial" panose="020B0604020202020204" pitchFamily="34" charset="0"/>
                <a:cs typeface="Arial" panose="020B0604020202020204" pitchFamily="34" charset="0"/>
              </a:defRPr>
            </a:lvl1pPr>
          </a:lstStyle>
          <a:p>
            <a:pPr lvl="0"/>
            <a:r>
              <a:rPr lang="en-US" dirty="0"/>
              <a:t>Click to insert Master Graph title</a:t>
            </a:r>
          </a:p>
        </p:txBody>
      </p:sp>
      <p:sp>
        <p:nvSpPr>
          <p:cNvPr id="6" name="SmartArt Placeholder 12"/>
          <p:cNvSpPr>
            <a:spLocks noGrp="1"/>
          </p:cNvSpPr>
          <p:nvPr>
            <p:ph type="dgm" sz="quarter" idx="20" hasCustomPrompt="1"/>
          </p:nvPr>
        </p:nvSpPr>
        <p:spPr>
          <a:xfrm rot="5400000">
            <a:off x="4022002" y="3302283"/>
            <a:ext cx="3577155" cy="360462"/>
          </a:xfrm>
          <a:prstGeom prst="triangle">
            <a:avLst>
              <a:gd name="adj" fmla="val 50232"/>
            </a:avLst>
          </a:prstGeom>
          <a:solidFill>
            <a:srgbClr val="3F5F1F"/>
          </a:solidFill>
        </p:spPr>
        <p:txBody>
          <a:bodyPr lIns="82058" tIns="41029" rIns="82058" bIns="41029"/>
          <a:lstStyle>
            <a:lvl1pPr>
              <a:defRPr lang="en-US">
                <a:solidFill>
                  <a:schemeClr val="tx2"/>
                </a:solidFill>
                <a:latin typeface="Arial" panose="020B0604020202020204" pitchFamily="34" charset="0"/>
                <a:cs typeface="Arial" panose="020B0604020202020204" pitchFamily="34" charset="0"/>
              </a:defRPr>
            </a:lvl1pPr>
          </a:lstStyle>
          <a:p>
            <a:r>
              <a:rPr lang="en-US" dirty="0"/>
              <a:t>`</a:t>
            </a:r>
          </a:p>
        </p:txBody>
      </p:sp>
      <p:sp>
        <p:nvSpPr>
          <p:cNvPr id="7" name="Text Placeholder 5"/>
          <p:cNvSpPr>
            <a:spLocks noGrp="1"/>
          </p:cNvSpPr>
          <p:nvPr>
            <p:ph type="body" sz="quarter" idx="29"/>
          </p:nvPr>
        </p:nvSpPr>
        <p:spPr>
          <a:xfrm>
            <a:off x="6138356" y="1008064"/>
            <a:ext cx="3317841" cy="4676161"/>
          </a:xfrm>
          <a:prstGeom prst="rect">
            <a:avLst/>
          </a:prstGeom>
        </p:spPr>
        <p:txBody>
          <a:bodyPr lIns="0" tIns="0" rIns="0" bIns="0" numCol="1"/>
          <a:lstStyle>
            <a:lvl1pPr marL="168274" indent="-168274" algn="just">
              <a:buFont typeface="Arial" pitchFamily="34" charset="0"/>
              <a:buChar char="•"/>
              <a:tabLst>
                <a:tab pos="3595378" algn="l"/>
              </a:tabLst>
              <a:defRPr sz="1400" baseline="0">
                <a:latin typeface="Arial" panose="020B0604020202020204" pitchFamily="34" charset="0"/>
                <a:cs typeface="Arial" panose="020B0604020202020204" pitchFamily="34" charset="0"/>
              </a:defRPr>
            </a:lvl1pPr>
            <a:lvl2pPr algn="just">
              <a:tabLst>
                <a:tab pos="3595378" algn="l"/>
              </a:tabLst>
              <a:defRPr sz="1108"/>
            </a:lvl2pPr>
            <a:lvl3pPr algn="just">
              <a:buFont typeface="Courier New" pitchFamily="49" charset="0"/>
              <a:buChar char="o"/>
              <a:tabLst>
                <a:tab pos="3595378" algn="l"/>
              </a:tabLst>
              <a:defRPr sz="1108"/>
            </a:lvl3pPr>
            <a:lvl4pPr algn="just">
              <a:tabLst>
                <a:tab pos="3595378" algn="l"/>
              </a:tabLst>
              <a:defRPr sz="1108"/>
            </a:lvl4pPr>
          </a:lstStyle>
          <a:p>
            <a:pPr lvl="0"/>
            <a:r>
              <a:rPr lang="en-US" dirty="0"/>
              <a:t>Click to edit Master text</a:t>
            </a:r>
          </a:p>
        </p:txBody>
      </p:sp>
      <p:sp>
        <p:nvSpPr>
          <p:cNvPr id="10"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388828240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6350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721" y="1589"/>
                        <a:ext cx="1719" cy="1587"/>
                      </a:xfrm>
                      <a:prstGeom prst="rect">
                        <a:avLst/>
                      </a:prstGeom>
                    </p:spPr>
                  </p:pic>
                </p:oleObj>
              </mc:Fallback>
            </mc:AlternateContent>
          </a:graphicData>
        </a:graphic>
      </p:graphicFrame>
      <p:pic>
        <p:nvPicPr>
          <p:cNvPr id="12" name="Picture 11" descr="covertemps-5.jpg"/>
          <p:cNvPicPr>
            <a:picLocks noChangeAspect="1"/>
          </p:cNvPicPr>
          <p:nvPr userDrawn="1"/>
        </p:nvPicPr>
        <p:blipFill>
          <a:blip r:embed="rId6" cstate="print">
            <a:extLst>
              <a:ext uri="{28A0092B-C50C-407E-A947-70E740481C1C}">
                <a14:useLocalDpi xmlns:a14="http://schemas.microsoft.com/office/drawing/2010/main" val="0"/>
              </a:ext>
            </a:extLst>
          </a:blip>
          <a:srcRect b="13333"/>
          <a:stretch>
            <a:fillRect/>
          </a:stretch>
        </p:blipFill>
        <p:spPr bwMode="ltGray">
          <a:xfrm>
            <a:off x="0" y="0"/>
            <a:ext cx="9906000" cy="5943600"/>
          </a:xfrm>
          <a:prstGeom prst="rect">
            <a:avLst/>
          </a:prstGeom>
        </p:spPr>
      </p:pic>
      <p:sp>
        <p:nvSpPr>
          <p:cNvPr id="5" name="doc id"/>
          <p:cNvSpPr txBox="1">
            <a:spLocks noChangeArrowheads="1"/>
          </p:cNvSpPr>
          <p:nvPr/>
        </p:nvSpPr>
        <p:spPr bwMode="auto">
          <a:xfrm>
            <a:off x="9332171" y="37255"/>
            <a:ext cx="3263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buClrTx/>
              <a:buFontTx/>
              <a:buNone/>
              <a:defRPr/>
            </a:pPr>
            <a:endParaRPr lang="en-US" sz="800" kern="1200" dirty="0">
              <a:solidFill>
                <a:srgbClr val="000000"/>
              </a:solidFill>
              <a:latin typeface="Arial"/>
              <a:ea typeface="+mn-ea"/>
              <a:cs typeface="+mn-cs"/>
            </a:endParaRPr>
          </a:p>
        </p:txBody>
      </p:sp>
      <p:sp>
        <p:nvSpPr>
          <p:cNvPr id="13314" name="Rectangle 1026"/>
          <p:cNvSpPr>
            <a:spLocks noGrp="1" noChangeArrowheads="1"/>
          </p:cNvSpPr>
          <p:nvPr>
            <p:ph type="ctrTitle"/>
          </p:nvPr>
        </p:nvSpPr>
        <p:spPr bwMode="auto">
          <a:xfrm>
            <a:off x="664662" y="1282691"/>
            <a:ext cx="8531407" cy="507831"/>
          </a:xfrm>
          <a:prstGeom prst="rect">
            <a:avLst/>
          </a:prstGeom>
        </p:spPr>
        <p:txBody>
          <a:bodyPr anchor="t">
            <a:spAutoFit/>
          </a:bodyPr>
          <a:lstStyle>
            <a:lvl1pPr>
              <a:defRPr sz="3300" b="0" baseline="0">
                <a:solidFill>
                  <a:schemeClr val="bg1"/>
                </a:solidFill>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664662" y="2793630"/>
            <a:ext cx="8531407" cy="219820"/>
          </a:xfrm>
        </p:spPr>
        <p:txBody>
          <a:bodyPr wrap="square">
            <a:spAutoFit/>
          </a:bodyPr>
          <a:lstStyle>
            <a:lvl1pPr>
              <a:defRPr sz="1400" baseline="0">
                <a:solidFill>
                  <a:schemeClr val="bg1"/>
                </a:solidFill>
                <a:latin typeface="+mn-lt"/>
                <a:ea typeface="+mn-ea"/>
              </a:defRPr>
            </a:lvl1pPr>
          </a:lstStyle>
          <a:p>
            <a:pPr lvl="0"/>
            <a:r>
              <a:rPr lang="en-US" noProof="0"/>
              <a:t>Click to edit Master subtitle style</a:t>
            </a:r>
            <a:endParaRPr lang="en-US" noProof="0" dirty="0"/>
          </a:p>
        </p:txBody>
      </p:sp>
      <p:sp>
        <p:nvSpPr>
          <p:cNvPr id="16" name="Document type" hidden="1"/>
          <p:cNvSpPr txBox="1">
            <a:spLocks noChangeArrowheads="1"/>
          </p:cNvSpPr>
          <p:nvPr userDrawn="1"/>
        </p:nvSpPr>
        <p:spPr bwMode="auto">
          <a:xfrm>
            <a:off x="664662" y="4016558"/>
            <a:ext cx="853140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fontAlgn="base" hangingPunct="1">
              <a:spcBef>
                <a:spcPct val="0"/>
              </a:spcBef>
              <a:spcAft>
                <a:spcPct val="0"/>
              </a:spcAft>
              <a:buClrTx/>
              <a:buFontTx/>
              <a:buNone/>
              <a:defRPr lang="x-none"/>
            </a:pPr>
            <a:r>
              <a:rPr sz="1400" kern="1200" dirty="0">
                <a:solidFill>
                  <a:srgbClr val="FFFFFF"/>
                </a:solidFill>
                <a:latin typeface="Arial"/>
                <a:ea typeface="+mn-ea"/>
                <a:cs typeface="+mn-cs"/>
              </a:rPr>
              <a:t>Document type | Date</a:t>
            </a:r>
          </a:p>
        </p:txBody>
      </p:sp>
    </p:spTree>
    <p:extLst>
      <p:ext uri="{BB962C8B-B14F-4D97-AF65-F5344CB8AC3E}">
        <p14:creationId xmlns:p14="http://schemas.microsoft.com/office/powerpoint/2010/main" val="61890119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64526" name="think-cell Slide" r:id="rId5" imgW="470" imgH="469" progId="TCLayout.ActiveDocument.1">
                  <p:embed/>
                </p:oleObj>
              </mc:Choice>
              <mc:Fallback>
                <p:oleObj name="think-cell Slide" r:id="rId5" imgW="470" imgH="469" progId="TCLayout.ActiveDocument.1">
                  <p:embed/>
                  <p:pic>
                    <p:nvPicPr>
                      <p:cNvPr id="6" name="Object 5" hidden="1"/>
                      <p:cNvPicPr/>
                      <p:nvPr/>
                    </p:nvPicPr>
                    <p:blipFill>
                      <a:blip r:embed="rId6"/>
                      <a:stretch>
                        <a:fillRect/>
                      </a:stretch>
                    </p:blipFill>
                    <p:spPr>
                      <a:xfrm>
                        <a:off x="1721" y="1589"/>
                        <a:ext cx="1719" cy="1587"/>
                      </a:xfrm>
                      <a:prstGeom prst="rect">
                        <a:avLst/>
                      </a:prstGeom>
                    </p:spPr>
                  </p:pic>
                </p:oleObj>
              </mc:Fallback>
            </mc:AlternateContent>
          </a:graphicData>
        </a:graphic>
      </p:graphicFrame>
      <p:sp>
        <p:nvSpPr>
          <p:cNvPr id="10"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600" kern="1200" dirty="0">
              <a:solidFill>
                <a:srgbClr val="000000"/>
              </a:solidFill>
            </a:endParaRPr>
          </a:p>
        </p:txBody>
      </p:sp>
      <p:sp>
        <p:nvSpPr>
          <p:cNvPr id="2" name="McK 2. Slide Title"/>
          <p:cNvSpPr>
            <a:spLocks noGrp="1"/>
          </p:cNvSpPr>
          <p:nvPr>
            <p:ph type="title"/>
          </p:nvPr>
        </p:nvSpPr>
        <p:spPr>
          <a:xfrm>
            <a:off x="247650" y="404011"/>
            <a:ext cx="8007350" cy="276999"/>
          </a:xfrm>
        </p:spPr>
        <p:txBody>
          <a:bodyPr/>
          <a:lstStyle>
            <a:lvl1pPr>
              <a:defRPr sz="1800"/>
            </a:lvl1pPr>
          </a:lstStyle>
          <a:p>
            <a:r>
              <a:rPr lang="en-US" dirty="0"/>
              <a:t>Click to edit Master title style</a:t>
            </a:r>
          </a:p>
        </p:txBody>
      </p:sp>
    </p:spTree>
    <p:extLst>
      <p:ext uri="{BB962C8B-B14F-4D97-AF65-F5344CB8AC3E}">
        <p14:creationId xmlns:p14="http://schemas.microsoft.com/office/powerpoint/2010/main" val="195049842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47650" y="404011"/>
            <a:ext cx="8007350" cy="276999"/>
          </a:xfrm>
        </p:spPr>
        <p:txBody>
          <a:bodyPr/>
          <a:lstStyle>
            <a:lvl1pPr>
              <a:defRPr sz="1800"/>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95300" y="6356511"/>
            <a:ext cx="2311400" cy="365125"/>
          </a:xfrm>
          <a:prstGeom prst="rect">
            <a:avLst/>
          </a:prstGeom>
        </p:spPr>
        <p:txBody>
          <a:bodyPr/>
          <a:lstStyle/>
          <a:p>
            <a:pPr fontAlgn="base">
              <a:spcBef>
                <a:spcPct val="0"/>
              </a:spcBef>
              <a:spcAft>
                <a:spcPct val="0"/>
              </a:spcAft>
              <a:buClrTx/>
              <a:buFontTx/>
              <a:buNone/>
            </a:pPr>
            <a:fld id="{2CBB78D2-3EDF-44DD-BD93-60A225E69B3E}" type="datetimeFigureOut">
              <a:rPr lang="en-US" sz="1600" kern="1200" smtClean="0">
                <a:solidFill>
                  <a:prstClr val="black">
                    <a:tint val="75000"/>
                  </a:prstClr>
                </a:solidFill>
                <a:latin typeface="Arial" charset="0"/>
                <a:ea typeface="+mn-ea"/>
                <a:cs typeface="+mn-cs"/>
              </a:rPr>
              <a:pPr fontAlgn="base">
                <a:spcBef>
                  <a:spcPct val="0"/>
                </a:spcBef>
                <a:spcAft>
                  <a:spcPct val="0"/>
                </a:spcAft>
                <a:buClrTx/>
                <a:buFontTx/>
                <a:buNone/>
              </a:pPr>
              <a:t>8/22/2019</a:t>
            </a:fld>
            <a:endParaRPr lang="en-US" sz="1600" kern="1200" dirty="0">
              <a:solidFill>
                <a:prstClr val="black">
                  <a:tint val="75000"/>
                </a:prstClr>
              </a:solidFill>
              <a:latin typeface="Arial" charset="0"/>
              <a:ea typeface="+mn-ea"/>
              <a:cs typeface="+mn-cs"/>
            </a:endParaRPr>
          </a:p>
        </p:txBody>
      </p:sp>
      <p:sp>
        <p:nvSpPr>
          <p:cNvPr id="5" name="Footer Placeholder 4"/>
          <p:cNvSpPr>
            <a:spLocks noGrp="1"/>
          </p:cNvSpPr>
          <p:nvPr>
            <p:ph type="ftr" sz="quarter" idx="11"/>
          </p:nvPr>
        </p:nvSpPr>
        <p:spPr>
          <a:xfrm>
            <a:off x="3384550" y="6356511"/>
            <a:ext cx="3136900" cy="365125"/>
          </a:xfrm>
          <a:prstGeom prst="rect">
            <a:avLst/>
          </a:prstGeom>
        </p:spPr>
        <p:txBody>
          <a:bodyPr/>
          <a:lstStyle/>
          <a:p>
            <a:pPr fontAlgn="base">
              <a:spcBef>
                <a:spcPct val="0"/>
              </a:spcBef>
              <a:spcAft>
                <a:spcPct val="0"/>
              </a:spcAft>
              <a:buClrTx/>
              <a:buFontTx/>
              <a:buNone/>
            </a:pPr>
            <a:endParaRPr lang="en-US" sz="1600" kern="1200" dirty="0">
              <a:solidFill>
                <a:prstClr val="black">
                  <a:tint val="75000"/>
                </a:prstClr>
              </a:solidFill>
              <a:latin typeface="Arial" charset="0"/>
              <a:ea typeface="+mn-ea"/>
              <a:cs typeface="+mn-cs"/>
            </a:endParaRPr>
          </a:p>
        </p:txBody>
      </p:sp>
      <p:sp>
        <p:nvSpPr>
          <p:cNvPr id="6" name="Slide Number Placeholder 5"/>
          <p:cNvSpPr>
            <a:spLocks noGrp="1"/>
          </p:cNvSpPr>
          <p:nvPr>
            <p:ph type="sldNum" sz="quarter" idx="12"/>
          </p:nvPr>
        </p:nvSpPr>
        <p:spPr>
          <a:xfrm>
            <a:off x="7099300" y="6356511"/>
            <a:ext cx="2311400" cy="365125"/>
          </a:xfrm>
          <a:prstGeom prst="rect">
            <a:avLst/>
          </a:prstGeom>
        </p:spPr>
        <p:txBody>
          <a:bodyPr/>
          <a:lstStyle/>
          <a:p>
            <a:pPr fontAlgn="base">
              <a:spcBef>
                <a:spcPct val="0"/>
              </a:spcBef>
              <a:spcAft>
                <a:spcPct val="0"/>
              </a:spcAft>
              <a:buClrTx/>
              <a:buFontTx/>
              <a:buNone/>
            </a:pPr>
            <a:fld id="{4FAD6F48-C937-4B90-AF1D-01ADEA9D6D76}" type="slidenum">
              <a:rPr lang="en-US" sz="1600" kern="1200" smtClean="0">
                <a:solidFill>
                  <a:prstClr val="black">
                    <a:tint val="75000"/>
                  </a:prstClr>
                </a:solidFill>
                <a:latin typeface="Arial" charset="0"/>
                <a:ea typeface="+mn-ea"/>
                <a:cs typeface="+mn-cs"/>
              </a:rPr>
              <a:pPr fontAlgn="base">
                <a:spcBef>
                  <a:spcPct val="0"/>
                </a:spcBef>
                <a:spcAft>
                  <a:spcPct val="0"/>
                </a:spcAft>
                <a:buClrTx/>
                <a:buFontTx/>
                <a:buNone/>
              </a:pPr>
              <a:t>‹#›</a:t>
            </a:fld>
            <a:endParaRPr lang="en-US" sz="1600" kern="1200" dirty="0">
              <a:solidFill>
                <a:prstClr val="black">
                  <a:tint val="75000"/>
                </a:prstClr>
              </a:solidFill>
              <a:latin typeface="Arial" charset="0"/>
              <a:ea typeface="+mn-ea"/>
              <a:cs typeface="+mn-cs"/>
            </a:endParaRPr>
          </a:p>
        </p:txBody>
      </p:sp>
    </p:spTree>
    <p:extLst>
      <p:ext uri="{BB962C8B-B14F-4D97-AF65-F5344CB8AC3E}">
        <p14:creationId xmlns:p14="http://schemas.microsoft.com/office/powerpoint/2010/main" val="152059099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6759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721" y="1589"/>
                        <a:ext cx="1719" cy="1587"/>
                      </a:xfrm>
                      <a:prstGeom prst="rect">
                        <a:avLst/>
                      </a:prstGeom>
                    </p:spPr>
                  </p:pic>
                </p:oleObj>
              </mc:Fallback>
            </mc:AlternateContent>
          </a:graphicData>
        </a:graphic>
      </p:graphicFrame>
      <p:pic>
        <p:nvPicPr>
          <p:cNvPr id="12" name="Picture 11" descr="covertemps-5.jpg"/>
          <p:cNvPicPr>
            <a:picLocks noChangeAspect="1"/>
          </p:cNvPicPr>
          <p:nvPr userDrawn="1"/>
        </p:nvPicPr>
        <p:blipFill>
          <a:blip r:embed="rId6" cstate="print">
            <a:extLst>
              <a:ext uri="{28A0092B-C50C-407E-A947-70E740481C1C}">
                <a14:useLocalDpi xmlns:a14="http://schemas.microsoft.com/office/drawing/2010/main" val="0"/>
              </a:ext>
            </a:extLst>
          </a:blip>
          <a:srcRect b="13333"/>
          <a:stretch>
            <a:fillRect/>
          </a:stretch>
        </p:blipFill>
        <p:spPr bwMode="ltGray">
          <a:xfrm>
            <a:off x="0" y="0"/>
            <a:ext cx="9906000" cy="5943600"/>
          </a:xfrm>
          <a:prstGeom prst="rect">
            <a:avLst/>
          </a:prstGeom>
        </p:spPr>
      </p:pic>
      <p:sp>
        <p:nvSpPr>
          <p:cNvPr id="5" name="doc id"/>
          <p:cNvSpPr txBox="1">
            <a:spLocks noChangeArrowheads="1"/>
          </p:cNvSpPr>
          <p:nvPr/>
        </p:nvSpPr>
        <p:spPr bwMode="auto">
          <a:xfrm>
            <a:off x="9332171" y="37255"/>
            <a:ext cx="3263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buClrTx/>
              <a:buFontTx/>
              <a:buNone/>
              <a:defRPr/>
            </a:pPr>
            <a:endParaRPr lang="en-US" sz="800" kern="1200" dirty="0">
              <a:solidFill>
                <a:srgbClr val="000000"/>
              </a:solidFill>
              <a:latin typeface="Arial"/>
              <a:ea typeface="+mn-ea"/>
              <a:cs typeface="+mn-cs"/>
            </a:endParaRPr>
          </a:p>
        </p:txBody>
      </p:sp>
      <p:sp>
        <p:nvSpPr>
          <p:cNvPr id="13314" name="Rectangle 1026"/>
          <p:cNvSpPr>
            <a:spLocks noGrp="1" noChangeArrowheads="1"/>
          </p:cNvSpPr>
          <p:nvPr>
            <p:ph type="ctrTitle"/>
          </p:nvPr>
        </p:nvSpPr>
        <p:spPr bwMode="auto">
          <a:xfrm>
            <a:off x="664662" y="1282691"/>
            <a:ext cx="8531407" cy="507831"/>
          </a:xfrm>
          <a:prstGeom prst="rect">
            <a:avLst/>
          </a:prstGeom>
        </p:spPr>
        <p:txBody>
          <a:bodyPr anchor="t">
            <a:spAutoFit/>
          </a:bodyPr>
          <a:lstStyle>
            <a:lvl1pPr>
              <a:defRPr sz="3300" b="0" baseline="0">
                <a:solidFill>
                  <a:schemeClr val="bg1"/>
                </a:solidFill>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664662" y="2793630"/>
            <a:ext cx="8531407" cy="219820"/>
          </a:xfrm>
        </p:spPr>
        <p:txBody>
          <a:bodyPr wrap="square">
            <a:spAutoFit/>
          </a:bodyPr>
          <a:lstStyle>
            <a:lvl1pPr>
              <a:defRPr sz="1400" baseline="0">
                <a:solidFill>
                  <a:schemeClr val="bg1"/>
                </a:solidFill>
                <a:latin typeface="+mn-lt"/>
                <a:ea typeface="+mn-ea"/>
              </a:defRPr>
            </a:lvl1pPr>
          </a:lstStyle>
          <a:p>
            <a:pPr lvl="0"/>
            <a:r>
              <a:rPr lang="en-US" noProof="0"/>
              <a:t>Click to edit Master subtitle style</a:t>
            </a:r>
            <a:endParaRPr lang="en-US" noProof="0" dirty="0"/>
          </a:p>
        </p:txBody>
      </p:sp>
      <p:sp>
        <p:nvSpPr>
          <p:cNvPr id="16" name="Document type" hidden="1"/>
          <p:cNvSpPr txBox="1">
            <a:spLocks noChangeArrowheads="1"/>
          </p:cNvSpPr>
          <p:nvPr userDrawn="1"/>
        </p:nvSpPr>
        <p:spPr bwMode="auto">
          <a:xfrm>
            <a:off x="664662" y="4016558"/>
            <a:ext cx="853140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fontAlgn="base" hangingPunct="1">
              <a:spcBef>
                <a:spcPct val="0"/>
              </a:spcBef>
              <a:spcAft>
                <a:spcPct val="0"/>
              </a:spcAft>
              <a:buClrTx/>
              <a:buFontTx/>
              <a:buNone/>
              <a:defRPr lang="x-none"/>
            </a:pPr>
            <a:r>
              <a:rPr sz="1400" kern="1200" dirty="0">
                <a:solidFill>
                  <a:srgbClr val="FFFFFF"/>
                </a:solidFill>
                <a:latin typeface="Arial"/>
                <a:ea typeface="+mn-ea"/>
                <a:cs typeface="+mn-cs"/>
              </a:rPr>
              <a:t>Document type | Date</a:t>
            </a:r>
          </a:p>
        </p:txBody>
      </p:sp>
    </p:spTree>
    <p:extLst>
      <p:ext uri="{BB962C8B-B14F-4D97-AF65-F5344CB8AC3E}">
        <p14:creationId xmlns:p14="http://schemas.microsoft.com/office/powerpoint/2010/main" val="42635235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58160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1_Standard/Deliverable Cover Page">
  <p:cSld name="1_Standard/Deliverable Cover Page">
    <p:bg>
      <p:bgPr>
        <a:gradFill>
          <a:gsLst>
            <a:gs pos="0">
              <a:schemeClr val="lt1"/>
            </a:gs>
            <a:gs pos="75000">
              <a:srgbClr val="FAFAFA"/>
            </a:gs>
            <a:gs pos="100000">
              <a:srgbClr val="E1EFD8"/>
            </a:gs>
          </a:gsLst>
          <a:lin ang="5400000" scaled="0"/>
        </a:gradFill>
        <a:effectLst/>
      </p:bgPr>
    </p:bg>
    <p:spTree>
      <p:nvGrpSpPr>
        <p:cNvPr id="1" name="Shape 49"/>
        <p:cNvGrpSpPr/>
        <p:nvPr/>
      </p:nvGrpSpPr>
      <p:grpSpPr>
        <a:xfrm>
          <a:off x="0" y="0"/>
          <a:ext cx="0" cy="0"/>
          <a:chOff x="0" y="0"/>
          <a:chExt cx="0" cy="0"/>
        </a:xfrm>
      </p:grpSpPr>
      <p:pic>
        <p:nvPicPr>
          <p:cNvPr id="50" name="Google Shape;50;p8"/>
          <p:cNvPicPr preferRelativeResize="0"/>
          <p:nvPr/>
        </p:nvPicPr>
        <p:blipFill rotWithShape="1">
          <a:blip r:embed="rId2">
            <a:alphaModFix/>
          </a:blip>
          <a:srcRect/>
          <a:stretch/>
        </p:blipFill>
        <p:spPr>
          <a:xfrm>
            <a:off x="0" y="0"/>
            <a:ext cx="171979" cy="158750"/>
          </a:xfrm>
          <a:prstGeom prst="rect">
            <a:avLst/>
          </a:prstGeom>
          <a:noFill/>
          <a:ln>
            <a:noFill/>
          </a:ln>
        </p:spPr>
      </p:pic>
      <p:sp>
        <p:nvSpPr>
          <p:cNvPr id="51" name="Google Shape;51;p8"/>
          <p:cNvSpPr txBox="1">
            <a:spLocks noGrp="1"/>
          </p:cNvSpPr>
          <p:nvPr>
            <p:ph type="ctrTitle"/>
          </p:nvPr>
        </p:nvSpPr>
        <p:spPr>
          <a:xfrm>
            <a:off x="1058260" y="3726066"/>
            <a:ext cx="8397935" cy="1156710"/>
          </a:xfrm>
          <a:prstGeom prst="rect">
            <a:avLst/>
          </a:prstGeom>
          <a:noFill/>
          <a:ln>
            <a:noFill/>
          </a:ln>
        </p:spPr>
        <p:txBody>
          <a:bodyPr spcFirstLastPara="1" wrap="square" lIns="0" tIns="0" rIns="0" bIns="0" anchor="t" anchorCtr="0"/>
          <a:lstStyle>
            <a:lvl1pPr marR="0" lvl="0" algn="l" rtl="0">
              <a:lnSpc>
                <a:spcPct val="90000"/>
              </a:lnSpc>
              <a:spcBef>
                <a:spcPts val="0"/>
              </a:spcBef>
              <a:spcAft>
                <a:spcPts val="0"/>
              </a:spcAft>
              <a:buClr>
                <a:srgbClr val="385623"/>
              </a:buClr>
              <a:buSzPts val="2800"/>
              <a:buFont typeface="Arial"/>
              <a:buNone/>
              <a:defRPr sz="2800" b="1" i="0" u="none" strike="noStrike" cap="none">
                <a:solidFill>
                  <a:srgbClr val="385623"/>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52" name="Google Shape;52;p8"/>
          <p:cNvSpPr txBox="1">
            <a:spLocks noGrp="1"/>
          </p:cNvSpPr>
          <p:nvPr>
            <p:ph type="subTitle" idx="1"/>
          </p:nvPr>
        </p:nvSpPr>
        <p:spPr>
          <a:xfrm>
            <a:off x="1058260" y="4882778"/>
            <a:ext cx="8397935" cy="826221"/>
          </a:xfrm>
          <a:prstGeom prst="rect">
            <a:avLst/>
          </a:prstGeom>
          <a:noFill/>
          <a:ln>
            <a:noFill/>
          </a:ln>
        </p:spPr>
        <p:txBody>
          <a:bodyPr spcFirstLastPara="1" wrap="square" lIns="0" tIns="0" rIns="0" bIns="0" anchor="t" anchorCtr="0"/>
          <a:lstStyle>
            <a:lvl1pPr marR="0" lvl="0" algn="l" rtl="0">
              <a:lnSpc>
                <a:spcPct val="90000"/>
              </a:lnSpc>
              <a:spcBef>
                <a:spcPts val="1000"/>
              </a:spcBef>
              <a:spcAft>
                <a:spcPts val="0"/>
              </a:spcAft>
              <a:buClr>
                <a:srgbClr val="548135"/>
              </a:buClr>
              <a:buSzPts val="2200"/>
              <a:buFont typeface="Arial"/>
              <a:buNone/>
              <a:defRPr sz="2200" b="0" i="1" u="none" strike="noStrike" cap="none">
                <a:solidFill>
                  <a:srgbClr val="548135"/>
                </a:solidFill>
                <a:latin typeface="Arial"/>
                <a:ea typeface="Arial"/>
                <a:cs typeface="Arial"/>
                <a:sym typeface="Arial"/>
              </a:defRPr>
            </a:lvl1pPr>
            <a:lvl2pPr marR="0" lvl="1" algn="ctr" rtl="0">
              <a:lnSpc>
                <a:spcPct val="90000"/>
              </a:lnSpc>
              <a:spcBef>
                <a:spcPts val="500"/>
              </a:spcBef>
              <a:spcAft>
                <a:spcPts val="0"/>
              </a:spcAft>
              <a:buClr>
                <a:srgbClr val="888888"/>
              </a:buClr>
              <a:buSzPts val="2400"/>
              <a:buFont typeface="Arial"/>
              <a:buNone/>
              <a:defRPr sz="2400" b="0" i="0" u="none" strike="noStrike" cap="none">
                <a:solidFill>
                  <a:srgbClr val="888888"/>
                </a:solidFill>
                <a:latin typeface="Calibri"/>
                <a:ea typeface="Calibri"/>
                <a:cs typeface="Calibri"/>
                <a:sym typeface="Calibri"/>
              </a:defRPr>
            </a:lvl2pPr>
            <a:lvl3pPr marR="0" lvl="2" algn="ctr" rtl="0">
              <a:lnSpc>
                <a:spcPct val="90000"/>
              </a:lnSpc>
              <a:spcBef>
                <a:spcPts val="500"/>
              </a:spcBef>
              <a:spcAft>
                <a:spcPts val="0"/>
              </a:spcAft>
              <a:buClr>
                <a:srgbClr val="888888"/>
              </a:buClr>
              <a:buSzPts val="2000"/>
              <a:buFont typeface="Arial"/>
              <a:buNone/>
              <a:defRPr sz="2000" b="0" i="0" u="none" strike="noStrike" cap="none">
                <a:solidFill>
                  <a:srgbClr val="888888"/>
                </a:solidFill>
                <a:latin typeface="Calibri"/>
                <a:ea typeface="Calibri"/>
                <a:cs typeface="Calibri"/>
                <a:sym typeface="Calibri"/>
              </a:defRPr>
            </a:lvl3pPr>
            <a:lvl4pPr marR="0" lvl="3"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4pPr>
            <a:lvl5pPr marR="0" lvl="4"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5pPr>
            <a:lvl6pPr marR="0" lvl="5"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6pPr>
            <a:lvl7pPr marR="0" lvl="6"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7pPr>
            <a:lvl8pPr marR="0" lvl="7"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8pPr>
            <a:lvl9pPr marR="0" lvl="8"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9pPr>
          </a:lstStyle>
          <a:p>
            <a:endParaRPr/>
          </a:p>
        </p:txBody>
      </p:sp>
      <p:sp>
        <p:nvSpPr>
          <p:cNvPr id="53" name="Google Shape;53;p8"/>
          <p:cNvSpPr txBox="1">
            <a:spLocks noGrp="1"/>
          </p:cNvSpPr>
          <p:nvPr>
            <p:ph type="body" idx="2"/>
          </p:nvPr>
        </p:nvSpPr>
        <p:spPr>
          <a:xfrm>
            <a:off x="1058365" y="5700181"/>
            <a:ext cx="8397831" cy="311885"/>
          </a:xfrm>
          <a:prstGeom prst="rect">
            <a:avLst/>
          </a:prstGeom>
          <a:noFill/>
          <a:ln>
            <a:noFill/>
          </a:ln>
        </p:spPr>
        <p:txBody>
          <a:bodyPr spcFirstLastPara="1" wrap="square" lIns="0" tIns="0" rIns="0" bIns="0" anchor="t" anchorCtr="0"/>
          <a:lstStyle>
            <a:lvl1pPr marL="457200" marR="0" lvl="0" indent="-228600" algn="l" rtl="0">
              <a:lnSpc>
                <a:spcPct val="90000"/>
              </a:lnSpc>
              <a:spcBef>
                <a:spcPts val="1000"/>
              </a:spcBef>
              <a:spcAft>
                <a:spcPts val="0"/>
              </a:spcAft>
              <a:buClr>
                <a:srgbClr val="548135"/>
              </a:buClr>
              <a:buSzPts val="1800"/>
              <a:buFont typeface="Arial"/>
              <a:buNone/>
              <a:defRPr sz="1800" b="0" i="0" u="none" strike="noStrike" cap="none">
                <a:solidFill>
                  <a:srgbClr val="548135"/>
                </a:solidFill>
                <a:latin typeface="Arial"/>
                <a:ea typeface="Arial"/>
                <a:cs typeface="Arial"/>
                <a:sym typeface="Arial"/>
              </a:defRPr>
            </a:lvl1pPr>
            <a:lvl2pPr marL="914400" marR="0" lvl="1"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2pPr>
            <a:lvl3pPr marL="1371600" marR="0" lvl="2"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54" name="Google Shape;54;p8"/>
          <p:cNvSpPr/>
          <p:nvPr/>
        </p:nvSpPr>
        <p:spPr>
          <a:xfrm>
            <a:off x="457200" y="3726066"/>
            <a:ext cx="457200" cy="365736"/>
          </a:xfrm>
          <a:prstGeom prst="rect">
            <a:avLst/>
          </a:prstGeom>
          <a:solidFill>
            <a:srgbClr val="38562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dirty="0">
              <a:solidFill>
                <a:srgbClr val="FFFFFF"/>
              </a:solidFill>
              <a:latin typeface="Calibri"/>
              <a:ea typeface="Calibri"/>
              <a:cs typeface="Calibri"/>
              <a:sym typeface="Calibri"/>
            </a:endParaRPr>
          </a:p>
        </p:txBody>
      </p:sp>
      <p:sp>
        <p:nvSpPr>
          <p:cNvPr id="55" name="Google Shape;55;p8"/>
          <p:cNvSpPr>
            <a:spLocks noGrp="1"/>
          </p:cNvSpPr>
          <p:nvPr>
            <p:ph type="pic" idx="3"/>
          </p:nvPr>
        </p:nvSpPr>
        <p:spPr>
          <a:xfrm>
            <a:off x="3308000" y="0"/>
            <a:ext cx="3291840" cy="3118104"/>
          </a:xfrm>
          <a:prstGeom prst="rect">
            <a:avLst/>
          </a:prstGeom>
          <a:noFill/>
          <a:ln>
            <a:noFill/>
          </a:ln>
        </p:spPr>
        <p:txBody>
          <a:bodyPr spcFirstLastPara="1" wrap="square" lIns="91425" tIns="822950" rIns="91425" bIns="45700" anchor="t" anchorCtr="0"/>
          <a:lstStyle>
            <a:lvl1pPr marR="0" lvl="0" algn="ctr" rtl="0">
              <a:lnSpc>
                <a:spcPct val="90000"/>
              </a:lnSpc>
              <a:spcBef>
                <a:spcPts val="1000"/>
              </a:spcBef>
              <a:spcAft>
                <a:spcPts val="0"/>
              </a:spcAft>
              <a:buClr>
                <a:schemeClr val="dk1"/>
              </a:buClr>
              <a:buSzPts val="2800"/>
              <a:buFont typeface="Arial"/>
              <a:buNone/>
              <a:defRPr sz="28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56" name="Google Shape;56;p8"/>
          <p:cNvSpPr>
            <a:spLocks noGrp="1"/>
          </p:cNvSpPr>
          <p:nvPr>
            <p:ph type="pic" idx="4"/>
          </p:nvPr>
        </p:nvSpPr>
        <p:spPr>
          <a:xfrm>
            <a:off x="0" y="0"/>
            <a:ext cx="3291840" cy="3119846"/>
          </a:xfrm>
          <a:prstGeom prst="rect">
            <a:avLst/>
          </a:prstGeom>
          <a:noFill/>
          <a:ln>
            <a:noFill/>
          </a:ln>
        </p:spPr>
        <p:txBody>
          <a:bodyPr spcFirstLastPara="1" wrap="square" lIns="91425" tIns="822950" rIns="91425" bIns="45700" anchor="t" anchorCtr="0"/>
          <a:lstStyle>
            <a:lvl1pPr marR="0" lvl="0" algn="ctr" rtl="0">
              <a:lnSpc>
                <a:spcPct val="90000"/>
              </a:lnSpc>
              <a:spcBef>
                <a:spcPts val="1000"/>
              </a:spcBef>
              <a:spcAft>
                <a:spcPts val="0"/>
              </a:spcAft>
              <a:buClr>
                <a:schemeClr val="dk1"/>
              </a:buClr>
              <a:buSzPts val="2800"/>
              <a:buFont typeface="Arial"/>
              <a:buNone/>
              <a:defRPr sz="28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57" name="Google Shape;57;p8"/>
          <p:cNvSpPr>
            <a:spLocks noGrp="1"/>
          </p:cNvSpPr>
          <p:nvPr>
            <p:ph type="pic" idx="5"/>
          </p:nvPr>
        </p:nvSpPr>
        <p:spPr>
          <a:xfrm>
            <a:off x="6616000" y="0"/>
            <a:ext cx="3291840" cy="3118104"/>
          </a:xfrm>
          <a:prstGeom prst="rect">
            <a:avLst/>
          </a:prstGeom>
          <a:noFill/>
          <a:ln>
            <a:noFill/>
          </a:ln>
        </p:spPr>
        <p:txBody>
          <a:bodyPr spcFirstLastPara="1" wrap="square" lIns="91425" tIns="822950" rIns="91425" bIns="45700" anchor="t" anchorCtr="0"/>
          <a:lstStyle>
            <a:lvl1pPr marR="0" lvl="0" algn="ctr" rtl="0">
              <a:lnSpc>
                <a:spcPct val="90000"/>
              </a:lnSpc>
              <a:spcBef>
                <a:spcPts val="1000"/>
              </a:spcBef>
              <a:spcAft>
                <a:spcPts val="0"/>
              </a:spcAft>
              <a:buClr>
                <a:schemeClr val="dk1"/>
              </a:buClr>
              <a:buSzPts val="2800"/>
              <a:buFont typeface="Arial"/>
              <a:buNone/>
              <a:defRPr sz="28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pic>
        <p:nvPicPr>
          <p:cNvPr id="58" name="Google Shape;58;p8"/>
          <p:cNvPicPr preferRelativeResize="0"/>
          <p:nvPr/>
        </p:nvPicPr>
        <p:blipFill rotWithShape="1">
          <a:blip r:embed="rId3">
            <a:alphaModFix/>
          </a:blip>
          <a:srcRect/>
          <a:stretch/>
        </p:blipFill>
        <p:spPr>
          <a:xfrm>
            <a:off x="8305800" y="6172200"/>
            <a:ext cx="1391895" cy="466473"/>
          </a:xfrm>
          <a:prstGeom prst="rect">
            <a:avLst/>
          </a:prstGeom>
          <a:noFill/>
          <a:ln>
            <a:noFill/>
          </a:ln>
        </p:spPr>
      </p:pic>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7067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721" y="1589"/>
                        <a:ext cx="1719" cy="1587"/>
                      </a:xfrm>
                      <a:prstGeom prst="rect">
                        <a:avLst/>
                      </a:prstGeom>
                    </p:spPr>
                  </p:pic>
                </p:oleObj>
              </mc:Fallback>
            </mc:AlternateContent>
          </a:graphicData>
        </a:graphic>
      </p:graphicFrame>
      <p:pic>
        <p:nvPicPr>
          <p:cNvPr id="12" name="Picture 11" descr="covertemps-5.jpg"/>
          <p:cNvPicPr>
            <a:picLocks noChangeAspect="1"/>
          </p:cNvPicPr>
          <p:nvPr userDrawn="1"/>
        </p:nvPicPr>
        <p:blipFill>
          <a:blip r:embed="rId6" cstate="print">
            <a:extLst>
              <a:ext uri="{28A0092B-C50C-407E-A947-70E740481C1C}">
                <a14:useLocalDpi xmlns:a14="http://schemas.microsoft.com/office/drawing/2010/main" val="0"/>
              </a:ext>
            </a:extLst>
          </a:blip>
          <a:srcRect b="13333"/>
          <a:stretch>
            <a:fillRect/>
          </a:stretch>
        </p:blipFill>
        <p:spPr bwMode="ltGray">
          <a:xfrm>
            <a:off x="0" y="0"/>
            <a:ext cx="9906000" cy="5943600"/>
          </a:xfrm>
          <a:prstGeom prst="rect">
            <a:avLst/>
          </a:prstGeom>
        </p:spPr>
      </p:pic>
      <p:sp>
        <p:nvSpPr>
          <p:cNvPr id="5" name="doc id"/>
          <p:cNvSpPr txBox="1">
            <a:spLocks noChangeArrowheads="1"/>
          </p:cNvSpPr>
          <p:nvPr/>
        </p:nvSpPr>
        <p:spPr bwMode="auto">
          <a:xfrm>
            <a:off x="9332171" y="37255"/>
            <a:ext cx="3263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buClrTx/>
              <a:buFontTx/>
              <a:buNone/>
              <a:defRPr/>
            </a:pPr>
            <a:endParaRPr lang="en-US" sz="800" kern="1200" dirty="0">
              <a:solidFill>
                <a:srgbClr val="000000"/>
              </a:solidFill>
              <a:latin typeface="Arial"/>
              <a:ea typeface="+mn-ea"/>
              <a:cs typeface="+mn-cs"/>
            </a:endParaRPr>
          </a:p>
        </p:txBody>
      </p:sp>
      <p:sp>
        <p:nvSpPr>
          <p:cNvPr id="13314" name="Rectangle 1026"/>
          <p:cNvSpPr>
            <a:spLocks noGrp="1" noChangeArrowheads="1"/>
          </p:cNvSpPr>
          <p:nvPr>
            <p:ph type="ctrTitle"/>
          </p:nvPr>
        </p:nvSpPr>
        <p:spPr bwMode="auto">
          <a:xfrm>
            <a:off x="664662" y="1282691"/>
            <a:ext cx="8531407" cy="507831"/>
          </a:xfrm>
          <a:prstGeom prst="rect">
            <a:avLst/>
          </a:prstGeom>
        </p:spPr>
        <p:txBody>
          <a:bodyPr anchor="t">
            <a:spAutoFit/>
          </a:bodyPr>
          <a:lstStyle>
            <a:lvl1pPr>
              <a:defRPr sz="3300" b="0" baseline="0">
                <a:solidFill>
                  <a:schemeClr val="bg1"/>
                </a:solidFill>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664662" y="2793630"/>
            <a:ext cx="8531407" cy="219820"/>
          </a:xfrm>
        </p:spPr>
        <p:txBody>
          <a:bodyPr wrap="square">
            <a:spAutoFit/>
          </a:bodyPr>
          <a:lstStyle>
            <a:lvl1pPr>
              <a:defRPr sz="1400" baseline="0">
                <a:solidFill>
                  <a:schemeClr val="bg1"/>
                </a:solidFill>
                <a:latin typeface="+mn-lt"/>
                <a:ea typeface="+mn-ea"/>
              </a:defRPr>
            </a:lvl1pPr>
          </a:lstStyle>
          <a:p>
            <a:pPr lvl="0"/>
            <a:r>
              <a:rPr lang="en-US" noProof="0"/>
              <a:t>Click to edit Master subtitle style</a:t>
            </a:r>
            <a:endParaRPr lang="en-US" noProof="0" dirty="0"/>
          </a:p>
        </p:txBody>
      </p:sp>
      <p:sp>
        <p:nvSpPr>
          <p:cNvPr id="16" name="Document type" hidden="1"/>
          <p:cNvSpPr txBox="1">
            <a:spLocks noChangeArrowheads="1"/>
          </p:cNvSpPr>
          <p:nvPr userDrawn="1"/>
        </p:nvSpPr>
        <p:spPr bwMode="auto">
          <a:xfrm>
            <a:off x="664662" y="4016558"/>
            <a:ext cx="853140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fontAlgn="base" hangingPunct="1">
              <a:spcBef>
                <a:spcPct val="0"/>
              </a:spcBef>
              <a:spcAft>
                <a:spcPct val="0"/>
              </a:spcAft>
              <a:buClrTx/>
              <a:buFontTx/>
              <a:buNone/>
              <a:defRPr lang="x-none"/>
            </a:pPr>
            <a:r>
              <a:rPr sz="1400" kern="1200" dirty="0">
                <a:solidFill>
                  <a:srgbClr val="FFFFFF"/>
                </a:solidFill>
                <a:latin typeface="Arial"/>
                <a:ea typeface="+mn-ea"/>
                <a:cs typeface="+mn-cs"/>
              </a:rPr>
              <a:t>Document type | Date</a:t>
            </a:r>
          </a:p>
        </p:txBody>
      </p:sp>
    </p:spTree>
    <p:extLst>
      <p:ext uri="{BB962C8B-B14F-4D97-AF65-F5344CB8AC3E}">
        <p14:creationId xmlns:p14="http://schemas.microsoft.com/office/powerpoint/2010/main" val="366073925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71694" name="think-cell Slide" r:id="rId5" imgW="470" imgH="469" progId="TCLayout.ActiveDocument.1">
                  <p:embed/>
                </p:oleObj>
              </mc:Choice>
              <mc:Fallback>
                <p:oleObj name="think-cell Slide" r:id="rId5" imgW="470" imgH="469" progId="TCLayout.ActiveDocument.1">
                  <p:embed/>
                  <p:pic>
                    <p:nvPicPr>
                      <p:cNvPr id="6" name="Object 5" hidden="1"/>
                      <p:cNvPicPr/>
                      <p:nvPr/>
                    </p:nvPicPr>
                    <p:blipFill>
                      <a:blip r:embed="rId6"/>
                      <a:stretch>
                        <a:fillRect/>
                      </a:stretch>
                    </p:blipFill>
                    <p:spPr>
                      <a:xfrm>
                        <a:off x="1721" y="1589"/>
                        <a:ext cx="1719" cy="1587"/>
                      </a:xfrm>
                      <a:prstGeom prst="rect">
                        <a:avLst/>
                      </a:prstGeom>
                    </p:spPr>
                  </p:pic>
                </p:oleObj>
              </mc:Fallback>
            </mc:AlternateContent>
          </a:graphicData>
        </a:graphic>
      </p:graphicFrame>
      <p:sp>
        <p:nvSpPr>
          <p:cNvPr id="10"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600" kern="1200" dirty="0">
              <a:solidFill>
                <a:srgbClr val="000000"/>
              </a:solidFill>
            </a:endParaRPr>
          </a:p>
        </p:txBody>
      </p:sp>
      <p:sp>
        <p:nvSpPr>
          <p:cNvPr id="2" name="McK 2. Slide Title"/>
          <p:cNvSpPr>
            <a:spLocks noGrp="1"/>
          </p:cNvSpPr>
          <p:nvPr>
            <p:ph type="title"/>
          </p:nvPr>
        </p:nvSpPr>
        <p:spPr>
          <a:xfrm>
            <a:off x="247650" y="404011"/>
            <a:ext cx="8007350" cy="276999"/>
          </a:xfrm>
        </p:spPr>
        <p:txBody>
          <a:bodyPr/>
          <a:lstStyle>
            <a:lvl1pPr>
              <a:defRPr sz="1800"/>
            </a:lvl1pPr>
          </a:lstStyle>
          <a:p>
            <a:r>
              <a:rPr lang="en-US" dirty="0"/>
              <a:t>Click to edit Master title style</a:t>
            </a:r>
          </a:p>
        </p:txBody>
      </p:sp>
    </p:spTree>
    <p:extLst>
      <p:ext uri="{BB962C8B-B14F-4D97-AF65-F5344CB8AC3E}">
        <p14:creationId xmlns:p14="http://schemas.microsoft.com/office/powerpoint/2010/main" val="79009327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47650" y="404011"/>
            <a:ext cx="8007350" cy="276999"/>
          </a:xfrm>
        </p:spPr>
        <p:txBody>
          <a:bodyPr/>
          <a:lstStyle>
            <a:lvl1pPr>
              <a:defRPr sz="1800"/>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95300" y="6356511"/>
            <a:ext cx="2311400" cy="365125"/>
          </a:xfrm>
          <a:prstGeom prst="rect">
            <a:avLst/>
          </a:prstGeom>
        </p:spPr>
        <p:txBody>
          <a:bodyPr/>
          <a:lstStyle/>
          <a:p>
            <a:pPr fontAlgn="base">
              <a:spcBef>
                <a:spcPct val="0"/>
              </a:spcBef>
              <a:spcAft>
                <a:spcPct val="0"/>
              </a:spcAft>
              <a:buClrTx/>
              <a:buFontTx/>
              <a:buNone/>
            </a:pPr>
            <a:fld id="{2CBB78D2-3EDF-44DD-BD93-60A225E69B3E}" type="datetimeFigureOut">
              <a:rPr lang="en-US" sz="1600" kern="1200" smtClean="0">
                <a:solidFill>
                  <a:prstClr val="black">
                    <a:tint val="75000"/>
                  </a:prstClr>
                </a:solidFill>
                <a:latin typeface="Arial" charset="0"/>
                <a:ea typeface="+mn-ea"/>
                <a:cs typeface="+mn-cs"/>
              </a:rPr>
              <a:pPr fontAlgn="base">
                <a:spcBef>
                  <a:spcPct val="0"/>
                </a:spcBef>
                <a:spcAft>
                  <a:spcPct val="0"/>
                </a:spcAft>
                <a:buClrTx/>
                <a:buFontTx/>
                <a:buNone/>
              </a:pPr>
              <a:t>8/22/2019</a:t>
            </a:fld>
            <a:endParaRPr lang="en-US" sz="1600" kern="1200" dirty="0">
              <a:solidFill>
                <a:prstClr val="black">
                  <a:tint val="75000"/>
                </a:prstClr>
              </a:solidFill>
              <a:latin typeface="Arial" charset="0"/>
              <a:ea typeface="+mn-ea"/>
              <a:cs typeface="+mn-cs"/>
            </a:endParaRPr>
          </a:p>
        </p:txBody>
      </p:sp>
      <p:sp>
        <p:nvSpPr>
          <p:cNvPr id="5" name="Footer Placeholder 4"/>
          <p:cNvSpPr>
            <a:spLocks noGrp="1"/>
          </p:cNvSpPr>
          <p:nvPr>
            <p:ph type="ftr" sz="quarter" idx="11"/>
          </p:nvPr>
        </p:nvSpPr>
        <p:spPr>
          <a:xfrm>
            <a:off x="3384550" y="6356511"/>
            <a:ext cx="3136900" cy="365125"/>
          </a:xfrm>
          <a:prstGeom prst="rect">
            <a:avLst/>
          </a:prstGeom>
        </p:spPr>
        <p:txBody>
          <a:bodyPr/>
          <a:lstStyle/>
          <a:p>
            <a:pPr fontAlgn="base">
              <a:spcBef>
                <a:spcPct val="0"/>
              </a:spcBef>
              <a:spcAft>
                <a:spcPct val="0"/>
              </a:spcAft>
              <a:buClrTx/>
              <a:buFontTx/>
              <a:buNone/>
            </a:pPr>
            <a:endParaRPr lang="en-US" sz="1600" kern="1200" dirty="0">
              <a:solidFill>
                <a:prstClr val="black">
                  <a:tint val="75000"/>
                </a:prstClr>
              </a:solidFill>
              <a:latin typeface="Arial" charset="0"/>
              <a:ea typeface="+mn-ea"/>
              <a:cs typeface="+mn-cs"/>
            </a:endParaRPr>
          </a:p>
        </p:txBody>
      </p:sp>
      <p:sp>
        <p:nvSpPr>
          <p:cNvPr id="6" name="Slide Number Placeholder 5"/>
          <p:cNvSpPr>
            <a:spLocks noGrp="1"/>
          </p:cNvSpPr>
          <p:nvPr>
            <p:ph type="sldNum" sz="quarter" idx="12"/>
          </p:nvPr>
        </p:nvSpPr>
        <p:spPr>
          <a:xfrm>
            <a:off x="7099300" y="6356511"/>
            <a:ext cx="2311400" cy="365125"/>
          </a:xfrm>
          <a:prstGeom prst="rect">
            <a:avLst/>
          </a:prstGeom>
        </p:spPr>
        <p:txBody>
          <a:bodyPr/>
          <a:lstStyle/>
          <a:p>
            <a:pPr fontAlgn="base">
              <a:spcBef>
                <a:spcPct val="0"/>
              </a:spcBef>
              <a:spcAft>
                <a:spcPct val="0"/>
              </a:spcAft>
              <a:buClrTx/>
              <a:buFontTx/>
              <a:buNone/>
            </a:pPr>
            <a:fld id="{4FAD6F48-C937-4B90-AF1D-01ADEA9D6D76}" type="slidenum">
              <a:rPr lang="en-US" sz="1600" kern="1200" smtClean="0">
                <a:solidFill>
                  <a:prstClr val="black">
                    <a:tint val="75000"/>
                  </a:prstClr>
                </a:solidFill>
                <a:latin typeface="Arial" charset="0"/>
                <a:ea typeface="+mn-ea"/>
                <a:cs typeface="+mn-cs"/>
              </a:rPr>
              <a:pPr fontAlgn="base">
                <a:spcBef>
                  <a:spcPct val="0"/>
                </a:spcBef>
                <a:spcAft>
                  <a:spcPct val="0"/>
                </a:spcAft>
                <a:buClrTx/>
                <a:buFontTx/>
                <a:buNone/>
              </a:pPr>
              <a:t>‹#›</a:t>
            </a:fld>
            <a:endParaRPr lang="en-US" sz="1600" kern="1200" dirty="0">
              <a:solidFill>
                <a:prstClr val="black">
                  <a:tint val="75000"/>
                </a:prstClr>
              </a:solidFill>
              <a:latin typeface="Arial" charset="0"/>
              <a:ea typeface="+mn-ea"/>
              <a:cs typeface="+mn-cs"/>
            </a:endParaRPr>
          </a:p>
        </p:txBody>
      </p:sp>
    </p:spTree>
    <p:extLst>
      <p:ext uri="{BB962C8B-B14F-4D97-AF65-F5344CB8AC3E}">
        <p14:creationId xmlns:p14="http://schemas.microsoft.com/office/powerpoint/2010/main" val="81879621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722" y="1593"/>
          <a:ext cx="1719" cy="1587"/>
        </p:xfrm>
        <a:graphic>
          <a:graphicData uri="http://schemas.openxmlformats.org/presentationml/2006/ole">
            <mc:AlternateContent xmlns:mc="http://schemas.openxmlformats.org/markup-compatibility/2006">
              <mc:Choice xmlns:v="urn:schemas-microsoft-com:vml" Requires="v">
                <p:oleObj spid="_x0000_s747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722" y="1593"/>
                        <a:ext cx="1719" cy="1587"/>
                      </a:xfrm>
                      <a:prstGeom prst="rect">
                        <a:avLst/>
                      </a:prstGeom>
                    </p:spPr>
                  </p:pic>
                </p:oleObj>
              </mc:Fallback>
            </mc:AlternateContent>
          </a:graphicData>
        </a:graphic>
      </p:graphicFrame>
      <p:pic>
        <p:nvPicPr>
          <p:cNvPr id="12" name="Picture 11" descr="covertemps-5.jpg"/>
          <p:cNvPicPr>
            <a:picLocks noChangeAspect="1"/>
          </p:cNvPicPr>
          <p:nvPr userDrawn="1"/>
        </p:nvPicPr>
        <p:blipFill>
          <a:blip r:embed="rId6" cstate="print">
            <a:extLst>
              <a:ext uri="{28A0092B-C50C-407E-A947-70E740481C1C}">
                <a14:useLocalDpi xmlns:a14="http://schemas.microsoft.com/office/drawing/2010/main" val="0"/>
              </a:ext>
            </a:extLst>
          </a:blip>
          <a:srcRect b="13333"/>
          <a:stretch>
            <a:fillRect/>
          </a:stretch>
        </p:blipFill>
        <p:spPr bwMode="ltGray">
          <a:xfrm>
            <a:off x="0" y="0"/>
            <a:ext cx="9906000" cy="5943600"/>
          </a:xfrm>
          <a:prstGeom prst="rect">
            <a:avLst/>
          </a:prstGeom>
        </p:spPr>
      </p:pic>
      <p:sp>
        <p:nvSpPr>
          <p:cNvPr id="5" name="doc id"/>
          <p:cNvSpPr txBox="1">
            <a:spLocks noChangeArrowheads="1"/>
          </p:cNvSpPr>
          <p:nvPr/>
        </p:nvSpPr>
        <p:spPr bwMode="auto">
          <a:xfrm>
            <a:off x="9332171" y="37255"/>
            <a:ext cx="3263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buClrTx/>
              <a:buFontTx/>
              <a:buNone/>
              <a:defRPr/>
            </a:pPr>
            <a:endParaRPr lang="en-US" sz="800" kern="1200" dirty="0">
              <a:solidFill>
                <a:srgbClr val="000000"/>
              </a:solidFill>
              <a:latin typeface="Arial"/>
              <a:ea typeface="+mn-ea"/>
              <a:cs typeface="+mn-cs"/>
            </a:endParaRPr>
          </a:p>
        </p:txBody>
      </p:sp>
      <p:sp>
        <p:nvSpPr>
          <p:cNvPr id="13314" name="Rectangle 1026"/>
          <p:cNvSpPr>
            <a:spLocks noGrp="1" noChangeArrowheads="1"/>
          </p:cNvSpPr>
          <p:nvPr>
            <p:ph type="ctrTitle"/>
          </p:nvPr>
        </p:nvSpPr>
        <p:spPr bwMode="auto">
          <a:xfrm>
            <a:off x="664673" y="1282851"/>
            <a:ext cx="8531407" cy="507831"/>
          </a:xfrm>
          <a:prstGeom prst="rect">
            <a:avLst/>
          </a:prstGeom>
        </p:spPr>
        <p:txBody>
          <a:bodyPr anchor="t">
            <a:spAutoFit/>
          </a:bodyPr>
          <a:lstStyle>
            <a:lvl1pPr>
              <a:defRPr sz="3300" b="0" baseline="0">
                <a:solidFill>
                  <a:schemeClr val="bg1"/>
                </a:solidFill>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664673" y="2793630"/>
            <a:ext cx="8531407" cy="219820"/>
          </a:xfrm>
        </p:spPr>
        <p:txBody>
          <a:bodyPr wrap="square">
            <a:spAutoFit/>
          </a:bodyPr>
          <a:lstStyle>
            <a:lvl1pPr>
              <a:defRPr sz="1400" baseline="0">
                <a:solidFill>
                  <a:schemeClr val="bg1"/>
                </a:solidFill>
                <a:latin typeface="+mn-lt"/>
                <a:ea typeface="+mn-ea"/>
              </a:defRPr>
            </a:lvl1pPr>
          </a:lstStyle>
          <a:p>
            <a:pPr lvl="0"/>
            <a:r>
              <a:rPr lang="en-US" noProof="0"/>
              <a:t>Click to edit Master subtitle style</a:t>
            </a:r>
            <a:endParaRPr lang="en-US" noProof="0" dirty="0"/>
          </a:p>
        </p:txBody>
      </p:sp>
      <p:sp>
        <p:nvSpPr>
          <p:cNvPr id="16" name="Document type" hidden="1"/>
          <p:cNvSpPr txBox="1">
            <a:spLocks noChangeArrowheads="1"/>
          </p:cNvSpPr>
          <p:nvPr userDrawn="1"/>
        </p:nvSpPr>
        <p:spPr bwMode="auto">
          <a:xfrm>
            <a:off x="664673" y="4016558"/>
            <a:ext cx="853140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fontAlgn="base" hangingPunct="1">
              <a:spcBef>
                <a:spcPct val="0"/>
              </a:spcBef>
              <a:spcAft>
                <a:spcPct val="0"/>
              </a:spcAft>
              <a:buClrTx/>
              <a:buFontTx/>
              <a:buNone/>
              <a:defRPr lang="x-none"/>
            </a:pPr>
            <a:r>
              <a:rPr sz="1400" kern="1200" dirty="0">
                <a:solidFill>
                  <a:srgbClr val="FFFFFF"/>
                </a:solidFill>
                <a:latin typeface="Arial"/>
                <a:ea typeface="+mn-ea"/>
                <a:cs typeface="+mn-cs"/>
              </a:rPr>
              <a:t>Document type | Date</a:t>
            </a:r>
          </a:p>
        </p:txBody>
      </p:sp>
    </p:spTree>
    <p:extLst>
      <p:ext uri="{BB962C8B-B14F-4D97-AF65-F5344CB8AC3E}">
        <p14:creationId xmlns:p14="http://schemas.microsoft.com/office/powerpoint/2010/main" val="416158078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722" y="1593"/>
          <a:ext cx="1719" cy="1587"/>
        </p:xfrm>
        <a:graphic>
          <a:graphicData uri="http://schemas.openxmlformats.org/presentationml/2006/ole">
            <mc:AlternateContent xmlns:mc="http://schemas.openxmlformats.org/markup-compatibility/2006">
              <mc:Choice xmlns:v="urn:schemas-microsoft-com:vml" Requires="v">
                <p:oleObj spid="_x0000_s75790"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722" y="1593"/>
                        <a:ext cx="1719" cy="1587"/>
                      </a:xfrm>
                      <a:prstGeom prst="rect">
                        <a:avLst/>
                      </a:prstGeom>
                    </p:spPr>
                  </p:pic>
                </p:oleObj>
              </mc:Fallback>
            </mc:AlternateContent>
          </a:graphicData>
        </a:graphic>
      </p:graphicFrame>
      <p:sp>
        <p:nvSpPr>
          <p:cNvPr id="10"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600" kern="1200" dirty="0">
              <a:solidFill>
                <a:srgbClr val="000000"/>
              </a:solidFill>
            </a:endParaRPr>
          </a:p>
        </p:txBody>
      </p:sp>
      <p:sp>
        <p:nvSpPr>
          <p:cNvPr id="2" name="McK 2. Slide Title"/>
          <p:cNvSpPr>
            <a:spLocks noGrp="1"/>
          </p:cNvSpPr>
          <p:nvPr>
            <p:ph type="title"/>
          </p:nvPr>
        </p:nvSpPr>
        <p:spPr>
          <a:xfrm>
            <a:off x="247650" y="342455"/>
            <a:ext cx="8007350" cy="338554"/>
          </a:xfrm>
        </p:spPr>
        <p:txBody>
          <a:bodyPr/>
          <a:lstStyle>
            <a:lvl1pPr>
              <a:defRPr sz="2200"/>
            </a:lvl1pPr>
          </a:lstStyle>
          <a:p>
            <a:r>
              <a:rPr lang="en-US"/>
              <a:t>Click to edit Master title style</a:t>
            </a:r>
          </a:p>
        </p:txBody>
      </p:sp>
    </p:spTree>
    <p:extLst>
      <p:ext uri="{BB962C8B-B14F-4D97-AF65-F5344CB8AC3E}">
        <p14:creationId xmlns:p14="http://schemas.microsoft.com/office/powerpoint/2010/main" val="256917970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3" y="3"/>
          <a:ext cx="156346" cy="140074"/>
        </p:xfrm>
        <a:graphic>
          <a:graphicData uri="http://schemas.openxmlformats.org/presentationml/2006/ole">
            <mc:AlternateContent xmlns:mc="http://schemas.openxmlformats.org/markup-compatibility/2006">
              <mc:Choice xmlns:v="urn:schemas-microsoft-com:vml" Requires="v">
                <p:oleObj spid="_x0000_s76814"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 y="3"/>
                        <a:ext cx="156346"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
          <p:cNvSpPr>
            <a:spLocks noGrp="1"/>
          </p:cNvSpPr>
          <p:nvPr>
            <p:ph type="title"/>
          </p:nvPr>
        </p:nvSpPr>
        <p:spPr>
          <a:xfrm>
            <a:off x="374543" y="293191"/>
            <a:ext cx="9005454" cy="228268"/>
          </a:xfrm>
          <a:prstGeom prst="rect">
            <a:avLst/>
          </a:prstGeom>
        </p:spPr>
        <p:txBody>
          <a:bodyPr lIns="0" tIns="0" rIns="0" bIns="0" anchor="b"/>
          <a:lstStyle>
            <a:lvl1pPr marL="0" marR="0" indent="0" algn="l" defTabSz="685160" rtl="0" eaLnBrk="1" fontAlgn="auto" latinLnBrk="0" hangingPunct="1">
              <a:lnSpc>
                <a:spcPct val="90000"/>
              </a:lnSpc>
              <a:spcBef>
                <a:spcPct val="0"/>
              </a:spcBef>
              <a:spcAft>
                <a:spcPts val="0"/>
              </a:spcAft>
              <a:buClrTx/>
              <a:buSzTx/>
              <a:buFontTx/>
              <a:buNone/>
              <a:tabLst/>
              <a:defRPr lang="en-US" sz="1648" b="1" smtClean="0">
                <a:solidFill>
                  <a:schemeClr val="tx1"/>
                </a:solidFill>
                <a:latin typeface="+mn-lt"/>
              </a:defRPr>
            </a:lvl1pPr>
          </a:lstStyle>
          <a:p>
            <a:r>
              <a:rPr lang="en-US" sz="1648"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97996450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77838"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7"/>
          <p:cNvSpPr>
            <a:spLocks noGrp="1"/>
          </p:cNvSpPr>
          <p:nvPr>
            <p:ph type="body" sz="quarter" idx="13" hasCustomPrompt="1"/>
          </p:nvPr>
        </p:nvSpPr>
        <p:spPr>
          <a:xfrm>
            <a:off x="450276" y="1330699"/>
            <a:ext cx="9005453" cy="4989391"/>
          </a:xfrm>
          <a:prstGeom prst="rect">
            <a:avLst/>
          </a:prstGeom>
        </p:spPr>
        <p:txBody>
          <a:bodyPr lIns="0" tIns="0" rIns="0" bIns="0">
            <a:noAutofit/>
          </a:bodyPr>
          <a:lstStyle>
            <a:lvl1pPr marL="159731" indent="-159731">
              <a:spcBef>
                <a:spcPts val="663"/>
              </a:spcBef>
              <a:defRPr sz="1662" baseline="0"/>
            </a:lvl1pPr>
            <a:lvl2pPr marL="320928" indent="-161196">
              <a:spcBef>
                <a:spcPts val="663"/>
              </a:spcBef>
              <a:defRPr sz="1477"/>
            </a:lvl2pPr>
            <a:lvl3pPr marL="470401" indent="-149473">
              <a:buFont typeface="Courier New" pitchFamily="49" charset="0"/>
              <a:buChar char="o"/>
              <a:defRPr sz="1477"/>
            </a:lvl3pPr>
            <a:lvl4pPr marL="630131" indent="-159731">
              <a:defRPr sz="1477"/>
            </a:lvl4pPr>
            <a:lvl5pPr>
              <a:defRPr sz="1662"/>
            </a:lvl5pPr>
          </a:lstStyle>
          <a:p>
            <a:pPr lvl="0"/>
            <a:r>
              <a:rPr lang="en-US" dirty="0"/>
              <a:t>Click to edit Master text first level</a:t>
            </a:r>
          </a:p>
          <a:p>
            <a:pPr lvl="1"/>
            <a:r>
              <a:rPr lang="en-US" dirty="0"/>
              <a:t>Second level</a:t>
            </a:r>
          </a:p>
          <a:p>
            <a:pPr lvl="2"/>
            <a:r>
              <a:rPr lang="en-US" dirty="0"/>
              <a:t>Third level</a:t>
            </a:r>
          </a:p>
          <a:p>
            <a:pPr lvl="3"/>
            <a:r>
              <a:rPr lang="en-US" dirty="0"/>
              <a:t>Fourth level</a:t>
            </a:r>
          </a:p>
        </p:txBody>
      </p:sp>
      <p:sp>
        <p:nvSpPr>
          <p:cNvPr id="6" name="Title 1"/>
          <p:cNvSpPr>
            <a:spLocks noGrp="1"/>
          </p:cNvSpPr>
          <p:nvPr>
            <p:ph type="title" hasCustomPrompt="1"/>
          </p:nvPr>
        </p:nvSpPr>
        <p:spPr>
          <a:xfrm>
            <a:off x="450742" y="133086"/>
            <a:ext cx="9005454" cy="738664"/>
          </a:xfrm>
          <a:prstGeom prst="rect">
            <a:avLst/>
          </a:prstGeom>
        </p:spPr>
        <p:txBody>
          <a:bodyPr lIns="0" tIns="0" rIns="0" bIns="0" anchor="b"/>
          <a:lstStyle>
            <a:lvl1pPr algn="l">
              <a:defRPr sz="2400" b="1" baseline="0">
                <a:solidFill>
                  <a:schemeClr val="bg1"/>
                </a:solidFill>
              </a:defRPr>
            </a:lvl1pPr>
          </a:lstStyle>
          <a:p>
            <a:r>
              <a:rPr lang="en-US" dirty="0"/>
              <a:t>Click to edit </a:t>
            </a:r>
            <a:br>
              <a:rPr lang="en-US" dirty="0"/>
            </a:br>
            <a:r>
              <a:rPr lang="en-US" dirty="0"/>
              <a:t>Master title</a:t>
            </a:r>
          </a:p>
        </p:txBody>
      </p:sp>
      <p:sp>
        <p:nvSpPr>
          <p:cNvPr id="12" name="Text Placeholder 9"/>
          <p:cNvSpPr>
            <a:spLocks noGrp="1"/>
          </p:cNvSpPr>
          <p:nvPr>
            <p:ph type="body" sz="quarter" idx="37" hasCustomPrompt="1"/>
          </p:nvPr>
        </p:nvSpPr>
        <p:spPr>
          <a:xfrm>
            <a:off x="450284" y="6549116"/>
            <a:ext cx="7626926" cy="284052"/>
          </a:xfrm>
          <a:prstGeom prst="rect">
            <a:avLst/>
          </a:prstGeom>
        </p:spPr>
        <p:txBody>
          <a:bodyPr lIns="0" tIns="0" rIns="0" bIns="0" anchor="b"/>
          <a:lstStyle>
            <a:lvl1pPr marL="0" indent="0">
              <a:buNone/>
              <a:defRPr sz="923"/>
            </a:lvl1pPr>
          </a:lstStyle>
          <a:p>
            <a:r>
              <a:rPr lang="en-US" dirty="0"/>
              <a:t>Click to edit Master footer. This space is reserved for footnotes and sources only, and cannot be expanded beyond its current size.                                        </a:t>
            </a:r>
            <a:r>
              <a:rPr lang="en-IN" dirty="0"/>
              <a:t>Source: [Author/Publisher Name], [Report Name], [Year]</a:t>
            </a:r>
          </a:p>
        </p:txBody>
      </p:sp>
    </p:spTree>
    <p:extLst>
      <p:ext uri="{BB962C8B-B14F-4D97-AF65-F5344CB8AC3E}">
        <p14:creationId xmlns:p14="http://schemas.microsoft.com/office/powerpoint/2010/main" val="272528844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722" y="1593"/>
          <a:ext cx="1719" cy="1587"/>
        </p:xfrm>
        <a:graphic>
          <a:graphicData uri="http://schemas.openxmlformats.org/presentationml/2006/ole">
            <mc:AlternateContent xmlns:mc="http://schemas.openxmlformats.org/markup-compatibility/2006">
              <mc:Choice xmlns:v="urn:schemas-microsoft-com:vml" Requires="v">
                <p:oleObj spid="_x0000_s7988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722" y="1593"/>
                        <a:ext cx="1719" cy="1587"/>
                      </a:xfrm>
                      <a:prstGeom prst="rect">
                        <a:avLst/>
                      </a:prstGeom>
                    </p:spPr>
                  </p:pic>
                </p:oleObj>
              </mc:Fallback>
            </mc:AlternateContent>
          </a:graphicData>
        </a:graphic>
      </p:graphicFrame>
      <p:pic>
        <p:nvPicPr>
          <p:cNvPr id="12" name="Picture 11" descr="covertemps-5.jpg"/>
          <p:cNvPicPr>
            <a:picLocks noChangeAspect="1"/>
          </p:cNvPicPr>
          <p:nvPr userDrawn="1"/>
        </p:nvPicPr>
        <p:blipFill>
          <a:blip r:embed="rId6" cstate="print">
            <a:extLst>
              <a:ext uri="{28A0092B-C50C-407E-A947-70E740481C1C}">
                <a14:useLocalDpi xmlns:a14="http://schemas.microsoft.com/office/drawing/2010/main" val="0"/>
              </a:ext>
            </a:extLst>
          </a:blip>
          <a:srcRect b="13333"/>
          <a:stretch>
            <a:fillRect/>
          </a:stretch>
        </p:blipFill>
        <p:spPr bwMode="ltGray">
          <a:xfrm>
            <a:off x="0" y="0"/>
            <a:ext cx="9906000" cy="5943600"/>
          </a:xfrm>
          <a:prstGeom prst="rect">
            <a:avLst/>
          </a:prstGeom>
        </p:spPr>
      </p:pic>
      <p:sp>
        <p:nvSpPr>
          <p:cNvPr id="5" name="doc id"/>
          <p:cNvSpPr txBox="1">
            <a:spLocks noChangeArrowheads="1"/>
          </p:cNvSpPr>
          <p:nvPr/>
        </p:nvSpPr>
        <p:spPr bwMode="auto">
          <a:xfrm>
            <a:off x="9332171" y="37255"/>
            <a:ext cx="3263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buClrTx/>
              <a:buFontTx/>
              <a:buNone/>
              <a:defRPr/>
            </a:pPr>
            <a:endParaRPr lang="en-US" sz="800" kern="1200" dirty="0">
              <a:solidFill>
                <a:srgbClr val="000000"/>
              </a:solidFill>
              <a:latin typeface="Arial"/>
              <a:ea typeface="+mn-ea"/>
              <a:cs typeface="+mn-cs"/>
            </a:endParaRPr>
          </a:p>
        </p:txBody>
      </p:sp>
      <p:sp>
        <p:nvSpPr>
          <p:cNvPr id="13314" name="Rectangle 1026"/>
          <p:cNvSpPr>
            <a:spLocks noGrp="1" noChangeArrowheads="1"/>
          </p:cNvSpPr>
          <p:nvPr>
            <p:ph type="ctrTitle"/>
          </p:nvPr>
        </p:nvSpPr>
        <p:spPr bwMode="auto">
          <a:xfrm>
            <a:off x="664673" y="1282851"/>
            <a:ext cx="8531407" cy="507831"/>
          </a:xfrm>
          <a:prstGeom prst="rect">
            <a:avLst/>
          </a:prstGeom>
        </p:spPr>
        <p:txBody>
          <a:bodyPr anchor="t">
            <a:spAutoFit/>
          </a:bodyPr>
          <a:lstStyle>
            <a:lvl1pPr>
              <a:defRPr sz="3300" b="0" baseline="0">
                <a:solidFill>
                  <a:schemeClr val="bg1"/>
                </a:solidFill>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664673" y="2793630"/>
            <a:ext cx="8531407" cy="219820"/>
          </a:xfrm>
        </p:spPr>
        <p:txBody>
          <a:bodyPr wrap="square">
            <a:spAutoFit/>
          </a:bodyPr>
          <a:lstStyle>
            <a:lvl1pPr>
              <a:defRPr sz="1400" baseline="0">
                <a:solidFill>
                  <a:schemeClr val="bg1"/>
                </a:solidFill>
                <a:latin typeface="+mn-lt"/>
                <a:ea typeface="+mn-ea"/>
              </a:defRPr>
            </a:lvl1pPr>
          </a:lstStyle>
          <a:p>
            <a:pPr lvl="0"/>
            <a:r>
              <a:rPr lang="en-US" noProof="0"/>
              <a:t>Click to edit Master subtitle style</a:t>
            </a:r>
            <a:endParaRPr lang="en-US" noProof="0" dirty="0"/>
          </a:p>
        </p:txBody>
      </p:sp>
      <p:sp>
        <p:nvSpPr>
          <p:cNvPr id="16" name="Document type" hidden="1"/>
          <p:cNvSpPr txBox="1">
            <a:spLocks noChangeArrowheads="1"/>
          </p:cNvSpPr>
          <p:nvPr userDrawn="1"/>
        </p:nvSpPr>
        <p:spPr bwMode="auto">
          <a:xfrm>
            <a:off x="664673" y="4016558"/>
            <a:ext cx="853140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fontAlgn="base" hangingPunct="1">
              <a:spcBef>
                <a:spcPct val="0"/>
              </a:spcBef>
              <a:spcAft>
                <a:spcPct val="0"/>
              </a:spcAft>
              <a:buClrTx/>
              <a:buFontTx/>
              <a:buNone/>
              <a:defRPr lang="x-none"/>
            </a:pPr>
            <a:r>
              <a:rPr sz="1400" kern="1200" dirty="0">
                <a:solidFill>
                  <a:srgbClr val="FFFFFF"/>
                </a:solidFill>
                <a:latin typeface="Arial"/>
                <a:ea typeface="+mn-ea"/>
                <a:cs typeface="+mn-cs"/>
              </a:rPr>
              <a:t>Document type | Date</a:t>
            </a:r>
          </a:p>
        </p:txBody>
      </p:sp>
    </p:spTree>
    <p:extLst>
      <p:ext uri="{BB962C8B-B14F-4D97-AF65-F5344CB8AC3E}">
        <p14:creationId xmlns:p14="http://schemas.microsoft.com/office/powerpoint/2010/main" val="6071097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722" y="1593"/>
          <a:ext cx="1719" cy="1587"/>
        </p:xfrm>
        <a:graphic>
          <a:graphicData uri="http://schemas.openxmlformats.org/presentationml/2006/ole">
            <mc:AlternateContent xmlns:mc="http://schemas.openxmlformats.org/markup-compatibility/2006">
              <mc:Choice xmlns:v="urn:schemas-microsoft-com:vml" Requires="v">
                <p:oleObj spid="_x0000_s80910"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722" y="1593"/>
                        <a:ext cx="1719" cy="1587"/>
                      </a:xfrm>
                      <a:prstGeom prst="rect">
                        <a:avLst/>
                      </a:prstGeom>
                    </p:spPr>
                  </p:pic>
                </p:oleObj>
              </mc:Fallback>
            </mc:AlternateContent>
          </a:graphicData>
        </a:graphic>
      </p:graphicFrame>
      <p:sp>
        <p:nvSpPr>
          <p:cNvPr id="3"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600" kern="1200" dirty="0">
              <a:solidFill>
                <a:srgbClr val="000000"/>
              </a:solidFill>
            </a:endParaRPr>
          </a:p>
        </p:txBody>
      </p:sp>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9104968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722" y="1593"/>
          <a:ext cx="1719" cy="1587"/>
        </p:xfrm>
        <a:graphic>
          <a:graphicData uri="http://schemas.openxmlformats.org/presentationml/2006/ole">
            <mc:AlternateContent xmlns:mc="http://schemas.openxmlformats.org/markup-compatibility/2006">
              <mc:Choice xmlns:v="urn:schemas-microsoft-com:vml" Requires="v">
                <p:oleObj spid="_x0000_s8295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722" y="1593"/>
                        <a:ext cx="1719" cy="1587"/>
                      </a:xfrm>
                      <a:prstGeom prst="rect">
                        <a:avLst/>
                      </a:prstGeom>
                    </p:spPr>
                  </p:pic>
                </p:oleObj>
              </mc:Fallback>
            </mc:AlternateContent>
          </a:graphicData>
        </a:graphic>
      </p:graphicFrame>
      <p:pic>
        <p:nvPicPr>
          <p:cNvPr id="12" name="Picture 11" descr="covertemps-5.jpg"/>
          <p:cNvPicPr>
            <a:picLocks noChangeAspect="1"/>
          </p:cNvPicPr>
          <p:nvPr userDrawn="1"/>
        </p:nvPicPr>
        <p:blipFill>
          <a:blip r:embed="rId6" cstate="print">
            <a:extLst>
              <a:ext uri="{28A0092B-C50C-407E-A947-70E740481C1C}">
                <a14:useLocalDpi xmlns:a14="http://schemas.microsoft.com/office/drawing/2010/main" val="0"/>
              </a:ext>
            </a:extLst>
          </a:blip>
          <a:srcRect b="13333"/>
          <a:stretch>
            <a:fillRect/>
          </a:stretch>
        </p:blipFill>
        <p:spPr bwMode="ltGray">
          <a:xfrm>
            <a:off x="0" y="0"/>
            <a:ext cx="9906000" cy="5943600"/>
          </a:xfrm>
          <a:prstGeom prst="rect">
            <a:avLst/>
          </a:prstGeom>
        </p:spPr>
      </p:pic>
      <p:sp>
        <p:nvSpPr>
          <p:cNvPr id="5" name="doc id"/>
          <p:cNvSpPr txBox="1">
            <a:spLocks noChangeArrowheads="1"/>
          </p:cNvSpPr>
          <p:nvPr/>
        </p:nvSpPr>
        <p:spPr bwMode="auto">
          <a:xfrm>
            <a:off x="9332171" y="37255"/>
            <a:ext cx="3263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buClrTx/>
              <a:buFontTx/>
              <a:buNone/>
              <a:defRPr/>
            </a:pPr>
            <a:endParaRPr lang="en-US" sz="800" kern="1200" dirty="0">
              <a:solidFill>
                <a:srgbClr val="000000"/>
              </a:solidFill>
              <a:latin typeface="Arial"/>
              <a:ea typeface="+mn-ea"/>
              <a:cs typeface="+mn-cs"/>
            </a:endParaRPr>
          </a:p>
        </p:txBody>
      </p:sp>
      <p:sp>
        <p:nvSpPr>
          <p:cNvPr id="13314" name="Rectangle 1026"/>
          <p:cNvSpPr>
            <a:spLocks noGrp="1" noChangeArrowheads="1"/>
          </p:cNvSpPr>
          <p:nvPr>
            <p:ph type="ctrTitle"/>
          </p:nvPr>
        </p:nvSpPr>
        <p:spPr bwMode="auto">
          <a:xfrm>
            <a:off x="664673" y="1282851"/>
            <a:ext cx="8531407" cy="507831"/>
          </a:xfrm>
          <a:prstGeom prst="rect">
            <a:avLst/>
          </a:prstGeom>
        </p:spPr>
        <p:txBody>
          <a:bodyPr anchor="t">
            <a:spAutoFit/>
          </a:bodyPr>
          <a:lstStyle>
            <a:lvl1pPr>
              <a:defRPr sz="3300" b="0" baseline="0">
                <a:solidFill>
                  <a:schemeClr val="bg1"/>
                </a:solidFill>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664673" y="2793630"/>
            <a:ext cx="8531407" cy="219820"/>
          </a:xfrm>
        </p:spPr>
        <p:txBody>
          <a:bodyPr wrap="square">
            <a:spAutoFit/>
          </a:bodyPr>
          <a:lstStyle>
            <a:lvl1pPr>
              <a:defRPr sz="1400" baseline="0">
                <a:solidFill>
                  <a:schemeClr val="bg1"/>
                </a:solidFill>
                <a:latin typeface="+mn-lt"/>
                <a:ea typeface="+mn-ea"/>
              </a:defRPr>
            </a:lvl1pPr>
          </a:lstStyle>
          <a:p>
            <a:pPr lvl="0"/>
            <a:r>
              <a:rPr lang="en-US" noProof="0"/>
              <a:t>Click to edit Master subtitle style</a:t>
            </a:r>
            <a:endParaRPr lang="en-US" noProof="0" dirty="0"/>
          </a:p>
        </p:txBody>
      </p:sp>
      <p:sp>
        <p:nvSpPr>
          <p:cNvPr id="16" name="Document type" hidden="1"/>
          <p:cNvSpPr txBox="1">
            <a:spLocks noChangeArrowheads="1"/>
          </p:cNvSpPr>
          <p:nvPr userDrawn="1"/>
        </p:nvSpPr>
        <p:spPr bwMode="auto">
          <a:xfrm>
            <a:off x="664673" y="4016558"/>
            <a:ext cx="853140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fontAlgn="base" hangingPunct="1">
              <a:spcBef>
                <a:spcPct val="0"/>
              </a:spcBef>
              <a:spcAft>
                <a:spcPct val="0"/>
              </a:spcAft>
              <a:buClrTx/>
              <a:buFontTx/>
              <a:buNone/>
              <a:defRPr lang="x-none"/>
            </a:pPr>
            <a:r>
              <a:rPr sz="1400" kern="1200" dirty="0">
                <a:solidFill>
                  <a:srgbClr val="FFFFFF"/>
                </a:solidFill>
                <a:latin typeface="Arial"/>
                <a:ea typeface="+mn-ea"/>
                <a:cs typeface="+mn-cs"/>
              </a:rPr>
              <a:t>Document type | Date</a:t>
            </a:r>
          </a:p>
        </p:txBody>
      </p:sp>
    </p:spTree>
    <p:extLst>
      <p:ext uri="{BB962C8B-B14F-4D97-AF65-F5344CB8AC3E}">
        <p14:creationId xmlns:p14="http://schemas.microsoft.com/office/powerpoint/2010/main" val="12348579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3_Blank">
  <p:cSld name="3_Blank">
    <p:bg>
      <p:bgPr>
        <a:solidFill>
          <a:srgbClr val="006547"/>
        </a:solidFill>
        <a:effectLst/>
      </p:bgPr>
    </p:bg>
    <p:spTree>
      <p:nvGrpSpPr>
        <p:cNvPr id="1" name="Shape 59"/>
        <p:cNvGrpSpPr/>
        <p:nvPr/>
      </p:nvGrpSpPr>
      <p:grpSpPr>
        <a:xfrm>
          <a:off x="0" y="0"/>
          <a:ext cx="0" cy="0"/>
          <a:chOff x="0" y="0"/>
          <a:chExt cx="0" cy="0"/>
        </a:xfrm>
      </p:grpSpPr>
      <p:pic>
        <p:nvPicPr>
          <p:cNvPr id="60" name="Google Shape;60;p9"/>
          <p:cNvPicPr preferRelativeResize="0"/>
          <p:nvPr/>
        </p:nvPicPr>
        <p:blipFill rotWithShape="1">
          <a:blip r:embed="rId2">
            <a:alphaModFix/>
          </a:blip>
          <a:srcRect/>
          <a:stretch/>
        </p:blipFill>
        <p:spPr>
          <a:xfrm>
            <a:off x="1588" y="1588"/>
            <a:ext cx="1588" cy="1588"/>
          </a:xfrm>
          <a:prstGeom prst="rect">
            <a:avLst/>
          </a:prstGeom>
          <a:noFill/>
          <a:ln>
            <a:noFill/>
          </a:ln>
        </p:spPr>
      </p:pic>
      <p:pic>
        <p:nvPicPr>
          <p:cNvPr id="61" name="Google Shape;61;p9"/>
          <p:cNvPicPr preferRelativeResize="0"/>
          <p:nvPr/>
        </p:nvPicPr>
        <p:blipFill rotWithShape="1">
          <a:blip r:embed="rId3">
            <a:alphaModFix/>
          </a:blip>
          <a:srcRect/>
          <a:stretch/>
        </p:blipFill>
        <p:spPr>
          <a:xfrm>
            <a:off x="0" y="5947172"/>
            <a:ext cx="9906000" cy="910828"/>
          </a:xfrm>
          <a:prstGeom prst="rect">
            <a:avLst/>
          </a:prstGeom>
          <a:noFill/>
          <a:ln>
            <a:noFill/>
          </a:ln>
        </p:spPr>
      </p:pic>
      <p:sp>
        <p:nvSpPr>
          <p:cNvPr id="62" name="Google Shape;62;p9"/>
          <p:cNvSpPr txBox="1">
            <a:spLocks noGrp="1"/>
          </p:cNvSpPr>
          <p:nvPr>
            <p:ph type="title"/>
          </p:nvPr>
        </p:nvSpPr>
        <p:spPr>
          <a:xfrm>
            <a:off x="577850" y="2514600"/>
            <a:ext cx="8915400" cy="1143000"/>
          </a:xfrm>
          <a:prstGeom prst="rect">
            <a:avLst/>
          </a:prstGeom>
          <a:noFill/>
          <a:ln>
            <a:noFill/>
          </a:ln>
        </p:spPr>
        <p:txBody>
          <a:bodyPr spcFirstLastPara="1" wrap="square" lIns="91425" tIns="45700" rIns="91425" bIns="45700" anchor="t" anchorCtr="0"/>
          <a:lstStyle>
            <a:lvl1pPr marR="0" lvl="0" algn="l" rtl="0">
              <a:lnSpc>
                <a:spcPct val="90000"/>
              </a:lnSpc>
              <a:spcBef>
                <a:spcPts val="0"/>
              </a:spcBef>
              <a:spcAft>
                <a:spcPts val="0"/>
              </a:spcAft>
              <a:buClr>
                <a:schemeClr val="lt1"/>
              </a:buClr>
              <a:buSzPts val="4400"/>
              <a:buFont typeface="Arial"/>
              <a:buNone/>
              <a:defRPr sz="4400" b="0"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722" y="1593"/>
          <a:ext cx="1719" cy="1587"/>
        </p:xfrm>
        <a:graphic>
          <a:graphicData uri="http://schemas.openxmlformats.org/presentationml/2006/ole">
            <mc:AlternateContent xmlns:mc="http://schemas.openxmlformats.org/markup-compatibility/2006">
              <mc:Choice xmlns:v="urn:schemas-microsoft-com:vml" Requires="v">
                <p:oleObj spid="_x0000_s83982"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722" y="1593"/>
                        <a:ext cx="1719" cy="1587"/>
                      </a:xfrm>
                      <a:prstGeom prst="rect">
                        <a:avLst/>
                      </a:prstGeom>
                    </p:spPr>
                  </p:pic>
                </p:oleObj>
              </mc:Fallback>
            </mc:AlternateContent>
          </a:graphicData>
        </a:graphic>
      </p:graphicFrame>
      <p:sp>
        <p:nvSpPr>
          <p:cNvPr id="3"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600" kern="1200" dirty="0">
              <a:solidFill>
                <a:srgbClr val="000000"/>
              </a:solidFill>
            </a:endParaRPr>
          </a:p>
        </p:txBody>
      </p:sp>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4641018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spid="_x0000_s8603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722" y="1591"/>
                        <a:ext cx="1719" cy="1587"/>
                      </a:xfrm>
                      <a:prstGeom prst="rect">
                        <a:avLst/>
                      </a:prstGeom>
                    </p:spPr>
                  </p:pic>
                </p:oleObj>
              </mc:Fallback>
            </mc:AlternateContent>
          </a:graphicData>
        </a:graphic>
      </p:graphicFrame>
      <p:pic>
        <p:nvPicPr>
          <p:cNvPr id="12" name="Picture 11" descr="covertemps-5.jpg"/>
          <p:cNvPicPr>
            <a:picLocks noChangeAspect="1"/>
          </p:cNvPicPr>
          <p:nvPr userDrawn="1"/>
        </p:nvPicPr>
        <p:blipFill>
          <a:blip r:embed="rId6" cstate="print">
            <a:extLst>
              <a:ext uri="{28A0092B-C50C-407E-A947-70E740481C1C}">
                <a14:useLocalDpi xmlns:a14="http://schemas.microsoft.com/office/drawing/2010/main" val="0"/>
              </a:ext>
            </a:extLst>
          </a:blip>
          <a:srcRect b="13333"/>
          <a:stretch>
            <a:fillRect/>
          </a:stretch>
        </p:blipFill>
        <p:spPr bwMode="ltGray">
          <a:xfrm>
            <a:off x="0" y="0"/>
            <a:ext cx="9906000" cy="5943600"/>
          </a:xfrm>
          <a:prstGeom prst="rect">
            <a:avLst/>
          </a:prstGeom>
        </p:spPr>
      </p:pic>
      <p:sp>
        <p:nvSpPr>
          <p:cNvPr id="5" name="doc id"/>
          <p:cNvSpPr txBox="1">
            <a:spLocks noChangeArrowheads="1"/>
          </p:cNvSpPr>
          <p:nvPr/>
        </p:nvSpPr>
        <p:spPr bwMode="auto">
          <a:xfrm>
            <a:off x="9332171" y="37255"/>
            <a:ext cx="3263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buClrTx/>
              <a:buFontTx/>
              <a:buNone/>
              <a:defRPr/>
            </a:pPr>
            <a:endParaRPr lang="en-US" sz="800" kern="1200" dirty="0">
              <a:solidFill>
                <a:srgbClr val="000000"/>
              </a:solidFill>
              <a:latin typeface="Arial"/>
              <a:ea typeface="+mn-ea"/>
              <a:cs typeface="+mn-cs"/>
            </a:endParaRPr>
          </a:p>
        </p:txBody>
      </p:sp>
      <p:sp>
        <p:nvSpPr>
          <p:cNvPr id="13314" name="Rectangle 1026"/>
          <p:cNvSpPr>
            <a:spLocks noGrp="1" noChangeArrowheads="1"/>
          </p:cNvSpPr>
          <p:nvPr>
            <p:ph type="ctrTitle"/>
          </p:nvPr>
        </p:nvSpPr>
        <p:spPr bwMode="auto">
          <a:xfrm>
            <a:off x="664664" y="1282693"/>
            <a:ext cx="8531407" cy="507831"/>
          </a:xfrm>
          <a:prstGeom prst="rect">
            <a:avLst/>
          </a:prstGeom>
        </p:spPr>
        <p:txBody>
          <a:bodyPr anchor="t">
            <a:spAutoFit/>
          </a:bodyPr>
          <a:lstStyle>
            <a:lvl1pPr>
              <a:defRPr sz="3300" b="0" baseline="0">
                <a:solidFill>
                  <a:schemeClr val="bg1"/>
                </a:solidFill>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664664" y="2793630"/>
            <a:ext cx="8531407" cy="219820"/>
          </a:xfrm>
        </p:spPr>
        <p:txBody>
          <a:bodyPr wrap="square">
            <a:spAutoFit/>
          </a:bodyPr>
          <a:lstStyle>
            <a:lvl1pPr>
              <a:defRPr sz="1400" baseline="0">
                <a:solidFill>
                  <a:schemeClr val="bg1"/>
                </a:solidFill>
                <a:latin typeface="+mn-lt"/>
                <a:ea typeface="+mn-ea"/>
              </a:defRPr>
            </a:lvl1pPr>
          </a:lstStyle>
          <a:p>
            <a:pPr lvl="0"/>
            <a:r>
              <a:rPr lang="en-US" noProof="0"/>
              <a:t>Click to edit Master subtitle style</a:t>
            </a:r>
            <a:endParaRPr lang="en-US" noProof="0" dirty="0"/>
          </a:p>
        </p:txBody>
      </p:sp>
      <p:sp>
        <p:nvSpPr>
          <p:cNvPr id="16" name="Document type" hidden="1"/>
          <p:cNvSpPr txBox="1">
            <a:spLocks noChangeArrowheads="1"/>
          </p:cNvSpPr>
          <p:nvPr userDrawn="1"/>
        </p:nvSpPr>
        <p:spPr bwMode="auto">
          <a:xfrm>
            <a:off x="664664" y="4016558"/>
            <a:ext cx="853140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fontAlgn="base" hangingPunct="1">
              <a:spcBef>
                <a:spcPct val="0"/>
              </a:spcBef>
              <a:spcAft>
                <a:spcPct val="0"/>
              </a:spcAft>
              <a:buClrTx/>
              <a:buFontTx/>
              <a:buNone/>
              <a:defRPr lang="x-none"/>
            </a:pPr>
            <a:r>
              <a:rPr sz="1400" kern="1200" dirty="0">
                <a:solidFill>
                  <a:srgbClr val="FFFFFF"/>
                </a:solidFill>
                <a:latin typeface="Arial"/>
                <a:ea typeface="+mn-ea"/>
                <a:cs typeface="+mn-cs"/>
              </a:rPr>
              <a:t>Document type | Date</a:t>
            </a:r>
          </a:p>
        </p:txBody>
      </p:sp>
    </p:spTree>
    <p:extLst>
      <p:ext uri="{BB962C8B-B14F-4D97-AF65-F5344CB8AC3E}">
        <p14:creationId xmlns:p14="http://schemas.microsoft.com/office/powerpoint/2010/main" val="119894854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spid="_x0000_s87054"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722" y="1591"/>
                        <a:ext cx="1719" cy="1587"/>
                      </a:xfrm>
                      <a:prstGeom prst="rect">
                        <a:avLst/>
                      </a:prstGeom>
                    </p:spPr>
                  </p:pic>
                </p:oleObj>
              </mc:Fallback>
            </mc:AlternateContent>
          </a:graphicData>
        </a:graphic>
      </p:graphicFrame>
      <p:sp>
        <p:nvSpPr>
          <p:cNvPr id="10"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600" kern="1200" dirty="0">
              <a:solidFill>
                <a:srgbClr val="000000"/>
              </a:solidFill>
            </a:endParaRPr>
          </a:p>
        </p:txBody>
      </p:sp>
      <p:sp>
        <p:nvSpPr>
          <p:cNvPr id="2" name="McK 2. Slide Title"/>
          <p:cNvSpPr>
            <a:spLocks noGrp="1"/>
          </p:cNvSpPr>
          <p:nvPr>
            <p:ph type="title"/>
          </p:nvPr>
        </p:nvSpPr>
        <p:spPr>
          <a:xfrm>
            <a:off x="247650" y="388621"/>
            <a:ext cx="8007350" cy="292388"/>
          </a:xfrm>
        </p:spPr>
        <p:txBody>
          <a:bodyPr/>
          <a:lstStyle>
            <a:lvl1pPr>
              <a:defRPr sz="1900"/>
            </a:lvl1pPr>
          </a:lstStyle>
          <a:p>
            <a:r>
              <a:rPr lang="en-US" dirty="0"/>
              <a:t>Click to edit Master title style</a:t>
            </a:r>
          </a:p>
        </p:txBody>
      </p:sp>
    </p:spTree>
    <p:extLst>
      <p:ext uri="{BB962C8B-B14F-4D97-AF65-F5344CB8AC3E}">
        <p14:creationId xmlns:p14="http://schemas.microsoft.com/office/powerpoint/2010/main" val="258549798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95300" y="6356353"/>
            <a:ext cx="2311400" cy="365125"/>
          </a:xfrm>
          <a:prstGeom prst="rect">
            <a:avLst/>
          </a:prstGeom>
        </p:spPr>
        <p:txBody>
          <a:bodyPr/>
          <a:lstStyle/>
          <a:p>
            <a:pPr fontAlgn="base">
              <a:spcBef>
                <a:spcPct val="0"/>
              </a:spcBef>
              <a:spcAft>
                <a:spcPct val="0"/>
              </a:spcAft>
              <a:buClrTx/>
              <a:buFontTx/>
              <a:buNone/>
            </a:pPr>
            <a:fld id="{2CBB78D2-3EDF-44DD-BD93-60A225E69B3E}" type="datetimeFigureOut">
              <a:rPr lang="en-US" sz="1600" kern="1200" smtClean="0">
                <a:solidFill>
                  <a:prstClr val="black">
                    <a:tint val="75000"/>
                  </a:prstClr>
                </a:solidFill>
                <a:ea typeface="+mn-ea"/>
                <a:cs typeface="+mn-cs"/>
              </a:rPr>
              <a:pPr fontAlgn="base">
                <a:spcBef>
                  <a:spcPct val="0"/>
                </a:spcBef>
                <a:spcAft>
                  <a:spcPct val="0"/>
                </a:spcAft>
                <a:buClrTx/>
                <a:buFontTx/>
                <a:buNone/>
              </a:pPr>
              <a:t>8/22/2019</a:t>
            </a:fld>
            <a:endParaRPr lang="en-US" sz="1600" kern="1200" dirty="0">
              <a:solidFill>
                <a:prstClr val="black">
                  <a:tint val="75000"/>
                </a:prstClr>
              </a:solidFill>
              <a:ea typeface="+mn-ea"/>
              <a:cs typeface="+mn-cs"/>
            </a:endParaRPr>
          </a:p>
        </p:txBody>
      </p:sp>
      <p:sp>
        <p:nvSpPr>
          <p:cNvPr id="5" name="Footer Placeholder 4"/>
          <p:cNvSpPr>
            <a:spLocks noGrp="1"/>
          </p:cNvSpPr>
          <p:nvPr>
            <p:ph type="ftr" sz="quarter" idx="11"/>
          </p:nvPr>
        </p:nvSpPr>
        <p:spPr>
          <a:xfrm>
            <a:off x="3384550" y="6356353"/>
            <a:ext cx="3136900" cy="365125"/>
          </a:xfrm>
          <a:prstGeom prst="rect">
            <a:avLst/>
          </a:prstGeom>
        </p:spPr>
        <p:txBody>
          <a:bodyPr/>
          <a:lstStyle/>
          <a:p>
            <a:pPr fontAlgn="base">
              <a:spcBef>
                <a:spcPct val="0"/>
              </a:spcBef>
              <a:spcAft>
                <a:spcPct val="0"/>
              </a:spcAft>
              <a:buClrTx/>
              <a:buFontTx/>
              <a:buNone/>
            </a:pPr>
            <a:endParaRPr lang="en-US" sz="1600" kern="1200" dirty="0">
              <a:solidFill>
                <a:prstClr val="black">
                  <a:tint val="75000"/>
                </a:prstClr>
              </a:solidFill>
              <a:ea typeface="+mn-ea"/>
              <a:cs typeface="+mn-cs"/>
            </a:endParaRPr>
          </a:p>
        </p:txBody>
      </p:sp>
      <p:sp>
        <p:nvSpPr>
          <p:cNvPr id="6" name="Slide Number Placeholder 5"/>
          <p:cNvSpPr>
            <a:spLocks noGrp="1"/>
          </p:cNvSpPr>
          <p:nvPr>
            <p:ph type="sldNum" sz="quarter" idx="12"/>
          </p:nvPr>
        </p:nvSpPr>
        <p:spPr>
          <a:xfrm>
            <a:off x="7099300" y="6356353"/>
            <a:ext cx="2311400" cy="365125"/>
          </a:xfrm>
          <a:prstGeom prst="rect">
            <a:avLst/>
          </a:prstGeom>
        </p:spPr>
        <p:txBody>
          <a:bodyPr/>
          <a:lstStyle/>
          <a:p>
            <a:pPr fontAlgn="base">
              <a:spcBef>
                <a:spcPct val="0"/>
              </a:spcBef>
              <a:spcAft>
                <a:spcPct val="0"/>
              </a:spcAft>
              <a:buClrTx/>
              <a:buFontTx/>
              <a:buNone/>
            </a:pPr>
            <a:fld id="{4FAD6F48-C937-4B90-AF1D-01ADEA9D6D76}" type="slidenum">
              <a:rPr lang="en-US" sz="1600" kern="1200" smtClean="0">
                <a:solidFill>
                  <a:prstClr val="black">
                    <a:tint val="75000"/>
                  </a:prstClr>
                </a:solidFill>
                <a:ea typeface="+mn-ea"/>
                <a:cs typeface="+mn-cs"/>
              </a:rPr>
              <a:pPr fontAlgn="base">
                <a:spcBef>
                  <a:spcPct val="0"/>
                </a:spcBef>
                <a:spcAft>
                  <a:spcPct val="0"/>
                </a:spcAft>
                <a:buClrTx/>
                <a:buFontTx/>
                <a:buNone/>
              </a:pPr>
              <a:t>‹#›</a:t>
            </a:fld>
            <a:endParaRPr lang="en-US" sz="1600" kern="1200" dirty="0">
              <a:solidFill>
                <a:prstClr val="black">
                  <a:tint val="75000"/>
                </a:prstClr>
              </a:solidFill>
              <a:ea typeface="+mn-ea"/>
              <a:cs typeface="+mn-cs"/>
            </a:endParaRPr>
          </a:p>
        </p:txBody>
      </p:sp>
    </p:spTree>
    <p:extLst>
      <p:ext uri="{BB962C8B-B14F-4D97-AF65-F5344CB8AC3E}">
        <p14:creationId xmlns:p14="http://schemas.microsoft.com/office/powerpoint/2010/main" val="41748698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89102"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7"/>
          <p:cNvSpPr>
            <a:spLocks noGrp="1"/>
          </p:cNvSpPr>
          <p:nvPr>
            <p:ph type="body" sz="quarter" idx="13" hasCustomPrompt="1"/>
          </p:nvPr>
        </p:nvSpPr>
        <p:spPr>
          <a:xfrm>
            <a:off x="450276" y="1330699"/>
            <a:ext cx="9005453" cy="4989391"/>
          </a:xfrm>
          <a:prstGeom prst="rect">
            <a:avLst/>
          </a:prstGeom>
        </p:spPr>
        <p:txBody>
          <a:bodyPr lIns="0" tIns="0" rIns="0" bIns="0">
            <a:noAutofit/>
          </a:bodyPr>
          <a:lstStyle>
            <a:lvl1pPr marL="159731" indent="-159731">
              <a:spcBef>
                <a:spcPts val="663"/>
              </a:spcBef>
              <a:defRPr sz="1662" baseline="0"/>
            </a:lvl1pPr>
            <a:lvl2pPr marL="320928" indent="-161196">
              <a:spcBef>
                <a:spcPts val="663"/>
              </a:spcBef>
              <a:defRPr sz="1477"/>
            </a:lvl2pPr>
            <a:lvl3pPr marL="470401" indent="-149473">
              <a:buFont typeface="Courier New" pitchFamily="49" charset="0"/>
              <a:buChar char="o"/>
              <a:defRPr sz="1477"/>
            </a:lvl3pPr>
            <a:lvl4pPr marL="630131" indent="-159731">
              <a:defRPr sz="1477"/>
            </a:lvl4pPr>
            <a:lvl5pPr>
              <a:defRPr sz="1662"/>
            </a:lvl5pPr>
          </a:lstStyle>
          <a:p>
            <a:pPr lvl="0"/>
            <a:r>
              <a:rPr lang="en-US" dirty="0"/>
              <a:t>Click to edit Master text first level</a:t>
            </a:r>
          </a:p>
          <a:p>
            <a:pPr lvl="1"/>
            <a:r>
              <a:rPr lang="en-US" dirty="0"/>
              <a:t>Second level</a:t>
            </a:r>
          </a:p>
          <a:p>
            <a:pPr lvl="2"/>
            <a:r>
              <a:rPr lang="en-US" dirty="0"/>
              <a:t>Third level</a:t>
            </a:r>
          </a:p>
          <a:p>
            <a:pPr lvl="3"/>
            <a:r>
              <a:rPr lang="en-US" dirty="0"/>
              <a:t>Fourth level</a:t>
            </a:r>
          </a:p>
        </p:txBody>
      </p:sp>
      <p:sp>
        <p:nvSpPr>
          <p:cNvPr id="6" name="Title 1"/>
          <p:cNvSpPr>
            <a:spLocks noGrp="1"/>
          </p:cNvSpPr>
          <p:nvPr>
            <p:ph type="title" hasCustomPrompt="1"/>
          </p:nvPr>
        </p:nvSpPr>
        <p:spPr>
          <a:xfrm>
            <a:off x="450742" y="133087"/>
            <a:ext cx="9005454" cy="738664"/>
          </a:xfrm>
          <a:prstGeom prst="rect">
            <a:avLst/>
          </a:prstGeom>
        </p:spPr>
        <p:txBody>
          <a:bodyPr lIns="0" tIns="0" rIns="0" bIns="0" anchor="b"/>
          <a:lstStyle>
            <a:lvl1pPr algn="l">
              <a:defRPr sz="2400" b="1" baseline="0">
                <a:solidFill>
                  <a:schemeClr val="bg1"/>
                </a:solidFill>
              </a:defRPr>
            </a:lvl1pPr>
          </a:lstStyle>
          <a:p>
            <a:r>
              <a:rPr lang="en-US" dirty="0"/>
              <a:t>Click to edit </a:t>
            </a:r>
            <a:br>
              <a:rPr lang="en-US" dirty="0"/>
            </a:br>
            <a:r>
              <a:rPr lang="en-US" dirty="0"/>
              <a:t>Master title</a:t>
            </a:r>
          </a:p>
        </p:txBody>
      </p:sp>
      <p:sp>
        <p:nvSpPr>
          <p:cNvPr id="12" name="Text Placeholder 9"/>
          <p:cNvSpPr>
            <a:spLocks noGrp="1"/>
          </p:cNvSpPr>
          <p:nvPr>
            <p:ph type="body" sz="quarter" idx="37" hasCustomPrompt="1"/>
          </p:nvPr>
        </p:nvSpPr>
        <p:spPr>
          <a:xfrm>
            <a:off x="450276" y="6549116"/>
            <a:ext cx="7626926" cy="284052"/>
          </a:xfrm>
          <a:prstGeom prst="rect">
            <a:avLst/>
          </a:prstGeom>
        </p:spPr>
        <p:txBody>
          <a:bodyPr lIns="0" tIns="0" rIns="0" bIns="0" anchor="b"/>
          <a:lstStyle>
            <a:lvl1pPr marL="0" indent="0">
              <a:buNone/>
              <a:defRPr sz="923"/>
            </a:lvl1pPr>
          </a:lstStyle>
          <a:p>
            <a:r>
              <a:rPr lang="en-US" dirty="0"/>
              <a:t>Click to edit Master footer. This space is reserved for footnotes and sources only, and cannot be expanded beyond its current size.                                        </a:t>
            </a:r>
            <a:r>
              <a:rPr lang="en-IN" dirty="0"/>
              <a:t>Source: [Author/Publisher Name], [Report Name], [Year]</a:t>
            </a:r>
          </a:p>
        </p:txBody>
      </p:sp>
    </p:spTree>
    <p:extLst>
      <p:ext uri="{BB962C8B-B14F-4D97-AF65-F5344CB8AC3E}">
        <p14:creationId xmlns:p14="http://schemas.microsoft.com/office/powerpoint/2010/main" val="169624796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9115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721" y="1589"/>
                        <a:ext cx="1719" cy="1587"/>
                      </a:xfrm>
                      <a:prstGeom prst="rect">
                        <a:avLst/>
                      </a:prstGeom>
                    </p:spPr>
                  </p:pic>
                </p:oleObj>
              </mc:Fallback>
            </mc:AlternateContent>
          </a:graphicData>
        </a:graphic>
      </p:graphicFrame>
      <p:pic>
        <p:nvPicPr>
          <p:cNvPr id="12" name="Picture 11" descr="covertemps-5.jpg"/>
          <p:cNvPicPr>
            <a:picLocks noChangeAspect="1"/>
          </p:cNvPicPr>
          <p:nvPr userDrawn="1"/>
        </p:nvPicPr>
        <p:blipFill>
          <a:blip r:embed="rId6" cstate="print">
            <a:extLst>
              <a:ext uri="{28A0092B-C50C-407E-A947-70E740481C1C}">
                <a14:useLocalDpi xmlns:a14="http://schemas.microsoft.com/office/drawing/2010/main" val="0"/>
              </a:ext>
            </a:extLst>
          </a:blip>
          <a:srcRect b="13333"/>
          <a:stretch>
            <a:fillRect/>
          </a:stretch>
        </p:blipFill>
        <p:spPr bwMode="ltGray">
          <a:xfrm>
            <a:off x="0" y="0"/>
            <a:ext cx="9906000" cy="5943600"/>
          </a:xfrm>
          <a:prstGeom prst="rect">
            <a:avLst/>
          </a:prstGeom>
        </p:spPr>
      </p:pic>
      <p:sp>
        <p:nvSpPr>
          <p:cNvPr id="5" name="doc id"/>
          <p:cNvSpPr txBox="1">
            <a:spLocks noChangeArrowheads="1"/>
          </p:cNvSpPr>
          <p:nvPr/>
        </p:nvSpPr>
        <p:spPr bwMode="auto">
          <a:xfrm>
            <a:off x="9332171" y="37255"/>
            <a:ext cx="3263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buClrTx/>
              <a:buFontTx/>
              <a:buNone/>
              <a:defRPr/>
            </a:pPr>
            <a:endParaRPr lang="en-US" sz="800" kern="1200" dirty="0">
              <a:solidFill>
                <a:srgbClr val="000000"/>
              </a:solidFill>
              <a:latin typeface="Arial"/>
              <a:ea typeface="+mn-ea"/>
              <a:cs typeface="+mn-cs"/>
            </a:endParaRPr>
          </a:p>
        </p:txBody>
      </p:sp>
      <p:sp>
        <p:nvSpPr>
          <p:cNvPr id="13314" name="Rectangle 1026"/>
          <p:cNvSpPr>
            <a:spLocks noGrp="1" noChangeArrowheads="1"/>
          </p:cNvSpPr>
          <p:nvPr>
            <p:ph type="ctrTitle"/>
          </p:nvPr>
        </p:nvSpPr>
        <p:spPr bwMode="auto">
          <a:xfrm>
            <a:off x="664662" y="1282691"/>
            <a:ext cx="8531407" cy="507831"/>
          </a:xfrm>
          <a:prstGeom prst="rect">
            <a:avLst/>
          </a:prstGeom>
        </p:spPr>
        <p:txBody>
          <a:bodyPr anchor="t">
            <a:spAutoFit/>
          </a:bodyPr>
          <a:lstStyle>
            <a:lvl1pPr>
              <a:defRPr sz="3300" b="0" baseline="0">
                <a:solidFill>
                  <a:schemeClr val="bg1"/>
                </a:solidFill>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664662" y="2793630"/>
            <a:ext cx="8531407" cy="219820"/>
          </a:xfrm>
        </p:spPr>
        <p:txBody>
          <a:bodyPr wrap="square">
            <a:spAutoFit/>
          </a:bodyPr>
          <a:lstStyle>
            <a:lvl1pPr>
              <a:defRPr sz="1400" baseline="0">
                <a:solidFill>
                  <a:schemeClr val="bg1"/>
                </a:solidFill>
                <a:latin typeface="+mn-lt"/>
                <a:ea typeface="+mn-ea"/>
              </a:defRPr>
            </a:lvl1pPr>
          </a:lstStyle>
          <a:p>
            <a:pPr lvl="0"/>
            <a:r>
              <a:rPr lang="en-US" noProof="0"/>
              <a:t>Click to edit Master subtitle style</a:t>
            </a:r>
            <a:endParaRPr lang="en-US" noProof="0" dirty="0"/>
          </a:p>
        </p:txBody>
      </p:sp>
      <p:sp>
        <p:nvSpPr>
          <p:cNvPr id="16" name="Document type" hidden="1"/>
          <p:cNvSpPr txBox="1">
            <a:spLocks noChangeArrowheads="1"/>
          </p:cNvSpPr>
          <p:nvPr userDrawn="1"/>
        </p:nvSpPr>
        <p:spPr bwMode="auto">
          <a:xfrm>
            <a:off x="664662" y="4016558"/>
            <a:ext cx="853140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fontAlgn="base" hangingPunct="1">
              <a:spcBef>
                <a:spcPct val="0"/>
              </a:spcBef>
              <a:spcAft>
                <a:spcPct val="0"/>
              </a:spcAft>
              <a:buClrTx/>
              <a:buFontTx/>
              <a:buNone/>
              <a:defRPr lang="x-none"/>
            </a:pPr>
            <a:r>
              <a:rPr sz="1400" kern="1200" dirty="0">
                <a:solidFill>
                  <a:srgbClr val="FFFFFF"/>
                </a:solidFill>
                <a:latin typeface="Arial"/>
                <a:ea typeface="+mn-ea"/>
                <a:cs typeface="+mn-cs"/>
              </a:rPr>
              <a:t>Document type | Date</a:t>
            </a:r>
          </a:p>
        </p:txBody>
      </p:sp>
    </p:spTree>
    <p:extLst>
      <p:ext uri="{BB962C8B-B14F-4D97-AF65-F5344CB8AC3E}">
        <p14:creationId xmlns:p14="http://schemas.microsoft.com/office/powerpoint/2010/main" val="365655135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9217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721" y="1589"/>
                        <a:ext cx="1719" cy="1587"/>
                      </a:xfrm>
                      <a:prstGeom prst="rect">
                        <a:avLst/>
                      </a:prstGeom>
                    </p:spPr>
                  </p:pic>
                </p:oleObj>
              </mc:Fallback>
            </mc:AlternateContent>
          </a:graphicData>
        </a:graphic>
      </p:graphicFrame>
      <p:sp>
        <p:nvSpPr>
          <p:cNvPr id="10"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600" kern="1200" dirty="0">
              <a:solidFill>
                <a:srgbClr val="000000"/>
              </a:solidFill>
            </a:endParaRPr>
          </a:p>
        </p:txBody>
      </p:sp>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8574517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95300" y="6356511"/>
            <a:ext cx="2311400" cy="365125"/>
          </a:xfrm>
          <a:prstGeom prst="rect">
            <a:avLst/>
          </a:prstGeom>
        </p:spPr>
        <p:txBody>
          <a:bodyPr/>
          <a:lstStyle/>
          <a:p>
            <a:pPr fontAlgn="base">
              <a:spcBef>
                <a:spcPct val="0"/>
              </a:spcBef>
              <a:spcAft>
                <a:spcPct val="0"/>
              </a:spcAft>
              <a:buClrTx/>
              <a:buFontTx/>
              <a:buNone/>
            </a:pPr>
            <a:fld id="{2CBB78D2-3EDF-44DD-BD93-60A225E69B3E}" type="datetimeFigureOut">
              <a:rPr lang="en-US" sz="1600" kern="1200" smtClean="0">
                <a:solidFill>
                  <a:prstClr val="black">
                    <a:tint val="75000"/>
                  </a:prstClr>
                </a:solidFill>
                <a:latin typeface="Arial" charset="0"/>
                <a:ea typeface="+mn-ea"/>
                <a:cs typeface="+mn-cs"/>
              </a:rPr>
              <a:pPr fontAlgn="base">
                <a:spcBef>
                  <a:spcPct val="0"/>
                </a:spcBef>
                <a:spcAft>
                  <a:spcPct val="0"/>
                </a:spcAft>
                <a:buClrTx/>
                <a:buFontTx/>
                <a:buNone/>
              </a:pPr>
              <a:t>8/22/2019</a:t>
            </a:fld>
            <a:endParaRPr lang="en-US" sz="1600" kern="1200" dirty="0">
              <a:solidFill>
                <a:prstClr val="black">
                  <a:tint val="75000"/>
                </a:prstClr>
              </a:solidFill>
              <a:latin typeface="Arial" charset="0"/>
              <a:ea typeface="+mn-ea"/>
              <a:cs typeface="+mn-cs"/>
            </a:endParaRPr>
          </a:p>
        </p:txBody>
      </p:sp>
      <p:sp>
        <p:nvSpPr>
          <p:cNvPr id="5" name="Footer Placeholder 4"/>
          <p:cNvSpPr>
            <a:spLocks noGrp="1"/>
          </p:cNvSpPr>
          <p:nvPr>
            <p:ph type="ftr" sz="quarter" idx="11"/>
          </p:nvPr>
        </p:nvSpPr>
        <p:spPr>
          <a:xfrm>
            <a:off x="3384550" y="6356511"/>
            <a:ext cx="3136900" cy="365125"/>
          </a:xfrm>
          <a:prstGeom prst="rect">
            <a:avLst/>
          </a:prstGeom>
        </p:spPr>
        <p:txBody>
          <a:bodyPr/>
          <a:lstStyle/>
          <a:p>
            <a:pPr fontAlgn="base">
              <a:spcBef>
                <a:spcPct val="0"/>
              </a:spcBef>
              <a:spcAft>
                <a:spcPct val="0"/>
              </a:spcAft>
              <a:buClrTx/>
              <a:buFontTx/>
              <a:buNone/>
            </a:pPr>
            <a:endParaRPr lang="en-US" sz="1600" kern="1200" dirty="0">
              <a:solidFill>
                <a:prstClr val="black">
                  <a:tint val="75000"/>
                </a:prstClr>
              </a:solidFill>
              <a:latin typeface="Arial" charset="0"/>
              <a:ea typeface="+mn-ea"/>
              <a:cs typeface="+mn-cs"/>
            </a:endParaRPr>
          </a:p>
        </p:txBody>
      </p:sp>
      <p:sp>
        <p:nvSpPr>
          <p:cNvPr id="6" name="Slide Number Placeholder 5"/>
          <p:cNvSpPr>
            <a:spLocks noGrp="1"/>
          </p:cNvSpPr>
          <p:nvPr>
            <p:ph type="sldNum" sz="quarter" idx="12"/>
          </p:nvPr>
        </p:nvSpPr>
        <p:spPr>
          <a:xfrm>
            <a:off x="7099300" y="6356511"/>
            <a:ext cx="2311400" cy="365125"/>
          </a:xfrm>
          <a:prstGeom prst="rect">
            <a:avLst/>
          </a:prstGeom>
        </p:spPr>
        <p:txBody>
          <a:bodyPr/>
          <a:lstStyle/>
          <a:p>
            <a:pPr fontAlgn="base">
              <a:spcBef>
                <a:spcPct val="0"/>
              </a:spcBef>
              <a:spcAft>
                <a:spcPct val="0"/>
              </a:spcAft>
              <a:buClrTx/>
              <a:buFontTx/>
              <a:buNone/>
            </a:pPr>
            <a:fld id="{4FAD6F48-C937-4B90-AF1D-01ADEA9D6D76}" type="slidenum">
              <a:rPr lang="en-US" sz="1600" kern="1200" smtClean="0">
                <a:solidFill>
                  <a:prstClr val="black">
                    <a:tint val="75000"/>
                  </a:prstClr>
                </a:solidFill>
                <a:latin typeface="Arial" charset="0"/>
                <a:ea typeface="+mn-ea"/>
                <a:cs typeface="+mn-cs"/>
              </a:rPr>
              <a:pPr fontAlgn="base">
                <a:spcBef>
                  <a:spcPct val="0"/>
                </a:spcBef>
                <a:spcAft>
                  <a:spcPct val="0"/>
                </a:spcAft>
                <a:buClrTx/>
                <a:buFontTx/>
                <a:buNone/>
              </a:pPr>
              <a:t>‹#›</a:t>
            </a:fld>
            <a:endParaRPr lang="en-US" sz="1600" kern="1200" dirty="0">
              <a:solidFill>
                <a:prstClr val="black">
                  <a:tint val="75000"/>
                </a:prstClr>
              </a:solidFill>
              <a:latin typeface="Arial" charset="0"/>
              <a:ea typeface="+mn-ea"/>
              <a:cs typeface="+mn-cs"/>
            </a:endParaRPr>
          </a:p>
        </p:txBody>
      </p:sp>
    </p:spTree>
    <p:extLst>
      <p:ext uri="{BB962C8B-B14F-4D97-AF65-F5344CB8AC3E}">
        <p14:creationId xmlns:p14="http://schemas.microsoft.com/office/powerpoint/2010/main" val="105470409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9524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721" y="1589"/>
                        <a:ext cx="1719" cy="1587"/>
                      </a:xfrm>
                      <a:prstGeom prst="rect">
                        <a:avLst/>
                      </a:prstGeom>
                    </p:spPr>
                  </p:pic>
                </p:oleObj>
              </mc:Fallback>
            </mc:AlternateContent>
          </a:graphicData>
        </a:graphic>
      </p:graphicFrame>
      <p:pic>
        <p:nvPicPr>
          <p:cNvPr id="12" name="Picture 11" descr="covertemps-5.jpg"/>
          <p:cNvPicPr>
            <a:picLocks noChangeAspect="1"/>
          </p:cNvPicPr>
          <p:nvPr userDrawn="1"/>
        </p:nvPicPr>
        <p:blipFill>
          <a:blip r:embed="rId6" cstate="print">
            <a:extLst>
              <a:ext uri="{28A0092B-C50C-407E-A947-70E740481C1C}">
                <a14:useLocalDpi xmlns:a14="http://schemas.microsoft.com/office/drawing/2010/main" val="0"/>
              </a:ext>
            </a:extLst>
          </a:blip>
          <a:srcRect b="13333"/>
          <a:stretch>
            <a:fillRect/>
          </a:stretch>
        </p:blipFill>
        <p:spPr bwMode="ltGray">
          <a:xfrm>
            <a:off x="0" y="0"/>
            <a:ext cx="9906000" cy="5943600"/>
          </a:xfrm>
          <a:prstGeom prst="rect">
            <a:avLst/>
          </a:prstGeom>
        </p:spPr>
      </p:pic>
      <p:sp>
        <p:nvSpPr>
          <p:cNvPr id="5" name="doc id"/>
          <p:cNvSpPr txBox="1">
            <a:spLocks noChangeArrowheads="1"/>
          </p:cNvSpPr>
          <p:nvPr/>
        </p:nvSpPr>
        <p:spPr bwMode="auto">
          <a:xfrm>
            <a:off x="9332171" y="37255"/>
            <a:ext cx="3263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buClrTx/>
              <a:buFontTx/>
              <a:buNone/>
              <a:defRPr/>
            </a:pPr>
            <a:endParaRPr lang="en-US" sz="800" kern="1200" dirty="0">
              <a:solidFill>
                <a:srgbClr val="000000"/>
              </a:solidFill>
              <a:latin typeface="Arial"/>
              <a:ea typeface="+mn-ea"/>
              <a:cs typeface="+mn-cs"/>
            </a:endParaRPr>
          </a:p>
        </p:txBody>
      </p:sp>
      <p:sp>
        <p:nvSpPr>
          <p:cNvPr id="13314" name="Rectangle 1026"/>
          <p:cNvSpPr>
            <a:spLocks noGrp="1" noChangeArrowheads="1"/>
          </p:cNvSpPr>
          <p:nvPr>
            <p:ph type="ctrTitle"/>
          </p:nvPr>
        </p:nvSpPr>
        <p:spPr bwMode="auto">
          <a:xfrm>
            <a:off x="664662" y="1282691"/>
            <a:ext cx="8531407" cy="507831"/>
          </a:xfrm>
          <a:prstGeom prst="rect">
            <a:avLst/>
          </a:prstGeom>
        </p:spPr>
        <p:txBody>
          <a:bodyPr anchor="t">
            <a:spAutoFit/>
          </a:bodyPr>
          <a:lstStyle>
            <a:lvl1pPr>
              <a:defRPr sz="3300" b="0" baseline="0">
                <a:solidFill>
                  <a:schemeClr val="bg1"/>
                </a:solidFill>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664662" y="2793630"/>
            <a:ext cx="8531407" cy="219820"/>
          </a:xfrm>
        </p:spPr>
        <p:txBody>
          <a:bodyPr wrap="square">
            <a:spAutoFit/>
          </a:bodyPr>
          <a:lstStyle>
            <a:lvl1pPr>
              <a:defRPr sz="1400" baseline="0">
                <a:solidFill>
                  <a:schemeClr val="bg1"/>
                </a:solidFill>
                <a:latin typeface="+mn-lt"/>
                <a:ea typeface="+mn-ea"/>
              </a:defRPr>
            </a:lvl1pPr>
          </a:lstStyle>
          <a:p>
            <a:pPr lvl="0"/>
            <a:r>
              <a:rPr lang="en-US" noProof="0"/>
              <a:t>Click to edit Master subtitle style</a:t>
            </a:r>
            <a:endParaRPr lang="en-US" noProof="0" dirty="0"/>
          </a:p>
        </p:txBody>
      </p:sp>
      <p:sp>
        <p:nvSpPr>
          <p:cNvPr id="16" name="Document type" hidden="1"/>
          <p:cNvSpPr txBox="1">
            <a:spLocks noChangeArrowheads="1"/>
          </p:cNvSpPr>
          <p:nvPr userDrawn="1"/>
        </p:nvSpPr>
        <p:spPr bwMode="auto">
          <a:xfrm>
            <a:off x="664662" y="4016558"/>
            <a:ext cx="853140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fontAlgn="base" hangingPunct="1">
              <a:spcBef>
                <a:spcPct val="0"/>
              </a:spcBef>
              <a:spcAft>
                <a:spcPct val="0"/>
              </a:spcAft>
              <a:buClrTx/>
              <a:buFontTx/>
              <a:buNone/>
              <a:defRPr lang="x-none"/>
            </a:pPr>
            <a:r>
              <a:rPr sz="1400" kern="1200" dirty="0">
                <a:solidFill>
                  <a:srgbClr val="FFFFFF"/>
                </a:solidFill>
                <a:latin typeface="Arial"/>
                <a:ea typeface="+mn-ea"/>
                <a:cs typeface="+mn-cs"/>
              </a:rPr>
              <a:t>Document type | Date</a:t>
            </a:r>
          </a:p>
        </p:txBody>
      </p:sp>
    </p:spTree>
    <p:extLst>
      <p:ext uri="{BB962C8B-B14F-4D97-AF65-F5344CB8AC3E}">
        <p14:creationId xmlns:p14="http://schemas.microsoft.com/office/powerpoint/2010/main" val="329125956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9627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721" y="1589"/>
                        <a:ext cx="1719" cy="1587"/>
                      </a:xfrm>
                      <a:prstGeom prst="rect">
                        <a:avLst/>
                      </a:prstGeom>
                    </p:spPr>
                  </p:pic>
                </p:oleObj>
              </mc:Fallback>
            </mc:AlternateContent>
          </a:graphicData>
        </a:graphic>
      </p:graphicFrame>
      <p:sp>
        <p:nvSpPr>
          <p:cNvPr id="10"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600" kern="1200" dirty="0">
              <a:solidFill>
                <a:srgbClr val="000000"/>
              </a:solidFill>
            </a:endParaRPr>
          </a:p>
        </p:txBody>
      </p:sp>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40830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3_Text">
  <p:cSld name="3_Text">
    <p:spTree>
      <p:nvGrpSpPr>
        <p:cNvPr id="1" name="Shape 69"/>
        <p:cNvGrpSpPr/>
        <p:nvPr/>
      </p:nvGrpSpPr>
      <p:grpSpPr>
        <a:xfrm>
          <a:off x="0" y="0"/>
          <a:ext cx="0" cy="0"/>
          <a:chOff x="0" y="0"/>
          <a:chExt cx="0" cy="0"/>
        </a:xfrm>
      </p:grpSpPr>
      <p:pic>
        <p:nvPicPr>
          <p:cNvPr id="70" name="Google Shape;70;p11"/>
          <p:cNvPicPr preferRelativeResize="0"/>
          <p:nvPr/>
        </p:nvPicPr>
        <p:blipFill rotWithShape="1">
          <a:blip r:embed="rId2">
            <a:alphaModFix/>
          </a:blip>
          <a:srcRect/>
          <a:stretch/>
        </p:blipFill>
        <p:spPr>
          <a:xfrm>
            <a:off x="1" y="3"/>
            <a:ext cx="156345" cy="140074"/>
          </a:xfrm>
          <a:prstGeom prst="rect">
            <a:avLst/>
          </a:prstGeom>
          <a:noFill/>
          <a:ln>
            <a:noFill/>
          </a:ln>
        </p:spPr>
      </p:pic>
      <p:sp>
        <p:nvSpPr>
          <p:cNvPr id="71" name="Google Shape;71;p11"/>
          <p:cNvSpPr txBox="1">
            <a:spLocks noGrp="1"/>
          </p:cNvSpPr>
          <p:nvPr>
            <p:ph type="body" idx="1"/>
          </p:nvPr>
        </p:nvSpPr>
        <p:spPr>
          <a:xfrm>
            <a:off x="450588" y="6055245"/>
            <a:ext cx="7702813" cy="386679"/>
          </a:xfrm>
          <a:prstGeom prst="rect">
            <a:avLst/>
          </a:prstGeom>
          <a:noFill/>
          <a:ln>
            <a:noFill/>
          </a:ln>
        </p:spPr>
        <p:txBody>
          <a:bodyPr spcFirstLastPara="1" wrap="square" lIns="0" tIns="0" rIns="0" bIns="0" anchor="b" anchorCtr="0"/>
          <a:lstStyle>
            <a:lvl1pPr marL="457200" marR="0" lvl="0" indent="-228600" algn="l" rtl="0">
              <a:lnSpc>
                <a:spcPct val="90000"/>
              </a:lnSpc>
              <a:spcBef>
                <a:spcPts val="1000"/>
              </a:spcBef>
              <a:spcAft>
                <a:spcPts val="0"/>
              </a:spcAft>
              <a:buClr>
                <a:schemeClr val="dk1"/>
              </a:buClr>
              <a:buSzPts val="923"/>
              <a:buFont typeface="Arial"/>
              <a:buNone/>
              <a:defRPr sz="922"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72" name="Google Shape;72;p11"/>
          <p:cNvSpPr txBox="1">
            <a:spLocks noGrp="1"/>
          </p:cNvSpPr>
          <p:nvPr>
            <p:ph type="title"/>
          </p:nvPr>
        </p:nvSpPr>
        <p:spPr>
          <a:xfrm>
            <a:off x="450741" y="134054"/>
            <a:ext cx="7245459" cy="582389"/>
          </a:xfrm>
          <a:prstGeom prst="rect">
            <a:avLst/>
          </a:prstGeom>
          <a:noFill/>
          <a:ln>
            <a:noFill/>
          </a:ln>
        </p:spPr>
        <p:txBody>
          <a:bodyPr spcFirstLastPara="1" wrap="square" lIns="0" tIns="0" rIns="0" bIns="0" anchor="b" anchorCtr="0"/>
          <a:lstStyle>
            <a:lvl1pPr marR="0" lvl="0" algn="l" rtl="0">
              <a:lnSpc>
                <a:spcPct val="90000"/>
              </a:lnSpc>
              <a:spcBef>
                <a:spcPts val="0"/>
              </a:spcBef>
              <a:spcAft>
                <a:spcPts val="0"/>
              </a:spcAft>
              <a:buClr>
                <a:schemeClr val="dk1"/>
              </a:buClr>
              <a:buSzPts val="2200"/>
              <a:buFont typeface="Arial"/>
              <a:buNone/>
              <a:defRPr sz="22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95300" y="6356511"/>
            <a:ext cx="2311400" cy="365125"/>
          </a:xfrm>
          <a:prstGeom prst="rect">
            <a:avLst/>
          </a:prstGeom>
        </p:spPr>
        <p:txBody>
          <a:bodyPr/>
          <a:lstStyle/>
          <a:p>
            <a:pPr fontAlgn="base">
              <a:spcBef>
                <a:spcPct val="0"/>
              </a:spcBef>
              <a:spcAft>
                <a:spcPct val="0"/>
              </a:spcAft>
              <a:buClrTx/>
              <a:buFontTx/>
              <a:buNone/>
            </a:pPr>
            <a:fld id="{2CBB78D2-3EDF-44DD-BD93-60A225E69B3E}" type="datetimeFigureOut">
              <a:rPr lang="en-US" sz="1600" kern="1200" smtClean="0">
                <a:solidFill>
                  <a:prstClr val="black">
                    <a:tint val="75000"/>
                  </a:prstClr>
                </a:solidFill>
                <a:latin typeface="Arial" charset="0"/>
                <a:ea typeface="+mn-ea"/>
                <a:cs typeface="+mn-cs"/>
              </a:rPr>
              <a:pPr fontAlgn="base">
                <a:spcBef>
                  <a:spcPct val="0"/>
                </a:spcBef>
                <a:spcAft>
                  <a:spcPct val="0"/>
                </a:spcAft>
                <a:buClrTx/>
                <a:buFontTx/>
                <a:buNone/>
              </a:pPr>
              <a:t>8/22/2019</a:t>
            </a:fld>
            <a:endParaRPr lang="en-US" sz="1600" kern="1200" dirty="0">
              <a:solidFill>
                <a:prstClr val="black">
                  <a:tint val="75000"/>
                </a:prstClr>
              </a:solidFill>
              <a:latin typeface="Arial" charset="0"/>
              <a:ea typeface="+mn-ea"/>
              <a:cs typeface="+mn-cs"/>
            </a:endParaRPr>
          </a:p>
        </p:txBody>
      </p:sp>
      <p:sp>
        <p:nvSpPr>
          <p:cNvPr id="5" name="Footer Placeholder 4"/>
          <p:cNvSpPr>
            <a:spLocks noGrp="1"/>
          </p:cNvSpPr>
          <p:nvPr>
            <p:ph type="ftr" sz="quarter" idx="11"/>
          </p:nvPr>
        </p:nvSpPr>
        <p:spPr>
          <a:xfrm>
            <a:off x="3384550" y="6356511"/>
            <a:ext cx="3136900" cy="365125"/>
          </a:xfrm>
          <a:prstGeom prst="rect">
            <a:avLst/>
          </a:prstGeom>
        </p:spPr>
        <p:txBody>
          <a:bodyPr/>
          <a:lstStyle/>
          <a:p>
            <a:pPr fontAlgn="base">
              <a:spcBef>
                <a:spcPct val="0"/>
              </a:spcBef>
              <a:spcAft>
                <a:spcPct val="0"/>
              </a:spcAft>
              <a:buClrTx/>
              <a:buFontTx/>
              <a:buNone/>
            </a:pPr>
            <a:endParaRPr lang="en-US" sz="1600" kern="1200" dirty="0">
              <a:solidFill>
                <a:prstClr val="black">
                  <a:tint val="75000"/>
                </a:prstClr>
              </a:solidFill>
              <a:latin typeface="Arial" charset="0"/>
              <a:ea typeface="+mn-ea"/>
              <a:cs typeface="+mn-cs"/>
            </a:endParaRPr>
          </a:p>
        </p:txBody>
      </p:sp>
      <p:sp>
        <p:nvSpPr>
          <p:cNvPr id="6" name="Slide Number Placeholder 5"/>
          <p:cNvSpPr>
            <a:spLocks noGrp="1"/>
          </p:cNvSpPr>
          <p:nvPr>
            <p:ph type="sldNum" sz="quarter" idx="12"/>
          </p:nvPr>
        </p:nvSpPr>
        <p:spPr>
          <a:xfrm>
            <a:off x="7099300" y="6356511"/>
            <a:ext cx="2311400" cy="365125"/>
          </a:xfrm>
          <a:prstGeom prst="rect">
            <a:avLst/>
          </a:prstGeom>
        </p:spPr>
        <p:txBody>
          <a:bodyPr/>
          <a:lstStyle/>
          <a:p>
            <a:pPr fontAlgn="base">
              <a:spcBef>
                <a:spcPct val="0"/>
              </a:spcBef>
              <a:spcAft>
                <a:spcPct val="0"/>
              </a:spcAft>
              <a:buClrTx/>
              <a:buFontTx/>
              <a:buNone/>
            </a:pPr>
            <a:fld id="{4FAD6F48-C937-4B90-AF1D-01ADEA9D6D76}" type="slidenum">
              <a:rPr lang="en-US" sz="1600" kern="1200" smtClean="0">
                <a:solidFill>
                  <a:prstClr val="black">
                    <a:tint val="75000"/>
                  </a:prstClr>
                </a:solidFill>
                <a:latin typeface="Arial" charset="0"/>
                <a:ea typeface="+mn-ea"/>
                <a:cs typeface="+mn-cs"/>
              </a:rPr>
              <a:pPr fontAlgn="base">
                <a:spcBef>
                  <a:spcPct val="0"/>
                </a:spcBef>
                <a:spcAft>
                  <a:spcPct val="0"/>
                </a:spcAft>
                <a:buClrTx/>
                <a:buFontTx/>
                <a:buNone/>
              </a:pPr>
              <a:t>‹#›</a:t>
            </a:fld>
            <a:endParaRPr lang="en-US" sz="1600" kern="1200" dirty="0">
              <a:solidFill>
                <a:prstClr val="black">
                  <a:tint val="75000"/>
                </a:prstClr>
              </a:solidFill>
              <a:latin typeface="Arial" charset="0"/>
              <a:ea typeface="+mn-ea"/>
              <a:cs typeface="+mn-cs"/>
            </a:endParaRPr>
          </a:p>
        </p:txBody>
      </p:sp>
    </p:spTree>
    <p:extLst>
      <p:ext uri="{BB962C8B-B14F-4D97-AF65-F5344CB8AC3E}">
        <p14:creationId xmlns:p14="http://schemas.microsoft.com/office/powerpoint/2010/main" val="138683899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3_Text">
  <p:cSld name="3_Text">
    <p:spTree>
      <p:nvGrpSpPr>
        <p:cNvPr id="1" name="Shape 69"/>
        <p:cNvGrpSpPr/>
        <p:nvPr/>
      </p:nvGrpSpPr>
      <p:grpSpPr>
        <a:xfrm>
          <a:off x="0" y="0"/>
          <a:ext cx="0" cy="0"/>
          <a:chOff x="0" y="0"/>
          <a:chExt cx="0" cy="0"/>
        </a:xfrm>
      </p:grpSpPr>
      <p:pic>
        <p:nvPicPr>
          <p:cNvPr id="70" name="Google Shape;70;p11"/>
          <p:cNvPicPr preferRelativeResize="0"/>
          <p:nvPr/>
        </p:nvPicPr>
        <p:blipFill rotWithShape="1">
          <a:blip r:embed="rId2">
            <a:alphaModFix/>
          </a:blip>
          <a:srcRect/>
          <a:stretch/>
        </p:blipFill>
        <p:spPr>
          <a:xfrm>
            <a:off x="2" y="3"/>
            <a:ext cx="156345" cy="140074"/>
          </a:xfrm>
          <a:prstGeom prst="rect">
            <a:avLst/>
          </a:prstGeom>
          <a:noFill/>
          <a:ln>
            <a:noFill/>
          </a:ln>
        </p:spPr>
      </p:pic>
      <p:sp>
        <p:nvSpPr>
          <p:cNvPr id="71" name="Google Shape;71;p11"/>
          <p:cNvSpPr txBox="1">
            <a:spLocks noGrp="1"/>
          </p:cNvSpPr>
          <p:nvPr>
            <p:ph type="body" idx="1"/>
          </p:nvPr>
        </p:nvSpPr>
        <p:spPr>
          <a:xfrm>
            <a:off x="450589" y="6055247"/>
            <a:ext cx="7702813" cy="386679"/>
          </a:xfrm>
          <a:prstGeom prst="rect">
            <a:avLst/>
          </a:prstGeom>
          <a:noFill/>
          <a:ln>
            <a:noFill/>
          </a:ln>
        </p:spPr>
        <p:txBody>
          <a:bodyPr spcFirstLastPara="1" wrap="square" lIns="0" tIns="0" rIns="0" bIns="0" anchor="b" anchorCtr="0"/>
          <a:lstStyle>
            <a:lvl1pPr marL="371475" marR="0" lvl="0" indent="-185738" algn="l" rtl="0">
              <a:lnSpc>
                <a:spcPct val="90000"/>
              </a:lnSpc>
              <a:spcBef>
                <a:spcPts val="813"/>
              </a:spcBef>
              <a:spcAft>
                <a:spcPts val="0"/>
              </a:spcAft>
              <a:buClr>
                <a:schemeClr val="dk1"/>
              </a:buClr>
              <a:buSzPts val="923"/>
              <a:buFont typeface="Arial"/>
              <a:buNone/>
              <a:defRPr sz="749" b="0" i="0" u="none" strike="noStrike" cap="none">
                <a:solidFill>
                  <a:schemeClr val="dk1"/>
                </a:solidFill>
                <a:latin typeface="Arial"/>
                <a:ea typeface="Arial"/>
                <a:cs typeface="Arial"/>
                <a:sym typeface="Arial"/>
              </a:defRPr>
            </a:lvl1pPr>
            <a:lvl2pPr marL="742950" marR="0" lvl="1" indent="-309563" algn="l" rtl="0">
              <a:lnSpc>
                <a:spcPct val="90000"/>
              </a:lnSpc>
              <a:spcBef>
                <a:spcPts val="406"/>
              </a:spcBef>
              <a:spcAft>
                <a:spcPts val="0"/>
              </a:spcAft>
              <a:buClr>
                <a:schemeClr val="dk1"/>
              </a:buClr>
              <a:buSzPts val="2400"/>
              <a:buFont typeface="Arial"/>
              <a:buChar char="•"/>
              <a:defRPr sz="1950" b="0" i="0" u="none" strike="noStrike" cap="none">
                <a:solidFill>
                  <a:schemeClr val="dk1"/>
                </a:solidFill>
                <a:latin typeface="Calibri"/>
                <a:ea typeface="Calibri"/>
                <a:cs typeface="Calibri"/>
                <a:sym typeface="Calibri"/>
              </a:defRPr>
            </a:lvl2pPr>
            <a:lvl3pPr marL="1114425" marR="0" lvl="2" indent="-288925" algn="l" rtl="0">
              <a:lnSpc>
                <a:spcPct val="90000"/>
              </a:lnSpc>
              <a:spcBef>
                <a:spcPts val="406"/>
              </a:spcBef>
              <a:spcAft>
                <a:spcPts val="0"/>
              </a:spcAft>
              <a:buClr>
                <a:schemeClr val="dk1"/>
              </a:buClr>
              <a:buSzPts val="2000"/>
              <a:buFont typeface="Arial"/>
              <a:buChar char="•"/>
              <a:defRPr sz="1625" b="0" i="0" u="none" strike="noStrike" cap="none">
                <a:solidFill>
                  <a:schemeClr val="dk1"/>
                </a:solidFill>
                <a:latin typeface="Calibri"/>
                <a:ea typeface="Calibri"/>
                <a:cs typeface="Calibri"/>
                <a:sym typeface="Calibri"/>
              </a:defRPr>
            </a:lvl3pPr>
            <a:lvl4pPr marL="1485900" marR="0" lvl="3"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4pPr>
            <a:lvl5pPr marL="1857375" marR="0" lvl="4"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5pPr>
            <a:lvl6pPr marL="2228850" marR="0" lvl="5"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6pPr>
            <a:lvl7pPr marL="2600325" marR="0" lvl="6"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7pPr>
            <a:lvl8pPr marL="2971800" marR="0" lvl="7"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8pPr>
            <a:lvl9pPr marL="3343275" marR="0" lvl="8"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9pPr>
          </a:lstStyle>
          <a:p>
            <a:endParaRPr/>
          </a:p>
        </p:txBody>
      </p:sp>
      <p:sp>
        <p:nvSpPr>
          <p:cNvPr id="72" name="Google Shape;72;p11"/>
          <p:cNvSpPr txBox="1">
            <a:spLocks noGrp="1"/>
          </p:cNvSpPr>
          <p:nvPr>
            <p:ph type="title"/>
          </p:nvPr>
        </p:nvSpPr>
        <p:spPr>
          <a:xfrm>
            <a:off x="450742" y="134056"/>
            <a:ext cx="7245459" cy="582389"/>
          </a:xfrm>
          <a:prstGeom prst="rect">
            <a:avLst/>
          </a:prstGeom>
          <a:noFill/>
          <a:ln>
            <a:noFill/>
          </a:ln>
        </p:spPr>
        <p:txBody>
          <a:bodyPr spcFirstLastPara="1" wrap="square" lIns="0" tIns="0" rIns="0" bIns="0" anchor="b" anchorCtr="0"/>
          <a:lstStyle>
            <a:lvl1pPr marR="0" lvl="0" algn="l" rtl="0">
              <a:lnSpc>
                <a:spcPct val="90000"/>
              </a:lnSpc>
              <a:spcBef>
                <a:spcPts val="0"/>
              </a:spcBef>
              <a:spcAft>
                <a:spcPts val="0"/>
              </a:spcAft>
              <a:buClr>
                <a:schemeClr val="dk1"/>
              </a:buClr>
              <a:buSzPts val="2200"/>
              <a:buFont typeface="Arial"/>
              <a:buNone/>
              <a:defRPr sz="1788" b="1" i="0" u="none" strike="noStrike" cap="none">
                <a:solidFill>
                  <a:schemeClr val="dk1"/>
                </a:solidFill>
                <a:latin typeface="Arial"/>
                <a:ea typeface="Arial"/>
                <a:cs typeface="Arial"/>
                <a:sym typeface="Arial"/>
              </a:defRPr>
            </a:lvl1pPr>
            <a:lvl2pPr lvl="1">
              <a:spcBef>
                <a:spcPts val="0"/>
              </a:spcBef>
              <a:spcAft>
                <a:spcPts val="0"/>
              </a:spcAft>
              <a:buSzPts val="1400"/>
              <a:buNone/>
              <a:defRPr sz="1463"/>
            </a:lvl2pPr>
            <a:lvl3pPr lvl="2">
              <a:spcBef>
                <a:spcPts val="0"/>
              </a:spcBef>
              <a:spcAft>
                <a:spcPts val="0"/>
              </a:spcAft>
              <a:buSzPts val="1400"/>
              <a:buNone/>
              <a:defRPr sz="1463"/>
            </a:lvl3pPr>
            <a:lvl4pPr lvl="3">
              <a:spcBef>
                <a:spcPts val="0"/>
              </a:spcBef>
              <a:spcAft>
                <a:spcPts val="0"/>
              </a:spcAft>
              <a:buSzPts val="1400"/>
              <a:buNone/>
              <a:defRPr sz="1463"/>
            </a:lvl4pPr>
            <a:lvl5pPr lvl="4">
              <a:spcBef>
                <a:spcPts val="0"/>
              </a:spcBef>
              <a:spcAft>
                <a:spcPts val="0"/>
              </a:spcAft>
              <a:buSzPts val="1400"/>
              <a:buNone/>
              <a:defRPr sz="1463"/>
            </a:lvl5pPr>
            <a:lvl6pPr lvl="5">
              <a:spcBef>
                <a:spcPts val="0"/>
              </a:spcBef>
              <a:spcAft>
                <a:spcPts val="0"/>
              </a:spcAft>
              <a:buSzPts val="1400"/>
              <a:buNone/>
              <a:defRPr sz="1463"/>
            </a:lvl6pPr>
            <a:lvl7pPr lvl="6">
              <a:spcBef>
                <a:spcPts val="0"/>
              </a:spcBef>
              <a:spcAft>
                <a:spcPts val="0"/>
              </a:spcAft>
              <a:buSzPts val="1400"/>
              <a:buNone/>
              <a:defRPr sz="1463"/>
            </a:lvl7pPr>
            <a:lvl8pPr lvl="7">
              <a:spcBef>
                <a:spcPts val="0"/>
              </a:spcBef>
              <a:spcAft>
                <a:spcPts val="0"/>
              </a:spcAft>
              <a:buSzPts val="1400"/>
              <a:buNone/>
              <a:defRPr sz="1463"/>
            </a:lvl8pPr>
            <a:lvl9pPr lvl="8">
              <a:spcBef>
                <a:spcPts val="0"/>
              </a:spcBef>
              <a:spcAft>
                <a:spcPts val="0"/>
              </a:spcAft>
              <a:buSzPts val="1400"/>
              <a:buNone/>
              <a:defRPr sz="1463"/>
            </a:lvl9pPr>
          </a:lstStyle>
          <a:p>
            <a:endParaRPr/>
          </a:p>
        </p:txBody>
      </p:sp>
    </p:spTree>
    <p:extLst>
      <p:ext uri="{BB962C8B-B14F-4D97-AF65-F5344CB8AC3E}">
        <p14:creationId xmlns:p14="http://schemas.microsoft.com/office/powerpoint/2010/main" val="19505305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4_Text">
  <p:cSld name="4_Text">
    <p:spTree>
      <p:nvGrpSpPr>
        <p:cNvPr id="1" name="Shape 73"/>
        <p:cNvGrpSpPr/>
        <p:nvPr/>
      </p:nvGrpSpPr>
      <p:grpSpPr>
        <a:xfrm>
          <a:off x="0" y="0"/>
          <a:ext cx="0" cy="0"/>
          <a:chOff x="0" y="0"/>
          <a:chExt cx="0" cy="0"/>
        </a:xfrm>
      </p:grpSpPr>
      <p:pic>
        <p:nvPicPr>
          <p:cNvPr id="74" name="Google Shape;74;p12"/>
          <p:cNvPicPr preferRelativeResize="0"/>
          <p:nvPr/>
        </p:nvPicPr>
        <p:blipFill rotWithShape="1">
          <a:blip r:embed="rId2">
            <a:alphaModFix/>
          </a:blip>
          <a:srcRect/>
          <a:stretch/>
        </p:blipFill>
        <p:spPr>
          <a:xfrm>
            <a:off x="2" y="3"/>
            <a:ext cx="156345" cy="140074"/>
          </a:xfrm>
          <a:prstGeom prst="rect">
            <a:avLst/>
          </a:prstGeom>
          <a:noFill/>
          <a:ln>
            <a:noFill/>
          </a:ln>
        </p:spPr>
      </p:pic>
      <p:sp>
        <p:nvSpPr>
          <p:cNvPr id="75" name="Google Shape;75;p12"/>
          <p:cNvSpPr txBox="1">
            <a:spLocks noGrp="1"/>
          </p:cNvSpPr>
          <p:nvPr>
            <p:ph type="title"/>
          </p:nvPr>
        </p:nvSpPr>
        <p:spPr>
          <a:xfrm>
            <a:off x="450742" y="134056"/>
            <a:ext cx="7245459" cy="582389"/>
          </a:xfrm>
          <a:prstGeom prst="rect">
            <a:avLst/>
          </a:prstGeom>
          <a:noFill/>
          <a:ln>
            <a:noFill/>
          </a:ln>
        </p:spPr>
        <p:txBody>
          <a:bodyPr spcFirstLastPara="1" wrap="square" lIns="0" tIns="0" rIns="0" bIns="0" anchor="b" anchorCtr="0"/>
          <a:lstStyle>
            <a:lvl1pPr marR="0" lvl="0" algn="l" rtl="0">
              <a:lnSpc>
                <a:spcPct val="90000"/>
              </a:lnSpc>
              <a:spcBef>
                <a:spcPts val="0"/>
              </a:spcBef>
              <a:spcAft>
                <a:spcPts val="0"/>
              </a:spcAft>
              <a:buClr>
                <a:schemeClr val="dk1"/>
              </a:buClr>
              <a:buSzPts val="2200"/>
              <a:buFont typeface="Arial"/>
              <a:buNone/>
              <a:defRPr sz="1788" b="1" i="0" u="none" strike="noStrike" cap="none">
                <a:solidFill>
                  <a:schemeClr val="dk1"/>
                </a:solidFill>
                <a:latin typeface="Arial"/>
                <a:ea typeface="Arial"/>
                <a:cs typeface="Arial"/>
                <a:sym typeface="Arial"/>
              </a:defRPr>
            </a:lvl1pPr>
            <a:lvl2pPr lvl="1">
              <a:spcBef>
                <a:spcPts val="0"/>
              </a:spcBef>
              <a:spcAft>
                <a:spcPts val="0"/>
              </a:spcAft>
              <a:buSzPts val="1400"/>
              <a:buNone/>
              <a:defRPr sz="1463"/>
            </a:lvl2pPr>
            <a:lvl3pPr lvl="2">
              <a:spcBef>
                <a:spcPts val="0"/>
              </a:spcBef>
              <a:spcAft>
                <a:spcPts val="0"/>
              </a:spcAft>
              <a:buSzPts val="1400"/>
              <a:buNone/>
              <a:defRPr sz="1463"/>
            </a:lvl3pPr>
            <a:lvl4pPr lvl="3">
              <a:spcBef>
                <a:spcPts val="0"/>
              </a:spcBef>
              <a:spcAft>
                <a:spcPts val="0"/>
              </a:spcAft>
              <a:buSzPts val="1400"/>
              <a:buNone/>
              <a:defRPr sz="1463"/>
            </a:lvl4pPr>
            <a:lvl5pPr lvl="4">
              <a:spcBef>
                <a:spcPts val="0"/>
              </a:spcBef>
              <a:spcAft>
                <a:spcPts val="0"/>
              </a:spcAft>
              <a:buSzPts val="1400"/>
              <a:buNone/>
              <a:defRPr sz="1463"/>
            </a:lvl5pPr>
            <a:lvl6pPr lvl="5">
              <a:spcBef>
                <a:spcPts val="0"/>
              </a:spcBef>
              <a:spcAft>
                <a:spcPts val="0"/>
              </a:spcAft>
              <a:buSzPts val="1400"/>
              <a:buNone/>
              <a:defRPr sz="1463"/>
            </a:lvl6pPr>
            <a:lvl7pPr lvl="6">
              <a:spcBef>
                <a:spcPts val="0"/>
              </a:spcBef>
              <a:spcAft>
                <a:spcPts val="0"/>
              </a:spcAft>
              <a:buSzPts val="1400"/>
              <a:buNone/>
              <a:defRPr sz="1463"/>
            </a:lvl7pPr>
            <a:lvl8pPr lvl="7">
              <a:spcBef>
                <a:spcPts val="0"/>
              </a:spcBef>
              <a:spcAft>
                <a:spcPts val="0"/>
              </a:spcAft>
              <a:buSzPts val="1400"/>
              <a:buNone/>
              <a:defRPr sz="1463"/>
            </a:lvl8pPr>
            <a:lvl9pPr lvl="8">
              <a:spcBef>
                <a:spcPts val="0"/>
              </a:spcBef>
              <a:spcAft>
                <a:spcPts val="0"/>
              </a:spcAft>
              <a:buSzPts val="1400"/>
              <a:buNone/>
              <a:defRPr sz="1463"/>
            </a:lvl9pPr>
          </a:lstStyle>
          <a:p>
            <a:endParaRPr/>
          </a:p>
        </p:txBody>
      </p:sp>
      <p:sp>
        <p:nvSpPr>
          <p:cNvPr id="76" name="Google Shape;76;p12"/>
          <p:cNvSpPr txBox="1">
            <a:spLocks noGrp="1"/>
          </p:cNvSpPr>
          <p:nvPr>
            <p:ph type="body" idx="1"/>
          </p:nvPr>
        </p:nvSpPr>
        <p:spPr>
          <a:xfrm>
            <a:off x="450277" y="1066803"/>
            <a:ext cx="9005453" cy="5181599"/>
          </a:xfrm>
          <a:prstGeom prst="rect">
            <a:avLst/>
          </a:prstGeom>
          <a:noFill/>
          <a:ln>
            <a:noFill/>
          </a:ln>
        </p:spPr>
        <p:txBody>
          <a:bodyPr spcFirstLastPara="1" wrap="square" lIns="0" tIns="0" rIns="0" bIns="0" anchor="t" anchorCtr="0"/>
          <a:lstStyle>
            <a:lvl1pPr marL="371475" marR="0" lvl="0" indent="-268288" algn="l" rtl="0">
              <a:lnSpc>
                <a:spcPct val="90000"/>
              </a:lnSpc>
              <a:spcBef>
                <a:spcPts val="583"/>
              </a:spcBef>
              <a:spcAft>
                <a:spcPts val="0"/>
              </a:spcAft>
              <a:buClr>
                <a:schemeClr val="dk1"/>
              </a:buClr>
              <a:buSzPts val="1600"/>
              <a:buFont typeface="Arial"/>
              <a:buChar char="•"/>
              <a:defRPr sz="1300" b="0" i="0" u="none" strike="noStrike" cap="none">
                <a:solidFill>
                  <a:schemeClr val="dk1"/>
                </a:solidFill>
                <a:latin typeface="Arial"/>
                <a:ea typeface="Arial"/>
                <a:cs typeface="Arial"/>
                <a:sym typeface="Arial"/>
              </a:defRPr>
            </a:lvl1pPr>
            <a:lvl2pPr marL="742950" marR="0" lvl="1" indent="-257969" algn="l" rtl="0">
              <a:lnSpc>
                <a:spcPct val="90000"/>
              </a:lnSpc>
              <a:spcBef>
                <a:spcPts val="583"/>
              </a:spcBef>
              <a:spcAft>
                <a:spcPts val="0"/>
              </a:spcAft>
              <a:buClr>
                <a:schemeClr val="dk1"/>
              </a:buClr>
              <a:buSzPts val="1400"/>
              <a:buFont typeface="Noto Sans Symbols"/>
              <a:buChar char="✓"/>
              <a:defRPr sz="1138" b="0" i="0" u="none" strike="noStrike" cap="none">
                <a:solidFill>
                  <a:schemeClr val="dk1"/>
                </a:solidFill>
                <a:latin typeface="Arial"/>
                <a:ea typeface="Arial"/>
                <a:cs typeface="Arial"/>
                <a:sym typeface="Arial"/>
              </a:defRPr>
            </a:lvl2pPr>
            <a:lvl3pPr marL="1114425" marR="0" lvl="2" indent="-257969" algn="l" rtl="0">
              <a:lnSpc>
                <a:spcPct val="90000"/>
              </a:lnSpc>
              <a:spcBef>
                <a:spcPts val="406"/>
              </a:spcBef>
              <a:spcAft>
                <a:spcPts val="0"/>
              </a:spcAft>
              <a:buClr>
                <a:schemeClr val="dk1"/>
              </a:buClr>
              <a:buSzPts val="1400"/>
              <a:buFont typeface="Courier New"/>
              <a:buChar char="o"/>
              <a:defRPr sz="1138" b="0" i="0" u="none" strike="noStrike" cap="none">
                <a:solidFill>
                  <a:schemeClr val="dk1"/>
                </a:solidFill>
                <a:latin typeface="Arial"/>
                <a:ea typeface="Arial"/>
                <a:cs typeface="Arial"/>
                <a:sym typeface="Arial"/>
              </a:defRPr>
            </a:lvl3pPr>
            <a:lvl4pPr marL="1485900" marR="0" lvl="3" indent="-257969" algn="l" rtl="0">
              <a:lnSpc>
                <a:spcPct val="90000"/>
              </a:lnSpc>
              <a:spcBef>
                <a:spcPts val="406"/>
              </a:spcBef>
              <a:spcAft>
                <a:spcPts val="0"/>
              </a:spcAft>
              <a:buClr>
                <a:schemeClr val="dk1"/>
              </a:buClr>
              <a:buSzPts val="1400"/>
              <a:buFont typeface="Arial"/>
              <a:buChar char="•"/>
              <a:defRPr sz="1138" b="0" i="0" u="none" strike="noStrike" cap="none">
                <a:solidFill>
                  <a:schemeClr val="dk1"/>
                </a:solidFill>
                <a:latin typeface="Arial"/>
                <a:ea typeface="Arial"/>
                <a:cs typeface="Arial"/>
                <a:sym typeface="Arial"/>
              </a:defRPr>
            </a:lvl4pPr>
            <a:lvl5pPr marL="1857375" marR="0" lvl="4"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5pPr>
            <a:lvl6pPr marL="2228850" marR="0" lvl="5"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6pPr>
            <a:lvl7pPr marL="2600325" marR="0" lvl="6"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7pPr>
            <a:lvl8pPr marL="2971800" marR="0" lvl="7"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8pPr>
            <a:lvl9pPr marL="3343275" marR="0" lvl="8"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387826834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2_Blank">
  <p:cSld name="2_Blank">
    <p:bg>
      <p:bgPr>
        <a:solidFill>
          <a:srgbClr val="A8D08C"/>
        </a:solidFill>
        <a:effectLst/>
      </p:bgPr>
    </p:bg>
    <p:spTree>
      <p:nvGrpSpPr>
        <p:cNvPr id="1" name="Shape 77"/>
        <p:cNvGrpSpPr/>
        <p:nvPr/>
      </p:nvGrpSpPr>
      <p:grpSpPr>
        <a:xfrm>
          <a:off x="0" y="0"/>
          <a:ext cx="0" cy="0"/>
          <a:chOff x="0" y="0"/>
          <a:chExt cx="0" cy="0"/>
        </a:xfrm>
      </p:grpSpPr>
      <p:pic>
        <p:nvPicPr>
          <p:cNvPr id="78" name="Google Shape;78;p13"/>
          <p:cNvPicPr preferRelativeResize="0"/>
          <p:nvPr/>
        </p:nvPicPr>
        <p:blipFill rotWithShape="1">
          <a:blip r:embed="rId2">
            <a:alphaModFix/>
          </a:blip>
          <a:srcRect/>
          <a:stretch/>
        </p:blipFill>
        <p:spPr>
          <a:xfrm>
            <a:off x="1588" y="1588"/>
            <a:ext cx="1588" cy="1588"/>
          </a:xfrm>
          <a:prstGeom prst="rect">
            <a:avLst/>
          </a:prstGeom>
          <a:noFill/>
          <a:ln>
            <a:noFill/>
          </a:ln>
        </p:spPr>
      </p:pic>
      <p:pic>
        <p:nvPicPr>
          <p:cNvPr id="79" name="Google Shape;79;p13"/>
          <p:cNvPicPr preferRelativeResize="0"/>
          <p:nvPr/>
        </p:nvPicPr>
        <p:blipFill rotWithShape="1">
          <a:blip r:embed="rId3">
            <a:alphaModFix/>
          </a:blip>
          <a:srcRect/>
          <a:stretch/>
        </p:blipFill>
        <p:spPr>
          <a:xfrm>
            <a:off x="0" y="5947172"/>
            <a:ext cx="9906000" cy="910828"/>
          </a:xfrm>
          <a:prstGeom prst="rect">
            <a:avLst/>
          </a:prstGeom>
          <a:noFill/>
          <a:ln>
            <a:noFill/>
          </a:ln>
        </p:spPr>
      </p:pic>
      <p:sp>
        <p:nvSpPr>
          <p:cNvPr id="80" name="Google Shape;80;p13"/>
          <p:cNvSpPr txBox="1">
            <a:spLocks noGrp="1"/>
          </p:cNvSpPr>
          <p:nvPr>
            <p:ph type="title"/>
          </p:nvPr>
        </p:nvSpPr>
        <p:spPr>
          <a:xfrm>
            <a:off x="577850" y="2514600"/>
            <a:ext cx="8915400" cy="1143000"/>
          </a:xfrm>
          <a:prstGeom prst="rect">
            <a:avLst/>
          </a:prstGeom>
          <a:noFill/>
          <a:ln>
            <a:noFill/>
          </a:ln>
        </p:spPr>
        <p:txBody>
          <a:bodyPr spcFirstLastPara="1" wrap="square" lIns="91425" tIns="45700" rIns="91425" bIns="45700" anchor="t" anchorCtr="0"/>
          <a:lstStyle>
            <a:lvl1pPr marR="0" lvl="0" algn="l" rtl="0">
              <a:lnSpc>
                <a:spcPct val="90000"/>
              </a:lnSpc>
              <a:spcBef>
                <a:spcPts val="0"/>
              </a:spcBef>
              <a:spcAft>
                <a:spcPts val="0"/>
              </a:spcAft>
              <a:buClr>
                <a:srgbClr val="385623"/>
              </a:buClr>
              <a:buSzPts val="4400"/>
              <a:buFont typeface="Arial"/>
              <a:buNone/>
              <a:defRPr sz="3575" b="0" i="0" u="none" strike="noStrike" cap="none">
                <a:solidFill>
                  <a:srgbClr val="385623"/>
                </a:solidFill>
                <a:latin typeface="Arial"/>
                <a:ea typeface="Arial"/>
                <a:cs typeface="Arial"/>
                <a:sym typeface="Arial"/>
              </a:defRPr>
            </a:lvl1pPr>
            <a:lvl2pPr lvl="1">
              <a:spcBef>
                <a:spcPts val="0"/>
              </a:spcBef>
              <a:spcAft>
                <a:spcPts val="0"/>
              </a:spcAft>
              <a:buSzPts val="1400"/>
              <a:buNone/>
              <a:defRPr sz="1463"/>
            </a:lvl2pPr>
            <a:lvl3pPr lvl="2">
              <a:spcBef>
                <a:spcPts val="0"/>
              </a:spcBef>
              <a:spcAft>
                <a:spcPts val="0"/>
              </a:spcAft>
              <a:buSzPts val="1400"/>
              <a:buNone/>
              <a:defRPr sz="1463"/>
            </a:lvl3pPr>
            <a:lvl4pPr lvl="3">
              <a:spcBef>
                <a:spcPts val="0"/>
              </a:spcBef>
              <a:spcAft>
                <a:spcPts val="0"/>
              </a:spcAft>
              <a:buSzPts val="1400"/>
              <a:buNone/>
              <a:defRPr sz="1463"/>
            </a:lvl4pPr>
            <a:lvl5pPr lvl="4">
              <a:spcBef>
                <a:spcPts val="0"/>
              </a:spcBef>
              <a:spcAft>
                <a:spcPts val="0"/>
              </a:spcAft>
              <a:buSzPts val="1400"/>
              <a:buNone/>
              <a:defRPr sz="1463"/>
            </a:lvl5pPr>
            <a:lvl6pPr lvl="5">
              <a:spcBef>
                <a:spcPts val="0"/>
              </a:spcBef>
              <a:spcAft>
                <a:spcPts val="0"/>
              </a:spcAft>
              <a:buSzPts val="1400"/>
              <a:buNone/>
              <a:defRPr sz="1463"/>
            </a:lvl6pPr>
            <a:lvl7pPr lvl="6">
              <a:spcBef>
                <a:spcPts val="0"/>
              </a:spcBef>
              <a:spcAft>
                <a:spcPts val="0"/>
              </a:spcAft>
              <a:buSzPts val="1400"/>
              <a:buNone/>
              <a:defRPr sz="1463"/>
            </a:lvl7pPr>
            <a:lvl8pPr lvl="7">
              <a:spcBef>
                <a:spcPts val="0"/>
              </a:spcBef>
              <a:spcAft>
                <a:spcPts val="0"/>
              </a:spcAft>
              <a:buSzPts val="1400"/>
              <a:buNone/>
              <a:defRPr sz="1463"/>
            </a:lvl8pPr>
            <a:lvl9pPr lvl="8">
              <a:spcBef>
                <a:spcPts val="0"/>
              </a:spcBef>
              <a:spcAft>
                <a:spcPts val="0"/>
              </a:spcAft>
              <a:buSzPts val="1400"/>
              <a:buNone/>
              <a:defRPr sz="1463"/>
            </a:lvl9pPr>
          </a:lstStyle>
          <a:p>
            <a:endParaRPr/>
          </a:p>
        </p:txBody>
      </p:sp>
    </p:spTree>
    <p:extLst>
      <p:ext uri="{BB962C8B-B14F-4D97-AF65-F5344CB8AC3E}">
        <p14:creationId xmlns:p14="http://schemas.microsoft.com/office/powerpoint/2010/main" val="146361050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2_Text">
  <p:cSld name="2_Text">
    <p:spTree>
      <p:nvGrpSpPr>
        <p:cNvPr id="1" name="Shape 92"/>
        <p:cNvGrpSpPr/>
        <p:nvPr/>
      </p:nvGrpSpPr>
      <p:grpSpPr>
        <a:xfrm>
          <a:off x="0" y="0"/>
          <a:ext cx="0" cy="0"/>
          <a:chOff x="0" y="0"/>
          <a:chExt cx="0" cy="0"/>
        </a:xfrm>
      </p:grpSpPr>
      <p:pic>
        <p:nvPicPr>
          <p:cNvPr id="93" name="Google Shape;93;p16"/>
          <p:cNvPicPr preferRelativeResize="0"/>
          <p:nvPr/>
        </p:nvPicPr>
        <p:blipFill rotWithShape="1">
          <a:blip r:embed="rId2">
            <a:alphaModFix/>
          </a:blip>
          <a:srcRect/>
          <a:stretch/>
        </p:blipFill>
        <p:spPr>
          <a:xfrm>
            <a:off x="2" y="3"/>
            <a:ext cx="156345" cy="140074"/>
          </a:xfrm>
          <a:prstGeom prst="rect">
            <a:avLst/>
          </a:prstGeom>
          <a:noFill/>
          <a:ln>
            <a:noFill/>
          </a:ln>
        </p:spPr>
      </p:pic>
      <p:sp>
        <p:nvSpPr>
          <p:cNvPr id="94" name="Google Shape;94;p16"/>
          <p:cNvSpPr txBox="1">
            <a:spLocks noGrp="1"/>
          </p:cNvSpPr>
          <p:nvPr>
            <p:ph type="title"/>
          </p:nvPr>
        </p:nvSpPr>
        <p:spPr>
          <a:xfrm>
            <a:off x="450742" y="134056"/>
            <a:ext cx="7245459" cy="582389"/>
          </a:xfrm>
          <a:prstGeom prst="rect">
            <a:avLst/>
          </a:prstGeom>
          <a:noFill/>
          <a:ln>
            <a:noFill/>
          </a:ln>
        </p:spPr>
        <p:txBody>
          <a:bodyPr spcFirstLastPara="1" wrap="square" lIns="0" tIns="0" rIns="0" bIns="0" anchor="b" anchorCtr="0"/>
          <a:lstStyle>
            <a:lvl1pPr marR="0" lvl="0" algn="l" rtl="0">
              <a:lnSpc>
                <a:spcPct val="90000"/>
              </a:lnSpc>
              <a:spcBef>
                <a:spcPts val="0"/>
              </a:spcBef>
              <a:spcAft>
                <a:spcPts val="0"/>
              </a:spcAft>
              <a:buClr>
                <a:schemeClr val="dk1"/>
              </a:buClr>
              <a:buSzPts val="2200"/>
              <a:buFont typeface="Arial"/>
              <a:buNone/>
              <a:defRPr sz="1788" b="1" i="0" u="none" strike="noStrike" cap="none">
                <a:solidFill>
                  <a:schemeClr val="dk1"/>
                </a:solidFill>
                <a:latin typeface="Arial"/>
                <a:ea typeface="Arial"/>
                <a:cs typeface="Arial"/>
                <a:sym typeface="Arial"/>
              </a:defRPr>
            </a:lvl1pPr>
            <a:lvl2pPr lvl="1">
              <a:spcBef>
                <a:spcPts val="0"/>
              </a:spcBef>
              <a:spcAft>
                <a:spcPts val="0"/>
              </a:spcAft>
              <a:buSzPts val="1400"/>
              <a:buNone/>
              <a:defRPr sz="1463"/>
            </a:lvl2pPr>
            <a:lvl3pPr lvl="2">
              <a:spcBef>
                <a:spcPts val="0"/>
              </a:spcBef>
              <a:spcAft>
                <a:spcPts val="0"/>
              </a:spcAft>
              <a:buSzPts val="1400"/>
              <a:buNone/>
              <a:defRPr sz="1463"/>
            </a:lvl3pPr>
            <a:lvl4pPr lvl="3">
              <a:spcBef>
                <a:spcPts val="0"/>
              </a:spcBef>
              <a:spcAft>
                <a:spcPts val="0"/>
              </a:spcAft>
              <a:buSzPts val="1400"/>
              <a:buNone/>
              <a:defRPr sz="1463"/>
            </a:lvl4pPr>
            <a:lvl5pPr lvl="4">
              <a:spcBef>
                <a:spcPts val="0"/>
              </a:spcBef>
              <a:spcAft>
                <a:spcPts val="0"/>
              </a:spcAft>
              <a:buSzPts val="1400"/>
              <a:buNone/>
              <a:defRPr sz="1463"/>
            </a:lvl5pPr>
            <a:lvl6pPr lvl="5">
              <a:spcBef>
                <a:spcPts val="0"/>
              </a:spcBef>
              <a:spcAft>
                <a:spcPts val="0"/>
              </a:spcAft>
              <a:buSzPts val="1400"/>
              <a:buNone/>
              <a:defRPr sz="1463"/>
            </a:lvl6pPr>
            <a:lvl7pPr lvl="6">
              <a:spcBef>
                <a:spcPts val="0"/>
              </a:spcBef>
              <a:spcAft>
                <a:spcPts val="0"/>
              </a:spcAft>
              <a:buSzPts val="1400"/>
              <a:buNone/>
              <a:defRPr sz="1463"/>
            </a:lvl7pPr>
            <a:lvl8pPr lvl="7">
              <a:spcBef>
                <a:spcPts val="0"/>
              </a:spcBef>
              <a:spcAft>
                <a:spcPts val="0"/>
              </a:spcAft>
              <a:buSzPts val="1400"/>
              <a:buNone/>
              <a:defRPr sz="1463"/>
            </a:lvl8pPr>
            <a:lvl9pPr lvl="8">
              <a:spcBef>
                <a:spcPts val="0"/>
              </a:spcBef>
              <a:spcAft>
                <a:spcPts val="0"/>
              </a:spcAft>
              <a:buSzPts val="1400"/>
              <a:buNone/>
              <a:defRPr sz="1463"/>
            </a:lvl9pPr>
          </a:lstStyle>
          <a:p>
            <a:endParaRPr/>
          </a:p>
        </p:txBody>
      </p:sp>
      <p:sp>
        <p:nvSpPr>
          <p:cNvPr id="95" name="Google Shape;95;p16"/>
          <p:cNvSpPr txBox="1">
            <a:spLocks noGrp="1"/>
          </p:cNvSpPr>
          <p:nvPr>
            <p:ph type="body" idx="1"/>
          </p:nvPr>
        </p:nvSpPr>
        <p:spPr>
          <a:xfrm>
            <a:off x="450277" y="1066801"/>
            <a:ext cx="9005453" cy="4876799"/>
          </a:xfrm>
          <a:prstGeom prst="rect">
            <a:avLst/>
          </a:prstGeom>
          <a:noFill/>
          <a:ln>
            <a:noFill/>
          </a:ln>
        </p:spPr>
        <p:txBody>
          <a:bodyPr spcFirstLastPara="1" wrap="square" lIns="0" tIns="0" rIns="0" bIns="0" anchor="t" anchorCtr="0"/>
          <a:lstStyle>
            <a:lvl1pPr marL="371475" marR="0" lvl="0" indent="-268288" algn="l" rtl="0">
              <a:lnSpc>
                <a:spcPct val="90000"/>
              </a:lnSpc>
              <a:spcBef>
                <a:spcPts val="583"/>
              </a:spcBef>
              <a:spcAft>
                <a:spcPts val="0"/>
              </a:spcAft>
              <a:buClr>
                <a:schemeClr val="dk1"/>
              </a:buClr>
              <a:buSzPts val="1600"/>
              <a:buFont typeface="Arial"/>
              <a:buChar char="•"/>
              <a:defRPr sz="1300" b="0" i="0" u="none" strike="noStrike" cap="none">
                <a:solidFill>
                  <a:schemeClr val="dk1"/>
                </a:solidFill>
                <a:latin typeface="Arial"/>
                <a:ea typeface="Arial"/>
                <a:cs typeface="Arial"/>
                <a:sym typeface="Arial"/>
              </a:defRPr>
            </a:lvl1pPr>
            <a:lvl2pPr marL="742950" marR="0" lvl="1" indent="-257969" algn="l" rtl="0">
              <a:lnSpc>
                <a:spcPct val="90000"/>
              </a:lnSpc>
              <a:spcBef>
                <a:spcPts val="583"/>
              </a:spcBef>
              <a:spcAft>
                <a:spcPts val="0"/>
              </a:spcAft>
              <a:buClr>
                <a:schemeClr val="dk1"/>
              </a:buClr>
              <a:buSzPts val="1400"/>
              <a:buFont typeface="Noto Sans Symbols"/>
              <a:buChar char="✓"/>
              <a:defRPr sz="1138" b="0" i="0" u="none" strike="noStrike" cap="none">
                <a:solidFill>
                  <a:schemeClr val="dk1"/>
                </a:solidFill>
                <a:latin typeface="Arial"/>
                <a:ea typeface="Arial"/>
                <a:cs typeface="Arial"/>
                <a:sym typeface="Arial"/>
              </a:defRPr>
            </a:lvl2pPr>
            <a:lvl3pPr marL="1114425" marR="0" lvl="2" indent="-257969" algn="l" rtl="0">
              <a:lnSpc>
                <a:spcPct val="90000"/>
              </a:lnSpc>
              <a:spcBef>
                <a:spcPts val="406"/>
              </a:spcBef>
              <a:spcAft>
                <a:spcPts val="0"/>
              </a:spcAft>
              <a:buClr>
                <a:schemeClr val="dk1"/>
              </a:buClr>
              <a:buSzPts val="1400"/>
              <a:buFont typeface="Courier New"/>
              <a:buChar char="o"/>
              <a:defRPr sz="1138" b="0" i="0" u="none" strike="noStrike" cap="none">
                <a:solidFill>
                  <a:schemeClr val="dk1"/>
                </a:solidFill>
                <a:latin typeface="Arial"/>
                <a:ea typeface="Arial"/>
                <a:cs typeface="Arial"/>
                <a:sym typeface="Arial"/>
              </a:defRPr>
            </a:lvl3pPr>
            <a:lvl4pPr marL="1485900" marR="0" lvl="3" indent="-257969" algn="l" rtl="0">
              <a:lnSpc>
                <a:spcPct val="90000"/>
              </a:lnSpc>
              <a:spcBef>
                <a:spcPts val="406"/>
              </a:spcBef>
              <a:spcAft>
                <a:spcPts val="0"/>
              </a:spcAft>
              <a:buClr>
                <a:schemeClr val="dk1"/>
              </a:buClr>
              <a:buSzPts val="1400"/>
              <a:buFont typeface="Arial"/>
              <a:buChar char="•"/>
              <a:defRPr sz="1138" b="0" i="0" u="none" strike="noStrike" cap="none">
                <a:solidFill>
                  <a:schemeClr val="dk1"/>
                </a:solidFill>
                <a:latin typeface="Arial"/>
                <a:ea typeface="Arial"/>
                <a:cs typeface="Arial"/>
                <a:sym typeface="Arial"/>
              </a:defRPr>
            </a:lvl4pPr>
            <a:lvl5pPr marL="1857375" marR="0" lvl="4"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5pPr>
            <a:lvl6pPr marL="2228850" marR="0" lvl="5"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6pPr>
            <a:lvl7pPr marL="2600325" marR="0" lvl="6"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7pPr>
            <a:lvl8pPr marL="2971800" marR="0" lvl="7"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8pPr>
            <a:lvl9pPr marL="3343275" marR="0" lvl="8"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9pPr>
          </a:lstStyle>
          <a:p>
            <a:endParaRPr/>
          </a:p>
        </p:txBody>
      </p:sp>
      <p:sp>
        <p:nvSpPr>
          <p:cNvPr id="96" name="Google Shape;96;p16"/>
          <p:cNvSpPr txBox="1">
            <a:spLocks noGrp="1"/>
          </p:cNvSpPr>
          <p:nvPr>
            <p:ph type="body" idx="2"/>
          </p:nvPr>
        </p:nvSpPr>
        <p:spPr>
          <a:xfrm>
            <a:off x="450589" y="6055247"/>
            <a:ext cx="7702813" cy="386679"/>
          </a:xfrm>
          <a:prstGeom prst="rect">
            <a:avLst/>
          </a:prstGeom>
          <a:noFill/>
          <a:ln>
            <a:noFill/>
          </a:ln>
        </p:spPr>
        <p:txBody>
          <a:bodyPr spcFirstLastPara="1" wrap="square" lIns="0" tIns="0" rIns="0" bIns="0" anchor="b" anchorCtr="0"/>
          <a:lstStyle>
            <a:lvl1pPr marL="371475" marR="0" lvl="0" indent="-185738" algn="l" rtl="0">
              <a:lnSpc>
                <a:spcPct val="90000"/>
              </a:lnSpc>
              <a:spcBef>
                <a:spcPts val="813"/>
              </a:spcBef>
              <a:spcAft>
                <a:spcPts val="0"/>
              </a:spcAft>
              <a:buClr>
                <a:schemeClr val="dk1"/>
              </a:buClr>
              <a:buSzPts val="923"/>
              <a:buFont typeface="Arial"/>
              <a:buNone/>
              <a:defRPr sz="749" b="0" i="0" u="none" strike="noStrike" cap="none">
                <a:solidFill>
                  <a:schemeClr val="dk1"/>
                </a:solidFill>
                <a:latin typeface="Arial"/>
                <a:ea typeface="Arial"/>
                <a:cs typeface="Arial"/>
                <a:sym typeface="Arial"/>
              </a:defRPr>
            </a:lvl1pPr>
            <a:lvl2pPr marL="742950" marR="0" lvl="1" indent="-309563" algn="l" rtl="0">
              <a:lnSpc>
                <a:spcPct val="90000"/>
              </a:lnSpc>
              <a:spcBef>
                <a:spcPts val="406"/>
              </a:spcBef>
              <a:spcAft>
                <a:spcPts val="0"/>
              </a:spcAft>
              <a:buClr>
                <a:schemeClr val="dk1"/>
              </a:buClr>
              <a:buSzPts val="2400"/>
              <a:buFont typeface="Arial"/>
              <a:buChar char="•"/>
              <a:defRPr sz="1950" b="0" i="0" u="none" strike="noStrike" cap="none">
                <a:solidFill>
                  <a:schemeClr val="dk1"/>
                </a:solidFill>
                <a:latin typeface="Calibri"/>
                <a:ea typeface="Calibri"/>
                <a:cs typeface="Calibri"/>
                <a:sym typeface="Calibri"/>
              </a:defRPr>
            </a:lvl2pPr>
            <a:lvl3pPr marL="1114425" marR="0" lvl="2" indent="-288925" algn="l" rtl="0">
              <a:lnSpc>
                <a:spcPct val="90000"/>
              </a:lnSpc>
              <a:spcBef>
                <a:spcPts val="406"/>
              </a:spcBef>
              <a:spcAft>
                <a:spcPts val="0"/>
              </a:spcAft>
              <a:buClr>
                <a:schemeClr val="dk1"/>
              </a:buClr>
              <a:buSzPts val="2000"/>
              <a:buFont typeface="Arial"/>
              <a:buChar char="•"/>
              <a:defRPr sz="1625" b="0" i="0" u="none" strike="noStrike" cap="none">
                <a:solidFill>
                  <a:schemeClr val="dk1"/>
                </a:solidFill>
                <a:latin typeface="Calibri"/>
                <a:ea typeface="Calibri"/>
                <a:cs typeface="Calibri"/>
                <a:sym typeface="Calibri"/>
              </a:defRPr>
            </a:lvl3pPr>
            <a:lvl4pPr marL="1485900" marR="0" lvl="3"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4pPr>
            <a:lvl5pPr marL="1857375" marR="0" lvl="4"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5pPr>
            <a:lvl6pPr marL="2228850" marR="0" lvl="5"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6pPr>
            <a:lvl7pPr marL="2600325" marR="0" lvl="6"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7pPr>
            <a:lvl8pPr marL="2971800" marR="0" lvl="7"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8pPr>
            <a:lvl9pPr marL="3343275" marR="0" lvl="8"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393250587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3_Title Slide">
  <p:cSld name="3_Title Slide">
    <p:spTree>
      <p:nvGrpSpPr>
        <p:cNvPr id="1" name="Shape 116"/>
        <p:cNvGrpSpPr/>
        <p:nvPr/>
      </p:nvGrpSpPr>
      <p:grpSpPr>
        <a:xfrm>
          <a:off x="0" y="0"/>
          <a:ext cx="0" cy="0"/>
          <a:chOff x="0" y="0"/>
          <a:chExt cx="0" cy="0"/>
        </a:xfrm>
      </p:grpSpPr>
      <p:pic>
        <p:nvPicPr>
          <p:cNvPr id="117" name="Google Shape;117;p18"/>
          <p:cNvPicPr preferRelativeResize="0"/>
          <p:nvPr/>
        </p:nvPicPr>
        <p:blipFill rotWithShape="1">
          <a:blip r:embed="rId2">
            <a:alphaModFix/>
          </a:blip>
          <a:srcRect/>
          <a:stretch/>
        </p:blipFill>
        <p:spPr>
          <a:xfrm>
            <a:off x="1588" y="1588"/>
            <a:ext cx="1588" cy="1588"/>
          </a:xfrm>
          <a:prstGeom prst="rect">
            <a:avLst/>
          </a:prstGeom>
          <a:noFill/>
          <a:ln>
            <a:noFill/>
          </a:ln>
        </p:spPr>
      </p:pic>
      <p:sp>
        <p:nvSpPr>
          <p:cNvPr id="118" name="Google Shape;118;p18"/>
          <p:cNvSpPr txBox="1">
            <a:spLocks noGrp="1"/>
          </p:cNvSpPr>
          <p:nvPr>
            <p:ph type="body" idx="1"/>
          </p:nvPr>
        </p:nvSpPr>
        <p:spPr>
          <a:xfrm>
            <a:off x="450326" y="1008557"/>
            <a:ext cx="4319158" cy="460302"/>
          </a:xfrm>
          <a:prstGeom prst="rect">
            <a:avLst/>
          </a:prstGeom>
          <a:solidFill>
            <a:srgbClr val="3F5F1F"/>
          </a:solidFill>
          <a:ln>
            <a:noFill/>
          </a:ln>
        </p:spPr>
        <p:txBody>
          <a:bodyPr spcFirstLastPara="1" wrap="square" lIns="0" tIns="0" rIns="0" bIns="0" anchor="ctr" anchorCtr="0"/>
          <a:lstStyle>
            <a:lvl1pPr marL="371475" marR="0" lvl="0" indent="-185738" algn="ctr" rtl="0">
              <a:lnSpc>
                <a:spcPct val="90000"/>
              </a:lnSpc>
              <a:spcBef>
                <a:spcPts val="813"/>
              </a:spcBef>
              <a:spcAft>
                <a:spcPts val="0"/>
              </a:spcAft>
              <a:buClr>
                <a:schemeClr val="lt1"/>
              </a:buClr>
              <a:buSzPts val="1600"/>
              <a:buFont typeface="Arial"/>
              <a:buNone/>
              <a:defRPr sz="1300" b="1" i="0" u="none" strike="noStrike" cap="none">
                <a:solidFill>
                  <a:schemeClr val="lt1"/>
                </a:solidFill>
                <a:latin typeface="Arial"/>
                <a:ea typeface="Arial"/>
                <a:cs typeface="Arial"/>
                <a:sym typeface="Arial"/>
              </a:defRPr>
            </a:lvl1pPr>
            <a:lvl2pPr marL="742950" marR="0" lvl="1" indent="-309563" algn="l" rtl="0">
              <a:lnSpc>
                <a:spcPct val="90000"/>
              </a:lnSpc>
              <a:spcBef>
                <a:spcPts val="406"/>
              </a:spcBef>
              <a:spcAft>
                <a:spcPts val="0"/>
              </a:spcAft>
              <a:buClr>
                <a:schemeClr val="dk1"/>
              </a:buClr>
              <a:buSzPts val="2400"/>
              <a:buFont typeface="Arial"/>
              <a:buChar char="•"/>
              <a:defRPr sz="1950" b="0" i="0" u="none" strike="noStrike" cap="none">
                <a:solidFill>
                  <a:schemeClr val="dk1"/>
                </a:solidFill>
                <a:latin typeface="Calibri"/>
                <a:ea typeface="Calibri"/>
                <a:cs typeface="Calibri"/>
                <a:sym typeface="Calibri"/>
              </a:defRPr>
            </a:lvl2pPr>
            <a:lvl3pPr marL="1114425" marR="0" lvl="2" indent="-288925" algn="l" rtl="0">
              <a:lnSpc>
                <a:spcPct val="90000"/>
              </a:lnSpc>
              <a:spcBef>
                <a:spcPts val="406"/>
              </a:spcBef>
              <a:spcAft>
                <a:spcPts val="0"/>
              </a:spcAft>
              <a:buClr>
                <a:schemeClr val="dk1"/>
              </a:buClr>
              <a:buSzPts val="2000"/>
              <a:buFont typeface="Arial"/>
              <a:buChar char="•"/>
              <a:defRPr sz="1625" b="0" i="0" u="none" strike="noStrike" cap="none">
                <a:solidFill>
                  <a:schemeClr val="dk1"/>
                </a:solidFill>
                <a:latin typeface="Calibri"/>
                <a:ea typeface="Calibri"/>
                <a:cs typeface="Calibri"/>
                <a:sym typeface="Calibri"/>
              </a:defRPr>
            </a:lvl3pPr>
            <a:lvl4pPr marL="1485900" marR="0" lvl="3"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4pPr>
            <a:lvl5pPr marL="1857375" marR="0" lvl="4"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5pPr>
            <a:lvl6pPr marL="2228850" marR="0" lvl="5"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6pPr>
            <a:lvl7pPr marL="2600325" marR="0" lvl="6"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7pPr>
            <a:lvl8pPr marL="2971800" marR="0" lvl="7"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8pPr>
            <a:lvl9pPr marL="3343275" marR="0" lvl="8"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9pPr>
          </a:lstStyle>
          <a:p>
            <a:endParaRPr/>
          </a:p>
        </p:txBody>
      </p:sp>
      <p:cxnSp>
        <p:nvCxnSpPr>
          <p:cNvPr id="119" name="Google Shape;119;p18"/>
          <p:cNvCxnSpPr/>
          <p:nvPr/>
        </p:nvCxnSpPr>
        <p:spPr>
          <a:xfrm>
            <a:off x="450323" y="1549540"/>
            <a:ext cx="4308549" cy="0"/>
          </a:xfrm>
          <a:prstGeom prst="straightConnector1">
            <a:avLst/>
          </a:prstGeom>
          <a:noFill/>
          <a:ln w="9525" cap="flat" cmpd="sng">
            <a:solidFill>
              <a:schemeClr val="dk1"/>
            </a:solidFill>
            <a:prstDash val="solid"/>
            <a:miter lim="800000"/>
            <a:headEnd type="none" w="sm" len="sm"/>
            <a:tailEnd type="none" w="sm" len="sm"/>
          </a:ln>
        </p:spPr>
      </p:cxnSp>
      <p:sp>
        <p:nvSpPr>
          <p:cNvPr id="120" name="Google Shape;120;p18"/>
          <p:cNvSpPr txBox="1">
            <a:spLocks noGrp="1"/>
          </p:cNvSpPr>
          <p:nvPr>
            <p:ph type="body" idx="2"/>
          </p:nvPr>
        </p:nvSpPr>
        <p:spPr>
          <a:xfrm>
            <a:off x="450326" y="1644574"/>
            <a:ext cx="4319158" cy="4222236"/>
          </a:xfrm>
          <a:prstGeom prst="rect">
            <a:avLst/>
          </a:prstGeom>
          <a:noFill/>
          <a:ln>
            <a:noFill/>
          </a:ln>
        </p:spPr>
        <p:txBody>
          <a:bodyPr spcFirstLastPara="1" wrap="square" lIns="0" tIns="0" rIns="0" bIns="0" anchor="t" anchorCtr="0"/>
          <a:lstStyle>
            <a:lvl1pPr marL="371475" marR="0" lvl="0" indent="-257969" algn="l" rtl="0">
              <a:lnSpc>
                <a:spcPct val="90000"/>
              </a:lnSpc>
              <a:spcBef>
                <a:spcPts val="813"/>
              </a:spcBef>
              <a:spcAft>
                <a:spcPts val="0"/>
              </a:spcAft>
              <a:buClr>
                <a:schemeClr val="dk1"/>
              </a:buClr>
              <a:buSzPts val="1400"/>
              <a:buFont typeface="Arial"/>
              <a:buChar char="•"/>
              <a:defRPr sz="1138" b="0" i="0" u="none" strike="noStrike" cap="none">
                <a:solidFill>
                  <a:schemeClr val="dk1"/>
                </a:solidFill>
                <a:latin typeface="Arial"/>
                <a:ea typeface="Arial"/>
                <a:cs typeface="Arial"/>
                <a:sym typeface="Arial"/>
              </a:defRPr>
            </a:lvl1pPr>
            <a:lvl2pPr marL="742950" marR="0" lvl="1" indent="-247650" algn="l" rtl="0">
              <a:lnSpc>
                <a:spcPct val="90000"/>
              </a:lnSpc>
              <a:spcBef>
                <a:spcPts val="406"/>
              </a:spcBef>
              <a:spcAft>
                <a:spcPts val="0"/>
              </a:spcAft>
              <a:buClr>
                <a:schemeClr val="dk1"/>
              </a:buClr>
              <a:buSzPts val="1200"/>
              <a:buFont typeface="Noto Sans Symbols"/>
              <a:buChar char="✓"/>
              <a:defRPr sz="975" b="0" i="0" u="none" strike="noStrike" cap="none">
                <a:solidFill>
                  <a:schemeClr val="dk1"/>
                </a:solidFill>
                <a:latin typeface="Arial"/>
                <a:ea typeface="Arial"/>
                <a:cs typeface="Arial"/>
                <a:sym typeface="Arial"/>
              </a:defRPr>
            </a:lvl2pPr>
            <a:lvl3pPr marL="1114425" marR="0" lvl="2" indent="-247650" algn="l" rtl="0">
              <a:lnSpc>
                <a:spcPct val="90000"/>
              </a:lnSpc>
              <a:spcBef>
                <a:spcPts val="406"/>
              </a:spcBef>
              <a:spcAft>
                <a:spcPts val="0"/>
              </a:spcAft>
              <a:buClr>
                <a:schemeClr val="dk1"/>
              </a:buClr>
              <a:buSzPts val="1200"/>
              <a:buFont typeface="Courier New"/>
              <a:buChar char="o"/>
              <a:defRPr sz="975" b="0" i="0" u="none" strike="noStrike" cap="none">
                <a:solidFill>
                  <a:schemeClr val="dk1"/>
                </a:solidFill>
                <a:latin typeface="Arial"/>
                <a:ea typeface="Arial"/>
                <a:cs typeface="Arial"/>
                <a:sym typeface="Arial"/>
              </a:defRPr>
            </a:lvl3pPr>
            <a:lvl4pPr marL="1485900" marR="0" lvl="3" indent="-247650" algn="l" rtl="0">
              <a:lnSpc>
                <a:spcPct val="90000"/>
              </a:lnSpc>
              <a:spcBef>
                <a:spcPts val="406"/>
              </a:spcBef>
              <a:spcAft>
                <a:spcPts val="0"/>
              </a:spcAft>
              <a:buClr>
                <a:schemeClr val="dk1"/>
              </a:buClr>
              <a:buSzPts val="1200"/>
              <a:buFont typeface="Noto Sans Symbols"/>
              <a:buChar char="➢"/>
              <a:defRPr sz="975" b="0" i="0" u="none" strike="noStrike" cap="none">
                <a:solidFill>
                  <a:schemeClr val="dk1"/>
                </a:solidFill>
                <a:latin typeface="Arial"/>
                <a:ea typeface="Arial"/>
                <a:cs typeface="Arial"/>
                <a:sym typeface="Arial"/>
              </a:defRPr>
            </a:lvl4pPr>
            <a:lvl5pPr marL="1857375" marR="0" lvl="4"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5pPr>
            <a:lvl6pPr marL="2228850" marR="0" lvl="5"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6pPr>
            <a:lvl7pPr marL="2600325" marR="0" lvl="6"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7pPr>
            <a:lvl8pPr marL="2971800" marR="0" lvl="7"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8pPr>
            <a:lvl9pPr marL="3343275" marR="0" lvl="8"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9pPr>
          </a:lstStyle>
          <a:p>
            <a:endParaRPr/>
          </a:p>
        </p:txBody>
      </p:sp>
      <p:sp>
        <p:nvSpPr>
          <p:cNvPr id="121" name="Google Shape;121;p18"/>
          <p:cNvSpPr txBox="1">
            <a:spLocks noGrp="1"/>
          </p:cNvSpPr>
          <p:nvPr>
            <p:ph type="body" idx="3"/>
          </p:nvPr>
        </p:nvSpPr>
        <p:spPr>
          <a:xfrm>
            <a:off x="5151120" y="1009149"/>
            <a:ext cx="4304296" cy="460302"/>
          </a:xfrm>
          <a:prstGeom prst="rect">
            <a:avLst/>
          </a:prstGeom>
          <a:solidFill>
            <a:srgbClr val="3F5F1F"/>
          </a:solidFill>
          <a:ln>
            <a:noFill/>
          </a:ln>
        </p:spPr>
        <p:txBody>
          <a:bodyPr spcFirstLastPara="1" wrap="square" lIns="0" tIns="0" rIns="0" bIns="0" anchor="ctr" anchorCtr="0"/>
          <a:lstStyle>
            <a:lvl1pPr marL="371475" marR="0" lvl="0" indent="-185738" algn="ctr" rtl="0">
              <a:lnSpc>
                <a:spcPct val="90000"/>
              </a:lnSpc>
              <a:spcBef>
                <a:spcPts val="813"/>
              </a:spcBef>
              <a:spcAft>
                <a:spcPts val="0"/>
              </a:spcAft>
              <a:buClr>
                <a:schemeClr val="lt1"/>
              </a:buClr>
              <a:buSzPts val="1600"/>
              <a:buFont typeface="Arial"/>
              <a:buNone/>
              <a:defRPr sz="1300" b="1" i="0" u="none" strike="noStrike" cap="none">
                <a:solidFill>
                  <a:schemeClr val="lt1"/>
                </a:solidFill>
                <a:latin typeface="Arial"/>
                <a:ea typeface="Arial"/>
                <a:cs typeface="Arial"/>
                <a:sym typeface="Arial"/>
              </a:defRPr>
            </a:lvl1pPr>
            <a:lvl2pPr marL="742950" marR="0" lvl="1" indent="-309563" algn="l" rtl="0">
              <a:lnSpc>
                <a:spcPct val="90000"/>
              </a:lnSpc>
              <a:spcBef>
                <a:spcPts val="406"/>
              </a:spcBef>
              <a:spcAft>
                <a:spcPts val="0"/>
              </a:spcAft>
              <a:buClr>
                <a:schemeClr val="dk1"/>
              </a:buClr>
              <a:buSzPts val="2400"/>
              <a:buFont typeface="Arial"/>
              <a:buChar char="•"/>
              <a:defRPr sz="1950" b="0" i="0" u="none" strike="noStrike" cap="none">
                <a:solidFill>
                  <a:schemeClr val="dk1"/>
                </a:solidFill>
                <a:latin typeface="Calibri"/>
                <a:ea typeface="Calibri"/>
                <a:cs typeface="Calibri"/>
                <a:sym typeface="Calibri"/>
              </a:defRPr>
            </a:lvl2pPr>
            <a:lvl3pPr marL="1114425" marR="0" lvl="2" indent="-288925" algn="l" rtl="0">
              <a:lnSpc>
                <a:spcPct val="90000"/>
              </a:lnSpc>
              <a:spcBef>
                <a:spcPts val="406"/>
              </a:spcBef>
              <a:spcAft>
                <a:spcPts val="0"/>
              </a:spcAft>
              <a:buClr>
                <a:schemeClr val="dk1"/>
              </a:buClr>
              <a:buSzPts val="2000"/>
              <a:buFont typeface="Arial"/>
              <a:buChar char="•"/>
              <a:defRPr sz="1625" b="0" i="0" u="none" strike="noStrike" cap="none">
                <a:solidFill>
                  <a:schemeClr val="dk1"/>
                </a:solidFill>
                <a:latin typeface="Calibri"/>
                <a:ea typeface="Calibri"/>
                <a:cs typeface="Calibri"/>
                <a:sym typeface="Calibri"/>
              </a:defRPr>
            </a:lvl3pPr>
            <a:lvl4pPr marL="1485900" marR="0" lvl="3"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4pPr>
            <a:lvl5pPr marL="1857375" marR="0" lvl="4"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5pPr>
            <a:lvl6pPr marL="2228850" marR="0" lvl="5"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6pPr>
            <a:lvl7pPr marL="2600325" marR="0" lvl="6"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7pPr>
            <a:lvl8pPr marL="2971800" marR="0" lvl="7"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8pPr>
            <a:lvl9pPr marL="3343275" marR="0" lvl="8"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9pPr>
          </a:lstStyle>
          <a:p>
            <a:endParaRPr/>
          </a:p>
        </p:txBody>
      </p:sp>
      <p:cxnSp>
        <p:nvCxnSpPr>
          <p:cNvPr id="122" name="Google Shape;122;p18"/>
          <p:cNvCxnSpPr/>
          <p:nvPr/>
        </p:nvCxnSpPr>
        <p:spPr>
          <a:xfrm>
            <a:off x="5151121" y="1550132"/>
            <a:ext cx="4304297" cy="0"/>
          </a:xfrm>
          <a:prstGeom prst="straightConnector1">
            <a:avLst/>
          </a:prstGeom>
          <a:noFill/>
          <a:ln w="9525" cap="flat" cmpd="sng">
            <a:solidFill>
              <a:schemeClr val="dk1"/>
            </a:solidFill>
            <a:prstDash val="solid"/>
            <a:miter lim="800000"/>
            <a:headEnd type="none" w="sm" len="sm"/>
            <a:tailEnd type="none" w="sm" len="sm"/>
          </a:ln>
        </p:spPr>
      </p:cxnSp>
      <p:sp>
        <p:nvSpPr>
          <p:cNvPr id="123" name="Google Shape;123;p18"/>
          <p:cNvSpPr txBox="1">
            <a:spLocks noGrp="1"/>
          </p:cNvSpPr>
          <p:nvPr>
            <p:ph type="body" idx="4"/>
          </p:nvPr>
        </p:nvSpPr>
        <p:spPr>
          <a:xfrm>
            <a:off x="5151120" y="1645165"/>
            <a:ext cx="4304296" cy="4222236"/>
          </a:xfrm>
          <a:prstGeom prst="rect">
            <a:avLst/>
          </a:prstGeom>
          <a:noFill/>
          <a:ln>
            <a:noFill/>
          </a:ln>
        </p:spPr>
        <p:txBody>
          <a:bodyPr spcFirstLastPara="1" wrap="square" lIns="0" tIns="0" rIns="0" bIns="0" anchor="t" anchorCtr="0"/>
          <a:lstStyle>
            <a:lvl1pPr marL="371475" marR="0" lvl="0" indent="-252397" algn="l" rtl="0">
              <a:lnSpc>
                <a:spcPct val="90000"/>
              </a:lnSpc>
              <a:spcBef>
                <a:spcPts val="813"/>
              </a:spcBef>
              <a:spcAft>
                <a:spcPts val="0"/>
              </a:spcAft>
              <a:buClr>
                <a:schemeClr val="dk1"/>
              </a:buClr>
              <a:buSzPts val="1292"/>
              <a:buFont typeface="Arial"/>
              <a:buChar char="•"/>
              <a:defRPr sz="1050" b="0" i="0" u="none" strike="noStrike" cap="none">
                <a:solidFill>
                  <a:schemeClr val="dk1"/>
                </a:solidFill>
                <a:latin typeface="Arial"/>
                <a:ea typeface="Arial"/>
                <a:cs typeface="Arial"/>
                <a:sym typeface="Arial"/>
              </a:defRPr>
            </a:lvl1pPr>
            <a:lvl2pPr marL="742950" marR="0" lvl="1" indent="-242903" algn="l" rtl="0">
              <a:lnSpc>
                <a:spcPct val="90000"/>
              </a:lnSpc>
              <a:spcBef>
                <a:spcPts val="406"/>
              </a:spcBef>
              <a:spcAft>
                <a:spcPts val="0"/>
              </a:spcAft>
              <a:buClr>
                <a:schemeClr val="dk1"/>
              </a:buClr>
              <a:buSzPts val="1108"/>
              <a:buFont typeface="Noto Sans Symbols"/>
              <a:buChar char="✓"/>
              <a:defRPr sz="900" b="0" i="0" u="none" strike="noStrike" cap="none">
                <a:solidFill>
                  <a:schemeClr val="dk1"/>
                </a:solidFill>
                <a:latin typeface="Arial"/>
                <a:ea typeface="Arial"/>
                <a:cs typeface="Arial"/>
                <a:sym typeface="Arial"/>
              </a:defRPr>
            </a:lvl2pPr>
            <a:lvl3pPr marL="1114425" marR="0" lvl="2" indent="-242903" algn="l" rtl="0">
              <a:lnSpc>
                <a:spcPct val="90000"/>
              </a:lnSpc>
              <a:spcBef>
                <a:spcPts val="406"/>
              </a:spcBef>
              <a:spcAft>
                <a:spcPts val="0"/>
              </a:spcAft>
              <a:buClr>
                <a:schemeClr val="dk1"/>
              </a:buClr>
              <a:buSzPts val="1108"/>
              <a:buFont typeface="Courier New"/>
              <a:buChar char="o"/>
              <a:defRPr sz="900" b="0" i="0" u="none" strike="noStrike" cap="none">
                <a:solidFill>
                  <a:schemeClr val="dk1"/>
                </a:solidFill>
                <a:latin typeface="Arial"/>
                <a:ea typeface="Arial"/>
                <a:cs typeface="Arial"/>
                <a:sym typeface="Arial"/>
              </a:defRPr>
            </a:lvl3pPr>
            <a:lvl4pPr marL="1485900" marR="0" lvl="3" indent="-242903" algn="l" rtl="0">
              <a:lnSpc>
                <a:spcPct val="90000"/>
              </a:lnSpc>
              <a:spcBef>
                <a:spcPts val="406"/>
              </a:spcBef>
              <a:spcAft>
                <a:spcPts val="0"/>
              </a:spcAft>
              <a:buClr>
                <a:schemeClr val="dk1"/>
              </a:buClr>
              <a:buSzPts val="1108"/>
              <a:buFont typeface="Noto Sans Symbols"/>
              <a:buChar char="➢"/>
              <a:defRPr sz="900" b="0" i="0" u="none" strike="noStrike" cap="none">
                <a:solidFill>
                  <a:schemeClr val="dk1"/>
                </a:solidFill>
                <a:latin typeface="Arial"/>
                <a:ea typeface="Arial"/>
                <a:cs typeface="Arial"/>
                <a:sym typeface="Arial"/>
              </a:defRPr>
            </a:lvl4pPr>
            <a:lvl5pPr marL="1857375" marR="0" lvl="4"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5pPr>
            <a:lvl6pPr marL="2228850" marR="0" lvl="5"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6pPr>
            <a:lvl7pPr marL="2600325" marR="0" lvl="6"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7pPr>
            <a:lvl8pPr marL="2971800" marR="0" lvl="7"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8pPr>
            <a:lvl9pPr marL="3343275" marR="0" lvl="8"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9pPr>
          </a:lstStyle>
          <a:p>
            <a:endParaRPr/>
          </a:p>
        </p:txBody>
      </p:sp>
      <p:sp>
        <p:nvSpPr>
          <p:cNvPr id="124" name="Google Shape;124;p18"/>
          <p:cNvSpPr txBox="1">
            <a:spLocks noGrp="1"/>
          </p:cNvSpPr>
          <p:nvPr>
            <p:ph type="body" idx="5"/>
          </p:nvPr>
        </p:nvSpPr>
        <p:spPr>
          <a:xfrm>
            <a:off x="450589" y="6055247"/>
            <a:ext cx="7702813" cy="386679"/>
          </a:xfrm>
          <a:prstGeom prst="rect">
            <a:avLst/>
          </a:prstGeom>
          <a:noFill/>
          <a:ln>
            <a:noFill/>
          </a:ln>
        </p:spPr>
        <p:txBody>
          <a:bodyPr spcFirstLastPara="1" wrap="square" lIns="0" tIns="0" rIns="0" bIns="0" anchor="b" anchorCtr="0"/>
          <a:lstStyle>
            <a:lvl1pPr marL="371475" marR="0" lvl="0" indent="-185738" algn="l" rtl="0">
              <a:lnSpc>
                <a:spcPct val="90000"/>
              </a:lnSpc>
              <a:spcBef>
                <a:spcPts val="813"/>
              </a:spcBef>
              <a:spcAft>
                <a:spcPts val="0"/>
              </a:spcAft>
              <a:buClr>
                <a:schemeClr val="dk1"/>
              </a:buClr>
              <a:buSzPts val="923"/>
              <a:buFont typeface="Arial"/>
              <a:buNone/>
              <a:defRPr sz="749" b="0" i="0" u="none" strike="noStrike" cap="none">
                <a:solidFill>
                  <a:schemeClr val="dk1"/>
                </a:solidFill>
                <a:latin typeface="Arial"/>
                <a:ea typeface="Arial"/>
                <a:cs typeface="Arial"/>
                <a:sym typeface="Arial"/>
              </a:defRPr>
            </a:lvl1pPr>
            <a:lvl2pPr marL="742950" marR="0" lvl="1" indent="-309563" algn="l" rtl="0">
              <a:lnSpc>
                <a:spcPct val="90000"/>
              </a:lnSpc>
              <a:spcBef>
                <a:spcPts val="406"/>
              </a:spcBef>
              <a:spcAft>
                <a:spcPts val="0"/>
              </a:spcAft>
              <a:buClr>
                <a:schemeClr val="dk1"/>
              </a:buClr>
              <a:buSzPts val="2400"/>
              <a:buFont typeface="Arial"/>
              <a:buChar char="•"/>
              <a:defRPr sz="1950" b="0" i="0" u="none" strike="noStrike" cap="none">
                <a:solidFill>
                  <a:schemeClr val="dk1"/>
                </a:solidFill>
                <a:latin typeface="Calibri"/>
                <a:ea typeface="Calibri"/>
                <a:cs typeface="Calibri"/>
                <a:sym typeface="Calibri"/>
              </a:defRPr>
            </a:lvl2pPr>
            <a:lvl3pPr marL="1114425" marR="0" lvl="2" indent="-288925" algn="l" rtl="0">
              <a:lnSpc>
                <a:spcPct val="90000"/>
              </a:lnSpc>
              <a:spcBef>
                <a:spcPts val="406"/>
              </a:spcBef>
              <a:spcAft>
                <a:spcPts val="0"/>
              </a:spcAft>
              <a:buClr>
                <a:schemeClr val="dk1"/>
              </a:buClr>
              <a:buSzPts val="2000"/>
              <a:buFont typeface="Arial"/>
              <a:buChar char="•"/>
              <a:defRPr sz="1625" b="0" i="0" u="none" strike="noStrike" cap="none">
                <a:solidFill>
                  <a:schemeClr val="dk1"/>
                </a:solidFill>
                <a:latin typeface="Calibri"/>
                <a:ea typeface="Calibri"/>
                <a:cs typeface="Calibri"/>
                <a:sym typeface="Calibri"/>
              </a:defRPr>
            </a:lvl3pPr>
            <a:lvl4pPr marL="1485900" marR="0" lvl="3"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4pPr>
            <a:lvl5pPr marL="1857375" marR="0" lvl="4"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5pPr>
            <a:lvl6pPr marL="2228850" marR="0" lvl="5"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6pPr>
            <a:lvl7pPr marL="2600325" marR="0" lvl="6"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7pPr>
            <a:lvl8pPr marL="2971800" marR="0" lvl="7"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8pPr>
            <a:lvl9pPr marL="3343275" marR="0" lvl="8"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9pPr>
          </a:lstStyle>
          <a:p>
            <a:endParaRPr/>
          </a:p>
        </p:txBody>
      </p:sp>
      <p:sp>
        <p:nvSpPr>
          <p:cNvPr id="125" name="Google Shape;125;p18"/>
          <p:cNvSpPr txBox="1">
            <a:spLocks noGrp="1"/>
          </p:cNvSpPr>
          <p:nvPr>
            <p:ph type="title"/>
          </p:nvPr>
        </p:nvSpPr>
        <p:spPr>
          <a:xfrm>
            <a:off x="450742" y="134056"/>
            <a:ext cx="7245459" cy="582389"/>
          </a:xfrm>
          <a:prstGeom prst="rect">
            <a:avLst/>
          </a:prstGeom>
          <a:noFill/>
          <a:ln>
            <a:noFill/>
          </a:ln>
        </p:spPr>
        <p:txBody>
          <a:bodyPr spcFirstLastPara="1" wrap="square" lIns="0" tIns="0" rIns="0" bIns="0" anchor="b" anchorCtr="0"/>
          <a:lstStyle>
            <a:lvl1pPr marR="0" lvl="0" algn="l" rtl="0">
              <a:lnSpc>
                <a:spcPct val="90000"/>
              </a:lnSpc>
              <a:spcBef>
                <a:spcPts val="0"/>
              </a:spcBef>
              <a:spcAft>
                <a:spcPts val="0"/>
              </a:spcAft>
              <a:buClr>
                <a:schemeClr val="dk1"/>
              </a:buClr>
              <a:buSzPts val="2200"/>
              <a:buFont typeface="Arial"/>
              <a:buNone/>
              <a:defRPr sz="1788" b="1" i="0" u="none" strike="noStrike" cap="none">
                <a:solidFill>
                  <a:schemeClr val="dk1"/>
                </a:solidFill>
                <a:latin typeface="Arial"/>
                <a:ea typeface="Arial"/>
                <a:cs typeface="Arial"/>
                <a:sym typeface="Arial"/>
              </a:defRPr>
            </a:lvl1pPr>
            <a:lvl2pPr lvl="1">
              <a:spcBef>
                <a:spcPts val="0"/>
              </a:spcBef>
              <a:spcAft>
                <a:spcPts val="0"/>
              </a:spcAft>
              <a:buSzPts val="1400"/>
              <a:buNone/>
              <a:defRPr sz="1463"/>
            </a:lvl2pPr>
            <a:lvl3pPr lvl="2">
              <a:spcBef>
                <a:spcPts val="0"/>
              </a:spcBef>
              <a:spcAft>
                <a:spcPts val="0"/>
              </a:spcAft>
              <a:buSzPts val="1400"/>
              <a:buNone/>
              <a:defRPr sz="1463"/>
            </a:lvl3pPr>
            <a:lvl4pPr lvl="3">
              <a:spcBef>
                <a:spcPts val="0"/>
              </a:spcBef>
              <a:spcAft>
                <a:spcPts val="0"/>
              </a:spcAft>
              <a:buSzPts val="1400"/>
              <a:buNone/>
              <a:defRPr sz="1463"/>
            </a:lvl4pPr>
            <a:lvl5pPr lvl="4">
              <a:spcBef>
                <a:spcPts val="0"/>
              </a:spcBef>
              <a:spcAft>
                <a:spcPts val="0"/>
              </a:spcAft>
              <a:buSzPts val="1400"/>
              <a:buNone/>
              <a:defRPr sz="1463"/>
            </a:lvl5pPr>
            <a:lvl6pPr lvl="5">
              <a:spcBef>
                <a:spcPts val="0"/>
              </a:spcBef>
              <a:spcAft>
                <a:spcPts val="0"/>
              </a:spcAft>
              <a:buSzPts val="1400"/>
              <a:buNone/>
              <a:defRPr sz="1463"/>
            </a:lvl6pPr>
            <a:lvl7pPr lvl="6">
              <a:spcBef>
                <a:spcPts val="0"/>
              </a:spcBef>
              <a:spcAft>
                <a:spcPts val="0"/>
              </a:spcAft>
              <a:buSzPts val="1400"/>
              <a:buNone/>
              <a:defRPr sz="1463"/>
            </a:lvl7pPr>
            <a:lvl8pPr lvl="7">
              <a:spcBef>
                <a:spcPts val="0"/>
              </a:spcBef>
              <a:spcAft>
                <a:spcPts val="0"/>
              </a:spcAft>
              <a:buSzPts val="1400"/>
              <a:buNone/>
              <a:defRPr sz="1463"/>
            </a:lvl8pPr>
            <a:lvl9pPr lvl="8">
              <a:spcBef>
                <a:spcPts val="0"/>
              </a:spcBef>
              <a:spcAft>
                <a:spcPts val="0"/>
              </a:spcAft>
              <a:buSzPts val="1400"/>
              <a:buNone/>
              <a:defRPr sz="1463"/>
            </a:lvl9pPr>
          </a:lstStyle>
          <a:p>
            <a:endParaRPr/>
          </a:p>
        </p:txBody>
      </p:sp>
    </p:spTree>
    <p:extLst>
      <p:ext uri="{BB962C8B-B14F-4D97-AF65-F5344CB8AC3E}">
        <p14:creationId xmlns:p14="http://schemas.microsoft.com/office/powerpoint/2010/main" val="165254120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6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3" y="3"/>
          <a:ext cx="156345" cy="140074"/>
        </p:xfrm>
        <a:graphic>
          <a:graphicData uri="http://schemas.openxmlformats.org/presentationml/2006/ole">
            <mc:AlternateContent xmlns:mc="http://schemas.openxmlformats.org/markup-compatibility/2006">
              <mc:Choice xmlns:v="urn:schemas-microsoft-com:vml" Requires="v">
                <p:oleObj spid="_x0000_s104462"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userDrawn="1">
            <p:custDataLst>
              <p:tags r:id="rId3"/>
            </p:custDataLst>
          </p:nvPr>
        </p:nvSpPr>
        <p:spPr>
          <a:xfrm>
            <a:off x="1"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1650" b="1" dirty="0">
              <a:solidFill>
                <a:srgbClr val="FFFFFF"/>
              </a:solidFill>
              <a:latin typeface="Calibri" panose="020F0502020204030204" pitchFamily="34" charset="0"/>
              <a:cs typeface="Arial" panose="020B0604020202020204" pitchFamily="34" charset="0"/>
              <a:sym typeface="Calibri" panose="020F0502020204030204" pitchFamily="34" charset="0"/>
            </a:endParaRPr>
          </a:p>
        </p:txBody>
      </p:sp>
      <p:sp>
        <p:nvSpPr>
          <p:cNvPr id="6" name="Title 1"/>
          <p:cNvSpPr>
            <a:spLocks noGrp="1"/>
          </p:cNvSpPr>
          <p:nvPr>
            <p:ph type="title"/>
          </p:nvPr>
        </p:nvSpPr>
        <p:spPr>
          <a:xfrm>
            <a:off x="450742" y="134058"/>
            <a:ext cx="7245459" cy="582389"/>
          </a:xfrm>
          <a:prstGeom prst="rect">
            <a:avLst/>
          </a:prstGeom>
        </p:spPr>
        <p:txBody>
          <a:bodyPr lIns="0" tIns="0" rIns="0" bIns="0" anchor="b"/>
          <a:lstStyle>
            <a:lvl1pPr marL="0" marR="0" indent="0" algn="l" defTabSz="685813" rtl="0" eaLnBrk="1" fontAlgn="auto" latinLnBrk="0" hangingPunct="1">
              <a:lnSpc>
                <a:spcPct val="90000"/>
              </a:lnSpc>
              <a:spcBef>
                <a:spcPct val="0"/>
              </a:spcBef>
              <a:spcAft>
                <a:spcPts val="0"/>
              </a:spcAft>
              <a:buClrTx/>
              <a:buSzTx/>
              <a:buFontTx/>
              <a:buNone/>
              <a:tabLst/>
              <a:defRPr lang="en-US" sz="1650" b="1" smtClean="0">
                <a:solidFill>
                  <a:schemeClr val="tx1"/>
                </a:solidFill>
                <a:latin typeface="Arial" panose="020B0604020202020204" pitchFamily="34" charset="0"/>
                <a:cs typeface="Arial" panose="020B0604020202020204" pitchFamily="34" charset="0"/>
              </a:defRPr>
            </a:lvl1pPr>
          </a:lstStyle>
          <a:p>
            <a:r>
              <a:rPr lang="en-US" sz="165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312796534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5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2" y="3"/>
          <a:ext cx="156345" cy="140074"/>
        </p:xfrm>
        <a:graphic>
          <a:graphicData uri="http://schemas.openxmlformats.org/presentationml/2006/ole">
            <mc:AlternateContent xmlns:mc="http://schemas.openxmlformats.org/markup-compatibility/2006">
              <mc:Choice xmlns:v="urn:schemas-microsoft-com:vml" Requires="v">
                <p:oleObj spid="_x0000_s105486"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userDrawn="1">
            <p:custDataLst>
              <p:tags r:id="rId3"/>
            </p:custDataLst>
          </p:nvPr>
        </p:nvSpPr>
        <p:spPr>
          <a:xfrm>
            <a:off x="1"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742863">
              <a:lnSpc>
                <a:spcPct val="90000"/>
              </a:lnSpc>
              <a:spcBef>
                <a:spcPct val="0"/>
              </a:spcBef>
              <a:spcAft>
                <a:spcPct val="0"/>
              </a:spcAft>
              <a:buClrTx/>
              <a:buFontTx/>
              <a:buNone/>
            </a:pPr>
            <a:endParaRPr lang="en-US" sz="1788" b="1" kern="1200" dirty="0">
              <a:solidFill>
                <a:prstClr val="white"/>
              </a:solidFill>
              <a:cs typeface="Arial" panose="020B0604020202020204" pitchFamily="34" charset="0"/>
              <a:sym typeface="Calibri" panose="020F0502020204030204" pitchFamily="34" charset="0"/>
            </a:endParaRPr>
          </a:p>
        </p:txBody>
      </p:sp>
      <p:sp>
        <p:nvSpPr>
          <p:cNvPr id="6" name="Title 1"/>
          <p:cNvSpPr>
            <a:spLocks noGrp="1"/>
          </p:cNvSpPr>
          <p:nvPr>
            <p:ph type="title"/>
          </p:nvPr>
        </p:nvSpPr>
        <p:spPr>
          <a:xfrm>
            <a:off x="450742" y="134056"/>
            <a:ext cx="7245459" cy="582389"/>
          </a:xfrm>
          <a:prstGeom prst="rect">
            <a:avLst/>
          </a:prstGeom>
        </p:spPr>
        <p:txBody>
          <a:bodyPr lIns="0" tIns="0" rIns="0" bIns="0" anchor="b"/>
          <a:lstStyle>
            <a:lvl1pPr marL="0" marR="0" indent="0" algn="l" defTabSz="742946" rtl="0" eaLnBrk="1" fontAlgn="auto" latinLnBrk="0" hangingPunct="1">
              <a:lnSpc>
                <a:spcPct val="90000"/>
              </a:lnSpc>
              <a:spcBef>
                <a:spcPct val="0"/>
              </a:spcBef>
              <a:spcAft>
                <a:spcPts val="0"/>
              </a:spcAft>
              <a:buClrTx/>
              <a:buSzTx/>
              <a:buFontTx/>
              <a:buNone/>
              <a:tabLst/>
              <a:defRPr lang="en-US" sz="1788" b="1" smtClean="0">
                <a:solidFill>
                  <a:schemeClr val="tx1"/>
                </a:solidFill>
                <a:latin typeface="Arial" panose="020B0604020202020204" pitchFamily="34" charset="0"/>
                <a:cs typeface="Arial" panose="020B0604020202020204" pitchFamily="34" charset="0"/>
              </a:defRPr>
            </a:lvl1pPr>
          </a:lstStyle>
          <a:p>
            <a:r>
              <a:rPr lang="en-US" sz="1788"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421473921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spid="_x0000_s106510" name="think-cell Slide" r:id="rId5" imgW="470" imgH="469" progId="TCLayout.ActiveDocument.1">
                  <p:embed/>
                </p:oleObj>
              </mc:Choice>
              <mc:Fallback>
                <p:oleObj name="think-cell Slide" r:id="rId5" imgW="470" imgH="469" progId="TCLayout.ActiveDocument.1">
                  <p:embed/>
                  <p:pic>
                    <p:nvPicPr>
                      <p:cNvPr id="6" name="Object 5" hidden="1"/>
                      <p:cNvPicPr/>
                      <p:nvPr/>
                    </p:nvPicPr>
                    <p:blipFill>
                      <a:blip r:embed="rId6"/>
                      <a:stretch>
                        <a:fillRect/>
                      </a:stretch>
                    </p:blipFill>
                    <p:spPr>
                      <a:xfrm>
                        <a:off x="1722" y="1591"/>
                        <a:ext cx="1719" cy="1587"/>
                      </a:xfrm>
                      <a:prstGeom prst="rect">
                        <a:avLst/>
                      </a:prstGeom>
                    </p:spPr>
                  </p:pic>
                </p:oleObj>
              </mc:Fallback>
            </mc:AlternateContent>
          </a:graphicData>
        </a:graphic>
      </p:graphicFrame>
      <p:sp>
        <p:nvSpPr>
          <p:cNvPr id="10"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300" kern="1200" dirty="0">
              <a:solidFill>
                <a:srgbClr val="000000"/>
              </a:solidFill>
            </a:endParaRPr>
          </a:p>
        </p:txBody>
      </p:sp>
      <p:sp>
        <p:nvSpPr>
          <p:cNvPr id="2" name="McK 2. Slide Title"/>
          <p:cNvSpPr>
            <a:spLocks noGrp="1"/>
          </p:cNvSpPr>
          <p:nvPr>
            <p:ph type="title"/>
          </p:nvPr>
        </p:nvSpPr>
        <p:spPr>
          <a:xfrm>
            <a:off x="247650" y="404013"/>
            <a:ext cx="8007350" cy="276999"/>
          </a:xfrm>
          <a:prstGeom prst="rect">
            <a:avLst/>
          </a:prstGeom>
        </p:spPr>
        <p:txBody>
          <a:bodyPr/>
          <a:lstStyle>
            <a:lvl1pPr>
              <a:defRPr sz="1463"/>
            </a:lvl1pPr>
          </a:lstStyle>
          <a:p>
            <a:r>
              <a:rPr lang="en-US" dirty="0"/>
              <a:t>Click to edit Master title style</a:t>
            </a:r>
          </a:p>
        </p:txBody>
      </p:sp>
    </p:spTree>
    <p:extLst>
      <p:ext uri="{BB962C8B-B14F-4D97-AF65-F5344CB8AC3E}">
        <p14:creationId xmlns:p14="http://schemas.microsoft.com/office/powerpoint/2010/main" val="248063530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2" y="3"/>
          <a:ext cx="156345" cy="140074"/>
        </p:xfrm>
        <a:graphic>
          <a:graphicData uri="http://schemas.openxmlformats.org/presentationml/2006/ole">
            <mc:AlternateContent xmlns:mc="http://schemas.openxmlformats.org/markup-compatibility/2006">
              <mc:Choice xmlns:v="urn:schemas-microsoft-com:vml" Requires="v">
                <p:oleObj spid="_x0000_s107534"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
          <p:cNvSpPr>
            <a:spLocks noGrp="1"/>
          </p:cNvSpPr>
          <p:nvPr>
            <p:ph type="title"/>
          </p:nvPr>
        </p:nvSpPr>
        <p:spPr>
          <a:xfrm>
            <a:off x="273320" y="284186"/>
            <a:ext cx="7639159" cy="582389"/>
          </a:xfrm>
          <a:prstGeom prst="rect">
            <a:avLst/>
          </a:prstGeom>
        </p:spPr>
        <p:txBody>
          <a:bodyPr lIns="0" tIns="0" rIns="0" bIns="0" anchor="b"/>
          <a:lstStyle>
            <a:lvl1pPr marL="0" marR="0" indent="0" algn="l" defTabSz="685817" rtl="0" eaLnBrk="1" fontAlgn="auto" latinLnBrk="0" hangingPunct="1">
              <a:lnSpc>
                <a:spcPct val="90000"/>
              </a:lnSpc>
              <a:spcBef>
                <a:spcPct val="0"/>
              </a:spcBef>
              <a:spcAft>
                <a:spcPts val="0"/>
              </a:spcAft>
              <a:buClrTx/>
              <a:buSzTx/>
              <a:buFontTx/>
              <a:buNone/>
              <a:tabLst/>
              <a:defRPr lang="en-US" sz="1650" b="1" smtClean="0">
                <a:solidFill>
                  <a:schemeClr val="tx1"/>
                </a:solidFill>
                <a:latin typeface="+mn-lt"/>
              </a:defRPr>
            </a:lvl1pPr>
          </a:lstStyle>
          <a:p>
            <a:r>
              <a:rPr lang="en-US" sz="1650" b="1" dirty="0">
                <a:solidFill>
                  <a:schemeClr val="tx1"/>
                </a:solidFill>
                <a:latin typeface="+mn-lt"/>
              </a:rPr>
              <a:t>Click to edit Master title style</a:t>
            </a:r>
            <a:endParaRPr lang="en-US" dirty="0"/>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222318" y="174390"/>
            <a:ext cx="1507886" cy="466473"/>
          </a:xfrm>
          <a:prstGeom prst="rect">
            <a:avLst/>
          </a:prstGeom>
        </p:spPr>
      </p:pic>
      <p:sp>
        <p:nvSpPr>
          <p:cNvPr id="9" name="Slide Number Placeholder 5"/>
          <p:cNvSpPr txBox="1">
            <a:spLocks/>
          </p:cNvSpPr>
          <p:nvPr userDrawn="1"/>
        </p:nvSpPr>
        <p:spPr>
          <a:xfrm>
            <a:off x="8441873" y="6481185"/>
            <a:ext cx="1334936" cy="365592"/>
          </a:xfrm>
          <a:prstGeom prst="rect">
            <a:avLst/>
          </a:prstGeom>
        </p:spPr>
        <p:txBody>
          <a:bodyPr vert="horz" lIns="66672" tIns="33336" rIns="66672" bIns="33336" rtlCol="0" anchor="ctr"/>
          <a:lstStyle>
            <a:lvl1pPr algn="r">
              <a:defRPr sz="1200">
                <a:solidFill>
                  <a:schemeClr val="tx1">
                    <a:tint val="75000"/>
                  </a:schemeClr>
                </a:solidFill>
              </a:defRPr>
            </a:lvl1pPr>
          </a:lstStyle>
          <a:p>
            <a:pPr defTabSz="742863">
              <a:buClrTx/>
              <a:buFontTx/>
              <a:buNone/>
              <a:defRPr/>
            </a:pPr>
            <a:fld id="{FA26E27B-9644-4D47-9CB9-4DAD21E549BD}" type="slidenum">
              <a:rPr lang="en-US" sz="731" kern="1200" smtClean="0">
                <a:solidFill>
                  <a:srgbClr val="3F5F1F"/>
                </a:solidFill>
                <a:latin typeface="Calibri"/>
                <a:ea typeface="+mn-ea"/>
              </a:rPr>
              <a:pPr defTabSz="742863">
                <a:buClrTx/>
                <a:buFontTx/>
                <a:buNone/>
                <a:defRPr/>
              </a:pPr>
              <a:t>‹#›</a:t>
            </a:fld>
            <a:endParaRPr lang="en-US" sz="731" kern="1200" dirty="0">
              <a:solidFill>
                <a:srgbClr val="3F5F1F"/>
              </a:solidFill>
              <a:latin typeface="Calibri"/>
              <a:ea typeface="+mn-ea"/>
            </a:endParaRPr>
          </a:p>
        </p:txBody>
      </p:sp>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6564701"/>
            <a:ext cx="4705350" cy="293305"/>
          </a:xfrm>
          <a:prstGeom prst="rect">
            <a:avLst/>
          </a:prstGeom>
        </p:spPr>
      </p:pic>
    </p:spTree>
    <p:extLst>
      <p:ext uri="{BB962C8B-B14F-4D97-AF65-F5344CB8AC3E}">
        <p14:creationId xmlns:p14="http://schemas.microsoft.com/office/powerpoint/2010/main" val="32703910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4_Text">
  <p:cSld name="4_Text">
    <p:spTree>
      <p:nvGrpSpPr>
        <p:cNvPr id="1" name="Shape 73"/>
        <p:cNvGrpSpPr/>
        <p:nvPr/>
      </p:nvGrpSpPr>
      <p:grpSpPr>
        <a:xfrm>
          <a:off x="0" y="0"/>
          <a:ext cx="0" cy="0"/>
          <a:chOff x="0" y="0"/>
          <a:chExt cx="0" cy="0"/>
        </a:xfrm>
      </p:grpSpPr>
      <p:pic>
        <p:nvPicPr>
          <p:cNvPr id="74" name="Google Shape;74;p12"/>
          <p:cNvPicPr preferRelativeResize="0"/>
          <p:nvPr/>
        </p:nvPicPr>
        <p:blipFill rotWithShape="1">
          <a:blip r:embed="rId2">
            <a:alphaModFix/>
          </a:blip>
          <a:srcRect/>
          <a:stretch/>
        </p:blipFill>
        <p:spPr>
          <a:xfrm>
            <a:off x="1" y="3"/>
            <a:ext cx="156345" cy="140074"/>
          </a:xfrm>
          <a:prstGeom prst="rect">
            <a:avLst/>
          </a:prstGeom>
          <a:noFill/>
          <a:ln>
            <a:noFill/>
          </a:ln>
        </p:spPr>
      </p:pic>
      <p:sp>
        <p:nvSpPr>
          <p:cNvPr id="75" name="Google Shape;75;p12"/>
          <p:cNvSpPr txBox="1">
            <a:spLocks noGrp="1"/>
          </p:cNvSpPr>
          <p:nvPr>
            <p:ph type="title"/>
          </p:nvPr>
        </p:nvSpPr>
        <p:spPr>
          <a:xfrm>
            <a:off x="450741" y="134054"/>
            <a:ext cx="7245459" cy="582389"/>
          </a:xfrm>
          <a:prstGeom prst="rect">
            <a:avLst/>
          </a:prstGeom>
          <a:noFill/>
          <a:ln>
            <a:noFill/>
          </a:ln>
        </p:spPr>
        <p:txBody>
          <a:bodyPr spcFirstLastPara="1" wrap="square" lIns="0" tIns="0" rIns="0" bIns="0" anchor="b" anchorCtr="0"/>
          <a:lstStyle>
            <a:lvl1pPr marR="0" lvl="0" algn="l" rtl="0">
              <a:lnSpc>
                <a:spcPct val="90000"/>
              </a:lnSpc>
              <a:spcBef>
                <a:spcPts val="0"/>
              </a:spcBef>
              <a:spcAft>
                <a:spcPts val="0"/>
              </a:spcAft>
              <a:buClr>
                <a:schemeClr val="dk1"/>
              </a:buClr>
              <a:buSzPts val="2200"/>
              <a:buFont typeface="Arial"/>
              <a:buNone/>
              <a:defRPr sz="22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76" name="Google Shape;76;p12"/>
          <p:cNvSpPr txBox="1">
            <a:spLocks noGrp="1"/>
          </p:cNvSpPr>
          <p:nvPr>
            <p:ph type="body" idx="1"/>
          </p:nvPr>
        </p:nvSpPr>
        <p:spPr>
          <a:xfrm>
            <a:off x="450276" y="1066801"/>
            <a:ext cx="9005453" cy="5181599"/>
          </a:xfrm>
          <a:prstGeom prst="rect">
            <a:avLst/>
          </a:prstGeom>
          <a:noFill/>
          <a:ln>
            <a:noFill/>
          </a:ln>
        </p:spPr>
        <p:txBody>
          <a:bodyPr spcFirstLastPara="1" wrap="square" lIns="0" tIns="0" rIns="0" bIns="0" anchor="t" anchorCtr="0"/>
          <a:lstStyle>
            <a:lvl1pPr marL="457200" marR="0" lvl="0" indent="-330200" algn="l" rtl="0">
              <a:lnSpc>
                <a:spcPct val="90000"/>
              </a:lnSpc>
              <a:spcBef>
                <a:spcPts val="718"/>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17500" algn="l" rtl="0">
              <a:lnSpc>
                <a:spcPct val="90000"/>
              </a:lnSpc>
              <a:spcBef>
                <a:spcPts val="718"/>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2pPr>
            <a:lvl3pPr marL="1371600" marR="0" lvl="2" indent="-317500" algn="l" rtl="0">
              <a:lnSpc>
                <a:spcPct val="90000"/>
              </a:lnSpc>
              <a:spcBef>
                <a:spcPts val="500"/>
              </a:spcBef>
              <a:spcAft>
                <a:spcPts val="0"/>
              </a:spcAft>
              <a:buClr>
                <a:schemeClr val="dk1"/>
              </a:buClr>
              <a:buSzPts val="1400"/>
              <a:buFont typeface="Courier New"/>
              <a:buChar char="o"/>
              <a:defRPr sz="1400" b="0" i="0" u="none" strike="noStrike" cap="none">
                <a:solidFill>
                  <a:schemeClr val="dk1"/>
                </a:solidFill>
                <a:latin typeface="Arial"/>
                <a:ea typeface="Arial"/>
                <a:cs typeface="Arial"/>
                <a:sym typeface="Arial"/>
              </a:defRPr>
            </a:lvl3pPr>
            <a:lvl4pPr marL="1828800" marR="0" lvl="3" indent="-317500" algn="l" rtl="0">
              <a:lnSpc>
                <a:spcPct val="90000"/>
              </a:lnSpc>
              <a:spcBef>
                <a:spcPts val="5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722" y="1593"/>
          <a:ext cx="1719" cy="1587"/>
        </p:xfrm>
        <a:graphic>
          <a:graphicData uri="http://schemas.openxmlformats.org/presentationml/2006/ole">
            <mc:AlternateContent xmlns:mc="http://schemas.openxmlformats.org/markup-compatibility/2006">
              <mc:Choice xmlns:v="urn:schemas-microsoft-com:vml" Requires="v">
                <p:oleObj spid="_x0000_s10958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722" y="1593"/>
                        <a:ext cx="1719" cy="1587"/>
                      </a:xfrm>
                      <a:prstGeom prst="rect">
                        <a:avLst/>
                      </a:prstGeom>
                    </p:spPr>
                  </p:pic>
                </p:oleObj>
              </mc:Fallback>
            </mc:AlternateContent>
          </a:graphicData>
        </a:graphic>
      </p:graphicFrame>
      <p:pic>
        <p:nvPicPr>
          <p:cNvPr id="12" name="Picture 11" descr="covertemps-5.jpg"/>
          <p:cNvPicPr>
            <a:picLocks noChangeAspect="1"/>
          </p:cNvPicPr>
          <p:nvPr userDrawn="1"/>
        </p:nvPicPr>
        <p:blipFill>
          <a:blip r:embed="rId6" cstate="print">
            <a:extLst>
              <a:ext uri="{28A0092B-C50C-407E-A947-70E740481C1C}">
                <a14:useLocalDpi xmlns:a14="http://schemas.microsoft.com/office/drawing/2010/main" val="0"/>
              </a:ext>
            </a:extLst>
          </a:blip>
          <a:srcRect b="13333"/>
          <a:stretch>
            <a:fillRect/>
          </a:stretch>
        </p:blipFill>
        <p:spPr bwMode="ltGray">
          <a:xfrm>
            <a:off x="0" y="0"/>
            <a:ext cx="9906000" cy="5943600"/>
          </a:xfrm>
          <a:prstGeom prst="rect">
            <a:avLst/>
          </a:prstGeom>
        </p:spPr>
      </p:pic>
      <p:sp>
        <p:nvSpPr>
          <p:cNvPr id="5" name="doc id"/>
          <p:cNvSpPr txBox="1">
            <a:spLocks noChangeArrowheads="1"/>
          </p:cNvSpPr>
          <p:nvPr/>
        </p:nvSpPr>
        <p:spPr bwMode="auto">
          <a:xfrm>
            <a:off x="9332171" y="37255"/>
            <a:ext cx="3263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buClrTx/>
              <a:buFontTx/>
              <a:buNone/>
              <a:defRPr/>
            </a:pPr>
            <a:endParaRPr lang="en-US" sz="800" kern="1200" dirty="0">
              <a:solidFill>
                <a:srgbClr val="000000"/>
              </a:solidFill>
              <a:latin typeface="Arial"/>
              <a:ea typeface="+mn-ea"/>
            </a:endParaRPr>
          </a:p>
        </p:txBody>
      </p:sp>
      <p:sp>
        <p:nvSpPr>
          <p:cNvPr id="13314" name="Rectangle 1026"/>
          <p:cNvSpPr>
            <a:spLocks noGrp="1" noChangeArrowheads="1"/>
          </p:cNvSpPr>
          <p:nvPr>
            <p:ph type="ctrTitle"/>
          </p:nvPr>
        </p:nvSpPr>
        <p:spPr bwMode="auto">
          <a:xfrm>
            <a:off x="664673" y="1282851"/>
            <a:ext cx="8531407" cy="507831"/>
          </a:xfrm>
          <a:prstGeom prst="rect">
            <a:avLst/>
          </a:prstGeom>
        </p:spPr>
        <p:txBody>
          <a:bodyPr anchor="t">
            <a:spAutoFit/>
          </a:bodyPr>
          <a:lstStyle>
            <a:lvl1pPr>
              <a:defRPr sz="3300" b="0" baseline="0">
                <a:solidFill>
                  <a:schemeClr val="bg1"/>
                </a:solidFill>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664673" y="2793630"/>
            <a:ext cx="8531407" cy="219820"/>
          </a:xfrm>
        </p:spPr>
        <p:txBody>
          <a:bodyPr wrap="square">
            <a:spAutoFit/>
          </a:bodyPr>
          <a:lstStyle>
            <a:lvl1pPr>
              <a:defRPr sz="1400" baseline="0">
                <a:solidFill>
                  <a:schemeClr val="bg1"/>
                </a:solidFill>
                <a:latin typeface="+mn-lt"/>
                <a:ea typeface="+mn-ea"/>
              </a:defRPr>
            </a:lvl1pPr>
          </a:lstStyle>
          <a:p>
            <a:pPr lvl="0"/>
            <a:r>
              <a:rPr lang="en-US" noProof="0"/>
              <a:t>Click to edit Master subtitle style</a:t>
            </a:r>
            <a:endParaRPr lang="en-US" noProof="0" dirty="0"/>
          </a:p>
        </p:txBody>
      </p:sp>
      <p:sp>
        <p:nvSpPr>
          <p:cNvPr id="16" name="Document type" hidden="1"/>
          <p:cNvSpPr txBox="1">
            <a:spLocks noChangeArrowheads="1"/>
          </p:cNvSpPr>
          <p:nvPr userDrawn="1"/>
        </p:nvSpPr>
        <p:spPr bwMode="auto">
          <a:xfrm>
            <a:off x="664673" y="4016558"/>
            <a:ext cx="853140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fontAlgn="base" hangingPunct="1">
              <a:spcBef>
                <a:spcPct val="0"/>
              </a:spcBef>
              <a:spcAft>
                <a:spcPct val="0"/>
              </a:spcAft>
              <a:buClrTx/>
              <a:buFontTx/>
              <a:buNone/>
              <a:defRPr lang="x-none"/>
            </a:pPr>
            <a:r>
              <a:rPr sz="1400" kern="1200" dirty="0">
                <a:solidFill>
                  <a:srgbClr val="FFFFFF"/>
                </a:solidFill>
                <a:latin typeface="Arial"/>
                <a:ea typeface="+mn-ea"/>
              </a:rPr>
              <a:t>Document type | Date</a:t>
            </a:r>
          </a:p>
        </p:txBody>
      </p:sp>
    </p:spTree>
    <p:extLst>
      <p:ext uri="{BB962C8B-B14F-4D97-AF65-F5344CB8AC3E}">
        <p14:creationId xmlns:p14="http://schemas.microsoft.com/office/powerpoint/2010/main" val="184309765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722" y="1593"/>
          <a:ext cx="1719" cy="1587"/>
        </p:xfrm>
        <a:graphic>
          <a:graphicData uri="http://schemas.openxmlformats.org/presentationml/2006/ole">
            <mc:AlternateContent xmlns:mc="http://schemas.openxmlformats.org/markup-compatibility/2006">
              <mc:Choice xmlns:v="urn:schemas-microsoft-com:vml" Requires="v">
                <p:oleObj spid="_x0000_s110606"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722" y="1593"/>
                        <a:ext cx="1719" cy="1587"/>
                      </a:xfrm>
                      <a:prstGeom prst="rect">
                        <a:avLst/>
                      </a:prstGeom>
                    </p:spPr>
                  </p:pic>
                </p:oleObj>
              </mc:Fallback>
            </mc:AlternateContent>
          </a:graphicData>
        </a:graphic>
      </p:graphicFrame>
      <p:sp>
        <p:nvSpPr>
          <p:cNvPr id="3"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600" kern="1200" dirty="0">
              <a:solidFill>
                <a:srgbClr val="000000"/>
              </a:solidFill>
            </a:endParaRPr>
          </a:p>
        </p:txBody>
      </p:sp>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30430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tags" Target="../tags/tag130.xml"/><Relationship Id="rId13" Type="http://schemas.openxmlformats.org/officeDocument/2006/relationships/tags" Target="../tags/tag135.xml"/><Relationship Id="rId18" Type="http://schemas.openxmlformats.org/officeDocument/2006/relationships/tags" Target="../tags/tag140.xml"/><Relationship Id="rId26" Type="http://schemas.openxmlformats.org/officeDocument/2006/relationships/image" Target="../media/image18.png"/><Relationship Id="rId3" Type="http://schemas.openxmlformats.org/officeDocument/2006/relationships/slideLayout" Target="../slideLayouts/slideLayout65.xml"/><Relationship Id="rId21" Type="http://schemas.openxmlformats.org/officeDocument/2006/relationships/tags" Target="../tags/tag143.xml"/><Relationship Id="rId7" Type="http://schemas.openxmlformats.org/officeDocument/2006/relationships/tags" Target="../tags/tag129.xml"/><Relationship Id="rId12" Type="http://schemas.openxmlformats.org/officeDocument/2006/relationships/tags" Target="../tags/tag134.xml"/><Relationship Id="rId17" Type="http://schemas.openxmlformats.org/officeDocument/2006/relationships/tags" Target="../tags/tag139.xml"/><Relationship Id="rId25" Type="http://schemas.openxmlformats.org/officeDocument/2006/relationships/image" Target="../media/image17.emf"/><Relationship Id="rId2" Type="http://schemas.openxmlformats.org/officeDocument/2006/relationships/slideLayout" Target="../slideLayouts/slideLayout64.xml"/><Relationship Id="rId16" Type="http://schemas.openxmlformats.org/officeDocument/2006/relationships/tags" Target="../tags/tag138.xml"/><Relationship Id="rId20" Type="http://schemas.openxmlformats.org/officeDocument/2006/relationships/tags" Target="../tags/tag142.xml"/><Relationship Id="rId1" Type="http://schemas.openxmlformats.org/officeDocument/2006/relationships/slideLayout" Target="../slideLayouts/slideLayout63.xml"/><Relationship Id="rId6" Type="http://schemas.openxmlformats.org/officeDocument/2006/relationships/vmlDrawing" Target="../drawings/vmlDrawing47.vml"/><Relationship Id="rId11" Type="http://schemas.openxmlformats.org/officeDocument/2006/relationships/tags" Target="../tags/tag133.xml"/><Relationship Id="rId24" Type="http://schemas.openxmlformats.org/officeDocument/2006/relationships/image" Target="../media/image16.emf"/><Relationship Id="rId5" Type="http://schemas.openxmlformats.org/officeDocument/2006/relationships/theme" Target="../theme/theme10.xml"/><Relationship Id="rId15" Type="http://schemas.openxmlformats.org/officeDocument/2006/relationships/tags" Target="../tags/tag137.xml"/><Relationship Id="rId23" Type="http://schemas.openxmlformats.org/officeDocument/2006/relationships/oleObject" Target="../embeddings/oleObject47.bin"/><Relationship Id="rId10" Type="http://schemas.openxmlformats.org/officeDocument/2006/relationships/tags" Target="../tags/tag132.xml"/><Relationship Id="rId19" Type="http://schemas.openxmlformats.org/officeDocument/2006/relationships/tags" Target="../tags/tag141.xml"/><Relationship Id="rId4" Type="http://schemas.openxmlformats.org/officeDocument/2006/relationships/slideLayout" Target="../slideLayouts/slideLayout66.xml"/><Relationship Id="rId9" Type="http://schemas.openxmlformats.org/officeDocument/2006/relationships/tags" Target="../tags/tag131.xml"/><Relationship Id="rId14" Type="http://schemas.openxmlformats.org/officeDocument/2006/relationships/tags" Target="../tags/tag136.xml"/><Relationship Id="rId22" Type="http://schemas.openxmlformats.org/officeDocument/2006/relationships/tags" Target="../tags/tag144.xml"/></Relationships>
</file>

<file path=ppt/slideMasters/_rels/slideMaster11.xml.rels><?xml version="1.0" encoding="UTF-8" standalone="yes"?>
<Relationships xmlns="http://schemas.openxmlformats.org/package/2006/relationships"><Relationship Id="rId8" Type="http://schemas.openxmlformats.org/officeDocument/2006/relationships/tags" Target="../tags/tag153.xml"/><Relationship Id="rId13" Type="http://schemas.openxmlformats.org/officeDocument/2006/relationships/tags" Target="../tags/tag158.xml"/><Relationship Id="rId18" Type="http://schemas.openxmlformats.org/officeDocument/2006/relationships/tags" Target="../tags/tag163.xml"/><Relationship Id="rId3" Type="http://schemas.openxmlformats.org/officeDocument/2006/relationships/theme" Target="../theme/theme11.xml"/><Relationship Id="rId21" Type="http://schemas.openxmlformats.org/officeDocument/2006/relationships/tags" Target="../tags/tag166.xml"/><Relationship Id="rId7" Type="http://schemas.openxmlformats.org/officeDocument/2006/relationships/tags" Target="../tags/tag152.xml"/><Relationship Id="rId12" Type="http://schemas.openxmlformats.org/officeDocument/2006/relationships/tags" Target="../tags/tag157.xml"/><Relationship Id="rId17" Type="http://schemas.openxmlformats.org/officeDocument/2006/relationships/tags" Target="../tags/tag162.xml"/><Relationship Id="rId25" Type="http://schemas.openxmlformats.org/officeDocument/2006/relationships/image" Target="../media/image18.png"/><Relationship Id="rId2" Type="http://schemas.openxmlformats.org/officeDocument/2006/relationships/slideLayout" Target="../slideLayouts/slideLayout68.xml"/><Relationship Id="rId16" Type="http://schemas.openxmlformats.org/officeDocument/2006/relationships/tags" Target="../tags/tag161.xml"/><Relationship Id="rId20" Type="http://schemas.openxmlformats.org/officeDocument/2006/relationships/tags" Target="../tags/tag165.xml"/><Relationship Id="rId1" Type="http://schemas.openxmlformats.org/officeDocument/2006/relationships/slideLayout" Target="../slideLayouts/slideLayout67.xml"/><Relationship Id="rId6" Type="http://schemas.openxmlformats.org/officeDocument/2006/relationships/tags" Target="../tags/tag151.xml"/><Relationship Id="rId11" Type="http://schemas.openxmlformats.org/officeDocument/2006/relationships/tags" Target="../tags/tag156.xml"/><Relationship Id="rId24" Type="http://schemas.openxmlformats.org/officeDocument/2006/relationships/image" Target="../media/image17.emf"/><Relationship Id="rId5" Type="http://schemas.openxmlformats.org/officeDocument/2006/relationships/tags" Target="../tags/tag150.xml"/><Relationship Id="rId15" Type="http://schemas.openxmlformats.org/officeDocument/2006/relationships/tags" Target="../tags/tag160.xml"/><Relationship Id="rId23" Type="http://schemas.openxmlformats.org/officeDocument/2006/relationships/image" Target="../media/image16.emf"/><Relationship Id="rId10" Type="http://schemas.openxmlformats.org/officeDocument/2006/relationships/tags" Target="../tags/tag155.xml"/><Relationship Id="rId19" Type="http://schemas.openxmlformats.org/officeDocument/2006/relationships/tags" Target="../tags/tag164.xml"/><Relationship Id="rId4" Type="http://schemas.openxmlformats.org/officeDocument/2006/relationships/vmlDrawing" Target="../drawings/vmlDrawing52.vml"/><Relationship Id="rId9" Type="http://schemas.openxmlformats.org/officeDocument/2006/relationships/tags" Target="../tags/tag154.xml"/><Relationship Id="rId14" Type="http://schemas.openxmlformats.org/officeDocument/2006/relationships/tags" Target="../tags/tag159.xml"/><Relationship Id="rId22" Type="http://schemas.openxmlformats.org/officeDocument/2006/relationships/oleObject" Target="../embeddings/oleObject52.bin"/></Relationships>
</file>

<file path=ppt/slideMasters/_rels/slideMaster12.xml.rels><?xml version="1.0" encoding="UTF-8" standalone="yes"?>
<Relationships xmlns="http://schemas.openxmlformats.org/package/2006/relationships"><Relationship Id="rId8" Type="http://schemas.openxmlformats.org/officeDocument/2006/relationships/tags" Target="../tags/tag173.xml"/><Relationship Id="rId13" Type="http://schemas.openxmlformats.org/officeDocument/2006/relationships/tags" Target="../tags/tag178.xml"/><Relationship Id="rId18" Type="http://schemas.openxmlformats.org/officeDocument/2006/relationships/tags" Target="../tags/tag183.xml"/><Relationship Id="rId3" Type="http://schemas.openxmlformats.org/officeDocument/2006/relationships/theme" Target="../theme/theme12.xml"/><Relationship Id="rId21" Type="http://schemas.openxmlformats.org/officeDocument/2006/relationships/tags" Target="../tags/tag186.xml"/><Relationship Id="rId7" Type="http://schemas.openxmlformats.org/officeDocument/2006/relationships/tags" Target="../tags/tag172.xml"/><Relationship Id="rId12" Type="http://schemas.openxmlformats.org/officeDocument/2006/relationships/tags" Target="../tags/tag177.xml"/><Relationship Id="rId17" Type="http://schemas.openxmlformats.org/officeDocument/2006/relationships/tags" Target="../tags/tag182.xml"/><Relationship Id="rId25" Type="http://schemas.openxmlformats.org/officeDocument/2006/relationships/image" Target="../media/image18.png"/><Relationship Id="rId2" Type="http://schemas.openxmlformats.org/officeDocument/2006/relationships/slideLayout" Target="../slideLayouts/slideLayout70.xml"/><Relationship Id="rId16" Type="http://schemas.openxmlformats.org/officeDocument/2006/relationships/tags" Target="../tags/tag181.xml"/><Relationship Id="rId20" Type="http://schemas.openxmlformats.org/officeDocument/2006/relationships/tags" Target="../tags/tag185.xml"/><Relationship Id="rId1" Type="http://schemas.openxmlformats.org/officeDocument/2006/relationships/slideLayout" Target="../slideLayouts/slideLayout69.xml"/><Relationship Id="rId6" Type="http://schemas.openxmlformats.org/officeDocument/2006/relationships/tags" Target="../tags/tag171.xml"/><Relationship Id="rId11" Type="http://schemas.openxmlformats.org/officeDocument/2006/relationships/tags" Target="../tags/tag176.xml"/><Relationship Id="rId24" Type="http://schemas.openxmlformats.org/officeDocument/2006/relationships/image" Target="../media/image17.emf"/><Relationship Id="rId5" Type="http://schemas.openxmlformats.org/officeDocument/2006/relationships/tags" Target="../tags/tag170.xml"/><Relationship Id="rId15" Type="http://schemas.openxmlformats.org/officeDocument/2006/relationships/tags" Target="../tags/tag180.xml"/><Relationship Id="rId23" Type="http://schemas.openxmlformats.org/officeDocument/2006/relationships/image" Target="../media/image16.emf"/><Relationship Id="rId10" Type="http://schemas.openxmlformats.org/officeDocument/2006/relationships/tags" Target="../tags/tag175.xml"/><Relationship Id="rId19" Type="http://schemas.openxmlformats.org/officeDocument/2006/relationships/tags" Target="../tags/tag184.xml"/><Relationship Id="rId4" Type="http://schemas.openxmlformats.org/officeDocument/2006/relationships/vmlDrawing" Target="../drawings/vmlDrawing55.vml"/><Relationship Id="rId9" Type="http://schemas.openxmlformats.org/officeDocument/2006/relationships/tags" Target="../tags/tag174.xml"/><Relationship Id="rId14" Type="http://schemas.openxmlformats.org/officeDocument/2006/relationships/tags" Target="../tags/tag179.xml"/><Relationship Id="rId22" Type="http://schemas.openxmlformats.org/officeDocument/2006/relationships/oleObject" Target="../embeddings/oleObject55.bin"/></Relationships>
</file>

<file path=ppt/slideMasters/_rels/slideMaster13.xml.rels><?xml version="1.0" encoding="UTF-8" standalone="yes"?>
<Relationships xmlns="http://schemas.openxmlformats.org/package/2006/relationships"><Relationship Id="rId8" Type="http://schemas.openxmlformats.org/officeDocument/2006/relationships/tags" Target="../tags/tag191.xml"/><Relationship Id="rId13" Type="http://schemas.openxmlformats.org/officeDocument/2006/relationships/tags" Target="../tags/tag196.xml"/><Relationship Id="rId18" Type="http://schemas.openxmlformats.org/officeDocument/2006/relationships/tags" Target="../tags/tag201.xml"/><Relationship Id="rId26" Type="http://schemas.openxmlformats.org/officeDocument/2006/relationships/image" Target="../media/image17.emf"/><Relationship Id="rId3" Type="http://schemas.openxmlformats.org/officeDocument/2006/relationships/slideLayout" Target="../slideLayouts/slideLayout73.xml"/><Relationship Id="rId21" Type="http://schemas.openxmlformats.org/officeDocument/2006/relationships/tags" Target="../tags/tag204.xml"/><Relationship Id="rId7" Type="http://schemas.openxmlformats.org/officeDocument/2006/relationships/tags" Target="../tags/tag190.xml"/><Relationship Id="rId12" Type="http://schemas.openxmlformats.org/officeDocument/2006/relationships/tags" Target="../tags/tag195.xml"/><Relationship Id="rId17" Type="http://schemas.openxmlformats.org/officeDocument/2006/relationships/tags" Target="../tags/tag200.xml"/><Relationship Id="rId25" Type="http://schemas.openxmlformats.org/officeDocument/2006/relationships/image" Target="../media/image16.emf"/><Relationship Id="rId2" Type="http://schemas.openxmlformats.org/officeDocument/2006/relationships/slideLayout" Target="../slideLayouts/slideLayout72.xml"/><Relationship Id="rId16" Type="http://schemas.openxmlformats.org/officeDocument/2006/relationships/tags" Target="../tags/tag199.xml"/><Relationship Id="rId20" Type="http://schemas.openxmlformats.org/officeDocument/2006/relationships/tags" Target="../tags/tag203.xml"/><Relationship Id="rId1" Type="http://schemas.openxmlformats.org/officeDocument/2006/relationships/slideLayout" Target="../slideLayouts/slideLayout71.xml"/><Relationship Id="rId6" Type="http://schemas.openxmlformats.org/officeDocument/2006/relationships/vmlDrawing" Target="../drawings/vmlDrawing58.vml"/><Relationship Id="rId11" Type="http://schemas.openxmlformats.org/officeDocument/2006/relationships/tags" Target="../tags/tag194.xml"/><Relationship Id="rId24" Type="http://schemas.openxmlformats.org/officeDocument/2006/relationships/oleObject" Target="../embeddings/oleObject58.bin"/><Relationship Id="rId5" Type="http://schemas.openxmlformats.org/officeDocument/2006/relationships/theme" Target="../theme/theme13.xml"/><Relationship Id="rId15" Type="http://schemas.openxmlformats.org/officeDocument/2006/relationships/tags" Target="../tags/tag198.xml"/><Relationship Id="rId23" Type="http://schemas.openxmlformats.org/officeDocument/2006/relationships/tags" Target="../tags/tag206.xml"/><Relationship Id="rId10" Type="http://schemas.openxmlformats.org/officeDocument/2006/relationships/tags" Target="../tags/tag193.xml"/><Relationship Id="rId19" Type="http://schemas.openxmlformats.org/officeDocument/2006/relationships/tags" Target="../tags/tag202.xml"/><Relationship Id="rId4" Type="http://schemas.openxmlformats.org/officeDocument/2006/relationships/slideLayout" Target="../slideLayouts/slideLayout74.xml"/><Relationship Id="rId9" Type="http://schemas.openxmlformats.org/officeDocument/2006/relationships/tags" Target="../tags/tag192.xml"/><Relationship Id="rId14" Type="http://schemas.openxmlformats.org/officeDocument/2006/relationships/tags" Target="../tags/tag197.xml"/><Relationship Id="rId22" Type="http://schemas.openxmlformats.org/officeDocument/2006/relationships/tags" Target="../tags/tag205.xml"/><Relationship Id="rId27" Type="http://schemas.openxmlformats.org/officeDocument/2006/relationships/image" Target="../media/image18.png"/></Relationships>
</file>

<file path=ppt/slideMasters/_rels/slideMaster14.xml.rels><?xml version="1.0" encoding="UTF-8" standalone="yes"?>
<Relationships xmlns="http://schemas.openxmlformats.org/package/2006/relationships"><Relationship Id="rId8" Type="http://schemas.openxmlformats.org/officeDocument/2006/relationships/tags" Target="../tags/tag213.xml"/><Relationship Id="rId13" Type="http://schemas.openxmlformats.org/officeDocument/2006/relationships/tags" Target="../tags/tag218.xml"/><Relationship Id="rId18" Type="http://schemas.openxmlformats.org/officeDocument/2006/relationships/tags" Target="../tags/tag223.xml"/><Relationship Id="rId3" Type="http://schemas.openxmlformats.org/officeDocument/2006/relationships/slideLayout" Target="../slideLayouts/slideLayout77.xml"/><Relationship Id="rId21" Type="http://schemas.openxmlformats.org/officeDocument/2006/relationships/tags" Target="../tags/tag226.xml"/><Relationship Id="rId7" Type="http://schemas.openxmlformats.org/officeDocument/2006/relationships/tags" Target="../tags/tag212.xml"/><Relationship Id="rId12" Type="http://schemas.openxmlformats.org/officeDocument/2006/relationships/tags" Target="../tags/tag217.xml"/><Relationship Id="rId17" Type="http://schemas.openxmlformats.org/officeDocument/2006/relationships/tags" Target="../tags/tag222.xml"/><Relationship Id="rId25" Type="http://schemas.openxmlformats.org/officeDocument/2006/relationships/image" Target="../media/image18.png"/><Relationship Id="rId2" Type="http://schemas.openxmlformats.org/officeDocument/2006/relationships/slideLayout" Target="../slideLayouts/slideLayout76.xml"/><Relationship Id="rId16" Type="http://schemas.openxmlformats.org/officeDocument/2006/relationships/tags" Target="../tags/tag221.xml"/><Relationship Id="rId20" Type="http://schemas.openxmlformats.org/officeDocument/2006/relationships/tags" Target="../tags/tag225.xml"/><Relationship Id="rId1" Type="http://schemas.openxmlformats.org/officeDocument/2006/relationships/slideLayout" Target="../slideLayouts/slideLayout75.xml"/><Relationship Id="rId6" Type="http://schemas.openxmlformats.org/officeDocument/2006/relationships/tags" Target="../tags/tag211.xml"/><Relationship Id="rId11" Type="http://schemas.openxmlformats.org/officeDocument/2006/relationships/tags" Target="../tags/tag216.xml"/><Relationship Id="rId24" Type="http://schemas.openxmlformats.org/officeDocument/2006/relationships/image" Target="../media/image17.emf"/><Relationship Id="rId5" Type="http://schemas.openxmlformats.org/officeDocument/2006/relationships/vmlDrawing" Target="../drawings/vmlDrawing62.vml"/><Relationship Id="rId15" Type="http://schemas.openxmlformats.org/officeDocument/2006/relationships/tags" Target="../tags/tag220.xml"/><Relationship Id="rId23" Type="http://schemas.openxmlformats.org/officeDocument/2006/relationships/image" Target="../media/image16.emf"/><Relationship Id="rId10" Type="http://schemas.openxmlformats.org/officeDocument/2006/relationships/tags" Target="../tags/tag215.xml"/><Relationship Id="rId19" Type="http://schemas.openxmlformats.org/officeDocument/2006/relationships/tags" Target="../tags/tag224.xml"/><Relationship Id="rId4" Type="http://schemas.openxmlformats.org/officeDocument/2006/relationships/theme" Target="../theme/theme14.xml"/><Relationship Id="rId9" Type="http://schemas.openxmlformats.org/officeDocument/2006/relationships/tags" Target="../tags/tag214.xml"/><Relationship Id="rId14" Type="http://schemas.openxmlformats.org/officeDocument/2006/relationships/tags" Target="../tags/tag219.xml"/><Relationship Id="rId22" Type="http://schemas.openxmlformats.org/officeDocument/2006/relationships/oleObject" Target="../embeddings/oleObject62.bin"/></Relationships>
</file>

<file path=ppt/slideMasters/_rels/slideMaster15.xml.rels><?xml version="1.0" encoding="UTF-8" standalone="yes"?>
<Relationships xmlns="http://schemas.openxmlformats.org/package/2006/relationships"><Relationship Id="rId8" Type="http://schemas.openxmlformats.org/officeDocument/2006/relationships/tags" Target="../tags/tag232.xml"/><Relationship Id="rId13" Type="http://schemas.openxmlformats.org/officeDocument/2006/relationships/tags" Target="../tags/tag237.xml"/><Relationship Id="rId18" Type="http://schemas.openxmlformats.org/officeDocument/2006/relationships/tags" Target="../tags/tag242.xml"/><Relationship Id="rId3" Type="http://schemas.openxmlformats.org/officeDocument/2006/relationships/slideLayout" Target="../slideLayouts/slideLayout80.xml"/><Relationship Id="rId21" Type="http://schemas.openxmlformats.org/officeDocument/2006/relationships/tags" Target="../tags/tag245.xml"/><Relationship Id="rId7" Type="http://schemas.openxmlformats.org/officeDocument/2006/relationships/tags" Target="../tags/tag231.xml"/><Relationship Id="rId12" Type="http://schemas.openxmlformats.org/officeDocument/2006/relationships/tags" Target="../tags/tag236.xml"/><Relationship Id="rId17" Type="http://schemas.openxmlformats.org/officeDocument/2006/relationships/tags" Target="../tags/tag241.xml"/><Relationship Id="rId25" Type="http://schemas.openxmlformats.org/officeDocument/2006/relationships/image" Target="../media/image18.png"/><Relationship Id="rId2" Type="http://schemas.openxmlformats.org/officeDocument/2006/relationships/slideLayout" Target="../slideLayouts/slideLayout79.xml"/><Relationship Id="rId16" Type="http://schemas.openxmlformats.org/officeDocument/2006/relationships/tags" Target="../tags/tag240.xml"/><Relationship Id="rId20" Type="http://schemas.openxmlformats.org/officeDocument/2006/relationships/tags" Target="../tags/tag244.xml"/><Relationship Id="rId1" Type="http://schemas.openxmlformats.org/officeDocument/2006/relationships/slideLayout" Target="../slideLayouts/slideLayout78.xml"/><Relationship Id="rId6" Type="http://schemas.openxmlformats.org/officeDocument/2006/relationships/tags" Target="../tags/tag230.xml"/><Relationship Id="rId11" Type="http://schemas.openxmlformats.org/officeDocument/2006/relationships/tags" Target="../tags/tag235.xml"/><Relationship Id="rId24" Type="http://schemas.openxmlformats.org/officeDocument/2006/relationships/image" Target="../media/image17.emf"/><Relationship Id="rId5" Type="http://schemas.openxmlformats.org/officeDocument/2006/relationships/vmlDrawing" Target="../drawings/vmlDrawing65.vml"/><Relationship Id="rId15" Type="http://schemas.openxmlformats.org/officeDocument/2006/relationships/tags" Target="../tags/tag239.xml"/><Relationship Id="rId23" Type="http://schemas.openxmlformats.org/officeDocument/2006/relationships/image" Target="../media/image16.emf"/><Relationship Id="rId10" Type="http://schemas.openxmlformats.org/officeDocument/2006/relationships/tags" Target="../tags/tag234.xml"/><Relationship Id="rId19" Type="http://schemas.openxmlformats.org/officeDocument/2006/relationships/tags" Target="../tags/tag243.xml"/><Relationship Id="rId4" Type="http://schemas.openxmlformats.org/officeDocument/2006/relationships/theme" Target="../theme/theme15.xml"/><Relationship Id="rId9" Type="http://schemas.openxmlformats.org/officeDocument/2006/relationships/tags" Target="../tags/tag233.xml"/><Relationship Id="rId14" Type="http://schemas.openxmlformats.org/officeDocument/2006/relationships/tags" Target="../tags/tag238.xml"/><Relationship Id="rId22" Type="http://schemas.openxmlformats.org/officeDocument/2006/relationships/oleObject" Target="../embeddings/oleObject65.bin"/></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image" Target="../media/image6.png"/><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image" Target="../media/image9.png"/><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image" Target="../media/image1.png"/><Relationship Id="rId5" Type="http://schemas.openxmlformats.org/officeDocument/2006/relationships/slideLayout" Target="../slideLayouts/slideLayout85.xml"/><Relationship Id="rId10" Type="http://schemas.openxmlformats.org/officeDocument/2006/relationships/theme" Target="../theme/theme16.xml"/><Relationship Id="rId4" Type="http://schemas.openxmlformats.org/officeDocument/2006/relationships/slideLayout" Target="../slideLayouts/slideLayout84.xml"/><Relationship Id="rId9" Type="http://schemas.openxmlformats.org/officeDocument/2006/relationships/slideLayout" Target="../slideLayouts/slideLayout89.xml"/></Relationships>
</file>

<file path=ppt/slideMasters/_rels/slideMaster17.xml.rels><?xml version="1.0" encoding="UTF-8" standalone="yes"?>
<Relationships xmlns="http://schemas.openxmlformats.org/package/2006/relationships"><Relationship Id="rId8" Type="http://schemas.openxmlformats.org/officeDocument/2006/relationships/tags" Target="../tags/tag259.xml"/><Relationship Id="rId13" Type="http://schemas.openxmlformats.org/officeDocument/2006/relationships/tags" Target="../tags/tag264.xml"/><Relationship Id="rId18" Type="http://schemas.openxmlformats.org/officeDocument/2006/relationships/tags" Target="../tags/tag269.xml"/><Relationship Id="rId3" Type="http://schemas.openxmlformats.org/officeDocument/2006/relationships/theme" Target="../theme/theme17.xml"/><Relationship Id="rId21" Type="http://schemas.openxmlformats.org/officeDocument/2006/relationships/tags" Target="../tags/tag272.xml"/><Relationship Id="rId7" Type="http://schemas.openxmlformats.org/officeDocument/2006/relationships/tags" Target="../tags/tag258.xml"/><Relationship Id="rId12" Type="http://schemas.openxmlformats.org/officeDocument/2006/relationships/tags" Target="../tags/tag263.xml"/><Relationship Id="rId17" Type="http://schemas.openxmlformats.org/officeDocument/2006/relationships/tags" Target="../tags/tag268.xml"/><Relationship Id="rId25" Type="http://schemas.openxmlformats.org/officeDocument/2006/relationships/image" Target="../media/image18.png"/><Relationship Id="rId2" Type="http://schemas.openxmlformats.org/officeDocument/2006/relationships/slideLayout" Target="../slideLayouts/slideLayout91.xml"/><Relationship Id="rId16" Type="http://schemas.openxmlformats.org/officeDocument/2006/relationships/tags" Target="../tags/tag267.xml"/><Relationship Id="rId20" Type="http://schemas.openxmlformats.org/officeDocument/2006/relationships/tags" Target="../tags/tag271.xml"/><Relationship Id="rId1" Type="http://schemas.openxmlformats.org/officeDocument/2006/relationships/slideLayout" Target="../slideLayouts/slideLayout90.xml"/><Relationship Id="rId6" Type="http://schemas.openxmlformats.org/officeDocument/2006/relationships/tags" Target="../tags/tag257.xml"/><Relationship Id="rId11" Type="http://schemas.openxmlformats.org/officeDocument/2006/relationships/tags" Target="../tags/tag262.xml"/><Relationship Id="rId24" Type="http://schemas.openxmlformats.org/officeDocument/2006/relationships/image" Target="../media/image17.emf"/><Relationship Id="rId5" Type="http://schemas.openxmlformats.org/officeDocument/2006/relationships/tags" Target="../tags/tag256.xml"/><Relationship Id="rId15" Type="http://schemas.openxmlformats.org/officeDocument/2006/relationships/tags" Target="../tags/tag266.xml"/><Relationship Id="rId23" Type="http://schemas.openxmlformats.org/officeDocument/2006/relationships/image" Target="../media/image16.emf"/><Relationship Id="rId10" Type="http://schemas.openxmlformats.org/officeDocument/2006/relationships/tags" Target="../tags/tag261.xml"/><Relationship Id="rId19" Type="http://schemas.openxmlformats.org/officeDocument/2006/relationships/tags" Target="../tags/tag270.xml"/><Relationship Id="rId4" Type="http://schemas.openxmlformats.org/officeDocument/2006/relationships/vmlDrawing" Target="../drawings/vmlDrawing72.vml"/><Relationship Id="rId9" Type="http://schemas.openxmlformats.org/officeDocument/2006/relationships/tags" Target="../tags/tag260.xml"/><Relationship Id="rId14" Type="http://schemas.openxmlformats.org/officeDocument/2006/relationships/tags" Target="../tags/tag265.xml"/><Relationship Id="rId22" Type="http://schemas.openxmlformats.org/officeDocument/2006/relationships/oleObject" Target="../embeddings/oleObject72.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image" Target="../media/image6.png"/><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image" Target="../media/image9.png"/><Relationship Id="rId5" Type="http://schemas.openxmlformats.org/officeDocument/2006/relationships/slideLayout" Target="../slideLayouts/slideLayout12.xml"/><Relationship Id="rId10" Type="http://schemas.openxmlformats.org/officeDocument/2006/relationships/image" Target="../media/image1.png"/><Relationship Id="rId4" Type="http://schemas.openxmlformats.org/officeDocument/2006/relationships/slideLayout" Target="../slideLayouts/slideLayout11.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vmlDrawing" Target="../drawings/vmlDrawing4.vml"/><Relationship Id="rId18" Type="http://schemas.openxmlformats.org/officeDocument/2006/relationships/image" Target="../media/image12.png"/><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heme" Target="../theme/theme3.xml"/><Relationship Id="rId17" Type="http://schemas.openxmlformats.org/officeDocument/2006/relationships/image" Target="../media/image13.png"/><Relationship Id="rId2" Type="http://schemas.openxmlformats.org/officeDocument/2006/relationships/slideLayout" Target="../slideLayouts/slideLayout17.xml"/><Relationship Id="rId16" Type="http://schemas.openxmlformats.org/officeDocument/2006/relationships/image" Target="../media/image14.emf"/><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oleObject" Target="../embeddings/oleObject4.bin"/><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tags" Target="../tags/tag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tags" Target="../tags/tag2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vmlDrawing" Target="../drawings/vmlDrawing13.vml"/><Relationship Id="rId17" Type="http://schemas.openxmlformats.org/officeDocument/2006/relationships/image" Target="../media/image12.png"/><Relationship Id="rId2" Type="http://schemas.openxmlformats.org/officeDocument/2006/relationships/slideLayout" Target="../slideLayouts/slideLayout28.xml"/><Relationship Id="rId16" Type="http://schemas.openxmlformats.org/officeDocument/2006/relationships/image" Target="../media/image13.png"/><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theme" Target="../theme/theme4.xml"/><Relationship Id="rId5" Type="http://schemas.openxmlformats.org/officeDocument/2006/relationships/slideLayout" Target="../slideLayouts/slideLayout31.xml"/><Relationship Id="rId15" Type="http://schemas.openxmlformats.org/officeDocument/2006/relationships/image" Target="../media/image14.emf"/><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oleObject" Target="../embeddings/oleObject13.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vmlDrawing" Target="../drawings/vmlDrawing22.vml"/><Relationship Id="rId18" Type="http://schemas.openxmlformats.org/officeDocument/2006/relationships/image" Target="../media/image12.png"/><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5.xml"/><Relationship Id="rId17" Type="http://schemas.openxmlformats.org/officeDocument/2006/relationships/image" Target="../media/image13.png"/><Relationship Id="rId2" Type="http://schemas.openxmlformats.org/officeDocument/2006/relationships/slideLayout" Target="../slideLayouts/slideLayout38.xml"/><Relationship Id="rId16" Type="http://schemas.openxmlformats.org/officeDocument/2006/relationships/image" Target="../media/image14.emf"/><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oleObject" Target="../embeddings/oleObject22.bin"/><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tags" Target="../tags/tag41.x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13" Type="http://schemas.openxmlformats.org/officeDocument/2006/relationships/image" Target="../media/image13.png"/><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image" Target="../media/image14.emf"/><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oleObject" Target="../embeddings/oleObject31.bin"/><Relationship Id="rId5" Type="http://schemas.openxmlformats.org/officeDocument/2006/relationships/slideLayout" Target="../slideLayouts/slideLayout52.xml"/><Relationship Id="rId10" Type="http://schemas.openxmlformats.org/officeDocument/2006/relationships/tags" Target="../tags/tag58.xml"/><Relationship Id="rId4" Type="http://schemas.openxmlformats.org/officeDocument/2006/relationships/slideLayout" Target="../slideLayouts/slideLayout51.xml"/><Relationship Id="rId9" Type="http://schemas.openxmlformats.org/officeDocument/2006/relationships/vmlDrawing" Target="../drawings/vmlDrawing31.vml"/><Relationship Id="rId14" Type="http://schemas.openxmlformats.org/officeDocument/2006/relationships/image" Target="../media/image12.png"/></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tags" Target="../tags/tag80.xml"/><Relationship Id="rId18" Type="http://schemas.openxmlformats.org/officeDocument/2006/relationships/tags" Target="../tags/tag85.xml"/><Relationship Id="rId3" Type="http://schemas.openxmlformats.org/officeDocument/2006/relationships/slideLayout" Target="../slideLayouts/slideLayout57.xml"/><Relationship Id="rId21" Type="http://schemas.openxmlformats.org/officeDocument/2006/relationships/tags" Target="../tags/tag88.xml"/><Relationship Id="rId7" Type="http://schemas.openxmlformats.org/officeDocument/2006/relationships/tags" Target="../tags/tag74.xml"/><Relationship Id="rId12" Type="http://schemas.openxmlformats.org/officeDocument/2006/relationships/tags" Target="../tags/tag79.xml"/><Relationship Id="rId17" Type="http://schemas.openxmlformats.org/officeDocument/2006/relationships/tags" Target="../tags/tag84.xml"/><Relationship Id="rId25" Type="http://schemas.openxmlformats.org/officeDocument/2006/relationships/image" Target="../media/image18.png"/><Relationship Id="rId2" Type="http://schemas.openxmlformats.org/officeDocument/2006/relationships/slideLayout" Target="../slideLayouts/slideLayout56.xml"/><Relationship Id="rId16" Type="http://schemas.openxmlformats.org/officeDocument/2006/relationships/tags" Target="../tags/tag83.xml"/><Relationship Id="rId20" Type="http://schemas.openxmlformats.org/officeDocument/2006/relationships/tags" Target="../tags/tag87.xml"/><Relationship Id="rId1" Type="http://schemas.openxmlformats.org/officeDocument/2006/relationships/slideLayout" Target="../slideLayouts/slideLayout55.xml"/><Relationship Id="rId6" Type="http://schemas.openxmlformats.org/officeDocument/2006/relationships/tags" Target="../tags/tag73.xml"/><Relationship Id="rId11" Type="http://schemas.openxmlformats.org/officeDocument/2006/relationships/tags" Target="../tags/tag78.xml"/><Relationship Id="rId24" Type="http://schemas.openxmlformats.org/officeDocument/2006/relationships/image" Target="../media/image17.emf"/><Relationship Id="rId5" Type="http://schemas.openxmlformats.org/officeDocument/2006/relationships/vmlDrawing" Target="../drawings/vmlDrawing39.vml"/><Relationship Id="rId15" Type="http://schemas.openxmlformats.org/officeDocument/2006/relationships/tags" Target="../tags/tag82.xml"/><Relationship Id="rId23" Type="http://schemas.openxmlformats.org/officeDocument/2006/relationships/image" Target="../media/image16.emf"/><Relationship Id="rId10" Type="http://schemas.openxmlformats.org/officeDocument/2006/relationships/tags" Target="../tags/tag77.xml"/><Relationship Id="rId19" Type="http://schemas.openxmlformats.org/officeDocument/2006/relationships/tags" Target="../tags/tag86.xml"/><Relationship Id="rId4" Type="http://schemas.openxmlformats.org/officeDocument/2006/relationships/theme" Target="../theme/theme7.xml"/><Relationship Id="rId9" Type="http://schemas.openxmlformats.org/officeDocument/2006/relationships/tags" Target="../tags/tag76.xml"/><Relationship Id="rId14" Type="http://schemas.openxmlformats.org/officeDocument/2006/relationships/tags" Target="../tags/tag81.xml"/><Relationship Id="rId22" Type="http://schemas.openxmlformats.org/officeDocument/2006/relationships/oleObject" Target="../embeddings/oleObject39.bin"/></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95.xml"/><Relationship Id="rId13" Type="http://schemas.openxmlformats.org/officeDocument/2006/relationships/tags" Target="../tags/tag100.xml"/><Relationship Id="rId18" Type="http://schemas.openxmlformats.org/officeDocument/2006/relationships/tags" Target="../tags/tag105.xml"/><Relationship Id="rId3" Type="http://schemas.openxmlformats.org/officeDocument/2006/relationships/theme" Target="../theme/theme8.xml"/><Relationship Id="rId21" Type="http://schemas.openxmlformats.org/officeDocument/2006/relationships/oleObject" Target="../embeddings/oleObject42.bin"/><Relationship Id="rId7" Type="http://schemas.openxmlformats.org/officeDocument/2006/relationships/tags" Target="../tags/tag94.xml"/><Relationship Id="rId12" Type="http://schemas.openxmlformats.org/officeDocument/2006/relationships/tags" Target="../tags/tag99.xml"/><Relationship Id="rId17" Type="http://schemas.openxmlformats.org/officeDocument/2006/relationships/tags" Target="../tags/tag104.xml"/><Relationship Id="rId25" Type="http://schemas.openxmlformats.org/officeDocument/2006/relationships/image" Target="../media/image18.png"/><Relationship Id="rId2" Type="http://schemas.openxmlformats.org/officeDocument/2006/relationships/slideLayout" Target="../slideLayouts/slideLayout59.xml"/><Relationship Id="rId16" Type="http://schemas.openxmlformats.org/officeDocument/2006/relationships/tags" Target="../tags/tag103.xml"/><Relationship Id="rId20" Type="http://schemas.openxmlformats.org/officeDocument/2006/relationships/tags" Target="../tags/tag107.xml"/><Relationship Id="rId1" Type="http://schemas.openxmlformats.org/officeDocument/2006/relationships/slideLayout" Target="../slideLayouts/slideLayout58.xml"/><Relationship Id="rId6" Type="http://schemas.openxmlformats.org/officeDocument/2006/relationships/tags" Target="../tags/tag93.xml"/><Relationship Id="rId11" Type="http://schemas.openxmlformats.org/officeDocument/2006/relationships/tags" Target="../tags/tag98.xml"/><Relationship Id="rId24" Type="http://schemas.openxmlformats.org/officeDocument/2006/relationships/image" Target="../media/image17.emf"/><Relationship Id="rId5" Type="http://schemas.openxmlformats.org/officeDocument/2006/relationships/tags" Target="../tags/tag92.xml"/><Relationship Id="rId15" Type="http://schemas.openxmlformats.org/officeDocument/2006/relationships/tags" Target="../tags/tag102.xml"/><Relationship Id="rId23" Type="http://schemas.openxmlformats.org/officeDocument/2006/relationships/image" Target="../media/image22.png"/><Relationship Id="rId10" Type="http://schemas.openxmlformats.org/officeDocument/2006/relationships/tags" Target="../tags/tag97.xml"/><Relationship Id="rId19" Type="http://schemas.openxmlformats.org/officeDocument/2006/relationships/tags" Target="../tags/tag106.xml"/><Relationship Id="rId4" Type="http://schemas.openxmlformats.org/officeDocument/2006/relationships/vmlDrawing" Target="../drawings/vmlDrawing42.vml"/><Relationship Id="rId9" Type="http://schemas.openxmlformats.org/officeDocument/2006/relationships/tags" Target="../tags/tag96.xml"/><Relationship Id="rId14" Type="http://schemas.openxmlformats.org/officeDocument/2006/relationships/tags" Target="../tags/tag101.xml"/><Relationship Id="rId22" Type="http://schemas.openxmlformats.org/officeDocument/2006/relationships/image" Target="../media/image16.emf"/></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tags" Target="../tags/tag116.xml"/><Relationship Id="rId18" Type="http://schemas.openxmlformats.org/officeDocument/2006/relationships/tags" Target="../tags/tag121.xml"/><Relationship Id="rId26" Type="http://schemas.openxmlformats.org/officeDocument/2006/relationships/image" Target="../media/image18.png"/><Relationship Id="rId3" Type="http://schemas.openxmlformats.org/officeDocument/2006/relationships/slideLayout" Target="../slideLayouts/slideLayout62.xml"/><Relationship Id="rId21" Type="http://schemas.openxmlformats.org/officeDocument/2006/relationships/tags" Target="../tags/tag124.xml"/><Relationship Id="rId7" Type="http://schemas.openxmlformats.org/officeDocument/2006/relationships/tags" Target="../tags/tag110.xml"/><Relationship Id="rId12" Type="http://schemas.openxmlformats.org/officeDocument/2006/relationships/tags" Target="../tags/tag115.xml"/><Relationship Id="rId17" Type="http://schemas.openxmlformats.org/officeDocument/2006/relationships/tags" Target="../tags/tag120.xml"/><Relationship Id="rId25" Type="http://schemas.openxmlformats.org/officeDocument/2006/relationships/image" Target="../media/image17.emf"/><Relationship Id="rId2" Type="http://schemas.openxmlformats.org/officeDocument/2006/relationships/slideLayout" Target="../slideLayouts/slideLayout61.xml"/><Relationship Id="rId16" Type="http://schemas.openxmlformats.org/officeDocument/2006/relationships/tags" Target="../tags/tag119.xml"/><Relationship Id="rId20" Type="http://schemas.openxmlformats.org/officeDocument/2006/relationships/tags" Target="../tags/tag123.xml"/><Relationship Id="rId1" Type="http://schemas.openxmlformats.org/officeDocument/2006/relationships/slideLayout" Target="../slideLayouts/slideLayout60.xml"/><Relationship Id="rId6" Type="http://schemas.openxmlformats.org/officeDocument/2006/relationships/tags" Target="../tags/tag109.xml"/><Relationship Id="rId11" Type="http://schemas.openxmlformats.org/officeDocument/2006/relationships/tags" Target="../tags/tag114.xml"/><Relationship Id="rId24" Type="http://schemas.openxmlformats.org/officeDocument/2006/relationships/image" Target="../media/image16.emf"/><Relationship Id="rId5" Type="http://schemas.openxmlformats.org/officeDocument/2006/relationships/vmlDrawing" Target="../drawings/vmlDrawing44.vml"/><Relationship Id="rId15" Type="http://schemas.openxmlformats.org/officeDocument/2006/relationships/tags" Target="../tags/tag118.xml"/><Relationship Id="rId23" Type="http://schemas.openxmlformats.org/officeDocument/2006/relationships/oleObject" Target="../embeddings/oleObject44.bin"/><Relationship Id="rId10" Type="http://schemas.openxmlformats.org/officeDocument/2006/relationships/tags" Target="../tags/tag113.xml"/><Relationship Id="rId19" Type="http://schemas.openxmlformats.org/officeDocument/2006/relationships/tags" Target="../tags/tag122.xml"/><Relationship Id="rId4" Type="http://schemas.openxmlformats.org/officeDocument/2006/relationships/theme" Target="../theme/theme9.xml"/><Relationship Id="rId9" Type="http://schemas.openxmlformats.org/officeDocument/2006/relationships/tags" Target="../tags/tag112.xml"/><Relationship Id="rId14" Type="http://schemas.openxmlformats.org/officeDocument/2006/relationships/tags" Target="../tags/tag117.xml"/><Relationship Id="rId22" Type="http://schemas.openxmlformats.org/officeDocument/2006/relationships/tags" Target="../tags/tag12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alpha val="10980"/>
          </a:schemeClr>
        </a:solidFill>
        <a:effectLst/>
      </p:bgPr>
    </p:bg>
    <p:spTree>
      <p:nvGrpSpPr>
        <p:cNvPr id="1" name="Shape 9"/>
        <p:cNvGrpSpPr/>
        <p:nvPr/>
      </p:nvGrpSpPr>
      <p:grpSpPr>
        <a:xfrm>
          <a:off x="0" y="0"/>
          <a:ext cx="0" cy="0"/>
          <a:chOff x="0" y="0"/>
          <a:chExt cx="0" cy="0"/>
        </a:xfrm>
      </p:grpSpPr>
      <p:pic>
        <p:nvPicPr>
          <p:cNvPr id="10" name="Google Shape;10;p1"/>
          <p:cNvPicPr preferRelativeResize="0"/>
          <p:nvPr/>
        </p:nvPicPr>
        <p:blipFill rotWithShape="1">
          <a:blip r:embed="rId9">
            <a:alphaModFix/>
          </a:blip>
          <a:srcRect/>
          <a:stretch/>
        </p:blipFill>
        <p:spPr>
          <a:xfrm>
            <a:off x="1588" y="1588"/>
            <a:ext cx="1588" cy="1588"/>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48" r:id="rId1"/>
    <p:sldLayoutId id="2147483650" r:id="rId2"/>
    <p:sldLayoutId id="2147483651" r:id="rId3"/>
    <p:sldLayoutId id="2147483652" r:id="rId4"/>
    <p:sldLayoutId id="2147483653" r:id="rId5"/>
    <p:sldLayoutId id="2147483654" r:id="rId6"/>
    <p:sldLayoutId id="2147483655" r:id="rId7"/>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nvPr>
        </p:nvGraphicFramePr>
        <p:xfrm>
          <a:off x="0" y="0"/>
          <a:ext cx="175483" cy="161974"/>
        </p:xfrm>
        <a:graphic>
          <a:graphicData uri="http://schemas.openxmlformats.org/presentationml/2006/ole">
            <mc:AlternateContent xmlns:mc="http://schemas.openxmlformats.org/markup-compatibility/2006">
              <mc:Choice xmlns:v="urn:schemas-microsoft-com:vml" Requires="v">
                <p:oleObj spid="_x0000_s73742"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75483" cy="161974"/>
                      </a:xfrm>
                      <a:prstGeom prst="rect">
                        <a:avLst/>
                      </a:prstGeom>
                    </p:spPr>
                  </p:pic>
                </p:oleObj>
              </mc:Fallback>
            </mc:AlternateContent>
          </a:graphicData>
        </a:graphic>
      </p:graphicFrame>
      <p:pic>
        <p:nvPicPr>
          <p:cNvPr id="59" name="Picture 58"/>
          <p:cNvPicPr>
            <a:picLocks/>
          </p:cNvPicPr>
          <p:nvPr userDrawn="1"/>
        </p:nvPicPr>
        <p:blipFill>
          <a:blip r:embed="rId25" cstate="print"/>
          <a:stretch>
            <a:fillRect/>
          </a:stretch>
        </p:blipFill>
        <p:spPr bwMode="auto">
          <a:xfrm>
            <a:off x="189523" y="681170"/>
            <a:ext cx="8065476" cy="50511"/>
          </a:xfrm>
          <a:prstGeom prst="rect">
            <a:avLst/>
          </a:prstGeom>
        </p:spPr>
      </p:pic>
      <p:pic>
        <p:nvPicPr>
          <p:cNvPr id="60" name="Picture 59" descr="AGRALogo.png"/>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bwMode="ltGray">
          <a:xfrm>
            <a:off x="8329382" y="388621"/>
            <a:ext cx="1354131" cy="530864"/>
          </a:xfrm>
          <a:prstGeom prst="rect">
            <a:avLst/>
          </a:prstGeom>
        </p:spPr>
      </p:pic>
      <p:sp>
        <p:nvSpPr>
          <p:cNvPr id="1033" name="doc id"/>
          <p:cNvSpPr>
            <a:spLocks noChangeArrowheads="1"/>
          </p:cNvSpPr>
          <p:nvPr/>
        </p:nvSpPr>
        <p:spPr bwMode="auto">
          <a:xfrm>
            <a:off x="8933827" y="37255"/>
            <a:ext cx="726499"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29" fontAlgn="base">
              <a:spcBef>
                <a:spcPct val="0"/>
              </a:spcBef>
              <a:spcAft>
                <a:spcPct val="0"/>
              </a:spcAft>
              <a:buClrTx/>
              <a:buFontTx/>
              <a:buNone/>
            </a:pPr>
            <a:endParaRPr lang="en-US" sz="800" kern="1200" dirty="0">
              <a:ea typeface="+mn-ea"/>
              <a:cs typeface="+mn-cs"/>
            </a:endParaRPr>
          </a:p>
        </p:txBody>
      </p:sp>
      <p:sp>
        <p:nvSpPr>
          <p:cNvPr id="1036" name="Rectangle 286"/>
          <p:cNvSpPr>
            <a:spLocks noGrp="1" noChangeArrowheads="1"/>
          </p:cNvSpPr>
          <p:nvPr>
            <p:ph type="body" idx="1"/>
          </p:nvPr>
        </p:nvSpPr>
        <p:spPr bwMode="auto">
          <a:xfrm>
            <a:off x="1878084" y="2508985"/>
            <a:ext cx="475558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247650" y="388621"/>
            <a:ext cx="80073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247690" y="8087"/>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buClrTx/>
              <a:buFontTx/>
              <a:buNone/>
            </a:pPr>
            <a:r>
              <a:rPr lang="en-US" sz="1000" kern="1200" dirty="0">
                <a:solidFill>
                  <a:srgbClr val="808080"/>
                </a:solidFill>
                <a:ea typeface="+mn-ea"/>
                <a:cs typeface="+mn-cs"/>
              </a:rPr>
              <a:t>TRACKER</a:t>
            </a:r>
          </a:p>
        </p:txBody>
      </p:sp>
      <p:sp>
        <p:nvSpPr>
          <p:cNvPr id="11" name="3. Unit of measure" hidden="1"/>
          <p:cNvSpPr txBox="1">
            <a:spLocks noChangeArrowheads="1"/>
          </p:cNvSpPr>
          <p:nvPr/>
        </p:nvSpPr>
        <p:spPr bwMode="auto">
          <a:xfrm>
            <a:off x="247650" y="749678"/>
            <a:ext cx="80073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buClrTx/>
              <a:buFontTx/>
              <a:buNone/>
              <a:defRPr/>
            </a:pPr>
            <a:r>
              <a:rPr lang="en-US" sz="1600" kern="1200" dirty="0">
                <a:solidFill>
                  <a:srgbClr val="808080"/>
                </a:solidFill>
                <a:latin typeface="Arial"/>
                <a:ea typeface="+mn-ea"/>
                <a:cs typeface="+mn-cs"/>
              </a:rPr>
              <a:t>Unit of measure</a:t>
            </a:r>
          </a:p>
        </p:txBody>
      </p:sp>
      <p:grpSp>
        <p:nvGrpSpPr>
          <p:cNvPr id="15" name="ACET" hidden="1"/>
          <p:cNvGrpSpPr>
            <a:grpSpLocks/>
          </p:cNvGrpSpPr>
          <p:nvPr/>
        </p:nvGrpSpPr>
        <p:grpSpPr bwMode="auto">
          <a:xfrm>
            <a:off x="1878084" y="1915010"/>
            <a:ext cx="4713466"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buClrTx/>
                <a:buFontTx/>
                <a:buNone/>
              </a:pPr>
              <a:r>
                <a:rPr lang="en-US" sz="1600" b="1" kern="1200" dirty="0">
                  <a:ea typeface="+mn-ea"/>
                  <a:cs typeface="+mn-cs"/>
                </a:rPr>
                <a:t>Title</a:t>
              </a:r>
            </a:p>
            <a:p>
              <a:pPr fontAlgn="base">
                <a:spcBef>
                  <a:spcPct val="0"/>
                </a:spcBef>
                <a:spcAft>
                  <a:spcPct val="0"/>
                </a:spcAft>
                <a:buClrTx/>
                <a:buFontTx/>
                <a:buNone/>
              </a:pPr>
              <a:r>
                <a:rPr lang="en-US" sz="1600" kern="1200" dirty="0">
                  <a:solidFill>
                    <a:srgbClr val="808080"/>
                  </a:solidFill>
                  <a:ea typeface="+mn-ea"/>
                  <a:cs typeface="+mn-cs"/>
                </a:rPr>
                <a:t>Unit of measure</a:t>
              </a:r>
            </a:p>
          </p:txBody>
        </p:sp>
      </p:grpSp>
      <p:sp>
        <p:nvSpPr>
          <p:cNvPr id="104" name="Slide Number"/>
          <p:cNvSpPr txBox="1">
            <a:spLocks/>
          </p:cNvSpPr>
          <p:nvPr userDrawn="1"/>
        </p:nvSpPr>
        <p:spPr bwMode="auto">
          <a:xfrm>
            <a:off x="9558393" y="6643759"/>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buClrTx/>
              <a:buFontTx/>
              <a:buNone/>
            </a:pPr>
            <a:fld id="{42C328C1-A84F-4A39-A664-DBA00541A8C6}" type="slidenum">
              <a:rPr lang="en-US" sz="800" kern="1200" smtClean="0">
                <a:ea typeface="+mn-ea"/>
                <a:cs typeface="+mn-cs"/>
              </a:rPr>
              <a:pPr algn="r" fontAlgn="base">
                <a:spcBef>
                  <a:spcPct val="0"/>
                </a:spcBef>
                <a:spcAft>
                  <a:spcPct val="0"/>
                </a:spcAft>
                <a:buClrTx/>
                <a:buFontTx/>
                <a:buNone/>
              </a:pPr>
              <a:t>‹#›</a:t>
            </a:fld>
            <a:endParaRPr lang="en-US" sz="800" kern="1200" dirty="0">
              <a:ea typeface="+mn-ea"/>
              <a:cs typeface="+mn-cs"/>
            </a:endParaRPr>
          </a:p>
        </p:txBody>
      </p:sp>
      <p:grpSp>
        <p:nvGrpSpPr>
          <p:cNvPr id="105" name="Slide Elements" hidden="1"/>
          <p:cNvGrpSpPr/>
          <p:nvPr userDrawn="1"/>
        </p:nvGrpSpPr>
        <p:grpSpPr bwMode="auto">
          <a:xfrm>
            <a:off x="247654" y="6441985"/>
            <a:ext cx="9336748" cy="324724"/>
            <a:chOff x="119063" y="6306659"/>
            <a:chExt cx="8618537" cy="324724"/>
          </a:xfrm>
        </p:grpSpPr>
        <p:sp>
          <p:nvSpPr>
            <p:cNvPr id="106" name="4. Footnote"/>
            <p:cNvSpPr txBox="1">
              <a:spLocks noChangeArrowheads="1"/>
            </p:cNvSpPr>
            <p:nvPr/>
          </p:nvSpPr>
          <p:spPr bwMode="auto">
            <a:xfrm>
              <a:off x="119063" y="6306659"/>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fontAlgn="base">
                <a:spcBef>
                  <a:spcPct val="0"/>
                </a:spcBef>
                <a:spcAft>
                  <a:spcPct val="0"/>
                </a:spcAft>
                <a:buClrTx/>
                <a:buFontTx/>
                <a:buNone/>
                <a:defRPr lang="x-none"/>
              </a:pPr>
              <a:r>
                <a:rPr sz="800" kern="1200" dirty="0">
                  <a:solidFill>
                    <a:srgbClr val="000000"/>
                  </a:solidFill>
                  <a:latin typeface="Arial"/>
                  <a:ea typeface="+mn-ea"/>
                  <a:cs typeface="+mn-cs"/>
                </a:rPr>
                <a:t>1 Footnote</a:t>
              </a:r>
            </a:p>
          </p:txBody>
        </p:sp>
        <p:sp>
          <p:nvSpPr>
            <p:cNvPr id="107" name="5. Source"/>
            <p:cNvSpPr>
              <a:spLocks noChangeArrowheads="1"/>
            </p:cNvSpPr>
            <p:nvPr/>
          </p:nvSpPr>
          <p:spPr bwMode="auto">
            <a:xfrm>
              <a:off x="119063" y="6508272"/>
              <a:ext cx="794619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9113" indent="-519113" defTabSz="895350" fontAlgn="base">
                <a:spcBef>
                  <a:spcPct val="0"/>
                </a:spcBef>
                <a:spcAft>
                  <a:spcPct val="0"/>
                </a:spcAft>
                <a:buClrTx/>
                <a:buFontTx/>
                <a:buNone/>
                <a:tabLst>
                  <a:tab pos="612775" algn="l"/>
                </a:tabLst>
              </a:pPr>
              <a:r>
                <a:rPr lang="x-none" sz="800" kern="1200" dirty="0">
                  <a:ea typeface="+mn-ea"/>
                  <a:cs typeface="+mn-cs"/>
                </a:rPr>
                <a:t>SOURCE : Source</a:t>
              </a:r>
              <a:endParaRPr lang="en-US" sz="800" kern="1200" dirty="0">
                <a:ea typeface="+mn-ea"/>
                <a:cs typeface="+mn-cs"/>
              </a:endParaRPr>
            </a:p>
          </p:txBody>
        </p:sp>
      </p:grpSp>
      <p:grpSp>
        <p:nvGrpSpPr>
          <p:cNvPr id="108" name="McKSticker" hidden="1"/>
          <p:cNvGrpSpPr/>
          <p:nvPr userDrawn="1"/>
        </p:nvGrpSpPr>
        <p:grpSpPr bwMode="auto">
          <a:xfrm>
            <a:off x="9209576" y="981082"/>
            <a:ext cx="473335" cy="150811"/>
            <a:chOff x="8303851" y="285750"/>
            <a:chExt cx="436924" cy="150811"/>
          </a:xfrm>
        </p:grpSpPr>
        <p:sp>
          <p:nvSpPr>
            <p:cNvPr id="109" name="StickerRectangle"/>
            <p:cNvSpPr>
              <a:spLocks noChangeArrowheads="1"/>
            </p:cNvSpPr>
            <p:nvPr/>
          </p:nvSpPr>
          <p:spPr bwMode="auto">
            <a:xfrm>
              <a:off x="8303851" y="285750"/>
              <a:ext cx="43692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2960"/>
                </a:buClr>
                <a:buFontTx/>
                <a:buNone/>
              </a:pPr>
              <a:r>
                <a:rPr lang="x-none" sz="800" kern="1200" dirty="0">
                  <a:solidFill>
                    <a:srgbClr val="808080"/>
                  </a:solidFill>
                  <a:ea typeface="+mn-ea"/>
                  <a:cs typeface="+mn-cs"/>
                </a:rPr>
                <a:t>STICKER</a:t>
              </a:r>
            </a:p>
          </p:txBody>
        </p:sp>
        <p:cxnSp>
          <p:nvCxnSpPr>
            <p:cNvPr id="110" name="AutoShape 31"/>
            <p:cNvCxnSpPr>
              <a:cxnSpLocks noChangeShapeType="1"/>
              <a:stCxn id="109" idx="2"/>
              <a:endCxn id="109" idx="4"/>
            </p:cNvCxnSpPr>
            <p:nvPr/>
          </p:nvCxnSpPr>
          <p:spPr bwMode="auto">
            <a:xfrm>
              <a:off x="8303851"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4"/>
              <a:endCxn id="109" idx="6"/>
            </p:cNvCxnSpPr>
            <p:nvPr/>
          </p:nvCxnSpPr>
          <p:spPr bwMode="auto">
            <a:xfrm>
              <a:off x="8303851" y="436561"/>
              <a:ext cx="436924"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12" name="LegendBoxes" hidden="1"/>
          <p:cNvGrpSpPr/>
          <p:nvPr userDrawn="1"/>
        </p:nvGrpSpPr>
        <p:grpSpPr bwMode="auto">
          <a:xfrm>
            <a:off x="8855846" y="974734"/>
            <a:ext cx="784921" cy="997467"/>
            <a:chOff x="7835905" y="279400"/>
            <a:chExt cx="724543" cy="997467"/>
          </a:xfrm>
        </p:grpSpPr>
        <p:sp>
          <p:nvSpPr>
            <p:cNvPr id="113"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4"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5"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6"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7" name="Legend1"/>
            <p:cNvSpPr>
              <a:spLocks noChangeArrowheads="1"/>
            </p:cNvSpPr>
            <p:nvPr/>
          </p:nvSpPr>
          <p:spPr bwMode="auto">
            <a:xfrm>
              <a:off x="8089905"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18" name="Legend2"/>
            <p:cNvSpPr>
              <a:spLocks noChangeArrowheads="1"/>
            </p:cNvSpPr>
            <p:nvPr/>
          </p:nvSpPr>
          <p:spPr bwMode="auto">
            <a:xfrm>
              <a:off x="8089905" y="54927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19" name="Legend3"/>
            <p:cNvSpPr>
              <a:spLocks noChangeArrowheads="1"/>
            </p:cNvSpPr>
            <p:nvPr/>
          </p:nvSpPr>
          <p:spPr bwMode="auto">
            <a:xfrm>
              <a:off x="8089905" y="820738"/>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20" name="Legend4"/>
            <p:cNvSpPr>
              <a:spLocks noChangeArrowheads="1"/>
            </p:cNvSpPr>
            <p:nvPr/>
          </p:nvSpPr>
          <p:spPr bwMode="auto">
            <a:xfrm>
              <a:off x="8089905" y="10922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grpSp>
      <p:grpSp>
        <p:nvGrpSpPr>
          <p:cNvPr id="121" name="LegendLines" hidden="1"/>
          <p:cNvGrpSpPr/>
          <p:nvPr userDrawn="1"/>
        </p:nvGrpSpPr>
        <p:grpSpPr bwMode="auto">
          <a:xfrm>
            <a:off x="8522391" y="974733"/>
            <a:ext cx="1118561" cy="730767"/>
            <a:chOff x="7540629" y="279400"/>
            <a:chExt cx="1032518" cy="730767"/>
          </a:xfrm>
        </p:grpSpPr>
        <p:sp>
          <p:nvSpPr>
            <p:cNvPr id="122"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dirty="0">
                <a:ea typeface="+mn-ea"/>
                <a:cs typeface="+mn-cs"/>
              </a:endParaRPr>
            </a:p>
          </p:txBody>
        </p:sp>
        <p:sp>
          <p:nvSpPr>
            <p:cNvPr id="123"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dirty="0">
                <a:ea typeface="+mn-ea"/>
                <a:cs typeface="+mn-cs"/>
              </a:endParaRPr>
            </a:p>
          </p:txBody>
        </p:sp>
        <p:sp>
          <p:nvSpPr>
            <p:cNvPr id="124"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dirty="0">
                <a:ea typeface="+mn-ea"/>
                <a:cs typeface="+mn-cs"/>
              </a:endParaRPr>
            </a:p>
          </p:txBody>
        </p:sp>
        <p:sp>
          <p:nvSpPr>
            <p:cNvPr id="125" name="Legend1"/>
            <p:cNvSpPr>
              <a:spLocks noChangeArrowheads="1"/>
            </p:cNvSpPr>
            <p:nvPr/>
          </p:nvSpPr>
          <p:spPr bwMode="auto">
            <a:xfrm>
              <a:off x="8102604"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26" name="Legend2"/>
            <p:cNvSpPr>
              <a:spLocks noChangeArrowheads="1"/>
            </p:cNvSpPr>
            <p:nvPr/>
          </p:nvSpPr>
          <p:spPr bwMode="auto">
            <a:xfrm>
              <a:off x="8102604" y="5461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27" name="Legend3"/>
            <p:cNvSpPr>
              <a:spLocks noChangeArrowheads="1"/>
            </p:cNvSpPr>
            <p:nvPr/>
          </p:nvSpPr>
          <p:spPr bwMode="auto">
            <a:xfrm>
              <a:off x="8102604" y="8255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grpSp>
      <p:grpSp>
        <p:nvGrpSpPr>
          <p:cNvPr id="128" name="LegendMoons" hidden="1"/>
          <p:cNvGrpSpPr/>
          <p:nvPr userDrawn="1"/>
        </p:nvGrpSpPr>
        <p:grpSpPr bwMode="auto">
          <a:xfrm>
            <a:off x="8783531" y="946154"/>
            <a:ext cx="857153" cy="1306516"/>
            <a:chOff x="7769225" y="250825"/>
            <a:chExt cx="791218" cy="1306516"/>
          </a:xfrm>
        </p:grpSpPr>
        <p:grpSp>
          <p:nvGrpSpPr>
            <p:cNvPr id="129" name="MoonLegend1"/>
            <p:cNvGrpSpPr>
              <a:grpSpLocks noChangeAspect="1"/>
            </p:cNvGrpSpPr>
            <p:nvPr>
              <p:custDataLst>
                <p:tags r:id="rId8"/>
              </p:custDataLst>
            </p:nvPr>
          </p:nvGrpSpPr>
          <p:grpSpPr bwMode="auto">
            <a:xfrm>
              <a:off x="7769225" y="250825"/>
              <a:ext cx="209550" cy="209551"/>
              <a:chOff x="4533" y="183"/>
              <a:chExt cx="144" cy="144"/>
            </a:xfrm>
          </p:grpSpPr>
          <p:sp>
            <p:nvSpPr>
              <p:cNvPr id="147"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8" name="Arc 39"/>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0" name="MoonLegend2"/>
            <p:cNvGrpSpPr>
              <a:grpSpLocks noChangeAspect="1"/>
            </p:cNvGrpSpPr>
            <p:nvPr>
              <p:custDataLst>
                <p:tags r:id="rId9"/>
              </p:custDataLst>
            </p:nvPr>
          </p:nvGrpSpPr>
          <p:grpSpPr bwMode="auto">
            <a:xfrm>
              <a:off x="7769225" y="525066"/>
              <a:ext cx="209550" cy="209551"/>
              <a:chOff x="1694" y="2044"/>
              <a:chExt cx="160" cy="160"/>
            </a:xfrm>
          </p:grpSpPr>
          <p:sp>
            <p:nvSpPr>
              <p:cNvPr id="145"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6" name="Arc 42"/>
              <p:cNvSpPr>
                <a:spLocks noChangeAspect="1"/>
              </p:cNvSpPr>
              <p:nvPr>
                <p:custDataLst>
                  <p:tags r:id="rId20"/>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1" name="MoonLegend4"/>
            <p:cNvGrpSpPr>
              <a:grpSpLocks noChangeAspect="1"/>
            </p:cNvGrpSpPr>
            <p:nvPr>
              <p:custDataLst>
                <p:tags r:id="rId10"/>
              </p:custDataLst>
            </p:nvPr>
          </p:nvGrpSpPr>
          <p:grpSpPr bwMode="auto">
            <a:xfrm>
              <a:off x="7769225" y="1073548"/>
              <a:ext cx="209550" cy="209551"/>
              <a:chOff x="4495" y="1198"/>
              <a:chExt cx="160" cy="160"/>
            </a:xfrm>
          </p:grpSpPr>
          <p:sp>
            <p:nvSpPr>
              <p:cNvPr id="143"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4"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2" name="MoonLegend5"/>
            <p:cNvGrpSpPr>
              <a:grpSpLocks noChangeAspect="1"/>
            </p:cNvGrpSpPr>
            <p:nvPr>
              <p:custDataLst>
                <p:tags r:id="rId11"/>
              </p:custDataLst>
            </p:nvPr>
          </p:nvGrpSpPr>
          <p:grpSpPr bwMode="auto">
            <a:xfrm>
              <a:off x="7769225" y="1347790"/>
              <a:ext cx="209550" cy="209551"/>
              <a:chOff x="4495" y="1440"/>
              <a:chExt cx="160" cy="160"/>
            </a:xfrm>
          </p:grpSpPr>
          <p:sp>
            <p:nvSpPr>
              <p:cNvPr id="141"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2"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3" name="MoonLegend3"/>
            <p:cNvGrpSpPr>
              <a:grpSpLocks noChangeAspect="1"/>
            </p:cNvGrpSpPr>
            <p:nvPr>
              <p:custDataLst>
                <p:tags r:id="rId12"/>
              </p:custDataLst>
            </p:nvPr>
          </p:nvGrpSpPr>
          <p:grpSpPr bwMode="auto">
            <a:xfrm>
              <a:off x="7769225" y="799307"/>
              <a:ext cx="209550" cy="209551"/>
              <a:chOff x="4495" y="1198"/>
              <a:chExt cx="160" cy="160"/>
            </a:xfrm>
          </p:grpSpPr>
          <p:sp>
            <p:nvSpPr>
              <p:cNvPr id="139"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0"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sp>
          <p:nvSpPr>
            <p:cNvPr id="134" name="Legend1"/>
            <p:cNvSpPr>
              <a:spLocks noChangeArrowheads="1"/>
            </p:cNvSpPr>
            <p:nvPr/>
          </p:nvSpPr>
          <p:spPr bwMode="auto">
            <a:xfrm>
              <a:off x="8089900" y="26352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35" name="Legend2"/>
            <p:cNvSpPr>
              <a:spLocks noChangeArrowheads="1"/>
            </p:cNvSpPr>
            <p:nvPr/>
          </p:nvSpPr>
          <p:spPr bwMode="auto">
            <a:xfrm>
              <a:off x="8089900" y="538163"/>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36" name="Legend3"/>
            <p:cNvSpPr>
              <a:spLocks noChangeArrowheads="1"/>
            </p:cNvSpPr>
            <p:nvPr/>
          </p:nvSpPr>
          <p:spPr bwMode="auto">
            <a:xfrm>
              <a:off x="8089900" y="812802"/>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37" name="Legend4"/>
            <p:cNvSpPr>
              <a:spLocks noChangeArrowheads="1"/>
            </p:cNvSpPr>
            <p:nvPr/>
          </p:nvSpPr>
          <p:spPr bwMode="auto">
            <a:xfrm>
              <a:off x="8089900" y="108426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38" name="Legend5"/>
            <p:cNvSpPr>
              <a:spLocks noChangeArrowheads="1"/>
            </p:cNvSpPr>
            <p:nvPr/>
          </p:nvSpPr>
          <p:spPr bwMode="auto">
            <a:xfrm>
              <a:off x="8089900" y="136049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grpSp>
    </p:spTree>
    <p:extLst>
      <p:ext uri="{BB962C8B-B14F-4D97-AF65-F5344CB8AC3E}">
        <p14:creationId xmlns:p14="http://schemas.microsoft.com/office/powerpoint/2010/main" val="2942035210"/>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4" r:id="rId4"/>
  </p:sldLayoutIdLst>
  <p:hf hdr="0" ftr="0" dt="0"/>
  <p:txStyles>
    <p:titleStyle>
      <a:lvl1pPr algn="l" defTabSz="913429" rtl="0" eaLnBrk="1" fontAlgn="base" hangingPunct="1">
        <a:spcBef>
          <a:spcPct val="0"/>
        </a:spcBef>
        <a:spcAft>
          <a:spcPct val="0"/>
        </a:spcAft>
        <a:tabLst>
          <a:tab pos="275324" algn="l"/>
        </a:tabLst>
        <a:defRPr sz="19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2519624612"/>
              </p:ext>
            </p:extLst>
          </p:nvPr>
        </p:nvGraphicFramePr>
        <p:xfrm>
          <a:off x="0" y="0"/>
          <a:ext cx="175483" cy="161974"/>
        </p:xfrm>
        <a:graphic>
          <a:graphicData uri="http://schemas.openxmlformats.org/presentationml/2006/ole">
            <mc:AlternateContent xmlns:mc="http://schemas.openxmlformats.org/markup-compatibility/2006">
              <mc:Choice xmlns:v="urn:schemas-microsoft-com:vml" Requires="v">
                <p:oleObj spid="_x0000_s78862"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0" y="0"/>
                        <a:ext cx="175483" cy="161974"/>
                      </a:xfrm>
                      <a:prstGeom prst="rect">
                        <a:avLst/>
                      </a:prstGeom>
                    </p:spPr>
                  </p:pic>
                </p:oleObj>
              </mc:Fallback>
            </mc:AlternateContent>
          </a:graphicData>
        </a:graphic>
      </p:graphicFrame>
      <p:sp>
        <p:nvSpPr>
          <p:cNvPr id="3" name="Rectangle 2" hidden="1"/>
          <p:cNvSpPr/>
          <p:nvPr userDrawn="1">
            <p:custDataLst>
              <p:tags r:id="rId6"/>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1900" b="1" i="0" baseline="0" dirty="0">
              <a:solidFill>
                <a:schemeClr val="tx1"/>
              </a:solidFill>
              <a:latin typeface="Arial" panose="020B0604020202020204" pitchFamily="34" charset="0"/>
              <a:ea typeface="+mj-ea"/>
              <a:cs typeface="+mj-cs"/>
              <a:sym typeface="Arial" panose="020B0604020202020204" pitchFamily="34" charset="0"/>
            </a:endParaRPr>
          </a:p>
        </p:txBody>
      </p:sp>
      <p:pic>
        <p:nvPicPr>
          <p:cNvPr id="59" name="Picture 58"/>
          <p:cNvPicPr>
            <a:picLocks/>
          </p:cNvPicPr>
          <p:nvPr userDrawn="1"/>
        </p:nvPicPr>
        <p:blipFill>
          <a:blip r:embed="rId24" cstate="print"/>
          <a:stretch>
            <a:fillRect/>
          </a:stretch>
        </p:blipFill>
        <p:spPr bwMode="auto">
          <a:xfrm>
            <a:off x="189523" y="681170"/>
            <a:ext cx="8065476" cy="50511"/>
          </a:xfrm>
          <a:prstGeom prst="rect">
            <a:avLst/>
          </a:prstGeom>
        </p:spPr>
      </p:pic>
      <p:pic>
        <p:nvPicPr>
          <p:cNvPr id="60" name="Picture 59" descr="AGRALogo.png"/>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bwMode="ltGray">
          <a:xfrm>
            <a:off x="8329382" y="388621"/>
            <a:ext cx="1354131" cy="530864"/>
          </a:xfrm>
          <a:prstGeom prst="rect">
            <a:avLst/>
          </a:prstGeom>
        </p:spPr>
      </p:pic>
      <p:sp>
        <p:nvSpPr>
          <p:cNvPr id="1033" name="doc id"/>
          <p:cNvSpPr>
            <a:spLocks noChangeArrowheads="1"/>
          </p:cNvSpPr>
          <p:nvPr/>
        </p:nvSpPr>
        <p:spPr bwMode="auto">
          <a:xfrm>
            <a:off x="8933827" y="37255"/>
            <a:ext cx="726499"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29" fontAlgn="base">
              <a:spcBef>
                <a:spcPct val="0"/>
              </a:spcBef>
              <a:spcAft>
                <a:spcPct val="0"/>
              </a:spcAft>
              <a:buClrTx/>
              <a:buFontTx/>
              <a:buNone/>
            </a:pPr>
            <a:endParaRPr lang="en-US" sz="800" kern="1200" dirty="0">
              <a:ea typeface="+mn-ea"/>
              <a:cs typeface="+mn-cs"/>
            </a:endParaRPr>
          </a:p>
        </p:txBody>
      </p:sp>
      <p:sp>
        <p:nvSpPr>
          <p:cNvPr id="1036" name="Rectangle 286"/>
          <p:cNvSpPr>
            <a:spLocks noGrp="1" noChangeArrowheads="1"/>
          </p:cNvSpPr>
          <p:nvPr>
            <p:ph type="body" idx="1"/>
          </p:nvPr>
        </p:nvSpPr>
        <p:spPr bwMode="auto">
          <a:xfrm>
            <a:off x="1878084" y="2508985"/>
            <a:ext cx="475558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247650" y="388621"/>
            <a:ext cx="80073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247690" y="8087"/>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buClrTx/>
              <a:buFontTx/>
              <a:buNone/>
            </a:pPr>
            <a:r>
              <a:rPr lang="en-US" sz="1000" kern="1200" dirty="0">
                <a:solidFill>
                  <a:srgbClr val="808080"/>
                </a:solidFill>
                <a:ea typeface="+mn-ea"/>
                <a:cs typeface="+mn-cs"/>
              </a:rPr>
              <a:t>TRACKER</a:t>
            </a:r>
          </a:p>
        </p:txBody>
      </p:sp>
      <p:sp>
        <p:nvSpPr>
          <p:cNvPr id="11" name="3. Unit of measure" hidden="1"/>
          <p:cNvSpPr txBox="1">
            <a:spLocks noChangeArrowheads="1"/>
          </p:cNvSpPr>
          <p:nvPr/>
        </p:nvSpPr>
        <p:spPr bwMode="auto">
          <a:xfrm>
            <a:off x="247650" y="749678"/>
            <a:ext cx="80073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buClrTx/>
              <a:buFontTx/>
              <a:buNone/>
              <a:defRPr/>
            </a:pPr>
            <a:r>
              <a:rPr lang="en-US" sz="1600" kern="1200" dirty="0">
                <a:solidFill>
                  <a:srgbClr val="808080"/>
                </a:solidFill>
                <a:latin typeface="Arial"/>
                <a:ea typeface="+mn-ea"/>
                <a:cs typeface="+mn-cs"/>
              </a:rPr>
              <a:t>Unit of measure</a:t>
            </a:r>
          </a:p>
        </p:txBody>
      </p:sp>
      <p:grpSp>
        <p:nvGrpSpPr>
          <p:cNvPr id="15" name="ACET" hidden="1"/>
          <p:cNvGrpSpPr>
            <a:grpSpLocks/>
          </p:cNvGrpSpPr>
          <p:nvPr/>
        </p:nvGrpSpPr>
        <p:grpSpPr bwMode="auto">
          <a:xfrm>
            <a:off x="1878084" y="1915010"/>
            <a:ext cx="4713466"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buClrTx/>
                <a:buFontTx/>
                <a:buNone/>
              </a:pPr>
              <a:r>
                <a:rPr lang="en-US" sz="1600" b="1" kern="1200" dirty="0">
                  <a:ea typeface="+mn-ea"/>
                  <a:cs typeface="+mn-cs"/>
                </a:rPr>
                <a:t>Title</a:t>
              </a:r>
            </a:p>
            <a:p>
              <a:pPr fontAlgn="base">
                <a:spcBef>
                  <a:spcPct val="0"/>
                </a:spcBef>
                <a:spcAft>
                  <a:spcPct val="0"/>
                </a:spcAft>
                <a:buClrTx/>
                <a:buFontTx/>
                <a:buNone/>
              </a:pPr>
              <a:r>
                <a:rPr lang="en-US" sz="1600" kern="1200" dirty="0">
                  <a:solidFill>
                    <a:srgbClr val="808080"/>
                  </a:solidFill>
                  <a:ea typeface="+mn-ea"/>
                  <a:cs typeface="+mn-cs"/>
                </a:rPr>
                <a:t>Unit of measure</a:t>
              </a:r>
            </a:p>
          </p:txBody>
        </p:sp>
      </p:grpSp>
      <p:sp>
        <p:nvSpPr>
          <p:cNvPr id="104" name="Slide Number"/>
          <p:cNvSpPr txBox="1">
            <a:spLocks/>
          </p:cNvSpPr>
          <p:nvPr userDrawn="1"/>
        </p:nvSpPr>
        <p:spPr bwMode="auto">
          <a:xfrm>
            <a:off x="9558393" y="6643759"/>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buClrTx/>
              <a:buFontTx/>
              <a:buNone/>
            </a:pPr>
            <a:fld id="{42C328C1-A84F-4A39-A664-DBA00541A8C6}" type="slidenum">
              <a:rPr lang="en-US" sz="800" kern="1200" smtClean="0">
                <a:ea typeface="+mn-ea"/>
                <a:cs typeface="+mn-cs"/>
              </a:rPr>
              <a:pPr algn="r" fontAlgn="base">
                <a:spcBef>
                  <a:spcPct val="0"/>
                </a:spcBef>
                <a:spcAft>
                  <a:spcPct val="0"/>
                </a:spcAft>
                <a:buClrTx/>
                <a:buFontTx/>
                <a:buNone/>
              </a:pPr>
              <a:t>‹#›</a:t>
            </a:fld>
            <a:endParaRPr lang="en-US" sz="800" kern="1200" dirty="0">
              <a:ea typeface="+mn-ea"/>
              <a:cs typeface="+mn-cs"/>
            </a:endParaRPr>
          </a:p>
        </p:txBody>
      </p:sp>
      <p:grpSp>
        <p:nvGrpSpPr>
          <p:cNvPr id="105" name="Slide Elements" hidden="1"/>
          <p:cNvGrpSpPr/>
          <p:nvPr userDrawn="1"/>
        </p:nvGrpSpPr>
        <p:grpSpPr bwMode="auto">
          <a:xfrm>
            <a:off x="247654" y="6441985"/>
            <a:ext cx="9336748" cy="324724"/>
            <a:chOff x="119063" y="6306659"/>
            <a:chExt cx="8618537" cy="324724"/>
          </a:xfrm>
        </p:grpSpPr>
        <p:sp>
          <p:nvSpPr>
            <p:cNvPr id="106" name="4. Footnote"/>
            <p:cNvSpPr txBox="1">
              <a:spLocks noChangeArrowheads="1"/>
            </p:cNvSpPr>
            <p:nvPr/>
          </p:nvSpPr>
          <p:spPr bwMode="auto">
            <a:xfrm>
              <a:off x="119063" y="6306659"/>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fontAlgn="base">
                <a:spcBef>
                  <a:spcPct val="0"/>
                </a:spcBef>
                <a:spcAft>
                  <a:spcPct val="0"/>
                </a:spcAft>
                <a:buClrTx/>
                <a:buFontTx/>
                <a:buNone/>
                <a:defRPr lang="x-none"/>
              </a:pPr>
              <a:r>
                <a:rPr sz="800" kern="1200" dirty="0">
                  <a:solidFill>
                    <a:srgbClr val="000000"/>
                  </a:solidFill>
                  <a:latin typeface="Arial"/>
                  <a:ea typeface="+mn-ea"/>
                  <a:cs typeface="+mn-cs"/>
                </a:rPr>
                <a:t>1 Footnote</a:t>
              </a:r>
            </a:p>
          </p:txBody>
        </p:sp>
        <p:sp>
          <p:nvSpPr>
            <p:cNvPr id="107" name="5. Source"/>
            <p:cNvSpPr>
              <a:spLocks noChangeArrowheads="1"/>
            </p:cNvSpPr>
            <p:nvPr/>
          </p:nvSpPr>
          <p:spPr bwMode="auto">
            <a:xfrm>
              <a:off x="119063" y="6508272"/>
              <a:ext cx="794619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9113" indent="-519113" defTabSz="895350" fontAlgn="base">
                <a:spcBef>
                  <a:spcPct val="0"/>
                </a:spcBef>
                <a:spcAft>
                  <a:spcPct val="0"/>
                </a:spcAft>
                <a:buClrTx/>
                <a:buFontTx/>
                <a:buNone/>
                <a:tabLst>
                  <a:tab pos="612775" algn="l"/>
                </a:tabLst>
              </a:pPr>
              <a:r>
                <a:rPr lang="x-none" sz="800" kern="1200" dirty="0">
                  <a:ea typeface="+mn-ea"/>
                  <a:cs typeface="+mn-cs"/>
                </a:rPr>
                <a:t>SOURCE : Source</a:t>
              </a:r>
              <a:endParaRPr lang="en-US" sz="800" kern="1200" dirty="0">
                <a:ea typeface="+mn-ea"/>
                <a:cs typeface="+mn-cs"/>
              </a:endParaRPr>
            </a:p>
          </p:txBody>
        </p:sp>
      </p:grpSp>
      <p:grpSp>
        <p:nvGrpSpPr>
          <p:cNvPr id="108" name="McKSticker" hidden="1"/>
          <p:cNvGrpSpPr/>
          <p:nvPr userDrawn="1"/>
        </p:nvGrpSpPr>
        <p:grpSpPr bwMode="auto">
          <a:xfrm>
            <a:off x="9209576" y="981082"/>
            <a:ext cx="473335" cy="150811"/>
            <a:chOff x="8303851" y="285750"/>
            <a:chExt cx="436924" cy="150811"/>
          </a:xfrm>
        </p:grpSpPr>
        <p:sp>
          <p:nvSpPr>
            <p:cNvPr id="109" name="StickerRectangle"/>
            <p:cNvSpPr>
              <a:spLocks noChangeArrowheads="1"/>
            </p:cNvSpPr>
            <p:nvPr/>
          </p:nvSpPr>
          <p:spPr bwMode="auto">
            <a:xfrm>
              <a:off x="8303851" y="285750"/>
              <a:ext cx="43692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2960"/>
                </a:buClr>
                <a:buFontTx/>
                <a:buNone/>
              </a:pPr>
              <a:r>
                <a:rPr lang="x-none" sz="800" kern="1200" dirty="0">
                  <a:solidFill>
                    <a:srgbClr val="808080"/>
                  </a:solidFill>
                  <a:ea typeface="+mn-ea"/>
                  <a:cs typeface="+mn-cs"/>
                </a:rPr>
                <a:t>STICKER</a:t>
              </a:r>
            </a:p>
          </p:txBody>
        </p:sp>
        <p:cxnSp>
          <p:nvCxnSpPr>
            <p:cNvPr id="110" name="AutoShape 31"/>
            <p:cNvCxnSpPr>
              <a:cxnSpLocks noChangeShapeType="1"/>
              <a:stCxn id="109" idx="2"/>
              <a:endCxn id="109" idx="4"/>
            </p:cNvCxnSpPr>
            <p:nvPr/>
          </p:nvCxnSpPr>
          <p:spPr bwMode="auto">
            <a:xfrm>
              <a:off x="8303851"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4"/>
              <a:endCxn id="109" idx="6"/>
            </p:cNvCxnSpPr>
            <p:nvPr/>
          </p:nvCxnSpPr>
          <p:spPr bwMode="auto">
            <a:xfrm>
              <a:off x="8303851" y="436561"/>
              <a:ext cx="436924"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12" name="LegendBoxes" hidden="1"/>
          <p:cNvGrpSpPr/>
          <p:nvPr userDrawn="1"/>
        </p:nvGrpSpPr>
        <p:grpSpPr bwMode="auto">
          <a:xfrm>
            <a:off x="8855846" y="974734"/>
            <a:ext cx="784921" cy="997467"/>
            <a:chOff x="7835905" y="279400"/>
            <a:chExt cx="724543" cy="997467"/>
          </a:xfrm>
        </p:grpSpPr>
        <p:sp>
          <p:nvSpPr>
            <p:cNvPr id="113"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4"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5"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6"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7" name="Legend1"/>
            <p:cNvSpPr>
              <a:spLocks noChangeArrowheads="1"/>
            </p:cNvSpPr>
            <p:nvPr/>
          </p:nvSpPr>
          <p:spPr bwMode="auto">
            <a:xfrm>
              <a:off x="8089905"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18" name="Legend2"/>
            <p:cNvSpPr>
              <a:spLocks noChangeArrowheads="1"/>
            </p:cNvSpPr>
            <p:nvPr/>
          </p:nvSpPr>
          <p:spPr bwMode="auto">
            <a:xfrm>
              <a:off x="8089905" y="54927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19" name="Legend3"/>
            <p:cNvSpPr>
              <a:spLocks noChangeArrowheads="1"/>
            </p:cNvSpPr>
            <p:nvPr/>
          </p:nvSpPr>
          <p:spPr bwMode="auto">
            <a:xfrm>
              <a:off x="8089905" y="820738"/>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20" name="Legend4"/>
            <p:cNvSpPr>
              <a:spLocks noChangeArrowheads="1"/>
            </p:cNvSpPr>
            <p:nvPr/>
          </p:nvSpPr>
          <p:spPr bwMode="auto">
            <a:xfrm>
              <a:off x="8089905" y="10922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grpSp>
      <p:grpSp>
        <p:nvGrpSpPr>
          <p:cNvPr id="121" name="LegendLines" hidden="1"/>
          <p:cNvGrpSpPr/>
          <p:nvPr userDrawn="1"/>
        </p:nvGrpSpPr>
        <p:grpSpPr bwMode="auto">
          <a:xfrm>
            <a:off x="8522391" y="974733"/>
            <a:ext cx="1118561" cy="730767"/>
            <a:chOff x="7540629" y="279400"/>
            <a:chExt cx="1032518" cy="730767"/>
          </a:xfrm>
        </p:grpSpPr>
        <p:sp>
          <p:nvSpPr>
            <p:cNvPr id="122"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dirty="0">
                <a:ea typeface="+mn-ea"/>
                <a:cs typeface="+mn-cs"/>
              </a:endParaRPr>
            </a:p>
          </p:txBody>
        </p:sp>
        <p:sp>
          <p:nvSpPr>
            <p:cNvPr id="123"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dirty="0">
                <a:ea typeface="+mn-ea"/>
                <a:cs typeface="+mn-cs"/>
              </a:endParaRPr>
            </a:p>
          </p:txBody>
        </p:sp>
        <p:sp>
          <p:nvSpPr>
            <p:cNvPr id="124"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dirty="0">
                <a:ea typeface="+mn-ea"/>
                <a:cs typeface="+mn-cs"/>
              </a:endParaRPr>
            </a:p>
          </p:txBody>
        </p:sp>
        <p:sp>
          <p:nvSpPr>
            <p:cNvPr id="125" name="Legend1"/>
            <p:cNvSpPr>
              <a:spLocks noChangeArrowheads="1"/>
            </p:cNvSpPr>
            <p:nvPr/>
          </p:nvSpPr>
          <p:spPr bwMode="auto">
            <a:xfrm>
              <a:off x="8102604"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26" name="Legend2"/>
            <p:cNvSpPr>
              <a:spLocks noChangeArrowheads="1"/>
            </p:cNvSpPr>
            <p:nvPr/>
          </p:nvSpPr>
          <p:spPr bwMode="auto">
            <a:xfrm>
              <a:off x="8102604" y="5461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27" name="Legend3"/>
            <p:cNvSpPr>
              <a:spLocks noChangeArrowheads="1"/>
            </p:cNvSpPr>
            <p:nvPr/>
          </p:nvSpPr>
          <p:spPr bwMode="auto">
            <a:xfrm>
              <a:off x="8102604" y="8255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grpSp>
      <p:grpSp>
        <p:nvGrpSpPr>
          <p:cNvPr id="128" name="LegendMoons" hidden="1"/>
          <p:cNvGrpSpPr/>
          <p:nvPr userDrawn="1"/>
        </p:nvGrpSpPr>
        <p:grpSpPr bwMode="auto">
          <a:xfrm>
            <a:off x="8783531" y="946154"/>
            <a:ext cx="857153" cy="1306516"/>
            <a:chOff x="7769225" y="250825"/>
            <a:chExt cx="791218" cy="1306516"/>
          </a:xfrm>
        </p:grpSpPr>
        <p:grpSp>
          <p:nvGrpSpPr>
            <p:cNvPr id="129" name="MoonLegend1"/>
            <p:cNvGrpSpPr>
              <a:grpSpLocks noChangeAspect="1"/>
            </p:cNvGrpSpPr>
            <p:nvPr>
              <p:custDataLst>
                <p:tags r:id="rId7"/>
              </p:custDataLst>
            </p:nvPr>
          </p:nvGrpSpPr>
          <p:grpSpPr bwMode="auto">
            <a:xfrm>
              <a:off x="7769225" y="250825"/>
              <a:ext cx="209550" cy="209551"/>
              <a:chOff x="4533" y="183"/>
              <a:chExt cx="144" cy="144"/>
            </a:xfrm>
          </p:grpSpPr>
          <p:sp>
            <p:nvSpPr>
              <p:cNvPr id="147"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8"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0" name="MoonLegend2"/>
            <p:cNvGrpSpPr>
              <a:grpSpLocks noChangeAspect="1"/>
            </p:cNvGrpSpPr>
            <p:nvPr>
              <p:custDataLst>
                <p:tags r:id="rId8"/>
              </p:custDataLst>
            </p:nvPr>
          </p:nvGrpSpPr>
          <p:grpSpPr bwMode="auto">
            <a:xfrm>
              <a:off x="7769225" y="525066"/>
              <a:ext cx="209550" cy="209551"/>
              <a:chOff x="1694" y="2044"/>
              <a:chExt cx="160" cy="160"/>
            </a:xfrm>
          </p:grpSpPr>
          <p:sp>
            <p:nvSpPr>
              <p:cNvPr id="145"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6" name="Arc 42"/>
              <p:cNvSpPr>
                <a:spLocks noChangeAspect="1"/>
              </p:cNvSpPr>
              <p:nvPr>
                <p:custDataLst>
                  <p:tags r:id="rId19"/>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1" name="MoonLegend4"/>
            <p:cNvGrpSpPr>
              <a:grpSpLocks noChangeAspect="1"/>
            </p:cNvGrpSpPr>
            <p:nvPr>
              <p:custDataLst>
                <p:tags r:id="rId9"/>
              </p:custDataLst>
            </p:nvPr>
          </p:nvGrpSpPr>
          <p:grpSpPr bwMode="auto">
            <a:xfrm>
              <a:off x="7769225" y="1073548"/>
              <a:ext cx="209550" cy="209551"/>
              <a:chOff x="4495" y="1198"/>
              <a:chExt cx="160" cy="160"/>
            </a:xfrm>
          </p:grpSpPr>
          <p:sp>
            <p:nvSpPr>
              <p:cNvPr id="143"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4"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2" name="MoonLegend5"/>
            <p:cNvGrpSpPr>
              <a:grpSpLocks noChangeAspect="1"/>
            </p:cNvGrpSpPr>
            <p:nvPr>
              <p:custDataLst>
                <p:tags r:id="rId10"/>
              </p:custDataLst>
            </p:nvPr>
          </p:nvGrpSpPr>
          <p:grpSpPr bwMode="auto">
            <a:xfrm>
              <a:off x="7769225" y="1347790"/>
              <a:ext cx="209550" cy="209551"/>
              <a:chOff x="4495" y="1440"/>
              <a:chExt cx="160" cy="160"/>
            </a:xfrm>
          </p:grpSpPr>
          <p:sp>
            <p:nvSpPr>
              <p:cNvPr id="141"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2"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3" name="MoonLegend3"/>
            <p:cNvGrpSpPr>
              <a:grpSpLocks noChangeAspect="1"/>
            </p:cNvGrpSpPr>
            <p:nvPr>
              <p:custDataLst>
                <p:tags r:id="rId11"/>
              </p:custDataLst>
            </p:nvPr>
          </p:nvGrpSpPr>
          <p:grpSpPr bwMode="auto">
            <a:xfrm>
              <a:off x="7769225" y="799307"/>
              <a:ext cx="209550" cy="209551"/>
              <a:chOff x="4495" y="1198"/>
              <a:chExt cx="160" cy="160"/>
            </a:xfrm>
          </p:grpSpPr>
          <p:sp>
            <p:nvSpPr>
              <p:cNvPr id="139"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0"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sp>
          <p:nvSpPr>
            <p:cNvPr id="134" name="Legend1"/>
            <p:cNvSpPr>
              <a:spLocks noChangeArrowheads="1"/>
            </p:cNvSpPr>
            <p:nvPr/>
          </p:nvSpPr>
          <p:spPr bwMode="auto">
            <a:xfrm>
              <a:off x="8089900" y="26352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35" name="Legend2"/>
            <p:cNvSpPr>
              <a:spLocks noChangeArrowheads="1"/>
            </p:cNvSpPr>
            <p:nvPr/>
          </p:nvSpPr>
          <p:spPr bwMode="auto">
            <a:xfrm>
              <a:off x="8089900" y="538163"/>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36" name="Legend3"/>
            <p:cNvSpPr>
              <a:spLocks noChangeArrowheads="1"/>
            </p:cNvSpPr>
            <p:nvPr/>
          </p:nvSpPr>
          <p:spPr bwMode="auto">
            <a:xfrm>
              <a:off x="8089900" y="812802"/>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37" name="Legend4"/>
            <p:cNvSpPr>
              <a:spLocks noChangeArrowheads="1"/>
            </p:cNvSpPr>
            <p:nvPr/>
          </p:nvSpPr>
          <p:spPr bwMode="auto">
            <a:xfrm>
              <a:off x="8089900" y="108426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38" name="Legend5"/>
            <p:cNvSpPr>
              <a:spLocks noChangeArrowheads="1"/>
            </p:cNvSpPr>
            <p:nvPr/>
          </p:nvSpPr>
          <p:spPr bwMode="auto">
            <a:xfrm>
              <a:off x="8089900" y="136049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grpSp>
    </p:spTree>
    <p:extLst>
      <p:ext uri="{BB962C8B-B14F-4D97-AF65-F5344CB8AC3E}">
        <p14:creationId xmlns:p14="http://schemas.microsoft.com/office/powerpoint/2010/main" val="3051468500"/>
      </p:ext>
    </p:extLst>
  </p:cSld>
  <p:clrMap bg1="lt1" tx1="dk1" bg2="lt2" tx2="dk2" accent1="accent1" accent2="accent2" accent3="accent3" accent4="accent4" accent5="accent5" accent6="accent6" hlink="hlink" folHlink="folHlink"/>
  <p:sldLayoutIdLst>
    <p:sldLayoutId id="2147483766" r:id="rId1"/>
    <p:sldLayoutId id="2147483767" r:id="rId2"/>
  </p:sldLayoutIdLst>
  <p:hf hdr="0" ftr="0" dt="0"/>
  <p:txStyles>
    <p:titleStyle>
      <a:lvl1pPr algn="l" defTabSz="913429" rtl="0" eaLnBrk="1" fontAlgn="base" hangingPunct="1">
        <a:spcBef>
          <a:spcPct val="0"/>
        </a:spcBef>
        <a:spcAft>
          <a:spcPct val="0"/>
        </a:spcAft>
        <a:tabLst>
          <a:tab pos="275324" algn="l"/>
        </a:tabLst>
        <a:defRPr sz="19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3187338091"/>
              </p:ext>
            </p:extLst>
          </p:nvPr>
        </p:nvGraphicFramePr>
        <p:xfrm>
          <a:off x="0" y="0"/>
          <a:ext cx="175483" cy="161974"/>
        </p:xfrm>
        <a:graphic>
          <a:graphicData uri="http://schemas.openxmlformats.org/presentationml/2006/ole">
            <mc:AlternateContent xmlns:mc="http://schemas.openxmlformats.org/markup-compatibility/2006">
              <mc:Choice xmlns:v="urn:schemas-microsoft-com:vml" Requires="v">
                <p:oleObj spid="_x0000_s81934"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0" y="0"/>
                        <a:ext cx="175483" cy="161974"/>
                      </a:xfrm>
                      <a:prstGeom prst="rect">
                        <a:avLst/>
                      </a:prstGeom>
                    </p:spPr>
                  </p:pic>
                </p:oleObj>
              </mc:Fallback>
            </mc:AlternateContent>
          </a:graphicData>
        </a:graphic>
      </p:graphicFrame>
      <p:sp>
        <p:nvSpPr>
          <p:cNvPr id="3" name="Rectangle 2" hidden="1"/>
          <p:cNvSpPr/>
          <p:nvPr userDrawn="1">
            <p:custDataLst>
              <p:tags r:id="rId6"/>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1900" b="1" i="0" baseline="0" dirty="0">
              <a:solidFill>
                <a:schemeClr val="tx1"/>
              </a:solidFill>
              <a:latin typeface="Arial" panose="020B0604020202020204" pitchFamily="34" charset="0"/>
              <a:ea typeface="+mj-ea"/>
              <a:cs typeface="+mj-cs"/>
              <a:sym typeface="Arial" panose="020B0604020202020204" pitchFamily="34" charset="0"/>
            </a:endParaRPr>
          </a:p>
        </p:txBody>
      </p:sp>
      <p:pic>
        <p:nvPicPr>
          <p:cNvPr id="59" name="Picture 58"/>
          <p:cNvPicPr>
            <a:picLocks/>
          </p:cNvPicPr>
          <p:nvPr userDrawn="1"/>
        </p:nvPicPr>
        <p:blipFill>
          <a:blip r:embed="rId24" cstate="print"/>
          <a:stretch>
            <a:fillRect/>
          </a:stretch>
        </p:blipFill>
        <p:spPr bwMode="auto">
          <a:xfrm>
            <a:off x="189523" y="681170"/>
            <a:ext cx="8065476" cy="50511"/>
          </a:xfrm>
          <a:prstGeom prst="rect">
            <a:avLst/>
          </a:prstGeom>
        </p:spPr>
      </p:pic>
      <p:pic>
        <p:nvPicPr>
          <p:cNvPr id="60" name="Picture 59" descr="AGRALogo.png"/>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bwMode="ltGray">
          <a:xfrm>
            <a:off x="8329382" y="388621"/>
            <a:ext cx="1354131" cy="530864"/>
          </a:xfrm>
          <a:prstGeom prst="rect">
            <a:avLst/>
          </a:prstGeom>
        </p:spPr>
      </p:pic>
      <p:sp>
        <p:nvSpPr>
          <p:cNvPr id="1033" name="doc id"/>
          <p:cNvSpPr>
            <a:spLocks noChangeArrowheads="1"/>
          </p:cNvSpPr>
          <p:nvPr/>
        </p:nvSpPr>
        <p:spPr bwMode="auto">
          <a:xfrm>
            <a:off x="8933827" y="37255"/>
            <a:ext cx="726499"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29" fontAlgn="base">
              <a:spcBef>
                <a:spcPct val="0"/>
              </a:spcBef>
              <a:spcAft>
                <a:spcPct val="0"/>
              </a:spcAft>
              <a:buClrTx/>
              <a:buFontTx/>
              <a:buNone/>
            </a:pPr>
            <a:endParaRPr lang="en-US" sz="800" kern="1200" dirty="0">
              <a:ea typeface="+mn-ea"/>
              <a:cs typeface="+mn-cs"/>
            </a:endParaRPr>
          </a:p>
        </p:txBody>
      </p:sp>
      <p:sp>
        <p:nvSpPr>
          <p:cNvPr id="1036" name="Rectangle 286"/>
          <p:cNvSpPr>
            <a:spLocks noGrp="1" noChangeArrowheads="1"/>
          </p:cNvSpPr>
          <p:nvPr>
            <p:ph type="body" idx="1"/>
          </p:nvPr>
        </p:nvSpPr>
        <p:spPr bwMode="auto">
          <a:xfrm>
            <a:off x="1878084" y="2508985"/>
            <a:ext cx="475558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247650" y="388621"/>
            <a:ext cx="80073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247690" y="8087"/>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buClrTx/>
              <a:buFontTx/>
              <a:buNone/>
            </a:pPr>
            <a:r>
              <a:rPr lang="en-US" sz="1000" kern="1200" dirty="0">
                <a:solidFill>
                  <a:srgbClr val="808080"/>
                </a:solidFill>
                <a:ea typeface="+mn-ea"/>
                <a:cs typeface="+mn-cs"/>
              </a:rPr>
              <a:t>TRACKER</a:t>
            </a:r>
          </a:p>
        </p:txBody>
      </p:sp>
      <p:sp>
        <p:nvSpPr>
          <p:cNvPr id="11" name="3. Unit of measure" hidden="1"/>
          <p:cNvSpPr txBox="1">
            <a:spLocks noChangeArrowheads="1"/>
          </p:cNvSpPr>
          <p:nvPr/>
        </p:nvSpPr>
        <p:spPr bwMode="auto">
          <a:xfrm>
            <a:off x="247650" y="749678"/>
            <a:ext cx="80073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buClrTx/>
              <a:buFontTx/>
              <a:buNone/>
              <a:defRPr/>
            </a:pPr>
            <a:r>
              <a:rPr lang="en-US" sz="1600" kern="1200" dirty="0">
                <a:solidFill>
                  <a:srgbClr val="808080"/>
                </a:solidFill>
                <a:latin typeface="Arial"/>
                <a:ea typeface="+mn-ea"/>
                <a:cs typeface="+mn-cs"/>
              </a:rPr>
              <a:t>Unit of measure</a:t>
            </a:r>
          </a:p>
        </p:txBody>
      </p:sp>
      <p:grpSp>
        <p:nvGrpSpPr>
          <p:cNvPr id="15" name="ACET" hidden="1"/>
          <p:cNvGrpSpPr>
            <a:grpSpLocks/>
          </p:cNvGrpSpPr>
          <p:nvPr/>
        </p:nvGrpSpPr>
        <p:grpSpPr bwMode="auto">
          <a:xfrm>
            <a:off x="1878084" y="1915010"/>
            <a:ext cx="4713466"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buClrTx/>
                <a:buFontTx/>
                <a:buNone/>
              </a:pPr>
              <a:r>
                <a:rPr lang="en-US" sz="1600" b="1" kern="1200" dirty="0">
                  <a:ea typeface="+mn-ea"/>
                  <a:cs typeface="+mn-cs"/>
                </a:rPr>
                <a:t>Title</a:t>
              </a:r>
            </a:p>
            <a:p>
              <a:pPr fontAlgn="base">
                <a:spcBef>
                  <a:spcPct val="0"/>
                </a:spcBef>
                <a:spcAft>
                  <a:spcPct val="0"/>
                </a:spcAft>
                <a:buClrTx/>
                <a:buFontTx/>
                <a:buNone/>
              </a:pPr>
              <a:r>
                <a:rPr lang="en-US" sz="1600" kern="1200" dirty="0">
                  <a:solidFill>
                    <a:srgbClr val="808080"/>
                  </a:solidFill>
                  <a:ea typeface="+mn-ea"/>
                  <a:cs typeface="+mn-cs"/>
                </a:rPr>
                <a:t>Unit of measure</a:t>
              </a:r>
            </a:p>
          </p:txBody>
        </p:sp>
      </p:grpSp>
      <p:sp>
        <p:nvSpPr>
          <p:cNvPr id="104" name="Slide Number"/>
          <p:cNvSpPr txBox="1">
            <a:spLocks/>
          </p:cNvSpPr>
          <p:nvPr userDrawn="1"/>
        </p:nvSpPr>
        <p:spPr bwMode="auto">
          <a:xfrm>
            <a:off x="9558393" y="6643759"/>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buClrTx/>
              <a:buFontTx/>
              <a:buNone/>
            </a:pPr>
            <a:fld id="{42C328C1-A84F-4A39-A664-DBA00541A8C6}" type="slidenum">
              <a:rPr lang="en-US" sz="800" kern="1200" smtClean="0">
                <a:ea typeface="+mn-ea"/>
                <a:cs typeface="+mn-cs"/>
              </a:rPr>
              <a:pPr algn="r" fontAlgn="base">
                <a:spcBef>
                  <a:spcPct val="0"/>
                </a:spcBef>
                <a:spcAft>
                  <a:spcPct val="0"/>
                </a:spcAft>
                <a:buClrTx/>
                <a:buFontTx/>
                <a:buNone/>
              </a:pPr>
              <a:t>‹#›</a:t>
            </a:fld>
            <a:endParaRPr lang="en-US" sz="800" kern="1200" dirty="0">
              <a:ea typeface="+mn-ea"/>
              <a:cs typeface="+mn-cs"/>
            </a:endParaRPr>
          </a:p>
        </p:txBody>
      </p:sp>
      <p:grpSp>
        <p:nvGrpSpPr>
          <p:cNvPr id="105" name="Slide Elements" hidden="1"/>
          <p:cNvGrpSpPr/>
          <p:nvPr userDrawn="1"/>
        </p:nvGrpSpPr>
        <p:grpSpPr bwMode="auto">
          <a:xfrm>
            <a:off x="247654" y="6441985"/>
            <a:ext cx="9336748" cy="324724"/>
            <a:chOff x="119063" y="6306659"/>
            <a:chExt cx="8618537" cy="324724"/>
          </a:xfrm>
        </p:grpSpPr>
        <p:sp>
          <p:nvSpPr>
            <p:cNvPr id="106" name="4. Footnote"/>
            <p:cNvSpPr txBox="1">
              <a:spLocks noChangeArrowheads="1"/>
            </p:cNvSpPr>
            <p:nvPr/>
          </p:nvSpPr>
          <p:spPr bwMode="auto">
            <a:xfrm>
              <a:off x="119063" y="6306659"/>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fontAlgn="base">
                <a:spcBef>
                  <a:spcPct val="0"/>
                </a:spcBef>
                <a:spcAft>
                  <a:spcPct val="0"/>
                </a:spcAft>
                <a:buClrTx/>
                <a:buFontTx/>
                <a:buNone/>
                <a:defRPr lang="x-none"/>
              </a:pPr>
              <a:r>
                <a:rPr sz="800" kern="1200" dirty="0">
                  <a:solidFill>
                    <a:srgbClr val="000000"/>
                  </a:solidFill>
                  <a:latin typeface="Arial"/>
                  <a:ea typeface="+mn-ea"/>
                  <a:cs typeface="+mn-cs"/>
                </a:rPr>
                <a:t>1 Footnote</a:t>
              </a:r>
            </a:p>
          </p:txBody>
        </p:sp>
        <p:sp>
          <p:nvSpPr>
            <p:cNvPr id="107" name="5. Source"/>
            <p:cNvSpPr>
              <a:spLocks noChangeArrowheads="1"/>
            </p:cNvSpPr>
            <p:nvPr/>
          </p:nvSpPr>
          <p:spPr bwMode="auto">
            <a:xfrm>
              <a:off x="119063" y="6508272"/>
              <a:ext cx="794619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9113" indent="-519113" defTabSz="895350" fontAlgn="base">
                <a:spcBef>
                  <a:spcPct val="0"/>
                </a:spcBef>
                <a:spcAft>
                  <a:spcPct val="0"/>
                </a:spcAft>
                <a:buClrTx/>
                <a:buFontTx/>
                <a:buNone/>
                <a:tabLst>
                  <a:tab pos="612775" algn="l"/>
                </a:tabLst>
              </a:pPr>
              <a:r>
                <a:rPr lang="x-none" sz="800" kern="1200" dirty="0">
                  <a:ea typeface="+mn-ea"/>
                  <a:cs typeface="+mn-cs"/>
                </a:rPr>
                <a:t>SOURCE : Source</a:t>
              </a:r>
              <a:endParaRPr lang="en-US" sz="800" kern="1200" dirty="0">
                <a:ea typeface="+mn-ea"/>
                <a:cs typeface="+mn-cs"/>
              </a:endParaRPr>
            </a:p>
          </p:txBody>
        </p:sp>
      </p:grpSp>
      <p:grpSp>
        <p:nvGrpSpPr>
          <p:cNvPr id="108" name="McKSticker" hidden="1"/>
          <p:cNvGrpSpPr/>
          <p:nvPr userDrawn="1"/>
        </p:nvGrpSpPr>
        <p:grpSpPr bwMode="auto">
          <a:xfrm>
            <a:off x="9209576" y="981082"/>
            <a:ext cx="473335" cy="150811"/>
            <a:chOff x="8303851" y="285750"/>
            <a:chExt cx="436924" cy="150811"/>
          </a:xfrm>
        </p:grpSpPr>
        <p:sp>
          <p:nvSpPr>
            <p:cNvPr id="109" name="StickerRectangle"/>
            <p:cNvSpPr>
              <a:spLocks noChangeArrowheads="1"/>
            </p:cNvSpPr>
            <p:nvPr/>
          </p:nvSpPr>
          <p:spPr bwMode="auto">
            <a:xfrm>
              <a:off x="8303851" y="285750"/>
              <a:ext cx="43692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2960"/>
                </a:buClr>
                <a:buFontTx/>
                <a:buNone/>
              </a:pPr>
              <a:r>
                <a:rPr lang="x-none" sz="800" kern="1200" dirty="0">
                  <a:solidFill>
                    <a:srgbClr val="808080"/>
                  </a:solidFill>
                  <a:ea typeface="+mn-ea"/>
                  <a:cs typeface="+mn-cs"/>
                </a:rPr>
                <a:t>STICKER</a:t>
              </a:r>
            </a:p>
          </p:txBody>
        </p:sp>
        <p:cxnSp>
          <p:nvCxnSpPr>
            <p:cNvPr id="110" name="AutoShape 31"/>
            <p:cNvCxnSpPr>
              <a:cxnSpLocks noChangeShapeType="1"/>
              <a:stCxn id="109" idx="2"/>
              <a:endCxn id="109" idx="4"/>
            </p:cNvCxnSpPr>
            <p:nvPr/>
          </p:nvCxnSpPr>
          <p:spPr bwMode="auto">
            <a:xfrm>
              <a:off x="8303851"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4"/>
              <a:endCxn id="109" idx="6"/>
            </p:cNvCxnSpPr>
            <p:nvPr/>
          </p:nvCxnSpPr>
          <p:spPr bwMode="auto">
            <a:xfrm>
              <a:off x="8303851" y="436561"/>
              <a:ext cx="436924"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12" name="LegendBoxes" hidden="1"/>
          <p:cNvGrpSpPr/>
          <p:nvPr userDrawn="1"/>
        </p:nvGrpSpPr>
        <p:grpSpPr bwMode="auto">
          <a:xfrm>
            <a:off x="8855846" y="974734"/>
            <a:ext cx="784921" cy="997467"/>
            <a:chOff x="7835905" y="279400"/>
            <a:chExt cx="724543" cy="997467"/>
          </a:xfrm>
        </p:grpSpPr>
        <p:sp>
          <p:nvSpPr>
            <p:cNvPr id="113"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4"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5"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6"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7" name="Legend1"/>
            <p:cNvSpPr>
              <a:spLocks noChangeArrowheads="1"/>
            </p:cNvSpPr>
            <p:nvPr/>
          </p:nvSpPr>
          <p:spPr bwMode="auto">
            <a:xfrm>
              <a:off x="8089905"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18" name="Legend2"/>
            <p:cNvSpPr>
              <a:spLocks noChangeArrowheads="1"/>
            </p:cNvSpPr>
            <p:nvPr/>
          </p:nvSpPr>
          <p:spPr bwMode="auto">
            <a:xfrm>
              <a:off x="8089905" y="54927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19" name="Legend3"/>
            <p:cNvSpPr>
              <a:spLocks noChangeArrowheads="1"/>
            </p:cNvSpPr>
            <p:nvPr/>
          </p:nvSpPr>
          <p:spPr bwMode="auto">
            <a:xfrm>
              <a:off x="8089905" y="820738"/>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20" name="Legend4"/>
            <p:cNvSpPr>
              <a:spLocks noChangeArrowheads="1"/>
            </p:cNvSpPr>
            <p:nvPr/>
          </p:nvSpPr>
          <p:spPr bwMode="auto">
            <a:xfrm>
              <a:off x="8089905" y="10922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grpSp>
      <p:grpSp>
        <p:nvGrpSpPr>
          <p:cNvPr id="121" name="LegendLines" hidden="1"/>
          <p:cNvGrpSpPr/>
          <p:nvPr userDrawn="1"/>
        </p:nvGrpSpPr>
        <p:grpSpPr bwMode="auto">
          <a:xfrm>
            <a:off x="8522391" y="974733"/>
            <a:ext cx="1118561" cy="730767"/>
            <a:chOff x="7540629" y="279400"/>
            <a:chExt cx="1032518" cy="730767"/>
          </a:xfrm>
        </p:grpSpPr>
        <p:sp>
          <p:nvSpPr>
            <p:cNvPr id="122"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dirty="0">
                <a:ea typeface="+mn-ea"/>
                <a:cs typeface="+mn-cs"/>
              </a:endParaRPr>
            </a:p>
          </p:txBody>
        </p:sp>
        <p:sp>
          <p:nvSpPr>
            <p:cNvPr id="123"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dirty="0">
                <a:ea typeface="+mn-ea"/>
                <a:cs typeface="+mn-cs"/>
              </a:endParaRPr>
            </a:p>
          </p:txBody>
        </p:sp>
        <p:sp>
          <p:nvSpPr>
            <p:cNvPr id="124"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dirty="0">
                <a:ea typeface="+mn-ea"/>
                <a:cs typeface="+mn-cs"/>
              </a:endParaRPr>
            </a:p>
          </p:txBody>
        </p:sp>
        <p:sp>
          <p:nvSpPr>
            <p:cNvPr id="125" name="Legend1"/>
            <p:cNvSpPr>
              <a:spLocks noChangeArrowheads="1"/>
            </p:cNvSpPr>
            <p:nvPr/>
          </p:nvSpPr>
          <p:spPr bwMode="auto">
            <a:xfrm>
              <a:off x="8102604"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26" name="Legend2"/>
            <p:cNvSpPr>
              <a:spLocks noChangeArrowheads="1"/>
            </p:cNvSpPr>
            <p:nvPr/>
          </p:nvSpPr>
          <p:spPr bwMode="auto">
            <a:xfrm>
              <a:off x="8102604" y="5461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27" name="Legend3"/>
            <p:cNvSpPr>
              <a:spLocks noChangeArrowheads="1"/>
            </p:cNvSpPr>
            <p:nvPr/>
          </p:nvSpPr>
          <p:spPr bwMode="auto">
            <a:xfrm>
              <a:off x="8102604" y="8255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grpSp>
      <p:grpSp>
        <p:nvGrpSpPr>
          <p:cNvPr id="128" name="LegendMoons" hidden="1"/>
          <p:cNvGrpSpPr/>
          <p:nvPr userDrawn="1"/>
        </p:nvGrpSpPr>
        <p:grpSpPr bwMode="auto">
          <a:xfrm>
            <a:off x="8783531" y="946154"/>
            <a:ext cx="857153" cy="1306516"/>
            <a:chOff x="7769225" y="250825"/>
            <a:chExt cx="791218" cy="1306516"/>
          </a:xfrm>
        </p:grpSpPr>
        <p:grpSp>
          <p:nvGrpSpPr>
            <p:cNvPr id="129" name="MoonLegend1"/>
            <p:cNvGrpSpPr>
              <a:grpSpLocks noChangeAspect="1"/>
            </p:cNvGrpSpPr>
            <p:nvPr>
              <p:custDataLst>
                <p:tags r:id="rId7"/>
              </p:custDataLst>
            </p:nvPr>
          </p:nvGrpSpPr>
          <p:grpSpPr bwMode="auto">
            <a:xfrm>
              <a:off x="7769225" y="250825"/>
              <a:ext cx="209550" cy="209551"/>
              <a:chOff x="4533" y="183"/>
              <a:chExt cx="144" cy="144"/>
            </a:xfrm>
          </p:grpSpPr>
          <p:sp>
            <p:nvSpPr>
              <p:cNvPr id="147"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8"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0" name="MoonLegend2"/>
            <p:cNvGrpSpPr>
              <a:grpSpLocks noChangeAspect="1"/>
            </p:cNvGrpSpPr>
            <p:nvPr>
              <p:custDataLst>
                <p:tags r:id="rId8"/>
              </p:custDataLst>
            </p:nvPr>
          </p:nvGrpSpPr>
          <p:grpSpPr bwMode="auto">
            <a:xfrm>
              <a:off x="7769225" y="525066"/>
              <a:ext cx="209550" cy="209551"/>
              <a:chOff x="1694" y="2044"/>
              <a:chExt cx="160" cy="160"/>
            </a:xfrm>
          </p:grpSpPr>
          <p:sp>
            <p:nvSpPr>
              <p:cNvPr id="145"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6" name="Arc 42"/>
              <p:cNvSpPr>
                <a:spLocks noChangeAspect="1"/>
              </p:cNvSpPr>
              <p:nvPr>
                <p:custDataLst>
                  <p:tags r:id="rId19"/>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1" name="MoonLegend4"/>
            <p:cNvGrpSpPr>
              <a:grpSpLocks noChangeAspect="1"/>
            </p:cNvGrpSpPr>
            <p:nvPr>
              <p:custDataLst>
                <p:tags r:id="rId9"/>
              </p:custDataLst>
            </p:nvPr>
          </p:nvGrpSpPr>
          <p:grpSpPr bwMode="auto">
            <a:xfrm>
              <a:off x="7769225" y="1073548"/>
              <a:ext cx="209550" cy="209551"/>
              <a:chOff x="4495" y="1198"/>
              <a:chExt cx="160" cy="160"/>
            </a:xfrm>
          </p:grpSpPr>
          <p:sp>
            <p:nvSpPr>
              <p:cNvPr id="143"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4"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2" name="MoonLegend5"/>
            <p:cNvGrpSpPr>
              <a:grpSpLocks noChangeAspect="1"/>
            </p:cNvGrpSpPr>
            <p:nvPr>
              <p:custDataLst>
                <p:tags r:id="rId10"/>
              </p:custDataLst>
            </p:nvPr>
          </p:nvGrpSpPr>
          <p:grpSpPr bwMode="auto">
            <a:xfrm>
              <a:off x="7769225" y="1347790"/>
              <a:ext cx="209550" cy="209551"/>
              <a:chOff x="4495" y="1440"/>
              <a:chExt cx="160" cy="160"/>
            </a:xfrm>
          </p:grpSpPr>
          <p:sp>
            <p:nvSpPr>
              <p:cNvPr id="141"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2"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3" name="MoonLegend3"/>
            <p:cNvGrpSpPr>
              <a:grpSpLocks noChangeAspect="1"/>
            </p:cNvGrpSpPr>
            <p:nvPr>
              <p:custDataLst>
                <p:tags r:id="rId11"/>
              </p:custDataLst>
            </p:nvPr>
          </p:nvGrpSpPr>
          <p:grpSpPr bwMode="auto">
            <a:xfrm>
              <a:off x="7769225" y="799307"/>
              <a:ext cx="209550" cy="209551"/>
              <a:chOff x="4495" y="1198"/>
              <a:chExt cx="160" cy="160"/>
            </a:xfrm>
          </p:grpSpPr>
          <p:sp>
            <p:nvSpPr>
              <p:cNvPr id="139"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0"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sp>
          <p:nvSpPr>
            <p:cNvPr id="134" name="Legend1"/>
            <p:cNvSpPr>
              <a:spLocks noChangeArrowheads="1"/>
            </p:cNvSpPr>
            <p:nvPr/>
          </p:nvSpPr>
          <p:spPr bwMode="auto">
            <a:xfrm>
              <a:off x="8089900" y="26352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35" name="Legend2"/>
            <p:cNvSpPr>
              <a:spLocks noChangeArrowheads="1"/>
            </p:cNvSpPr>
            <p:nvPr/>
          </p:nvSpPr>
          <p:spPr bwMode="auto">
            <a:xfrm>
              <a:off x="8089900" y="538163"/>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36" name="Legend3"/>
            <p:cNvSpPr>
              <a:spLocks noChangeArrowheads="1"/>
            </p:cNvSpPr>
            <p:nvPr/>
          </p:nvSpPr>
          <p:spPr bwMode="auto">
            <a:xfrm>
              <a:off x="8089900" y="812802"/>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37" name="Legend4"/>
            <p:cNvSpPr>
              <a:spLocks noChangeArrowheads="1"/>
            </p:cNvSpPr>
            <p:nvPr/>
          </p:nvSpPr>
          <p:spPr bwMode="auto">
            <a:xfrm>
              <a:off x="8089900" y="108426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38" name="Legend5"/>
            <p:cNvSpPr>
              <a:spLocks noChangeArrowheads="1"/>
            </p:cNvSpPr>
            <p:nvPr/>
          </p:nvSpPr>
          <p:spPr bwMode="auto">
            <a:xfrm>
              <a:off x="8089900" y="136049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grpSp>
    </p:spTree>
    <p:extLst>
      <p:ext uri="{BB962C8B-B14F-4D97-AF65-F5344CB8AC3E}">
        <p14:creationId xmlns:p14="http://schemas.microsoft.com/office/powerpoint/2010/main" val="3356735623"/>
      </p:ext>
    </p:extLst>
  </p:cSld>
  <p:clrMap bg1="lt1" tx1="dk1" bg2="lt2" tx2="dk2" accent1="accent1" accent2="accent2" accent3="accent3" accent4="accent4" accent5="accent5" accent6="accent6" hlink="hlink" folHlink="folHlink"/>
  <p:sldLayoutIdLst>
    <p:sldLayoutId id="2147483769" r:id="rId1"/>
    <p:sldLayoutId id="2147483770" r:id="rId2"/>
  </p:sldLayoutIdLst>
  <p:hf hdr="0" ftr="0" dt="0"/>
  <p:txStyles>
    <p:titleStyle>
      <a:lvl1pPr algn="l" defTabSz="913429" rtl="0" eaLnBrk="1" fontAlgn="base" hangingPunct="1">
        <a:spcBef>
          <a:spcPct val="0"/>
        </a:spcBef>
        <a:spcAft>
          <a:spcPct val="0"/>
        </a:spcAft>
        <a:tabLst>
          <a:tab pos="275324" algn="l"/>
        </a:tabLst>
        <a:defRPr sz="19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2352344963"/>
              </p:ext>
            </p:extLst>
          </p:nvPr>
        </p:nvGraphicFramePr>
        <p:xfrm>
          <a:off x="0" y="0"/>
          <a:ext cx="175483" cy="161974"/>
        </p:xfrm>
        <a:graphic>
          <a:graphicData uri="http://schemas.openxmlformats.org/presentationml/2006/ole">
            <mc:AlternateContent xmlns:mc="http://schemas.openxmlformats.org/markup-compatibility/2006">
              <mc:Choice xmlns:v="urn:schemas-microsoft-com:vml" Requires="v">
                <p:oleObj spid="_x0000_s85006"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175483" cy="161974"/>
                      </a:xfrm>
                      <a:prstGeom prst="rect">
                        <a:avLst/>
                      </a:prstGeom>
                    </p:spPr>
                  </p:pic>
                </p:oleObj>
              </mc:Fallback>
            </mc:AlternateContent>
          </a:graphicData>
        </a:graphic>
      </p:graphicFrame>
      <p:sp>
        <p:nvSpPr>
          <p:cNvPr id="3" name="Rectangle 2" hidden="1"/>
          <p:cNvSpPr/>
          <p:nvPr userDrawn="1">
            <p:custDataLst>
              <p:tags r:id="rId8"/>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solidFill>
                <a:schemeClr val="tx1"/>
              </a:solidFill>
              <a:latin typeface="Arial" panose="020B0604020202020204" pitchFamily="34" charset="0"/>
              <a:ea typeface="+mj-ea"/>
              <a:cs typeface="+mj-cs"/>
              <a:sym typeface="Arial" panose="020B0604020202020204" pitchFamily="34" charset="0"/>
            </a:endParaRPr>
          </a:p>
        </p:txBody>
      </p:sp>
      <p:pic>
        <p:nvPicPr>
          <p:cNvPr id="59" name="Picture 58"/>
          <p:cNvPicPr>
            <a:picLocks/>
          </p:cNvPicPr>
          <p:nvPr userDrawn="1"/>
        </p:nvPicPr>
        <p:blipFill>
          <a:blip r:embed="rId26" cstate="print"/>
          <a:stretch>
            <a:fillRect/>
          </a:stretch>
        </p:blipFill>
        <p:spPr bwMode="auto">
          <a:xfrm>
            <a:off x="189523" y="681012"/>
            <a:ext cx="8065476" cy="50511"/>
          </a:xfrm>
          <a:prstGeom prst="rect">
            <a:avLst/>
          </a:prstGeom>
        </p:spPr>
      </p:pic>
      <p:pic>
        <p:nvPicPr>
          <p:cNvPr id="60" name="Picture 59" descr="AGRALogo.png"/>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bwMode="ltGray">
          <a:xfrm>
            <a:off x="8329297" y="388621"/>
            <a:ext cx="1354131" cy="530864"/>
          </a:xfrm>
          <a:prstGeom prst="rect">
            <a:avLst/>
          </a:prstGeom>
        </p:spPr>
      </p:pic>
      <p:sp>
        <p:nvSpPr>
          <p:cNvPr id="1033" name="doc id"/>
          <p:cNvSpPr>
            <a:spLocks noChangeArrowheads="1"/>
          </p:cNvSpPr>
          <p:nvPr/>
        </p:nvSpPr>
        <p:spPr bwMode="auto">
          <a:xfrm>
            <a:off x="8933827" y="37255"/>
            <a:ext cx="726499"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29" fontAlgn="base">
              <a:spcBef>
                <a:spcPct val="0"/>
              </a:spcBef>
              <a:spcAft>
                <a:spcPct val="0"/>
              </a:spcAft>
              <a:buClrTx/>
              <a:buFontTx/>
              <a:buNone/>
            </a:pPr>
            <a:endParaRPr lang="en-US" sz="800" kern="1200" dirty="0">
              <a:ea typeface="+mn-ea"/>
              <a:cs typeface="+mn-cs"/>
            </a:endParaRPr>
          </a:p>
        </p:txBody>
      </p:sp>
      <p:sp>
        <p:nvSpPr>
          <p:cNvPr id="1036" name="Rectangle 286"/>
          <p:cNvSpPr>
            <a:spLocks noGrp="1" noChangeArrowheads="1"/>
          </p:cNvSpPr>
          <p:nvPr>
            <p:ph type="body" idx="1"/>
          </p:nvPr>
        </p:nvSpPr>
        <p:spPr bwMode="auto">
          <a:xfrm>
            <a:off x="1878084" y="2508985"/>
            <a:ext cx="475558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247650" y="388621"/>
            <a:ext cx="80073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247652" y="8087"/>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buClrTx/>
              <a:buFontTx/>
              <a:buNone/>
            </a:pPr>
            <a:r>
              <a:rPr lang="en-US" sz="1000" kern="1200" dirty="0">
                <a:solidFill>
                  <a:srgbClr val="808080"/>
                </a:solidFill>
                <a:ea typeface="+mn-ea"/>
                <a:cs typeface="+mn-cs"/>
              </a:rPr>
              <a:t>TRACKER</a:t>
            </a:r>
          </a:p>
        </p:txBody>
      </p:sp>
      <p:sp>
        <p:nvSpPr>
          <p:cNvPr id="11" name="3. Unit of measure" hidden="1"/>
          <p:cNvSpPr txBox="1">
            <a:spLocks noChangeArrowheads="1"/>
          </p:cNvSpPr>
          <p:nvPr/>
        </p:nvSpPr>
        <p:spPr bwMode="auto">
          <a:xfrm>
            <a:off x="247650" y="749678"/>
            <a:ext cx="80073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buClrTx/>
              <a:buFontTx/>
              <a:buNone/>
              <a:defRPr/>
            </a:pPr>
            <a:r>
              <a:rPr lang="en-US" sz="1600" kern="1200" dirty="0">
                <a:solidFill>
                  <a:srgbClr val="808080"/>
                </a:solidFill>
                <a:latin typeface="Arial"/>
                <a:ea typeface="+mn-ea"/>
                <a:cs typeface="+mn-cs"/>
              </a:rPr>
              <a:t>Unit of measure</a:t>
            </a:r>
          </a:p>
        </p:txBody>
      </p:sp>
      <p:grpSp>
        <p:nvGrpSpPr>
          <p:cNvPr id="15" name="ACET" hidden="1"/>
          <p:cNvGrpSpPr>
            <a:grpSpLocks/>
          </p:cNvGrpSpPr>
          <p:nvPr/>
        </p:nvGrpSpPr>
        <p:grpSpPr bwMode="auto">
          <a:xfrm>
            <a:off x="1878084" y="1915010"/>
            <a:ext cx="4713466"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buClrTx/>
                <a:buFontTx/>
                <a:buNone/>
              </a:pPr>
              <a:r>
                <a:rPr lang="en-US" sz="1600" b="1" kern="1200" dirty="0">
                  <a:ea typeface="+mn-ea"/>
                  <a:cs typeface="+mn-cs"/>
                </a:rPr>
                <a:t>Title</a:t>
              </a:r>
            </a:p>
            <a:p>
              <a:pPr fontAlgn="base">
                <a:spcBef>
                  <a:spcPct val="0"/>
                </a:spcBef>
                <a:spcAft>
                  <a:spcPct val="0"/>
                </a:spcAft>
                <a:buClrTx/>
                <a:buFontTx/>
                <a:buNone/>
              </a:pPr>
              <a:r>
                <a:rPr lang="en-US" sz="1600" kern="1200" dirty="0">
                  <a:solidFill>
                    <a:srgbClr val="808080"/>
                  </a:solidFill>
                  <a:ea typeface="+mn-ea"/>
                  <a:cs typeface="+mn-cs"/>
                </a:rPr>
                <a:t>Unit of measure</a:t>
              </a:r>
            </a:p>
          </p:txBody>
        </p:sp>
      </p:grpSp>
      <p:sp>
        <p:nvSpPr>
          <p:cNvPr id="104" name="Slide Number"/>
          <p:cNvSpPr txBox="1">
            <a:spLocks/>
          </p:cNvSpPr>
          <p:nvPr userDrawn="1"/>
        </p:nvSpPr>
        <p:spPr bwMode="auto">
          <a:xfrm>
            <a:off x="9558394" y="6643601"/>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buClrTx/>
              <a:buFontTx/>
              <a:buNone/>
            </a:pPr>
            <a:fld id="{42C328C1-A84F-4A39-A664-DBA00541A8C6}" type="slidenum">
              <a:rPr lang="en-US" sz="800" kern="1200" smtClean="0">
                <a:ea typeface="+mn-ea"/>
                <a:cs typeface="+mn-cs"/>
              </a:rPr>
              <a:pPr algn="r" fontAlgn="base">
                <a:spcBef>
                  <a:spcPct val="0"/>
                </a:spcBef>
                <a:spcAft>
                  <a:spcPct val="0"/>
                </a:spcAft>
                <a:buClrTx/>
                <a:buFontTx/>
                <a:buNone/>
              </a:pPr>
              <a:t>‹#›</a:t>
            </a:fld>
            <a:endParaRPr lang="en-US" sz="800" kern="1200" dirty="0">
              <a:ea typeface="+mn-ea"/>
              <a:cs typeface="+mn-cs"/>
            </a:endParaRPr>
          </a:p>
        </p:txBody>
      </p:sp>
      <p:grpSp>
        <p:nvGrpSpPr>
          <p:cNvPr id="105" name="Slide Elements" hidden="1"/>
          <p:cNvGrpSpPr/>
          <p:nvPr userDrawn="1"/>
        </p:nvGrpSpPr>
        <p:grpSpPr bwMode="auto">
          <a:xfrm>
            <a:off x="247652" y="6441985"/>
            <a:ext cx="9336748" cy="324724"/>
            <a:chOff x="119063" y="6306659"/>
            <a:chExt cx="8618537" cy="324724"/>
          </a:xfrm>
        </p:grpSpPr>
        <p:sp>
          <p:nvSpPr>
            <p:cNvPr id="106" name="4. Footnote"/>
            <p:cNvSpPr txBox="1">
              <a:spLocks noChangeArrowheads="1"/>
            </p:cNvSpPr>
            <p:nvPr/>
          </p:nvSpPr>
          <p:spPr bwMode="auto">
            <a:xfrm>
              <a:off x="119063" y="6306659"/>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fontAlgn="base">
                <a:spcBef>
                  <a:spcPct val="0"/>
                </a:spcBef>
                <a:spcAft>
                  <a:spcPct val="0"/>
                </a:spcAft>
                <a:buClrTx/>
                <a:buFontTx/>
                <a:buNone/>
                <a:defRPr lang="x-none"/>
              </a:pPr>
              <a:r>
                <a:rPr sz="800" kern="1200" dirty="0">
                  <a:solidFill>
                    <a:srgbClr val="000000"/>
                  </a:solidFill>
                  <a:latin typeface="Arial"/>
                  <a:ea typeface="+mn-ea"/>
                  <a:cs typeface="+mn-cs"/>
                </a:rPr>
                <a:t>1 Footnote</a:t>
              </a:r>
            </a:p>
          </p:txBody>
        </p:sp>
        <p:sp>
          <p:nvSpPr>
            <p:cNvPr id="107" name="5. Source"/>
            <p:cNvSpPr>
              <a:spLocks noChangeArrowheads="1"/>
            </p:cNvSpPr>
            <p:nvPr/>
          </p:nvSpPr>
          <p:spPr bwMode="auto">
            <a:xfrm>
              <a:off x="119063" y="6508272"/>
              <a:ext cx="794619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9113" indent="-519113" defTabSz="895350" fontAlgn="base">
                <a:spcBef>
                  <a:spcPct val="0"/>
                </a:spcBef>
                <a:spcAft>
                  <a:spcPct val="0"/>
                </a:spcAft>
                <a:buClrTx/>
                <a:buFontTx/>
                <a:buNone/>
                <a:tabLst>
                  <a:tab pos="612775" algn="l"/>
                </a:tabLst>
              </a:pPr>
              <a:r>
                <a:rPr lang="x-none" sz="800" kern="1200" dirty="0">
                  <a:ea typeface="+mn-ea"/>
                  <a:cs typeface="+mn-cs"/>
                </a:rPr>
                <a:t>SOURCE : Source</a:t>
              </a:r>
              <a:endParaRPr lang="en-US" sz="800" kern="1200" dirty="0">
                <a:ea typeface="+mn-ea"/>
                <a:cs typeface="+mn-cs"/>
              </a:endParaRPr>
            </a:p>
          </p:txBody>
        </p:sp>
      </p:grpSp>
      <p:grpSp>
        <p:nvGrpSpPr>
          <p:cNvPr id="108" name="McKSticker" hidden="1"/>
          <p:cNvGrpSpPr/>
          <p:nvPr userDrawn="1"/>
        </p:nvGrpSpPr>
        <p:grpSpPr bwMode="auto">
          <a:xfrm>
            <a:off x="9210090" y="981082"/>
            <a:ext cx="473335" cy="150811"/>
            <a:chOff x="8303851" y="285750"/>
            <a:chExt cx="436924" cy="150811"/>
          </a:xfrm>
        </p:grpSpPr>
        <p:sp>
          <p:nvSpPr>
            <p:cNvPr id="109" name="StickerRectangle"/>
            <p:cNvSpPr>
              <a:spLocks noChangeArrowheads="1"/>
            </p:cNvSpPr>
            <p:nvPr/>
          </p:nvSpPr>
          <p:spPr bwMode="auto">
            <a:xfrm>
              <a:off x="8303851" y="285750"/>
              <a:ext cx="43692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2960"/>
                </a:buClr>
                <a:buFontTx/>
                <a:buNone/>
              </a:pPr>
              <a:r>
                <a:rPr lang="x-none" sz="800" kern="1200" dirty="0">
                  <a:solidFill>
                    <a:srgbClr val="808080"/>
                  </a:solidFill>
                  <a:ea typeface="+mn-ea"/>
                  <a:cs typeface="+mn-cs"/>
                </a:rPr>
                <a:t>STICKER</a:t>
              </a:r>
            </a:p>
          </p:txBody>
        </p:sp>
        <p:cxnSp>
          <p:nvCxnSpPr>
            <p:cNvPr id="110" name="AutoShape 31"/>
            <p:cNvCxnSpPr>
              <a:cxnSpLocks noChangeShapeType="1"/>
              <a:stCxn id="109" idx="2"/>
              <a:endCxn id="109" idx="4"/>
            </p:cNvCxnSpPr>
            <p:nvPr/>
          </p:nvCxnSpPr>
          <p:spPr bwMode="auto">
            <a:xfrm>
              <a:off x="8303851"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4"/>
              <a:endCxn id="109" idx="6"/>
            </p:cNvCxnSpPr>
            <p:nvPr/>
          </p:nvCxnSpPr>
          <p:spPr bwMode="auto">
            <a:xfrm>
              <a:off x="8303851" y="436561"/>
              <a:ext cx="436924"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12" name="LegendBoxes" hidden="1"/>
          <p:cNvGrpSpPr/>
          <p:nvPr userDrawn="1"/>
        </p:nvGrpSpPr>
        <p:grpSpPr bwMode="auto">
          <a:xfrm>
            <a:off x="8856019" y="974732"/>
            <a:ext cx="784921" cy="997467"/>
            <a:chOff x="7835905" y="279400"/>
            <a:chExt cx="724543" cy="997467"/>
          </a:xfrm>
        </p:grpSpPr>
        <p:sp>
          <p:nvSpPr>
            <p:cNvPr id="113"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4"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5"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6"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7" name="Legend1"/>
            <p:cNvSpPr>
              <a:spLocks noChangeArrowheads="1"/>
            </p:cNvSpPr>
            <p:nvPr/>
          </p:nvSpPr>
          <p:spPr bwMode="auto">
            <a:xfrm>
              <a:off x="8089905"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18" name="Legend2"/>
            <p:cNvSpPr>
              <a:spLocks noChangeArrowheads="1"/>
            </p:cNvSpPr>
            <p:nvPr/>
          </p:nvSpPr>
          <p:spPr bwMode="auto">
            <a:xfrm>
              <a:off x="8089905" y="54927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19" name="Legend3"/>
            <p:cNvSpPr>
              <a:spLocks noChangeArrowheads="1"/>
            </p:cNvSpPr>
            <p:nvPr/>
          </p:nvSpPr>
          <p:spPr bwMode="auto">
            <a:xfrm>
              <a:off x="8089905" y="820738"/>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20" name="Legend4"/>
            <p:cNvSpPr>
              <a:spLocks noChangeArrowheads="1"/>
            </p:cNvSpPr>
            <p:nvPr/>
          </p:nvSpPr>
          <p:spPr bwMode="auto">
            <a:xfrm>
              <a:off x="8089905" y="10922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grpSp>
      <p:grpSp>
        <p:nvGrpSpPr>
          <p:cNvPr id="121" name="LegendLines" hidden="1"/>
          <p:cNvGrpSpPr/>
          <p:nvPr userDrawn="1"/>
        </p:nvGrpSpPr>
        <p:grpSpPr bwMode="auto">
          <a:xfrm>
            <a:off x="8522565" y="974732"/>
            <a:ext cx="1118561" cy="730767"/>
            <a:chOff x="7540629" y="279400"/>
            <a:chExt cx="1032518" cy="730767"/>
          </a:xfrm>
        </p:grpSpPr>
        <p:sp>
          <p:nvSpPr>
            <p:cNvPr id="122"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dirty="0">
                <a:ea typeface="+mn-ea"/>
                <a:cs typeface="+mn-cs"/>
              </a:endParaRPr>
            </a:p>
          </p:txBody>
        </p:sp>
        <p:sp>
          <p:nvSpPr>
            <p:cNvPr id="123"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dirty="0">
                <a:ea typeface="+mn-ea"/>
                <a:cs typeface="+mn-cs"/>
              </a:endParaRPr>
            </a:p>
          </p:txBody>
        </p:sp>
        <p:sp>
          <p:nvSpPr>
            <p:cNvPr id="124"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dirty="0">
                <a:ea typeface="+mn-ea"/>
                <a:cs typeface="+mn-cs"/>
              </a:endParaRPr>
            </a:p>
          </p:txBody>
        </p:sp>
        <p:sp>
          <p:nvSpPr>
            <p:cNvPr id="125" name="Legend1"/>
            <p:cNvSpPr>
              <a:spLocks noChangeArrowheads="1"/>
            </p:cNvSpPr>
            <p:nvPr/>
          </p:nvSpPr>
          <p:spPr bwMode="auto">
            <a:xfrm>
              <a:off x="8102604"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26" name="Legend2"/>
            <p:cNvSpPr>
              <a:spLocks noChangeArrowheads="1"/>
            </p:cNvSpPr>
            <p:nvPr/>
          </p:nvSpPr>
          <p:spPr bwMode="auto">
            <a:xfrm>
              <a:off x="8102604" y="5461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27" name="Legend3"/>
            <p:cNvSpPr>
              <a:spLocks noChangeArrowheads="1"/>
            </p:cNvSpPr>
            <p:nvPr/>
          </p:nvSpPr>
          <p:spPr bwMode="auto">
            <a:xfrm>
              <a:off x="8102604" y="8255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grpSp>
      <p:grpSp>
        <p:nvGrpSpPr>
          <p:cNvPr id="128" name="LegendMoons" hidden="1"/>
          <p:cNvGrpSpPr/>
          <p:nvPr userDrawn="1"/>
        </p:nvGrpSpPr>
        <p:grpSpPr bwMode="auto">
          <a:xfrm>
            <a:off x="8783788" y="946154"/>
            <a:ext cx="857153" cy="1306516"/>
            <a:chOff x="7769225" y="250825"/>
            <a:chExt cx="791218" cy="1306516"/>
          </a:xfrm>
        </p:grpSpPr>
        <p:grpSp>
          <p:nvGrpSpPr>
            <p:cNvPr id="129" name="MoonLegend1"/>
            <p:cNvGrpSpPr>
              <a:grpSpLocks noChangeAspect="1"/>
            </p:cNvGrpSpPr>
            <p:nvPr>
              <p:custDataLst>
                <p:tags r:id="rId9"/>
              </p:custDataLst>
            </p:nvPr>
          </p:nvGrpSpPr>
          <p:grpSpPr bwMode="auto">
            <a:xfrm>
              <a:off x="7769225" y="250825"/>
              <a:ext cx="209550" cy="209551"/>
              <a:chOff x="4533" y="183"/>
              <a:chExt cx="144" cy="144"/>
            </a:xfrm>
          </p:grpSpPr>
          <p:sp>
            <p:nvSpPr>
              <p:cNvPr id="147"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8"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0" name="MoonLegend2"/>
            <p:cNvGrpSpPr>
              <a:grpSpLocks noChangeAspect="1"/>
            </p:cNvGrpSpPr>
            <p:nvPr>
              <p:custDataLst>
                <p:tags r:id="rId10"/>
              </p:custDataLst>
            </p:nvPr>
          </p:nvGrpSpPr>
          <p:grpSpPr bwMode="auto">
            <a:xfrm>
              <a:off x="7769225" y="525066"/>
              <a:ext cx="209550" cy="209551"/>
              <a:chOff x="1694" y="2044"/>
              <a:chExt cx="160" cy="160"/>
            </a:xfrm>
          </p:grpSpPr>
          <p:sp>
            <p:nvSpPr>
              <p:cNvPr id="145"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6" name="Arc 42"/>
              <p:cNvSpPr>
                <a:spLocks noChangeAspect="1"/>
              </p:cNvSpPr>
              <p:nvPr>
                <p:custDataLst>
                  <p:tags r:id="rId21"/>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1" name="MoonLegend4"/>
            <p:cNvGrpSpPr>
              <a:grpSpLocks noChangeAspect="1"/>
            </p:cNvGrpSpPr>
            <p:nvPr>
              <p:custDataLst>
                <p:tags r:id="rId11"/>
              </p:custDataLst>
            </p:nvPr>
          </p:nvGrpSpPr>
          <p:grpSpPr bwMode="auto">
            <a:xfrm>
              <a:off x="7769225" y="1073548"/>
              <a:ext cx="209550" cy="209551"/>
              <a:chOff x="4495" y="1198"/>
              <a:chExt cx="160" cy="160"/>
            </a:xfrm>
          </p:grpSpPr>
          <p:sp>
            <p:nvSpPr>
              <p:cNvPr id="143"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4"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2" name="MoonLegend5"/>
            <p:cNvGrpSpPr>
              <a:grpSpLocks noChangeAspect="1"/>
            </p:cNvGrpSpPr>
            <p:nvPr>
              <p:custDataLst>
                <p:tags r:id="rId12"/>
              </p:custDataLst>
            </p:nvPr>
          </p:nvGrpSpPr>
          <p:grpSpPr bwMode="auto">
            <a:xfrm>
              <a:off x="7769225" y="1347790"/>
              <a:ext cx="209550" cy="209551"/>
              <a:chOff x="4495" y="1440"/>
              <a:chExt cx="160" cy="160"/>
            </a:xfrm>
          </p:grpSpPr>
          <p:sp>
            <p:nvSpPr>
              <p:cNvPr id="141"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2"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3" name="MoonLegend3"/>
            <p:cNvGrpSpPr>
              <a:grpSpLocks noChangeAspect="1"/>
            </p:cNvGrpSpPr>
            <p:nvPr>
              <p:custDataLst>
                <p:tags r:id="rId13"/>
              </p:custDataLst>
            </p:nvPr>
          </p:nvGrpSpPr>
          <p:grpSpPr bwMode="auto">
            <a:xfrm>
              <a:off x="7769225" y="799307"/>
              <a:ext cx="209550" cy="209551"/>
              <a:chOff x="4495" y="1198"/>
              <a:chExt cx="160" cy="160"/>
            </a:xfrm>
          </p:grpSpPr>
          <p:sp>
            <p:nvSpPr>
              <p:cNvPr id="139"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0"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sp>
          <p:nvSpPr>
            <p:cNvPr id="134" name="Legend1"/>
            <p:cNvSpPr>
              <a:spLocks noChangeArrowheads="1"/>
            </p:cNvSpPr>
            <p:nvPr/>
          </p:nvSpPr>
          <p:spPr bwMode="auto">
            <a:xfrm>
              <a:off x="8089900" y="26352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35" name="Legend2"/>
            <p:cNvSpPr>
              <a:spLocks noChangeArrowheads="1"/>
            </p:cNvSpPr>
            <p:nvPr/>
          </p:nvSpPr>
          <p:spPr bwMode="auto">
            <a:xfrm>
              <a:off x="8089900" y="538163"/>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36" name="Legend3"/>
            <p:cNvSpPr>
              <a:spLocks noChangeArrowheads="1"/>
            </p:cNvSpPr>
            <p:nvPr/>
          </p:nvSpPr>
          <p:spPr bwMode="auto">
            <a:xfrm>
              <a:off x="8089900" y="812802"/>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37" name="Legend4"/>
            <p:cNvSpPr>
              <a:spLocks noChangeArrowheads="1"/>
            </p:cNvSpPr>
            <p:nvPr/>
          </p:nvSpPr>
          <p:spPr bwMode="auto">
            <a:xfrm>
              <a:off x="8089900" y="108426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38" name="Legend5"/>
            <p:cNvSpPr>
              <a:spLocks noChangeArrowheads="1"/>
            </p:cNvSpPr>
            <p:nvPr/>
          </p:nvSpPr>
          <p:spPr bwMode="auto">
            <a:xfrm>
              <a:off x="8089900" y="136049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grpSp>
    </p:spTree>
    <p:extLst>
      <p:ext uri="{BB962C8B-B14F-4D97-AF65-F5344CB8AC3E}">
        <p14:creationId xmlns:p14="http://schemas.microsoft.com/office/powerpoint/2010/main" val="661881212"/>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Lst>
  <p:hf hdr="0" ftr="0" dt="0"/>
  <p:txStyles>
    <p:titleStyle>
      <a:lvl1pPr algn="l" defTabSz="913429" rtl="0" eaLnBrk="1" fontAlgn="base" hangingPunct="1">
        <a:spcBef>
          <a:spcPct val="0"/>
        </a:spcBef>
        <a:spcAft>
          <a:spcPct val="0"/>
        </a:spcAft>
        <a:tabLst>
          <a:tab pos="275324" algn="l"/>
        </a:tabLst>
        <a:defRPr sz="19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nvPr>
        </p:nvGraphicFramePr>
        <p:xfrm>
          <a:off x="0" y="0"/>
          <a:ext cx="175483" cy="161974"/>
        </p:xfrm>
        <a:graphic>
          <a:graphicData uri="http://schemas.openxmlformats.org/presentationml/2006/ole">
            <mc:AlternateContent xmlns:mc="http://schemas.openxmlformats.org/markup-compatibility/2006">
              <mc:Choice xmlns:v="urn:schemas-microsoft-com:vml" Requires="v">
                <p:oleObj spid="_x0000_s90126"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0" y="0"/>
                        <a:ext cx="175483" cy="161974"/>
                      </a:xfrm>
                      <a:prstGeom prst="rect">
                        <a:avLst/>
                      </a:prstGeom>
                    </p:spPr>
                  </p:pic>
                </p:oleObj>
              </mc:Fallback>
            </mc:AlternateContent>
          </a:graphicData>
        </a:graphic>
      </p:graphicFrame>
      <p:pic>
        <p:nvPicPr>
          <p:cNvPr id="59" name="Picture 58"/>
          <p:cNvPicPr>
            <a:picLocks/>
          </p:cNvPicPr>
          <p:nvPr userDrawn="1"/>
        </p:nvPicPr>
        <p:blipFill>
          <a:blip r:embed="rId24" cstate="print"/>
          <a:stretch>
            <a:fillRect/>
          </a:stretch>
        </p:blipFill>
        <p:spPr bwMode="auto">
          <a:xfrm>
            <a:off x="189523" y="681010"/>
            <a:ext cx="8065476" cy="50511"/>
          </a:xfrm>
          <a:prstGeom prst="rect">
            <a:avLst/>
          </a:prstGeom>
        </p:spPr>
      </p:pic>
      <p:pic>
        <p:nvPicPr>
          <p:cNvPr id="60" name="Picture 59" descr="AGRALogo.png"/>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bwMode="ltGray">
          <a:xfrm>
            <a:off x="8329296" y="388621"/>
            <a:ext cx="1354131" cy="530864"/>
          </a:xfrm>
          <a:prstGeom prst="rect">
            <a:avLst/>
          </a:prstGeom>
        </p:spPr>
      </p:pic>
      <p:sp>
        <p:nvSpPr>
          <p:cNvPr id="1033" name="doc id"/>
          <p:cNvSpPr>
            <a:spLocks noChangeArrowheads="1"/>
          </p:cNvSpPr>
          <p:nvPr/>
        </p:nvSpPr>
        <p:spPr bwMode="auto">
          <a:xfrm>
            <a:off x="8933827" y="37255"/>
            <a:ext cx="726499"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29" fontAlgn="base">
              <a:spcBef>
                <a:spcPct val="0"/>
              </a:spcBef>
              <a:spcAft>
                <a:spcPct val="0"/>
              </a:spcAft>
              <a:buClrTx/>
              <a:buFontTx/>
              <a:buNone/>
            </a:pPr>
            <a:endParaRPr lang="en-US" sz="800" kern="1200" dirty="0">
              <a:ea typeface="+mn-ea"/>
              <a:cs typeface="+mn-cs"/>
            </a:endParaRPr>
          </a:p>
        </p:txBody>
      </p:sp>
      <p:sp>
        <p:nvSpPr>
          <p:cNvPr id="1036" name="Rectangle 286"/>
          <p:cNvSpPr>
            <a:spLocks noGrp="1" noChangeArrowheads="1"/>
          </p:cNvSpPr>
          <p:nvPr>
            <p:ph type="body" idx="1"/>
          </p:nvPr>
        </p:nvSpPr>
        <p:spPr bwMode="auto">
          <a:xfrm>
            <a:off x="1878084" y="2508985"/>
            <a:ext cx="475558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247650" y="388621"/>
            <a:ext cx="80073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247651" y="8087"/>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buClrTx/>
              <a:buFontTx/>
              <a:buNone/>
            </a:pPr>
            <a:r>
              <a:rPr lang="en-US" sz="1000" kern="1200" dirty="0">
                <a:solidFill>
                  <a:srgbClr val="808080"/>
                </a:solidFill>
                <a:ea typeface="+mn-ea"/>
                <a:cs typeface="+mn-cs"/>
              </a:rPr>
              <a:t>TRACKER</a:t>
            </a:r>
          </a:p>
        </p:txBody>
      </p:sp>
      <p:sp>
        <p:nvSpPr>
          <p:cNvPr id="11" name="3. Unit of measure" hidden="1"/>
          <p:cNvSpPr txBox="1">
            <a:spLocks noChangeArrowheads="1"/>
          </p:cNvSpPr>
          <p:nvPr/>
        </p:nvSpPr>
        <p:spPr bwMode="auto">
          <a:xfrm>
            <a:off x="247650" y="749678"/>
            <a:ext cx="80073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buClrTx/>
              <a:buFontTx/>
              <a:buNone/>
              <a:defRPr/>
            </a:pPr>
            <a:r>
              <a:rPr lang="en-US" sz="1600" kern="1200" dirty="0">
                <a:solidFill>
                  <a:srgbClr val="808080"/>
                </a:solidFill>
                <a:latin typeface="Arial"/>
                <a:ea typeface="+mn-ea"/>
                <a:cs typeface="+mn-cs"/>
              </a:rPr>
              <a:t>Unit of measure</a:t>
            </a:r>
          </a:p>
        </p:txBody>
      </p:sp>
      <p:grpSp>
        <p:nvGrpSpPr>
          <p:cNvPr id="15" name="ACET" hidden="1"/>
          <p:cNvGrpSpPr>
            <a:grpSpLocks/>
          </p:cNvGrpSpPr>
          <p:nvPr/>
        </p:nvGrpSpPr>
        <p:grpSpPr bwMode="auto">
          <a:xfrm>
            <a:off x="1878084" y="1915010"/>
            <a:ext cx="4713466"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buClrTx/>
                <a:buFontTx/>
                <a:buNone/>
              </a:pPr>
              <a:r>
                <a:rPr lang="en-US" sz="1600" b="1" kern="1200" dirty="0">
                  <a:ea typeface="+mn-ea"/>
                  <a:cs typeface="+mn-cs"/>
                </a:rPr>
                <a:t>Title</a:t>
              </a:r>
            </a:p>
            <a:p>
              <a:pPr fontAlgn="base">
                <a:spcBef>
                  <a:spcPct val="0"/>
                </a:spcBef>
                <a:spcAft>
                  <a:spcPct val="0"/>
                </a:spcAft>
                <a:buClrTx/>
                <a:buFontTx/>
                <a:buNone/>
              </a:pPr>
              <a:r>
                <a:rPr lang="en-US" sz="1600" kern="1200" dirty="0">
                  <a:solidFill>
                    <a:srgbClr val="808080"/>
                  </a:solidFill>
                  <a:ea typeface="+mn-ea"/>
                  <a:cs typeface="+mn-cs"/>
                </a:rPr>
                <a:t>Unit of measure</a:t>
              </a:r>
            </a:p>
          </p:txBody>
        </p:sp>
      </p:grpSp>
      <p:sp>
        <p:nvSpPr>
          <p:cNvPr id="104" name="Slide Number"/>
          <p:cNvSpPr txBox="1">
            <a:spLocks/>
          </p:cNvSpPr>
          <p:nvPr userDrawn="1"/>
        </p:nvSpPr>
        <p:spPr bwMode="auto">
          <a:xfrm>
            <a:off x="9558392" y="6643599"/>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buClrTx/>
              <a:buFontTx/>
              <a:buNone/>
            </a:pPr>
            <a:fld id="{42C328C1-A84F-4A39-A664-DBA00541A8C6}" type="slidenum">
              <a:rPr lang="en-US" sz="800" kern="1200" smtClean="0">
                <a:ea typeface="+mn-ea"/>
                <a:cs typeface="+mn-cs"/>
              </a:rPr>
              <a:pPr algn="r" fontAlgn="base">
                <a:spcBef>
                  <a:spcPct val="0"/>
                </a:spcBef>
                <a:spcAft>
                  <a:spcPct val="0"/>
                </a:spcAft>
                <a:buClrTx/>
                <a:buFontTx/>
                <a:buNone/>
              </a:pPr>
              <a:t>‹#›</a:t>
            </a:fld>
            <a:endParaRPr lang="en-US" sz="800" kern="1200" dirty="0">
              <a:ea typeface="+mn-ea"/>
              <a:cs typeface="+mn-cs"/>
            </a:endParaRPr>
          </a:p>
        </p:txBody>
      </p:sp>
      <p:grpSp>
        <p:nvGrpSpPr>
          <p:cNvPr id="105" name="Slide Elements" hidden="1"/>
          <p:cNvGrpSpPr/>
          <p:nvPr userDrawn="1"/>
        </p:nvGrpSpPr>
        <p:grpSpPr bwMode="auto">
          <a:xfrm>
            <a:off x="247651" y="6441985"/>
            <a:ext cx="9336748" cy="324724"/>
            <a:chOff x="119063" y="6306659"/>
            <a:chExt cx="8618537" cy="324724"/>
          </a:xfrm>
        </p:grpSpPr>
        <p:sp>
          <p:nvSpPr>
            <p:cNvPr id="106" name="4. Footnote"/>
            <p:cNvSpPr txBox="1">
              <a:spLocks noChangeArrowheads="1"/>
            </p:cNvSpPr>
            <p:nvPr/>
          </p:nvSpPr>
          <p:spPr bwMode="auto">
            <a:xfrm>
              <a:off x="119063" y="6306659"/>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fontAlgn="base">
                <a:spcBef>
                  <a:spcPct val="0"/>
                </a:spcBef>
                <a:spcAft>
                  <a:spcPct val="0"/>
                </a:spcAft>
                <a:buClrTx/>
                <a:buFontTx/>
                <a:buNone/>
                <a:defRPr lang="x-none"/>
              </a:pPr>
              <a:r>
                <a:rPr sz="800" kern="1200" dirty="0">
                  <a:solidFill>
                    <a:srgbClr val="000000"/>
                  </a:solidFill>
                  <a:latin typeface="Arial"/>
                  <a:ea typeface="+mn-ea"/>
                  <a:cs typeface="+mn-cs"/>
                </a:rPr>
                <a:t>1 Footnote</a:t>
              </a:r>
            </a:p>
          </p:txBody>
        </p:sp>
        <p:sp>
          <p:nvSpPr>
            <p:cNvPr id="107" name="5. Source"/>
            <p:cNvSpPr>
              <a:spLocks noChangeArrowheads="1"/>
            </p:cNvSpPr>
            <p:nvPr/>
          </p:nvSpPr>
          <p:spPr bwMode="auto">
            <a:xfrm>
              <a:off x="119063" y="6508272"/>
              <a:ext cx="794619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9113" indent="-519113" defTabSz="895350" fontAlgn="base">
                <a:spcBef>
                  <a:spcPct val="0"/>
                </a:spcBef>
                <a:spcAft>
                  <a:spcPct val="0"/>
                </a:spcAft>
                <a:buClrTx/>
                <a:buFontTx/>
                <a:buNone/>
                <a:tabLst>
                  <a:tab pos="612775" algn="l"/>
                </a:tabLst>
              </a:pPr>
              <a:r>
                <a:rPr lang="x-none" sz="800" kern="1200" dirty="0">
                  <a:ea typeface="+mn-ea"/>
                  <a:cs typeface="+mn-cs"/>
                </a:rPr>
                <a:t>SOURCE : Source</a:t>
              </a:r>
              <a:endParaRPr lang="en-US" sz="800" kern="1200" dirty="0">
                <a:ea typeface="+mn-ea"/>
                <a:cs typeface="+mn-cs"/>
              </a:endParaRPr>
            </a:p>
          </p:txBody>
        </p:sp>
      </p:grpSp>
      <p:grpSp>
        <p:nvGrpSpPr>
          <p:cNvPr id="108" name="McKSticker" hidden="1"/>
          <p:cNvGrpSpPr/>
          <p:nvPr userDrawn="1"/>
        </p:nvGrpSpPr>
        <p:grpSpPr bwMode="auto">
          <a:xfrm>
            <a:off x="9210098" y="981080"/>
            <a:ext cx="473335" cy="150811"/>
            <a:chOff x="8303851" y="285750"/>
            <a:chExt cx="436924" cy="150811"/>
          </a:xfrm>
        </p:grpSpPr>
        <p:sp>
          <p:nvSpPr>
            <p:cNvPr id="109" name="StickerRectangle"/>
            <p:cNvSpPr>
              <a:spLocks noChangeArrowheads="1"/>
            </p:cNvSpPr>
            <p:nvPr/>
          </p:nvSpPr>
          <p:spPr bwMode="auto">
            <a:xfrm>
              <a:off x="8303851" y="285750"/>
              <a:ext cx="43692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2960"/>
                </a:buClr>
                <a:buFontTx/>
                <a:buNone/>
              </a:pPr>
              <a:r>
                <a:rPr lang="x-none" sz="800" kern="1200" dirty="0">
                  <a:solidFill>
                    <a:srgbClr val="808080"/>
                  </a:solidFill>
                  <a:ea typeface="+mn-ea"/>
                  <a:cs typeface="+mn-cs"/>
                </a:rPr>
                <a:t>STICKER</a:t>
              </a:r>
            </a:p>
          </p:txBody>
        </p:sp>
        <p:cxnSp>
          <p:nvCxnSpPr>
            <p:cNvPr id="110" name="AutoShape 31"/>
            <p:cNvCxnSpPr>
              <a:cxnSpLocks noChangeShapeType="1"/>
              <a:stCxn id="109" idx="2"/>
              <a:endCxn id="109" idx="4"/>
            </p:cNvCxnSpPr>
            <p:nvPr/>
          </p:nvCxnSpPr>
          <p:spPr bwMode="auto">
            <a:xfrm>
              <a:off x="8303851"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4"/>
              <a:endCxn id="109" idx="6"/>
            </p:cNvCxnSpPr>
            <p:nvPr/>
          </p:nvCxnSpPr>
          <p:spPr bwMode="auto">
            <a:xfrm>
              <a:off x="8303851" y="436561"/>
              <a:ext cx="436924"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12" name="LegendBoxes" hidden="1"/>
          <p:cNvGrpSpPr/>
          <p:nvPr userDrawn="1"/>
        </p:nvGrpSpPr>
        <p:grpSpPr bwMode="auto">
          <a:xfrm>
            <a:off x="8856021" y="974730"/>
            <a:ext cx="784921" cy="997467"/>
            <a:chOff x="7835905" y="279400"/>
            <a:chExt cx="724543" cy="997467"/>
          </a:xfrm>
        </p:grpSpPr>
        <p:sp>
          <p:nvSpPr>
            <p:cNvPr id="113"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4"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5"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6"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7" name="Legend1"/>
            <p:cNvSpPr>
              <a:spLocks noChangeArrowheads="1"/>
            </p:cNvSpPr>
            <p:nvPr/>
          </p:nvSpPr>
          <p:spPr bwMode="auto">
            <a:xfrm>
              <a:off x="8089905"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18" name="Legend2"/>
            <p:cNvSpPr>
              <a:spLocks noChangeArrowheads="1"/>
            </p:cNvSpPr>
            <p:nvPr/>
          </p:nvSpPr>
          <p:spPr bwMode="auto">
            <a:xfrm>
              <a:off x="8089905" y="54927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19" name="Legend3"/>
            <p:cNvSpPr>
              <a:spLocks noChangeArrowheads="1"/>
            </p:cNvSpPr>
            <p:nvPr/>
          </p:nvSpPr>
          <p:spPr bwMode="auto">
            <a:xfrm>
              <a:off x="8089905" y="820738"/>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20" name="Legend4"/>
            <p:cNvSpPr>
              <a:spLocks noChangeArrowheads="1"/>
            </p:cNvSpPr>
            <p:nvPr/>
          </p:nvSpPr>
          <p:spPr bwMode="auto">
            <a:xfrm>
              <a:off x="8089905" y="10922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grpSp>
      <p:grpSp>
        <p:nvGrpSpPr>
          <p:cNvPr id="121" name="LegendLines" hidden="1"/>
          <p:cNvGrpSpPr/>
          <p:nvPr userDrawn="1"/>
        </p:nvGrpSpPr>
        <p:grpSpPr bwMode="auto">
          <a:xfrm>
            <a:off x="8522565" y="974730"/>
            <a:ext cx="1118561" cy="730767"/>
            <a:chOff x="7540629" y="279400"/>
            <a:chExt cx="1032518" cy="730767"/>
          </a:xfrm>
        </p:grpSpPr>
        <p:sp>
          <p:nvSpPr>
            <p:cNvPr id="122"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dirty="0">
                <a:ea typeface="+mn-ea"/>
                <a:cs typeface="+mn-cs"/>
              </a:endParaRPr>
            </a:p>
          </p:txBody>
        </p:sp>
        <p:sp>
          <p:nvSpPr>
            <p:cNvPr id="123"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dirty="0">
                <a:ea typeface="+mn-ea"/>
                <a:cs typeface="+mn-cs"/>
              </a:endParaRPr>
            </a:p>
          </p:txBody>
        </p:sp>
        <p:sp>
          <p:nvSpPr>
            <p:cNvPr id="124"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dirty="0">
                <a:ea typeface="+mn-ea"/>
                <a:cs typeface="+mn-cs"/>
              </a:endParaRPr>
            </a:p>
          </p:txBody>
        </p:sp>
        <p:sp>
          <p:nvSpPr>
            <p:cNvPr id="125" name="Legend1"/>
            <p:cNvSpPr>
              <a:spLocks noChangeArrowheads="1"/>
            </p:cNvSpPr>
            <p:nvPr/>
          </p:nvSpPr>
          <p:spPr bwMode="auto">
            <a:xfrm>
              <a:off x="8102604"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26" name="Legend2"/>
            <p:cNvSpPr>
              <a:spLocks noChangeArrowheads="1"/>
            </p:cNvSpPr>
            <p:nvPr/>
          </p:nvSpPr>
          <p:spPr bwMode="auto">
            <a:xfrm>
              <a:off x="8102604" y="5461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27" name="Legend3"/>
            <p:cNvSpPr>
              <a:spLocks noChangeArrowheads="1"/>
            </p:cNvSpPr>
            <p:nvPr/>
          </p:nvSpPr>
          <p:spPr bwMode="auto">
            <a:xfrm>
              <a:off x="8102604" y="8255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grpSp>
      <p:grpSp>
        <p:nvGrpSpPr>
          <p:cNvPr id="128" name="LegendMoons" hidden="1"/>
          <p:cNvGrpSpPr/>
          <p:nvPr userDrawn="1"/>
        </p:nvGrpSpPr>
        <p:grpSpPr bwMode="auto">
          <a:xfrm>
            <a:off x="8783790" y="946154"/>
            <a:ext cx="857153" cy="1306516"/>
            <a:chOff x="7769225" y="250825"/>
            <a:chExt cx="791218" cy="1306516"/>
          </a:xfrm>
        </p:grpSpPr>
        <p:grpSp>
          <p:nvGrpSpPr>
            <p:cNvPr id="129" name="MoonLegend1"/>
            <p:cNvGrpSpPr>
              <a:grpSpLocks noChangeAspect="1"/>
            </p:cNvGrpSpPr>
            <p:nvPr>
              <p:custDataLst>
                <p:tags r:id="rId7"/>
              </p:custDataLst>
            </p:nvPr>
          </p:nvGrpSpPr>
          <p:grpSpPr bwMode="auto">
            <a:xfrm>
              <a:off x="7769225" y="250825"/>
              <a:ext cx="209550" cy="209551"/>
              <a:chOff x="4533" y="183"/>
              <a:chExt cx="144" cy="144"/>
            </a:xfrm>
          </p:grpSpPr>
          <p:sp>
            <p:nvSpPr>
              <p:cNvPr id="147"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8"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0" name="MoonLegend2"/>
            <p:cNvGrpSpPr>
              <a:grpSpLocks noChangeAspect="1"/>
            </p:cNvGrpSpPr>
            <p:nvPr>
              <p:custDataLst>
                <p:tags r:id="rId8"/>
              </p:custDataLst>
            </p:nvPr>
          </p:nvGrpSpPr>
          <p:grpSpPr bwMode="auto">
            <a:xfrm>
              <a:off x="7769225" y="525066"/>
              <a:ext cx="209550" cy="209551"/>
              <a:chOff x="1694" y="2044"/>
              <a:chExt cx="160" cy="160"/>
            </a:xfrm>
          </p:grpSpPr>
          <p:sp>
            <p:nvSpPr>
              <p:cNvPr id="145"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6" name="Arc 42"/>
              <p:cNvSpPr>
                <a:spLocks noChangeAspect="1"/>
              </p:cNvSpPr>
              <p:nvPr>
                <p:custDataLst>
                  <p:tags r:id="rId19"/>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1" name="MoonLegend4"/>
            <p:cNvGrpSpPr>
              <a:grpSpLocks noChangeAspect="1"/>
            </p:cNvGrpSpPr>
            <p:nvPr>
              <p:custDataLst>
                <p:tags r:id="rId9"/>
              </p:custDataLst>
            </p:nvPr>
          </p:nvGrpSpPr>
          <p:grpSpPr bwMode="auto">
            <a:xfrm>
              <a:off x="7769225" y="1073548"/>
              <a:ext cx="209550" cy="209551"/>
              <a:chOff x="4495" y="1198"/>
              <a:chExt cx="160" cy="160"/>
            </a:xfrm>
          </p:grpSpPr>
          <p:sp>
            <p:nvSpPr>
              <p:cNvPr id="143"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4"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2" name="MoonLegend5"/>
            <p:cNvGrpSpPr>
              <a:grpSpLocks noChangeAspect="1"/>
            </p:cNvGrpSpPr>
            <p:nvPr>
              <p:custDataLst>
                <p:tags r:id="rId10"/>
              </p:custDataLst>
            </p:nvPr>
          </p:nvGrpSpPr>
          <p:grpSpPr bwMode="auto">
            <a:xfrm>
              <a:off x="7769225" y="1347790"/>
              <a:ext cx="209550" cy="209551"/>
              <a:chOff x="4495" y="1440"/>
              <a:chExt cx="160" cy="160"/>
            </a:xfrm>
          </p:grpSpPr>
          <p:sp>
            <p:nvSpPr>
              <p:cNvPr id="141"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2"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3" name="MoonLegend3"/>
            <p:cNvGrpSpPr>
              <a:grpSpLocks noChangeAspect="1"/>
            </p:cNvGrpSpPr>
            <p:nvPr>
              <p:custDataLst>
                <p:tags r:id="rId11"/>
              </p:custDataLst>
            </p:nvPr>
          </p:nvGrpSpPr>
          <p:grpSpPr bwMode="auto">
            <a:xfrm>
              <a:off x="7769225" y="799307"/>
              <a:ext cx="209550" cy="209551"/>
              <a:chOff x="4495" y="1198"/>
              <a:chExt cx="160" cy="160"/>
            </a:xfrm>
          </p:grpSpPr>
          <p:sp>
            <p:nvSpPr>
              <p:cNvPr id="139"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0"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sp>
          <p:nvSpPr>
            <p:cNvPr id="134" name="Legend1"/>
            <p:cNvSpPr>
              <a:spLocks noChangeArrowheads="1"/>
            </p:cNvSpPr>
            <p:nvPr/>
          </p:nvSpPr>
          <p:spPr bwMode="auto">
            <a:xfrm>
              <a:off x="8089900" y="26352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35" name="Legend2"/>
            <p:cNvSpPr>
              <a:spLocks noChangeArrowheads="1"/>
            </p:cNvSpPr>
            <p:nvPr/>
          </p:nvSpPr>
          <p:spPr bwMode="auto">
            <a:xfrm>
              <a:off x="8089900" y="538163"/>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36" name="Legend3"/>
            <p:cNvSpPr>
              <a:spLocks noChangeArrowheads="1"/>
            </p:cNvSpPr>
            <p:nvPr/>
          </p:nvSpPr>
          <p:spPr bwMode="auto">
            <a:xfrm>
              <a:off x="8089900" y="812802"/>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37" name="Legend4"/>
            <p:cNvSpPr>
              <a:spLocks noChangeArrowheads="1"/>
            </p:cNvSpPr>
            <p:nvPr/>
          </p:nvSpPr>
          <p:spPr bwMode="auto">
            <a:xfrm>
              <a:off x="8089900" y="108426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38" name="Legend5"/>
            <p:cNvSpPr>
              <a:spLocks noChangeArrowheads="1"/>
            </p:cNvSpPr>
            <p:nvPr/>
          </p:nvSpPr>
          <p:spPr bwMode="auto">
            <a:xfrm>
              <a:off x="8089900" y="136049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grpSp>
    </p:spTree>
    <p:extLst>
      <p:ext uri="{BB962C8B-B14F-4D97-AF65-F5344CB8AC3E}">
        <p14:creationId xmlns:p14="http://schemas.microsoft.com/office/powerpoint/2010/main" val="2179401040"/>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Lst>
  <p:hf hdr="0" ftr="0" dt="0"/>
  <p:txStyles>
    <p:titleStyle>
      <a:lvl1pPr algn="l" defTabSz="913429" rtl="0" eaLnBrk="1" fontAlgn="base" hangingPunct="1">
        <a:spcBef>
          <a:spcPct val="0"/>
        </a:spcBef>
        <a:spcAft>
          <a:spcPct val="0"/>
        </a:spcAft>
        <a:tabLst>
          <a:tab pos="275324" algn="l"/>
        </a:tabLst>
        <a:defRPr sz="19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nvPr>
        </p:nvGraphicFramePr>
        <p:xfrm>
          <a:off x="0" y="0"/>
          <a:ext cx="175483" cy="161974"/>
        </p:xfrm>
        <a:graphic>
          <a:graphicData uri="http://schemas.openxmlformats.org/presentationml/2006/ole">
            <mc:AlternateContent xmlns:mc="http://schemas.openxmlformats.org/markup-compatibility/2006">
              <mc:Choice xmlns:v="urn:schemas-microsoft-com:vml" Requires="v">
                <p:oleObj spid="_x0000_s94222"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0" y="0"/>
                        <a:ext cx="175483" cy="161974"/>
                      </a:xfrm>
                      <a:prstGeom prst="rect">
                        <a:avLst/>
                      </a:prstGeom>
                    </p:spPr>
                  </p:pic>
                </p:oleObj>
              </mc:Fallback>
            </mc:AlternateContent>
          </a:graphicData>
        </a:graphic>
      </p:graphicFrame>
      <p:pic>
        <p:nvPicPr>
          <p:cNvPr id="59" name="Picture 58"/>
          <p:cNvPicPr>
            <a:picLocks/>
          </p:cNvPicPr>
          <p:nvPr userDrawn="1"/>
        </p:nvPicPr>
        <p:blipFill>
          <a:blip r:embed="rId24" cstate="print"/>
          <a:stretch>
            <a:fillRect/>
          </a:stretch>
        </p:blipFill>
        <p:spPr bwMode="auto">
          <a:xfrm>
            <a:off x="189523" y="681010"/>
            <a:ext cx="8065476" cy="50511"/>
          </a:xfrm>
          <a:prstGeom prst="rect">
            <a:avLst/>
          </a:prstGeom>
        </p:spPr>
      </p:pic>
      <p:pic>
        <p:nvPicPr>
          <p:cNvPr id="60" name="Picture 59" descr="AGRALogo.png"/>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bwMode="ltGray">
          <a:xfrm>
            <a:off x="8329296" y="388621"/>
            <a:ext cx="1354131" cy="530864"/>
          </a:xfrm>
          <a:prstGeom prst="rect">
            <a:avLst/>
          </a:prstGeom>
        </p:spPr>
      </p:pic>
      <p:sp>
        <p:nvSpPr>
          <p:cNvPr id="1033" name="doc id"/>
          <p:cNvSpPr>
            <a:spLocks noChangeArrowheads="1"/>
          </p:cNvSpPr>
          <p:nvPr/>
        </p:nvSpPr>
        <p:spPr bwMode="auto">
          <a:xfrm>
            <a:off x="8933827" y="37255"/>
            <a:ext cx="726499"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29" fontAlgn="base">
              <a:spcBef>
                <a:spcPct val="0"/>
              </a:spcBef>
              <a:spcAft>
                <a:spcPct val="0"/>
              </a:spcAft>
              <a:buClrTx/>
              <a:buFontTx/>
              <a:buNone/>
            </a:pPr>
            <a:endParaRPr lang="en-US" sz="800" kern="1200" dirty="0">
              <a:ea typeface="+mn-ea"/>
              <a:cs typeface="+mn-cs"/>
            </a:endParaRPr>
          </a:p>
        </p:txBody>
      </p:sp>
      <p:sp>
        <p:nvSpPr>
          <p:cNvPr id="1036" name="Rectangle 286"/>
          <p:cNvSpPr>
            <a:spLocks noGrp="1" noChangeArrowheads="1"/>
          </p:cNvSpPr>
          <p:nvPr>
            <p:ph type="body" idx="1"/>
          </p:nvPr>
        </p:nvSpPr>
        <p:spPr bwMode="auto">
          <a:xfrm>
            <a:off x="1878084" y="2508985"/>
            <a:ext cx="475558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247650" y="388621"/>
            <a:ext cx="80073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247651" y="8087"/>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buClrTx/>
              <a:buFontTx/>
              <a:buNone/>
            </a:pPr>
            <a:r>
              <a:rPr lang="en-US" sz="1000" kern="1200" dirty="0">
                <a:solidFill>
                  <a:srgbClr val="808080"/>
                </a:solidFill>
                <a:ea typeface="+mn-ea"/>
                <a:cs typeface="+mn-cs"/>
              </a:rPr>
              <a:t>TRACKER</a:t>
            </a:r>
          </a:p>
        </p:txBody>
      </p:sp>
      <p:sp>
        <p:nvSpPr>
          <p:cNvPr id="11" name="3. Unit of measure" hidden="1"/>
          <p:cNvSpPr txBox="1">
            <a:spLocks noChangeArrowheads="1"/>
          </p:cNvSpPr>
          <p:nvPr/>
        </p:nvSpPr>
        <p:spPr bwMode="auto">
          <a:xfrm>
            <a:off x="247650" y="749678"/>
            <a:ext cx="80073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buClrTx/>
              <a:buFontTx/>
              <a:buNone/>
              <a:defRPr/>
            </a:pPr>
            <a:r>
              <a:rPr lang="en-US" sz="1600" kern="1200" dirty="0">
                <a:solidFill>
                  <a:srgbClr val="808080"/>
                </a:solidFill>
                <a:latin typeface="Arial"/>
                <a:ea typeface="+mn-ea"/>
                <a:cs typeface="+mn-cs"/>
              </a:rPr>
              <a:t>Unit of measure</a:t>
            </a:r>
          </a:p>
        </p:txBody>
      </p:sp>
      <p:grpSp>
        <p:nvGrpSpPr>
          <p:cNvPr id="15" name="ACET" hidden="1"/>
          <p:cNvGrpSpPr>
            <a:grpSpLocks/>
          </p:cNvGrpSpPr>
          <p:nvPr/>
        </p:nvGrpSpPr>
        <p:grpSpPr bwMode="auto">
          <a:xfrm>
            <a:off x="1878084" y="1915010"/>
            <a:ext cx="4713466"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buClrTx/>
                <a:buFontTx/>
                <a:buNone/>
              </a:pPr>
              <a:r>
                <a:rPr lang="en-US" sz="1600" b="1" kern="1200" dirty="0">
                  <a:ea typeface="+mn-ea"/>
                  <a:cs typeface="+mn-cs"/>
                </a:rPr>
                <a:t>Title</a:t>
              </a:r>
            </a:p>
            <a:p>
              <a:pPr fontAlgn="base">
                <a:spcBef>
                  <a:spcPct val="0"/>
                </a:spcBef>
                <a:spcAft>
                  <a:spcPct val="0"/>
                </a:spcAft>
                <a:buClrTx/>
                <a:buFontTx/>
                <a:buNone/>
              </a:pPr>
              <a:r>
                <a:rPr lang="en-US" sz="1600" kern="1200" dirty="0">
                  <a:solidFill>
                    <a:srgbClr val="808080"/>
                  </a:solidFill>
                  <a:ea typeface="+mn-ea"/>
                  <a:cs typeface="+mn-cs"/>
                </a:rPr>
                <a:t>Unit of measure</a:t>
              </a:r>
            </a:p>
          </p:txBody>
        </p:sp>
      </p:grpSp>
      <p:sp>
        <p:nvSpPr>
          <p:cNvPr id="104" name="Slide Number"/>
          <p:cNvSpPr txBox="1">
            <a:spLocks/>
          </p:cNvSpPr>
          <p:nvPr userDrawn="1"/>
        </p:nvSpPr>
        <p:spPr bwMode="auto">
          <a:xfrm>
            <a:off x="9558392" y="6643599"/>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buClrTx/>
              <a:buFontTx/>
              <a:buNone/>
            </a:pPr>
            <a:fld id="{42C328C1-A84F-4A39-A664-DBA00541A8C6}" type="slidenum">
              <a:rPr lang="en-US" sz="800" kern="1200" smtClean="0">
                <a:ea typeface="+mn-ea"/>
                <a:cs typeface="+mn-cs"/>
              </a:rPr>
              <a:pPr algn="r" fontAlgn="base">
                <a:spcBef>
                  <a:spcPct val="0"/>
                </a:spcBef>
                <a:spcAft>
                  <a:spcPct val="0"/>
                </a:spcAft>
                <a:buClrTx/>
                <a:buFontTx/>
                <a:buNone/>
              </a:pPr>
              <a:t>‹#›</a:t>
            </a:fld>
            <a:endParaRPr lang="en-US" sz="800" kern="1200" dirty="0">
              <a:ea typeface="+mn-ea"/>
              <a:cs typeface="+mn-cs"/>
            </a:endParaRPr>
          </a:p>
        </p:txBody>
      </p:sp>
      <p:grpSp>
        <p:nvGrpSpPr>
          <p:cNvPr id="105" name="Slide Elements" hidden="1"/>
          <p:cNvGrpSpPr/>
          <p:nvPr userDrawn="1"/>
        </p:nvGrpSpPr>
        <p:grpSpPr bwMode="auto">
          <a:xfrm>
            <a:off x="247651" y="6441985"/>
            <a:ext cx="9336748" cy="324724"/>
            <a:chOff x="119063" y="6306659"/>
            <a:chExt cx="8618537" cy="324724"/>
          </a:xfrm>
        </p:grpSpPr>
        <p:sp>
          <p:nvSpPr>
            <p:cNvPr id="106" name="4. Footnote"/>
            <p:cNvSpPr txBox="1">
              <a:spLocks noChangeArrowheads="1"/>
            </p:cNvSpPr>
            <p:nvPr/>
          </p:nvSpPr>
          <p:spPr bwMode="auto">
            <a:xfrm>
              <a:off x="119063" y="6306659"/>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fontAlgn="base">
                <a:spcBef>
                  <a:spcPct val="0"/>
                </a:spcBef>
                <a:spcAft>
                  <a:spcPct val="0"/>
                </a:spcAft>
                <a:buClrTx/>
                <a:buFontTx/>
                <a:buNone/>
                <a:defRPr lang="x-none"/>
              </a:pPr>
              <a:r>
                <a:rPr sz="800" kern="1200" dirty="0">
                  <a:solidFill>
                    <a:srgbClr val="000000"/>
                  </a:solidFill>
                  <a:latin typeface="Arial"/>
                  <a:ea typeface="+mn-ea"/>
                  <a:cs typeface="+mn-cs"/>
                </a:rPr>
                <a:t>1 Footnote</a:t>
              </a:r>
            </a:p>
          </p:txBody>
        </p:sp>
        <p:sp>
          <p:nvSpPr>
            <p:cNvPr id="107" name="5. Source"/>
            <p:cNvSpPr>
              <a:spLocks noChangeArrowheads="1"/>
            </p:cNvSpPr>
            <p:nvPr/>
          </p:nvSpPr>
          <p:spPr bwMode="auto">
            <a:xfrm>
              <a:off x="119063" y="6508272"/>
              <a:ext cx="794619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9113" indent="-519113" defTabSz="895350" fontAlgn="base">
                <a:spcBef>
                  <a:spcPct val="0"/>
                </a:spcBef>
                <a:spcAft>
                  <a:spcPct val="0"/>
                </a:spcAft>
                <a:buClrTx/>
                <a:buFontTx/>
                <a:buNone/>
                <a:tabLst>
                  <a:tab pos="612775" algn="l"/>
                </a:tabLst>
              </a:pPr>
              <a:r>
                <a:rPr lang="x-none" sz="800" kern="1200" dirty="0">
                  <a:ea typeface="+mn-ea"/>
                  <a:cs typeface="+mn-cs"/>
                </a:rPr>
                <a:t>SOURCE : Source</a:t>
              </a:r>
              <a:endParaRPr lang="en-US" sz="800" kern="1200" dirty="0">
                <a:ea typeface="+mn-ea"/>
                <a:cs typeface="+mn-cs"/>
              </a:endParaRPr>
            </a:p>
          </p:txBody>
        </p:sp>
      </p:grpSp>
      <p:grpSp>
        <p:nvGrpSpPr>
          <p:cNvPr id="108" name="McKSticker" hidden="1"/>
          <p:cNvGrpSpPr/>
          <p:nvPr userDrawn="1"/>
        </p:nvGrpSpPr>
        <p:grpSpPr bwMode="auto">
          <a:xfrm>
            <a:off x="9210098" y="981080"/>
            <a:ext cx="473335" cy="150811"/>
            <a:chOff x="8303851" y="285750"/>
            <a:chExt cx="436924" cy="150811"/>
          </a:xfrm>
        </p:grpSpPr>
        <p:sp>
          <p:nvSpPr>
            <p:cNvPr id="109" name="StickerRectangle"/>
            <p:cNvSpPr>
              <a:spLocks noChangeArrowheads="1"/>
            </p:cNvSpPr>
            <p:nvPr/>
          </p:nvSpPr>
          <p:spPr bwMode="auto">
            <a:xfrm>
              <a:off x="8303851" y="285750"/>
              <a:ext cx="43692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2960"/>
                </a:buClr>
                <a:buFontTx/>
                <a:buNone/>
              </a:pPr>
              <a:r>
                <a:rPr lang="x-none" sz="800" kern="1200" dirty="0">
                  <a:solidFill>
                    <a:srgbClr val="808080"/>
                  </a:solidFill>
                  <a:ea typeface="+mn-ea"/>
                  <a:cs typeface="+mn-cs"/>
                </a:rPr>
                <a:t>STICKER</a:t>
              </a:r>
            </a:p>
          </p:txBody>
        </p:sp>
        <p:cxnSp>
          <p:nvCxnSpPr>
            <p:cNvPr id="110" name="AutoShape 31"/>
            <p:cNvCxnSpPr>
              <a:cxnSpLocks noChangeShapeType="1"/>
              <a:stCxn id="109" idx="2"/>
              <a:endCxn id="109" idx="4"/>
            </p:cNvCxnSpPr>
            <p:nvPr/>
          </p:nvCxnSpPr>
          <p:spPr bwMode="auto">
            <a:xfrm>
              <a:off x="8303851"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4"/>
              <a:endCxn id="109" idx="6"/>
            </p:cNvCxnSpPr>
            <p:nvPr/>
          </p:nvCxnSpPr>
          <p:spPr bwMode="auto">
            <a:xfrm>
              <a:off x="8303851" y="436561"/>
              <a:ext cx="436924"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12" name="LegendBoxes" hidden="1"/>
          <p:cNvGrpSpPr/>
          <p:nvPr userDrawn="1"/>
        </p:nvGrpSpPr>
        <p:grpSpPr bwMode="auto">
          <a:xfrm>
            <a:off x="8856021" y="974730"/>
            <a:ext cx="784921" cy="997467"/>
            <a:chOff x="7835905" y="279400"/>
            <a:chExt cx="724543" cy="997467"/>
          </a:xfrm>
        </p:grpSpPr>
        <p:sp>
          <p:nvSpPr>
            <p:cNvPr id="113"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4"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5"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6"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7" name="Legend1"/>
            <p:cNvSpPr>
              <a:spLocks noChangeArrowheads="1"/>
            </p:cNvSpPr>
            <p:nvPr/>
          </p:nvSpPr>
          <p:spPr bwMode="auto">
            <a:xfrm>
              <a:off x="8089905"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18" name="Legend2"/>
            <p:cNvSpPr>
              <a:spLocks noChangeArrowheads="1"/>
            </p:cNvSpPr>
            <p:nvPr/>
          </p:nvSpPr>
          <p:spPr bwMode="auto">
            <a:xfrm>
              <a:off x="8089905" y="54927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19" name="Legend3"/>
            <p:cNvSpPr>
              <a:spLocks noChangeArrowheads="1"/>
            </p:cNvSpPr>
            <p:nvPr/>
          </p:nvSpPr>
          <p:spPr bwMode="auto">
            <a:xfrm>
              <a:off x="8089905" y="820738"/>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20" name="Legend4"/>
            <p:cNvSpPr>
              <a:spLocks noChangeArrowheads="1"/>
            </p:cNvSpPr>
            <p:nvPr/>
          </p:nvSpPr>
          <p:spPr bwMode="auto">
            <a:xfrm>
              <a:off x="8089905" y="10922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grpSp>
      <p:grpSp>
        <p:nvGrpSpPr>
          <p:cNvPr id="121" name="LegendLines" hidden="1"/>
          <p:cNvGrpSpPr/>
          <p:nvPr userDrawn="1"/>
        </p:nvGrpSpPr>
        <p:grpSpPr bwMode="auto">
          <a:xfrm>
            <a:off x="8522565" y="974730"/>
            <a:ext cx="1118561" cy="730767"/>
            <a:chOff x="7540629" y="279400"/>
            <a:chExt cx="1032518" cy="730767"/>
          </a:xfrm>
        </p:grpSpPr>
        <p:sp>
          <p:nvSpPr>
            <p:cNvPr id="122"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dirty="0">
                <a:ea typeface="+mn-ea"/>
                <a:cs typeface="+mn-cs"/>
              </a:endParaRPr>
            </a:p>
          </p:txBody>
        </p:sp>
        <p:sp>
          <p:nvSpPr>
            <p:cNvPr id="123"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dirty="0">
                <a:ea typeface="+mn-ea"/>
                <a:cs typeface="+mn-cs"/>
              </a:endParaRPr>
            </a:p>
          </p:txBody>
        </p:sp>
        <p:sp>
          <p:nvSpPr>
            <p:cNvPr id="124"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dirty="0">
                <a:ea typeface="+mn-ea"/>
                <a:cs typeface="+mn-cs"/>
              </a:endParaRPr>
            </a:p>
          </p:txBody>
        </p:sp>
        <p:sp>
          <p:nvSpPr>
            <p:cNvPr id="125" name="Legend1"/>
            <p:cNvSpPr>
              <a:spLocks noChangeArrowheads="1"/>
            </p:cNvSpPr>
            <p:nvPr/>
          </p:nvSpPr>
          <p:spPr bwMode="auto">
            <a:xfrm>
              <a:off x="8102604"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26" name="Legend2"/>
            <p:cNvSpPr>
              <a:spLocks noChangeArrowheads="1"/>
            </p:cNvSpPr>
            <p:nvPr/>
          </p:nvSpPr>
          <p:spPr bwMode="auto">
            <a:xfrm>
              <a:off x="8102604" y="5461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27" name="Legend3"/>
            <p:cNvSpPr>
              <a:spLocks noChangeArrowheads="1"/>
            </p:cNvSpPr>
            <p:nvPr/>
          </p:nvSpPr>
          <p:spPr bwMode="auto">
            <a:xfrm>
              <a:off x="8102604" y="8255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grpSp>
      <p:grpSp>
        <p:nvGrpSpPr>
          <p:cNvPr id="128" name="LegendMoons" hidden="1"/>
          <p:cNvGrpSpPr/>
          <p:nvPr userDrawn="1"/>
        </p:nvGrpSpPr>
        <p:grpSpPr bwMode="auto">
          <a:xfrm>
            <a:off x="8783790" y="946154"/>
            <a:ext cx="857153" cy="1306516"/>
            <a:chOff x="7769225" y="250825"/>
            <a:chExt cx="791218" cy="1306516"/>
          </a:xfrm>
        </p:grpSpPr>
        <p:grpSp>
          <p:nvGrpSpPr>
            <p:cNvPr id="129" name="MoonLegend1"/>
            <p:cNvGrpSpPr>
              <a:grpSpLocks noChangeAspect="1"/>
            </p:cNvGrpSpPr>
            <p:nvPr>
              <p:custDataLst>
                <p:tags r:id="rId7"/>
              </p:custDataLst>
            </p:nvPr>
          </p:nvGrpSpPr>
          <p:grpSpPr bwMode="auto">
            <a:xfrm>
              <a:off x="7769225" y="250825"/>
              <a:ext cx="209550" cy="209551"/>
              <a:chOff x="4533" y="183"/>
              <a:chExt cx="144" cy="144"/>
            </a:xfrm>
          </p:grpSpPr>
          <p:sp>
            <p:nvSpPr>
              <p:cNvPr id="147"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8"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0" name="MoonLegend2"/>
            <p:cNvGrpSpPr>
              <a:grpSpLocks noChangeAspect="1"/>
            </p:cNvGrpSpPr>
            <p:nvPr>
              <p:custDataLst>
                <p:tags r:id="rId8"/>
              </p:custDataLst>
            </p:nvPr>
          </p:nvGrpSpPr>
          <p:grpSpPr bwMode="auto">
            <a:xfrm>
              <a:off x="7769225" y="525066"/>
              <a:ext cx="209550" cy="209551"/>
              <a:chOff x="1694" y="2044"/>
              <a:chExt cx="160" cy="160"/>
            </a:xfrm>
          </p:grpSpPr>
          <p:sp>
            <p:nvSpPr>
              <p:cNvPr id="145"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6" name="Arc 42"/>
              <p:cNvSpPr>
                <a:spLocks noChangeAspect="1"/>
              </p:cNvSpPr>
              <p:nvPr>
                <p:custDataLst>
                  <p:tags r:id="rId19"/>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1" name="MoonLegend4"/>
            <p:cNvGrpSpPr>
              <a:grpSpLocks noChangeAspect="1"/>
            </p:cNvGrpSpPr>
            <p:nvPr>
              <p:custDataLst>
                <p:tags r:id="rId9"/>
              </p:custDataLst>
            </p:nvPr>
          </p:nvGrpSpPr>
          <p:grpSpPr bwMode="auto">
            <a:xfrm>
              <a:off x="7769225" y="1073548"/>
              <a:ext cx="209550" cy="209551"/>
              <a:chOff x="4495" y="1198"/>
              <a:chExt cx="160" cy="160"/>
            </a:xfrm>
          </p:grpSpPr>
          <p:sp>
            <p:nvSpPr>
              <p:cNvPr id="143"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4"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2" name="MoonLegend5"/>
            <p:cNvGrpSpPr>
              <a:grpSpLocks noChangeAspect="1"/>
            </p:cNvGrpSpPr>
            <p:nvPr>
              <p:custDataLst>
                <p:tags r:id="rId10"/>
              </p:custDataLst>
            </p:nvPr>
          </p:nvGrpSpPr>
          <p:grpSpPr bwMode="auto">
            <a:xfrm>
              <a:off x="7769225" y="1347790"/>
              <a:ext cx="209550" cy="209551"/>
              <a:chOff x="4495" y="1440"/>
              <a:chExt cx="160" cy="160"/>
            </a:xfrm>
          </p:grpSpPr>
          <p:sp>
            <p:nvSpPr>
              <p:cNvPr id="141"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2"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3" name="MoonLegend3"/>
            <p:cNvGrpSpPr>
              <a:grpSpLocks noChangeAspect="1"/>
            </p:cNvGrpSpPr>
            <p:nvPr>
              <p:custDataLst>
                <p:tags r:id="rId11"/>
              </p:custDataLst>
            </p:nvPr>
          </p:nvGrpSpPr>
          <p:grpSpPr bwMode="auto">
            <a:xfrm>
              <a:off x="7769225" y="799307"/>
              <a:ext cx="209550" cy="209551"/>
              <a:chOff x="4495" y="1198"/>
              <a:chExt cx="160" cy="160"/>
            </a:xfrm>
          </p:grpSpPr>
          <p:sp>
            <p:nvSpPr>
              <p:cNvPr id="139"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0"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sp>
          <p:nvSpPr>
            <p:cNvPr id="134" name="Legend1"/>
            <p:cNvSpPr>
              <a:spLocks noChangeArrowheads="1"/>
            </p:cNvSpPr>
            <p:nvPr/>
          </p:nvSpPr>
          <p:spPr bwMode="auto">
            <a:xfrm>
              <a:off x="8089900" y="26352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35" name="Legend2"/>
            <p:cNvSpPr>
              <a:spLocks noChangeArrowheads="1"/>
            </p:cNvSpPr>
            <p:nvPr/>
          </p:nvSpPr>
          <p:spPr bwMode="auto">
            <a:xfrm>
              <a:off x="8089900" y="538163"/>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36" name="Legend3"/>
            <p:cNvSpPr>
              <a:spLocks noChangeArrowheads="1"/>
            </p:cNvSpPr>
            <p:nvPr/>
          </p:nvSpPr>
          <p:spPr bwMode="auto">
            <a:xfrm>
              <a:off x="8089900" y="812802"/>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37" name="Legend4"/>
            <p:cNvSpPr>
              <a:spLocks noChangeArrowheads="1"/>
            </p:cNvSpPr>
            <p:nvPr/>
          </p:nvSpPr>
          <p:spPr bwMode="auto">
            <a:xfrm>
              <a:off x="8089900" y="108426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38" name="Legend5"/>
            <p:cNvSpPr>
              <a:spLocks noChangeArrowheads="1"/>
            </p:cNvSpPr>
            <p:nvPr/>
          </p:nvSpPr>
          <p:spPr bwMode="auto">
            <a:xfrm>
              <a:off x="8089900" y="136049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grpSp>
    </p:spTree>
    <p:extLst>
      <p:ext uri="{BB962C8B-B14F-4D97-AF65-F5344CB8AC3E}">
        <p14:creationId xmlns:p14="http://schemas.microsoft.com/office/powerpoint/2010/main" val="738916047"/>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Lst>
  <p:hf hdr="0" ftr="0" dt="0"/>
  <p:txStyles>
    <p:titleStyle>
      <a:lvl1pPr algn="l" defTabSz="913429" rtl="0" eaLnBrk="1" fontAlgn="base" hangingPunct="1">
        <a:spcBef>
          <a:spcPct val="0"/>
        </a:spcBef>
        <a:spcAft>
          <a:spcPct val="0"/>
        </a:spcAft>
        <a:tabLst>
          <a:tab pos="275324" algn="l"/>
        </a:tabLst>
        <a:defRPr sz="19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63"/>
        <p:cNvGrpSpPr/>
        <p:nvPr/>
      </p:nvGrpSpPr>
      <p:grpSpPr>
        <a:xfrm>
          <a:off x="0" y="0"/>
          <a:ext cx="0" cy="0"/>
          <a:chOff x="0" y="0"/>
          <a:chExt cx="0" cy="0"/>
        </a:xfrm>
      </p:grpSpPr>
      <p:pic>
        <p:nvPicPr>
          <p:cNvPr id="64" name="Google Shape;64;p10"/>
          <p:cNvPicPr preferRelativeResize="0"/>
          <p:nvPr/>
        </p:nvPicPr>
        <p:blipFill rotWithShape="1">
          <a:blip r:embed="rId11">
            <a:alphaModFix/>
          </a:blip>
          <a:srcRect/>
          <a:stretch/>
        </p:blipFill>
        <p:spPr>
          <a:xfrm>
            <a:off x="1590" y="1592"/>
            <a:ext cx="1587" cy="1587"/>
          </a:xfrm>
          <a:prstGeom prst="rect">
            <a:avLst/>
          </a:prstGeom>
          <a:noFill/>
          <a:ln>
            <a:noFill/>
          </a:ln>
        </p:spPr>
      </p:pic>
      <p:sp>
        <p:nvSpPr>
          <p:cNvPr id="65" name="Google Shape;65;p10"/>
          <p:cNvSpPr txBox="1"/>
          <p:nvPr/>
        </p:nvSpPr>
        <p:spPr>
          <a:xfrm>
            <a:off x="7234960" y="6355212"/>
            <a:ext cx="2310775" cy="365592"/>
          </a:xfrm>
          <a:prstGeom prst="rect">
            <a:avLst/>
          </a:prstGeom>
          <a:noFill/>
          <a:ln>
            <a:noFill/>
          </a:ln>
        </p:spPr>
        <p:txBody>
          <a:bodyPr spcFirstLastPara="1" wrap="square" lIns="66666" tIns="33333" rIns="66666" bIns="33333" anchor="ctr" anchorCtr="0">
            <a:noAutofit/>
          </a:bodyPr>
          <a:lstStyle/>
          <a:p>
            <a:pPr algn="r">
              <a:buClr>
                <a:srgbClr val="3F5F1F"/>
              </a:buClr>
              <a:buSzPts val="900"/>
              <a:buFont typeface="Calibri"/>
              <a:buNone/>
            </a:pPr>
            <a:fld id="{00000000-1234-1234-1234-123412341234}" type="slidenum">
              <a:rPr lang="en-US" sz="731">
                <a:solidFill>
                  <a:srgbClr val="3F5F1F"/>
                </a:solidFill>
                <a:latin typeface="Calibri"/>
                <a:ea typeface="Calibri"/>
                <a:cs typeface="Calibri"/>
                <a:sym typeface="Calibri"/>
              </a:rPr>
              <a:pPr algn="r">
                <a:buClr>
                  <a:srgbClr val="3F5F1F"/>
                </a:buClr>
                <a:buSzPts val="900"/>
                <a:buFont typeface="Calibri"/>
                <a:buNone/>
              </a:pPr>
              <a:t>‹#›</a:t>
            </a:fld>
            <a:endParaRPr sz="731" dirty="0">
              <a:solidFill>
                <a:srgbClr val="3F5F1F"/>
              </a:solidFill>
              <a:latin typeface="Calibri"/>
              <a:ea typeface="Calibri"/>
              <a:cs typeface="Calibri"/>
              <a:sym typeface="Calibri"/>
            </a:endParaRPr>
          </a:p>
        </p:txBody>
      </p:sp>
      <p:cxnSp>
        <p:nvCxnSpPr>
          <p:cNvPr id="66" name="Google Shape;66;p10"/>
          <p:cNvCxnSpPr/>
          <p:nvPr/>
        </p:nvCxnSpPr>
        <p:spPr>
          <a:xfrm>
            <a:off x="450741" y="851340"/>
            <a:ext cx="7315200" cy="0"/>
          </a:xfrm>
          <a:prstGeom prst="straightConnector1">
            <a:avLst/>
          </a:prstGeom>
          <a:noFill/>
          <a:ln w="19050" cap="flat" cmpd="sng">
            <a:solidFill>
              <a:srgbClr val="548135"/>
            </a:solidFill>
            <a:prstDash val="dot"/>
            <a:miter lim="800000"/>
            <a:headEnd type="none" w="sm" len="sm"/>
            <a:tailEnd type="none" w="sm" len="sm"/>
          </a:ln>
        </p:spPr>
      </p:cxnSp>
      <p:pic>
        <p:nvPicPr>
          <p:cNvPr id="67" name="Google Shape;67;p10"/>
          <p:cNvPicPr preferRelativeResize="0"/>
          <p:nvPr/>
        </p:nvPicPr>
        <p:blipFill rotWithShape="1">
          <a:blip r:embed="rId12">
            <a:alphaModFix/>
          </a:blip>
          <a:srcRect/>
          <a:stretch/>
        </p:blipFill>
        <p:spPr>
          <a:xfrm>
            <a:off x="0" y="6564696"/>
            <a:ext cx="4343400" cy="293305"/>
          </a:xfrm>
          <a:prstGeom prst="rect">
            <a:avLst/>
          </a:prstGeom>
          <a:noFill/>
          <a:ln>
            <a:noFill/>
          </a:ln>
        </p:spPr>
      </p:pic>
      <p:pic>
        <p:nvPicPr>
          <p:cNvPr id="68" name="Google Shape;68;p10"/>
          <p:cNvPicPr preferRelativeResize="0"/>
          <p:nvPr/>
        </p:nvPicPr>
        <p:blipFill rotWithShape="1">
          <a:blip r:embed="rId13">
            <a:alphaModFix/>
          </a:blip>
          <a:srcRect/>
          <a:stretch/>
        </p:blipFill>
        <p:spPr>
          <a:xfrm>
            <a:off x="7924800" y="323850"/>
            <a:ext cx="1534754" cy="514350"/>
          </a:xfrm>
          <a:prstGeom prst="rect">
            <a:avLst/>
          </a:prstGeom>
          <a:noFill/>
          <a:ln>
            <a:noFill/>
          </a:ln>
        </p:spPr>
      </p:pic>
    </p:spTree>
    <p:extLst>
      <p:ext uri="{BB962C8B-B14F-4D97-AF65-F5344CB8AC3E}">
        <p14:creationId xmlns:p14="http://schemas.microsoft.com/office/powerpoint/2010/main" val="2808633948"/>
      </p:ext>
    </p:extLst>
  </p:cSld>
  <p:clrMap bg1="lt1" tx1="dk1" bg2="dk2" tx2="lt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75483" cy="161974"/>
        </p:xfrm>
        <a:graphic>
          <a:graphicData uri="http://schemas.openxmlformats.org/presentationml/2006/ole">
            <mc:AlternateContent xmlns:mc="http://schemas.openxmlformats.org/markup-compatibility/2006">
              <mc:Choice xmlns:v="urn:schemas-microsoft-com:vml" Requires="v">
                <p:oleObj spid="_x0000_s108558"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0" y="0"/>
                        <a:ext cx="175483" cy="161974"/>
                      </a:xfrm>
                      <a:prstGeom prst="rect">
                        <a:avLst/>
                      </a:prstGeom>
                    </p:spPr>
                  </p:pic>
                </p:oleObj>
              </mc:Fallback>
            </mc:AlternateContent>
          </a:graphicData>
        </a:graphic>
      </p:graphicFrame>
      <p:sp>
        <p:nvSpPr>
          <p:cNvPr id="3" name="Rectangle 2" hidden="1"/>
          <p:cNvSpPr/>
          <p:nvPr userDrawn="1">
            <p:custDataLst>
              <p:tags r:id="rId6"/>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1900" b="1" dirty="0">
              <a:solidFill>
                <a:srgbClr val="000000"/>
              </a:solidFill>
              <a:sym typeface="Arial" panose="020B0604020202020204" pitchFamily="34" charset="0"/>
            </a:endParaRPr>
          </a:p>
        </p:txBody>
      </p:sp>
      <p:pic>
        <p:nvPicPr>
          <p:cNvPr id="59" name="Picture 58"/>
          <p:cNvPicPr>
            <a:picLocks/>
          </p:cNvPicPr>
          <p:nvPr userDrawn="1"/>
        </p:nvPicPr>
        <p:blipFill>
          <a:blip r:embed="rId24" cstate="print"/>
          <a:stretch>
            <a:fillRect/>
          </a:stretch>
        </p:blipFill>
        <p:spPr bwMode="auto">
          <a:xfrm>
            <a:off x="189523" y="681170"/>
            <a:ext cx="8065476" cy="50511"/>
          </a:xfrm>
          <a:prstGeom prst="rect">
            <a:avLst/>
          </a:prstGeom>
        </p:spPr>
      </p:pic>
      <p:pic>
        <p:nvPicPr>
          <p:cNvPr id="60" name="Picture 59" descr="AGRALogo.png"/>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bwMode="ltGray">
          <a:xfrm>
            <a:off x="8329382" y="388621"/>
            <a:ext cx="1354131" cy="530864"/>
          </a:xfrm>
          <a:prstGeom prst="rect">
            <a:avLst/>
          </a:prstGeom>
        </p:spPr>
      </p:pic>
      <p:sp>
        <p:nvSpPr>
          <p:cNvPr id="1033" name="doc id"/>
          <p:cNvSpPr>
            <a:spLocks noChangeArrowheads="1"/>
          </p:cNvSpPr>
          <p:nvPr/>
        </p:nvSpPr>
        <p:spPr bwMode="auto">
          <a:xfrm>
            <a:off x="8933827" y="37255"/>
            <a:ext cx="726499"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29" fontAlgn="base">
              <a:spcBef>
                <a:spcPct val="0"/>
              </a:spcBef>
              <a:spcAft>
                <a:spcPct val="0"/>
              </a:spcAft>
              <a:buClrTx/>
              <a:buFontTx/>
              <a:buNone/>
            </a:pPr>
            <a:endParaRPr lang="en-US" sz="800" kern="1200" dirty="0">
              <a:ea typeface="+mn-ea"/>
            </a:endParaRPr>
          </a:p>
        </p:txBody>
      </p:sp>
      <p:sp>
        <p:nvSpPr>
          <p:cNvPr id="1036" name="Rectangle 286"/>
          <p:cNvSpPr>
            <a:spLocks noGrp="1" noChangeArrowheads="1"/>
          </p:cNvSpPr>
          <p:nvPr>
            <p:ph type="body" idx="1"/>
          </p:nvPr>
        </p:nvSpPr>
        <p:spPr bwMode="auto">
          <a:xfrm>
            <a:off x="1878084" y="2508985"/>
            <a:ext cx="475558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247650" y="388621"/>
            <a:ext cx="80073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247690" y="8087"/>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buClrTx/>
              <a:buFontTx/>
              <a:buNone/>
            </a:pPr>
            <a:r>
              <a:rPr lang="en-US" sz="1000" kern="1200" dirty="0">
                <a:solidFill>
                  <a:srgbClr val="808080"/>
                </a:solidFill>
                <a:ea typeface="+mn-ea"/>
              </a:rPr>
              <a:t>TRACKER</a:t>
            </a:r>
          </a:p>
        </p:txBody>
      </p:sp>
      <p:sp>
        <p:nvSpPr>
          <p:cNvPr id="11" name="3. Unit of measure" hidden="1"/>
          <p:cNvSpPr txBox="1">
            <a:spLocks noChangeArrowheads="1"/>
          </p:cNvSpPr>
          <p:nvPr/>
        </p:nvSpPr>
        <p:spPr bwMode="auto">
          <a:xfrm>
            <a:off x="247650" y="749678"/>
            <a:ext cx="80073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buClrTx/>
              <a:buFontTx/>
              <a:buNone/>
              <a:defRPr/>
            </a:pPr>
            <a:r>
              <a:rPr lang="en-US" sz="1600" kern="1200" dirty="0">
                <a:solidFill>
                  <a:srgbClr val="808080"/>
                </a:solidFill>
                <a:latin typeface="Arial"/>
                <a:ea typeface="+mn-ea"/>
              </a:rPr>
              <a:t>Unit of measure</a:t>
            </a:r>
          </a:p>
        </p:txBody>
      </p:sp>
      <p:grpSp>
        <p:nvGrpSpPr>
          <p:cNvPr id="15" name="ACET" hidden="1"/>
          <p:cNvGrpSpPr>
            <a:grpSpLocks/>
          </p:cNvGrpSpPr>
          <p:nvPr/>
        </p:nvGrpSpPr>
        <p:grpSpPr bwMode="auto">
          <a:xfrm>
            <a:off x="1878084" y="1915010"/>
            <a:ext cx="4713466"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buClrTx/>
                <a:buFontTx/>
                <a:buNone/>
              </a:pPr>
              <a:r>
                <a:rPr lang="en-US" sz="1600" b="1" kern="1200" dirty="0">
                  <a:ea typeface="+mn-ea"/>
                </a:rPr>
                <a:t>Title</a:t>
              </a:r>
            </a:p>
            <a:p>
              <a:pPr fontAlgn="base">
                <a:spcBef>
                  <a:spcPct val="0"/>
                </a:spcBef>
                <a:spcAft>
                  <a:spcPct val="0"/>
                </a:spcAft>
                <a:buClrTx/>
                <a:buFontTx/>
                <a:buNone/>
              </a:pPr>
              <a:r>
                <a:rPr lang="en-US" sz="1600" kern="1200" dirty="0">
                  <a:solidFill>
                    <a:srgbClr val="808080"/>
                  </a:solidFill>
                  <a:ea typeface="+mn-ea"/>
                </a:rPr>
                <a:t>Unit of measure</a:t>
              </a:r>
            </a:p>
          </p:txBody>
        </p:sp>
      </p:grpSp>
      <p:sp>
        <p:nvSpPr>
          <p:cNvPr id="104" name="Slide Number"/>
          <p:cNvSpPr txBox="1">
            <a:spLocks/>
          </p:cNvSpPr>
          <p:nvPr userDrawn="1"/>
        </p:nvSpPr>
        <p:spPr bwMode="auto">
          <a:xfrm>
            <a:off x="9558393" y="6643759"/>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buClrTx/>
              <a:buFontTx/>
              <a:buNone/>
            </a:pPr>
            <a:fld id="{42C328C1-A84F-4A39-A664-DBA00541A8C6}" type="slidenum">
              <a:rPr lang="en-US" sz="800" kern="1200" smtClean="0">
                <a:ea typeface="+mn-ea"/>
              </a:rPr>
              <a:pPr algn="r" fontAlgn="base">
                <a:spcBef>
                  <a:spcPct val="0"/>
                </a:spcBef>
                <a:spcAft>
                  <a:spcPct val="0"/>
                </a:spcAft>
                <a:buClrTx/>
                <a:buFontTx/>
                <a:buNone/>
              </a:pPr>
              <a:t>‹#›</a:t>
            </a:fld>
            <a:endParaRPr lang="en-US" sz="800" kern="1200" dirty="0">
              <a:ea typeface="+mn-ea"/>
            </a:endParaRPr>
          </a:p>
        </p:txBody>
      </p:sp>
      <p:grpSp>
        <p:nvGrpSpPr>
          <p:cNvPr id="105" name="Slide Elements" hidden="1"/>
          <p:cNvGrpSpPr/>
          <p:nvPr userDrawn="1"/>
        </p:nvGrpSpPr>
        <p:grpSpPr bwMode="auto">
          <a:xfrm>
            <a:off x="247654" y="6441985"/>
            <a:ext cx="9336748" cy="324724"/>
            <a:chOff x="119063" y="6306659"/>
            <a:chExt cx="8618537" cy="324724"/>
          </a:xfrm>
        </p:grpSpPr>
        <p:sp>
          <p:nvSpPr>
            <p:cNvPr id="106" name="4. Footnote"/>
            <p:cNvSpPr txBox="1">
              <a:spLocks noChangeArrowheads="1"/>
            </p:cNvSpPr>
            <p:nvPr/>
          </p:nvSpPr>
          <p:spPr bwMode="auto">
            <a:xfrm>
              <a:off x="119063" y="6306659"/>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fontAlgn="base">
                <a:spcBef>
                  <a:spcPct val="0"/>
                </a:spcBef>
                <a:spcAft>
                  <a:spcPct val="0"/>
                </a:spcAft>
                <a:buClrTx/>
                <a:buFontTx/>
                <a:buNone/>
                <a:defRPr lang="x-none"/>
              </a:pPr>
              <a:r>
                <a:rPr sz="800" kern="1200" dirty="0">
                  <a:solidFill>
                    <a:srgbClr val="000000"/>
                  </a:solidFill>
                  <a:latin typeface="Arial"/>
                  <a:ea typeface="+mn-ea"/>
                </a:rPr>
                <a:t>1 Footnote</a:t>
              </a:r>
            </a:p>
          </p:txBody>
        </p:sp>
        <p:sp>
          <p:nvSpPr>
            <p:cNvPr id="107" name="5. Source"/>
            <p:cNvSpPr>
              <a:spLocks noChangeArrowheads="1"/>
            </p:cNvSpPr>
            <p:nvPr/>
          </p:nvSpPr>
          <p:spPr bwMode="auto">
            <a:xfrm>
              <a:off x="119063" y="6508272"/>
              <a:ext cx="794619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9113" indent="-519113" defTabSz="895350" fontAlgn="base">
                <a:spcBef>
                  <a:spcPct val="0"/>
                </a:spcBef>
                <a:spcAft>
                  <a:spcPct val="0"/>
                </a:spcAft>
                <a:buClrTx/>
                <a:buFontTx/>
                <a:buNone/>
                <a:tabLst>
                  <a:tab pos="612775" algn="l"/>
                </a:tabLst>
              </a:pPr>
              <a:r>
                <a:rPr lang="x-none" sz="800" kern="1200" dirty="0">
                  <a:ea typeface="+mn-ea"/>
                </a:rPr>
                <a:t>SOURCE : Source</a:t>
              </a:r>
              <a:endParaRPr lang="en-US" sz="800" kern="1200" dirty="0">
                <a:ea typeface="+mn-ea"/>
              </a:endParaRPr>
            </a:p>
          </p:txBody>
        </p:sp>
      </p:grpSp>
      <p:grpSp>
        <p:nvGrpSpPr>
          <p:cNvPr id="108" name="McKSticker" hidden="1"/>
          <p:cNvGrpSpPr/>
          <p:nvPr userDrawn="1"/>
        </p:nvGrpSpPr>
        <p:grpSpPr bwMode="auto">
          <a:xfrm>
            <a:off x="9209576" y="981082"/>
            <a:ext cx="473335" cy="150811"/>
            <a:chOff x="8303851" y="285750"/>
            <a:chExt cx="436924" cy="150811"/>
          </a:xfrm>
        </p:grpSpPr>
        <p:sp>
          <p:nvSpPr>
            <p:cNvPr id="109" name="StickerRectangle"/>
            <p:cNvSpPr>
              <a:spLocks noChangeArrowheads="1"/>
            </p:cNvSpPr>
            <p:nvPr/>
          </p:nvSpPr>
          <p:spPr bwMode="auto">
            <a:xfrm>
              <a:off x="8303851" y="285750"/>
              <a:ext cx="43692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2960"/>
                </a:buClr>
                <a:buFontTx/>
                <a:buNone/>
              </a:pPr>
              <a:r>
                <a:rPr lang="x-none" sz="800" kern="1200" dirty="0">
                  <a:solidFill>
                    <a:srgbClr val="808080"/>
                  </a:solidFill>
                  <a:ea typeface="+mn-ea"/>
                </a:rPr>
                <a:t>STICKER</a:t>
              </a:r>
            </a:p>
          </p:txBody>
        </p:sp>
        <p:cxnSp>
          <p:nvCxnSpPr>
            <p:cNvPr id="110" name="AutoShape 31"/>
            <p:cNvCxnSpPr>
              <a:cxnSpLocks noChangeShapeType="1"/>
              <a:stCxn id="109" idx="2"/>
              <a:endCxn id="109" idx="4"/>
            </p:cNvCxnSpPr>
            <p:nvPr/>
          </p:nvCxnSpPr>
          <p:spPr bwMode="auto">
            <a:xfrm>
              <a:off x="8303851"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4"/>
              <a:endCxn id="109" idx="6"/>
            </p:cNvCxnSpPr>
            <p:nvPr/>
          </p:nvCxnSpPr>
          <p:spPr bwMode="auto">
            <a:xfrm>
              <a:off x="8303851" y="436561"/>
              <a:ext cx="436924"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12" name="LegendBoxes" hidden="1"/>
          <p:cNvGrpSpPr/>
          <p:nvPr userDrawn="1"/>
        </p:nvGrpSpPr>
        <p:grpSpPr bwMode="auto">
          <a:xfrm>
            <a:off x="8855846" y="974734"/>
            <a:ext cx="784921" cy="997467"/>
            <a:chOff x="7835905" y="279400"/>
            <a:chExt cx="724543" cy="997467"/>
          </a:xfrm>
        </p:grpSpPr>
        <p:sp>
          <p:nvSpPr>
            <p:cNvPr id="113"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endParaRPr>
            </a:p>
          </p:txBody>
        </p:sp>
        <p:sp>
          <p:nvSpPr>
            <p:cNvPr id="114"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endParaRPr>
            </a:p>
          </p:txBody>
        </p:sp>
        <p:sp>
          <p:nvSpPr>
            <p:cNvPr id="115"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endParaRPr>
            </a:p>
          </p:txBody>
        </p:sp>
        <p:sp>
          <p:nvSpPr>
            <p:cNvPr id="116"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endParaRPr>
            </a:p>
          </p:txBody>
        </p:sp>
        <p:sp>
          <p:nvSpPr>
            <p:cNvPr id="117" name="Legend1"/>
            <p:cNvSpPr>
              <a:spLocks noChangeArrowheads="1"/>
            </p:cNvSpPr>
            <p:nvPr/>
          </p:nvSpPr>
          <p:spPr bwMode="auto">
            <a:xfrm>
              <a:off x="8089905"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rPr>
                <a:t>Legend</a:t>
              </a:r>
            </a:p>
          </p:txBody>
        </p:sp>
        <p:sp>
          <p:nvSpPr>
            <p:cNvPr id="118" name="Legend2"/>
            <p:cNvSpPr>
              <a:spLocks noChangeArrowheads="1"/>
            </p:cNvSpPr>
            <p:nvPr/>
          </p:nvSpPr>
          <p:spPr bwMode="auto">
            <a:xfrm>
              <a:off x="8089905" y="54927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rPr>
                <a:t>Legend</a:t>
              </a:r>
            </a:p>
          </p:txBody>
        </p:sp>
        <p:sp>
          <p:nvSpPr>
            <p:cNvPr id="119" name="Legend3"/>
            <p:cNvSpPr>
              <a:spLocks noChangeArrowheads="1"/>
            </p:cNvSpPr>
            <p:nvPr/>
          </p:nvSpPr>
          <p:spPr bwMode="auto">
            <a:xfrm>
              <a:off x="8089905" y="820738"/>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rPr>
                <a:t>Legend</a:t>
              </a:r>
            </a:p>
          </p:txBody>
        </p:sp>
        <p:sp>
          <p:nvSpPr>
            <p:cNvPr id="120" name="Legend4"/>
            <p:cNvSpPr>
              <a:spLocks noChangeArrowheads="1"/>
            </p:cNvSpPr>
            <p:nvPr/>
          </p:nvSpPr>
          <p:spPr bwMode="auto">
            <a:xfrm>
              <a:off x="8089905" y="10922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rPr>
                <a:t>Legend</a:t>
              </a:r>
            </a:p>
          </p:txBody>
        </p:sp>
      </p:grpSp>
      <p:grpSp>
        <p:nvGrpSpPr>
          <p:cNvPr id="121" name="LegendLines" hidden="1"/>
          <p:cNvGrpSpPr/>
          <p:nvPr userDrawn="1"/>
        </p:nvGrpSpPr>
        <p:grpSpPr bwMode="auto">
          <a:xfrm>
            <a:off x="8522391" y="974733"/>
            <a:ext cx="1118561" cy="730767"/>
            <a:chOff x="7540629" y="279400"/>
            <a:chExt cx="1032518" cy="730767"/>
          </a:xfrm>
        </p:grpSpPr>
        <p:sp>
          <p:nvSpPr>
            <p:cNvPr id="122"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dirty="0">
                <a:ea typeface="+mn-ea"/>
              </a:endParaRPr>
            </a:p>
          </p:txBody>
        </p:sp>
        <p:sp>
          <p:nvSpPr>
            <p:cNvPr id="123"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dirty="0">
                <a:ea typeface="+mn-ea"/>
              </a:endParaRPr>
            </a:p>
          </p:txBody>
        </p:sp>
        <p:sp>
          <p:nvSpPr>
            <p:cNvPr id="124"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dirty="0">
                <a:ea typeface="+mn-ea"/>
              </a:endParaRPr>
            </a:p>
          </p:txBody>
        </p:sp>
        <p:sp>
          <p:nvSpPr>
            <p:cNvPr id="125" name="Legend1"/>
            <p:cNvSpPr>
              <a:spLocks noChangeArrowheads="1"/>
            </p:cNvSpPr>
            <p:nvPr/>
          </p:nvSpPr>
          <p:spPr bwMode="auto">
            <a:xfrm>
              <a:off x="8102604"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rPr>
                <a:t>Legend</a:t>
              </a:r>
            </a:p>
          </p:txBody>
        </p:sp>
        <p:sp>
          <p:nvSpPr>
            <p:cNvPr id="126" name="Legend2"/>
            <p:cNvSpPr>
              <a:spLocks noChangeArrowheads="1"/>
            </p:cNvSpPr>
            <p:nvPr/>
          </p:nvSpPr>
          <p:spPr bwMode="auto">
            <a:xfrm>
              <a:off x="8102604" y="5461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rPr>
                <a:t>Legend</a:t>
              </a:r>
            </a:p>
          </p:txBody>
        </p:sp>
        <p:sp>
          <p:nvSpPr>
            <p:cNvPr id="127" name="Legend3"/>
            <p:cNvSpPr>
              <a:spLocks noChangeArrowheads="1"/>
            </p:cNvSpPr>
            <p:nvPr/>
          </p:nvSpPr>
          <p:spPr bwMode="auto">
            <a:xfrm>
              <a:off x="8102604" y="8255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rPr>
                <a:t>Legend</a:t>
              </a:r>
            </a:p>
          </p:txBody>
        </p:sp>
      </p:grpSp>
      <p:grpSp>
        <p:nvGrpSpPr>
          <p:cNvPr id="128" name="LegendMoons" hidden="1"/>
          <p:cNvGrpSpPr/>
          <p:nvPr userDrawn="1"/>
        </p:nvGrpSpPr>
        <p:grpSpPr bwMode="auto">
          <a:xfrm>
            <a:off x="8783531" y="946154"/>
            <a:ext cx="857153" cy="1306516"/>
            <a:chOff x="7769225" y="250825"/>
            <a:chExt cx="791218" cy="1306516"/>
          </a:xfrm>
        </p:grpSpPr>
        <p:grpSp>
          <p:nvGrpSpPr>
            <p:cNvPr id="129" name="MoonLegend1"/>
            <p:cNvGrpSpPr>
              <a:grpSpLocks noChangeAspect="1"/>
            </p:cNvGrpSpPr>
            <p:nvPr>
              <p:custDataLst>
                <p:tags r:id="rId7"/>
              </p:custDataLst>
            </p:nvPr>
          </p:nvGrpSpPr>
          <p:grpSpPr bwMode="auto">
            <a:xfrm>
              <a:off x="7769225" y="250825"/>
              <a:ext cx="209550" cy="209551"/>
              <a:chOff x="4533" y="183"/>
              <a:chExt cx="144" cy="144"/>
            </a:xfrm>
          </p:grpSpPr>
          <p:sp>
            <p:nvSpPr>
              <p:cNvPr id="147"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endParaRPr>
              </a:p>
            </p:txBody>
          </p:sp>
          <p:sp>
            <p:nvSpPr>
              <p:cNvPr id="148"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endParaRPr>
              </a:p>
            </p:txBody>
          </p:sp>
        </p:grpSp>
        <p:grpSp>
          <p:nvGrpSpPr>
            <p:cNvPr id="130" name="MoonLegend2"/>
            <p:cNvGrpSpPr>
              <a:grpSpLocks noChangeAspect="1"/>
            </p:cNvGrpSpPr>
            <p:nvPr>
              <p:custDataLst>
                <p:tags r:id="rId8"/>
              </p:custDataLst>
            </p:nvPr>
          </p:nvGrpSpPr>
          <p:grpSpPr bwMode="auto">
            <a:xfrm>
              <a:off x="7769225" y="525066"/>
              <a:ext cx="209550" cy="209551"/>
              <a:chOff x="1694" y="2044"/>
              <a:chExt cx="160" cy="160"/>
            </a:xfrm>
          </p:grpSpPr>
          <p:sp>
            <p:nvSpPr>
              <p:cNvPr id="145"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endParaRPr>
              </a:p>
            </p:txBody>
          </p:sp>
          <p:sp>
            <p:nvSpPr>
              <p:cNvPr id="146" name="Arc 42"/>
              <p:cNvSpPr>
                <a:spLocks noChangeAspect="1"/>
              </p:cNvSpPr>
              <p:nvPr>
                <p:custDataLst>
                  <p:tags r:id="rId19"/>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endParaRPr>
              </a:p>
            </p:txBody>
          </p:sp>
        </p:grpSp>
        <p:grpSp>
          <p:nvGrpSpPr>
            <p:cNvPr id="131" name="MoonLegend4"/>
            <p:cNvGrpSpPr>
              <a:grpSpLocks noChangeAspect="1"/>
            </p:cNvGrpSpPr>
            <p:nvPr>
              <p:custDataLst>
                <p:tags r:id="rId9"/>
              </p:custDataLst>
            </p:nvPr>
          </p:nvGrpSpPr>
          <p:grpSpPr bwMode="auto">
            <a:xfrm>
              <a:off x="7769225" y="1073548"/>
              <a:ext cx="209550" cy="209551"/>
              <a:chOff x="4495" y="1198"/>
              <a:chExt cx="160" cy="160"/>
            </a:xfrm>
          </p:grpSpPr>
          <p:sp>
            <p:nvSpPr>
              <p:cNvPr id="143"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endParaRPr>
              </a:p>
            </p:txBody>
          </p:sp>
          <p:sp>
            <p:nvSpPr>
              <p:cNvPr id="144"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endParaRPr>
              </a:p>
            </p:txBody>
          </p:sp>
        </p:grpSp>
        <p:grpSp>
          <p:nvGrpSpPr>
            <p:cNvPr id="132" name="MoonLegend5"/>
            <p:cNvGrpSpPr>
              <a:grpSpLocks noChangeAspect="1"/>
            </p:cNvGrpSpPr>
            <p:nvPr>
              <p:custDataLst>
                <p:tags r:id="rId10"/>
              </p:custDataLst>
            </p:nvPr>
          </p:nvGrpSpPr>
          <p:grpSpPr bwMode="auto">
            <a:xfrm>
              <a:off x="7769225" y="1347790"/>
              <a:ext cx="209550" cy="209551"/>
              <a:chOff x="4495" y="1440"/>
              <a:chExt cx="160" cy="160"/>
            </a:xfrm>
          </p:grpSpPr>
          <p:sp>
            <p:nvSpPr>
              <p:cNvPr id="141"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endParaRPr>
              </a:p>
            </p:txBody>
          </p:sp>
          <p:sp>
            <p:nvSpPr>
              <p:cNvPr id="142"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endParaRPr>
              </a:p>
            </p:txBody>
          </p:sp>
        </p:grpSp>
        <p:grpSp>
          <p:nvGrpSpPr>
            <p:cNvPr id="133" name="MoonLegend3"/>
            <p:cNvGrpSpPr>
              <a:grpSpLocks noChangeAspect="1"/>
            </p:cNvGrpSpPr>
            <p:nvPr>
              <p:custDataLst>
                <p:tags r:id="rId11"/>
              </p:custDataLst>
            </p:nvPr>
          </p:nvGrpSpPr>
          <p:grpSpPr bwMode="auto">
            <a:xfrm>
              <a:off x="7769225" y="799307"/>
              <a:ext cx="209550" cy="209551"/>
              <a:chOff x="4495" y="1198"/>
              <a:chExt cx="160" cy="160"/>
            </a:xfrm>
          </p:grpSpPr>
          <p:sp>
            <p:nvSpPr>
              <p:cNvPr id="139"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endParaRPr>
              </a:p>
            </p:txBody>
          </p:sp>
          <p:sp>
            <p:nvSpPr>
              <p:cNvPr id="140"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endParaRPr>
              </a:p>
            </p:txBody>
          </p:sp>
        </p:grpSp>
        <p:sp>
          <p:nvSpPr>
            <p:cNvPr id="134" name="Legend1"/>
            <p:cNvSpPr>
              <a:spLocks noChangeArrowheads="1"/>
            </p:cNvSpPr>
            <p:nvPr/>
          </p:nvSpPr>
          <p:spPr bwMode="auto">
            <a:xfrm>
              <a:off x="8089900" y="26352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rPr>
                <a:t>Legend</a:t>
              </a:r>
            </a:p>
          </p:txBody>
        </p:sp>
        <p:sp>
          <p:nvSpPr>
            <p:cNvPr id="135" name="Legend2"/>
            <p:cNvSpPr>
              <a:spLocks noChangeArrowheads="1"/>
            </p:cNvSpPr>
            <p:nvPr/>
          </p:nvSpPr>
          <p:spPr bwMode="auto">
            <a:xfrm>
              <a:off x="8089900" y="538163"/>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rPr>
                <a:t>Legend</a:t>
              </a:r>
            </a:p>
          </p:txBody>
        </p:sp>
        <p:sp>
          <p:nvSpPr>
            <p:cNvPr id="136" name="Legend3"/>
            <p:cNvSpPr>
              <a:spLocks noChangeArrowheads="1"/>
            </p:cNvSpPr>
            <p:nvPr/>
          </p:nvSpPr>
          <p:spPr bwMode="auto">
            <a:xfrm>
              <a:off x="8089900" y="812802"/>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rPr>
                <a:t>Legend</a:t>
              </a:r>
            </a:p>
          </p:txBody>
        </p:sp>
        <p:sp>
          <p:nvSpPr>
            <p:cNvPr id="137" name="Legend4"/>
            <p:cNvSpPr>
              <a:spLocks noChangeArrowheads="1"/>
            </p:cNvSpPr>
            <p:nvPr/>
          </p:nvSpPr>
          <p:spPr bwMode="auto">
            <a:xfrm>
              <a:off x="8089900" y="108426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rPr>
                <a:t>Legend</a:t>
              </a:r>
            </a:p>
          </p:txBody>
        </p:sp>
        <p:sp>
          <p:nvSpPr>
            <p:cNvPr id="138" name="Legend5"/>
            <p:cNvSpPr>
              <a:spLocks noChangeArrowheads="1"/>
            </p:cNvSpPr>
            <p:nvPr/>
          </p:nvSpPr>
          <p:spPr bwMode="auto">
            <a:xfrm>
              <a:off x="8089900" y="136049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rPr>
                <a:t>Legend</a:t>
              </a:r>
            </a:p>
          </p:txBody>
        </p:sp>
      </p:grpSp>
    </p:spTree>
    <p:extLst>
      <p:ext uri="{BB962C8B-B14F-4D97-AF65-F5344CB8AC3E}">
        <p14:creationId xmlns:p14="http://schemas.microsoft.com/office/powerpoint/2010/main" val="4223416835"/>
      </p:ext>
    </p:extLst>
  </p:cSld>
  <p:clrMap bg1="lt1" tx1="dk1" bg2="lt2" tx2="dk2" accent1="accent1" accent2="accent2" accent3="accent3" accent4="accent4" accent5="accent5" accent6="accent6" hlink="hlink" folHlink="folHlink"/>
  <p:sldLayoutIdLst>
    <p:sldLayoutId id="2147483798" r:id="rId1"/>
    <p:sldLayoutId id="2147483799" r:id="rId2"/>
  </p:sldLayoutIdLst>
  <p:hf hdr="0" ftr="0" dt="0"/>
  <p:txStyles>
    <p:titleStyle>
      <a:lvl1pPr algn="l" defTabSz="913429" rtl="0" eaLnBrk="1" fontAlgn="base" hangingPunct="1">
        <a:spcBef>
          <a:spcPct val="0"/>
        </a:spcBef>
        <a:spcAft>
          <a:spcPct val="0"/>
        </a:spcAft>
        <a:tabLst>
          <a:tab pos="275324" algn="l"/>
        </a:tabLst>
        <a:defRPr sz="19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63"/>
        <p:cNvGrpSpPr/>
        <p:nvPr/>
      </p:nvGrpSpPr>
      <p:grpSpPr>
        <a:xfrm>
          <a:off x="0" y="0"/>
          <a:ext cx="0" cy="0"/>
          <a:chOff x="0" y="0"/>
          <a:chExt cx="0" cy="0"/>
        </a:xfrm>
      </p:grpSpPr>
      <p:pic>
        <p:nvPicPr>
          <p:cNvPr id="64" name="Google Shape;64;p10"/>
          <p:cNvPicPr preferRelativeResize="0"/>
          <p:nvPr/>
        </p:nvPicPr>
        <p:blipFill rotWithShape="1">
          <a:blip r:embed="rId10">
            <a:alphaModFix/>
          </a:blip>
          <a:srcRect/>
          <a:stretch/>
        </p:blipFill>
        <p:spPr>
          <a:xfrm>
            <a:off x="1589" y="1590"/>
            <a:ext cx="1587" cy="1587"/>
          </a:xfrm>
          <a:prstGeom prst="rect">
            <a:avLst/>
          </a:prstGeom>
          <a:noFill/>
          <a:ln>
            <a:noFill/>
          </a:ln>
        </p:spPr>
      </p:pic>
      <p:sp>
        <p:nvSpPr>
          <p:cNvPr id="65" name="Google Shape;65;p10"/>
          <p:cNvSpPr txBox="1"/>
          <p:nvPr/>
        </p:nvSpPr>
        <p:spPr>
          <a:xfrm>
            <a:off x="7234959" y="6355212"/>
            <a:ext cx="2310775" cy="365592"/>
          </a:xfrm>
          <a:prstGeom prst="rect">
            <a:avLst/>
          </a:prstGeom>
          <a:noFill/>
          <a:ln>
            <a:noFill/>
          </a:ln>
        </p:spPr>
        <p:txBody>
          <a:bodyPr spcFirstLastPara="1" wrap="square" lIns="82050" tIns="41025" rIns="82050" bIns="41025" anchor="ctr" anchorCtr="0">
            <a:noAutofit/>
          </a:bodyPr>
          <a:lstStyle/>
          <a:p>
            <a:pPr marL="0" marR="0" lvl="0" indent="0" algn="r" rtl="0">
              <a:lnSpc>
                <a:spcPct val="100000"/>
              </a:lnSpc>
              <a:spcBef>
                <a:spcPts val="0"/>
              </a:spcBef>
              <a:spcAft>
                <a:spcPts val="0"/>
              </a:spcAft>
              <a:buClr>
                <a:srgbClr val="3F5F1F"/>
              </a:buClr>
              <a:buSzPts val="900"/>
              <a:buFont typeface="Calibri"/>
              <a:buNone/>
            </a:pPr>
            <a:fld id="{00000000-1234-1234-1234-123412341234}" type="slidenum">
              <a:rPr lang="en-US" sz="900" b="0" i="0" u="none" strike="noStrike" cap="none">
                <a:solidFill>
                  <a:srgbClr val="3F5F1F"/>
                </a:solidFill>
                <a:latin typeface="Calibri"/>
                <a:ea typeface="Calibri"/>
                <a:cs typeface="Calibri"/>
                <a:sym typeface="Calibri"/>
              </a:rPr>
              <a:t>‹#›</a:t>
            </a:fld>
            <a:endParaRPr sz="900" b="0" i="0" u="none" strike="noStrike" cap="none" dirty="0">
              <a:solidFill>
                <a:srgbClr val="3F5F1F"/>
              </a:solidFill>
              <a:latin typeface="Calibri"/>
              <a:ea typeface="Calibri"/>
              <a:cs typeface="Calibri"/>
              <a:sym typeface="Calibri"/>
            </a:endParaRPr>
          </a:p>
        </p:txBody>
      </p:sp>
      <p:cxnSp>
        <p:nvCxnSpPr>
          <p:cNvPr id="66" name="Google Shape;66;p10"/>
          <p:cNvCxnSpPr/>
          <p:nvPr/>
        </p:nvCxnSpPr>
        <p:spPr>
          <a:xfrm>
            <a:off x="450741" y="851340"/>
            <a:ext cx="7315200" cy="0"/>
          </a:xfrm>
          <a:prstGeom prst="straightConnector1">
            <a:avLst/>
          </a:prstGeom>
          <a:noFill/>
          <a:ln w="19050" cap="flat" cmpd="sng">
            <a:solidFill>
              <a:srgbClr val="548135"/>
            </a:solidFill>
            <a:prstDash val="dot"/>
            <a:miter lim="800000"/>
            <a:headEnd type="none" w="sm" len="sm"/>
            <a:tailEnd type="none" w="sm" len="sm"/>
          </a:ln>
        </p:spPr>
      </p:cxnSp>
      <p:pic>
        <p:nvPicPr>
          <p:cNvPr id="67" name="Google Shape;67;p10"/>
          <p:cNvPicPr preferRelativeResize="0"/>
          <p:nvPr/>
        </p:nvPicPr>
        <p:blipFill rotWithShape="1">
          <a:blip r:embed="rId11">
            <a:alphaModFix/>
          </a:blip>
          <a:srcRect/>
          <a:stretch/>
        </p:blipFill>
        <p:spPr>
          <a:xfrm>
            <a:off x="0" y="6564694"/>
            <a:ext cx="4343400" cy="293305"/>
          </a:xfrm>
          <a:prstGeom prst="rect">
            <a:avLst/>
          </a:prstGeom>
          <a:noFill/>
          <a:ln>
            <a:noFill/>
          </a:ln>
        </p:spPr>
      </p:pic>
      <p:pic>
        <p:nvPicPr>
          <p:cNvPr id="68" name="Google Shape;68;p10"/>
          <p:cNvPicPr preferRelativeResize="0"/>
          <p:nvPr/>
        </p:nvPicPr>
        <p:blipFill rotWithShape="1">
          <a:blip r:embed="rId12">
            <a:alphaModFix/>
          </a:blip>
          <a:srcRect/>
          <a:stretch/>
        </p:blipFill>
        <p:spPr>
          <a:xfrm>
            <a:off x="7924800" y="323850"/>
            <a:ext cx="1534754" cy="514350"/>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56" r:id="rId1"/>
    <p:sldLayoutId id="2147483657" r:id="rId2"/>
    <p:sldLayoutId id="2147483658" r:id="rId3"/>
    <p:sldLayoutId id="2147483661" r:id="rId4"/>
    <p:sldLayoutId id="2147483663" r:id="rId5"/>
    <p:sldLayoutId id="2147483750" r:id="rId6"/>
    <p:sldLayoutId id="2147483751" r:id="rId7"/>
    <p:sldLayoutId id="2147483778" r:id="rId8"/>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8446" name="think-cell Slide" r:id="rId15" imgW="270" imgH="270" progId="TCLayout.ActiveDocument.1">
                  <p:embed/>
                </p:oleObj>
              </mc:Choice>
              <mc:Fallback>
                <p:oleObj name="think-cell Slide" r:id="rId15" imgW="270" imgH="270" progId="TCLayout.ActiveDocument.1">
                  <p:embed/>
                  <p:pic>
                    <p:nvPicPr>
                      <p:cNvPr id="2" name="Object 1" hidden="1"/>
                      <p:cNvPicPr/>
                      <p:nvPr/>
                    </p:nvPicPr>
                    <p:blipFill>
                      <a:blip r:embed="rId16"/>
                      <a:stretch>
                        <a:fillRect/>
                      </a:stretch>
                    </p:blipFill>
                    <p:spPr>
                      <a:xfrm>
                        <a:off x="1589" y="1590"/>
                        <a:ext cx="1587" cy="1587"/>
                      </a:xfrm>
                      <a:prstGeom prst="rect">
                        <a:avLst/>
                      </a:prstGeom>
                    </p:spPr>
                  </p:pic>
                </p:oleObj>
              </mc:Fallback>
            </mc:AlternateContent>
          </a:graphicData>
        </a:graphic>
      </p:graphicFrame>
      <p:sp>
        <p:nvSpPr>
          <p:cNvPr id="9" name="Slide Number Placeholder 5"/>
          <p:cNvSpPr txBox="1">
            <a:spLocks/>
          </p:cNvSpPr>
          <p:nvPr userDrawn="1"/>
        </p:nvSpPr>
        <p:spPr>
          <a:xfrm>
            <a:off x="7234959" y="6355212"/>
            <a:ext cx="2310775" cy="365592"/>
          </a:xfrm>
          <a:prstGeom prst="rect">
            <a:avLst/>
          </a:prstGeom>
        </p:spPr>
        <p:txBody>
          <a:bodyPr vert="horz" lIns="82058" tIns="41029" rIns="82058" bIns="41029" rtlCol="0" anchor="ctr"/>
          <a:lstStyle>
            <a:lvl1pPr algn="r">
              <a:defRPr sz="1200">
                <a:solidFill>
                  <a:schemeClr val="tx1">
                    <a:tint val="75000"/>
                  </a:schemeClr>
                </a:solidFill>
              </a:defRPr>
            </a:lvl1pPr>
          </a:lstStyle>
          <a:p>
            <a:pPr defTabSz="914288">
              <a:buClrTx/>
              <a:buFontTx/>
              <a:buNone/>
              <a:defRPr/>
            </a:pPr>
            <a:fld id="{FA26E27B-9644-4D47-9CB9-4DAD21E549BD}" type="slidenum">
              <a:rPr lang="en-US" sz="900" kern="1200" smtClean="0">
                <a:solidFill>
                  <a:srgbClr val="3F5F1F"/>
                </a:solidFill>
                <a:latin typeface="Calibri" panose="020F0502020204030204"/>
                <a:ea typeface="+mn-ea"/>
                <a:cs typeface="+mn-cs"/>
              </a:rPr>
              <a:pPr defTabSz="914288">
                <a:buClrTx/>
                <a:buFontTx/>
                <a:buNone/>
                <a:defRPr/>
              </a:pPr>
              <a:t>‹#›</a:t>
            </a:fld>
            <a:endParaRPr lang="en-US" sz="900" kern="1200" dirty="0">
              <a:solidFill>
                <a:srgbClr val="3F5F1F"/>
              </a:solidFill>
              <a:latin typeface="Calibri" panose="020F0502020204030204"/>
              <a:ea typeface="+mn-ea"/>
              <a:cs typeface="+mn-cs"/>
            </a:endParaRPr>
          </a:p>
        </p:txBody>
      </p:sp>
      <p:cxnSp>
        <p:nvCxnSpPr>
          <p:cNvPr id="12" name="Straight Connector 11"/>
          <p:cNvCxnSpPr>
            <a:cxnSpLocks/>
          </p:cNvCxnSpPr>
          <p:nvPr userDrawn="1"/>
        </p:nvCxnSpPr>
        <p:spPr>
          <a:xfrm>
            <a:off x="450741" y="851340"/>
            <a:ext cx="7315200" cy="0"/>
          </a:xfrm>
          <a:prstGeom prst="line">
            <a:avLst/>
          </a:prstGeom>
          <a:ln w="19050">
            <a:solidFill>
              <a:schemeClr val="accent6">
                <a:lumMod val="75000"/>
              </a:schemeClr>
            </a:solidFill>
            <a:prstDash val="sysDot"/>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0" y="6564694"/>
            <a:ext cx="4343400" cy="293305"/>
          </a:xfrm>
          <a:prstGeom prst="rect">
            <a:avLst/>
          </a:prstGeom>
        </p:spPr>
      </p:pic>
      <p:pic>
        <p:nvPicPr>
          <p:cNvPr id="7" name="Picture 6"/>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7924800" y="323850"/>
            <a:ext cx="1534754" cy="514350"/>
          </a:xfrm>
          <a:prstGeom prst="rect">
            <a:avLst/>
          </a:prstGeom>
        </p:spPr>
      </p:pic>
    </p:spTree>
    <p:extLst>
      <p:ext uri="{BB962C8B-B14F-4D97-AF65-F5344CB8AC3E}">
        <p14:creationId xmlns:p14="http://schemas.microsoft.com/office/powerpoint/2010/main" val="2869961928"/>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4" r:id="rId8"/>
    <p:sldLayoutId id="2147483685" r:id="rId9"/>
    <p:sldLayoutId id="2147483686" r:id="rId10"/>
    <p:sldLayoutId id="2147483687" r:id="rId11"/>
  </p:sldLayoutIdLst>
  <p:txStyles>
    <p:titleStyle>
      <a:lvl1pPr algn="l" defTabSz="91439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9" indent="-228599" algn="l" defTabSz="91439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96" indent="-228599" algn="l" defTabSz="91439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93" indent="-228599" algn="l" defTabSz="91439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91"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88"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85"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83"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95" rtl="0" eaLnBrk="1" latinLnBrk="0" hangingPunct="1">
        <a:defRPr sz="1800" kern="1200">
          <a:solidFill>
            <a:schemeClr val="tx1"/>
          </a:solidFill>
          <a:latin typeface="+mn-lt"/>
          <a:ea typeface="+mn-ea"/>
          <a:cs typeface="+mn-cs"/>
        </a:defRPr>
      </a:lvl1pPr>
      <a:lvl2pPr marL="457197" algn="l" defTabSz="914395" rtl="0" eaLnBrk="1" latinLnBrk="0" hangingPunct="1">
        <a:defRPr sz="1800" kern="1200">
          <a:solidFill>
            <a:schemeClr val="tx1"/>
          </a:solidFill>
          <a:latin typeface="+mn-lt"/>
          <a:ea typeface="+mn-ea"/>
          <a:cs typeface="+mn-cs"/>
        </a:defRPr>
      </a:lvl2pPr>
      <a:lvl3pPr marL="914395" algn="l" defTabSz="914395" rtl="0" eaLnBrk="1" latinLnBrk="0" hangingPunct="1">
        <a:defRPr sz="1800" kern="1200">
          <a:solidFill>
            <a:schemeClr val="tx1"/>
          </a:solidFill>
          <a:latin typeface="+mn-lt"/>
          <a:ea typeface="+mn-ea"/>
          <a:cs typeface="+mn-cs"/>
        </a:defRPr>
      </a:lvl3pPr>
      <a:lvl4pPr marL="1371592" algn="l" defTabSz="914395" rtl="0" eaLnBrk="1" latinLnBrk="0" hangingPunct="1">
        <a:defRPr sz="1800" kern="1200">
          <a:solidFill>
            <a:schemeClr val="tx1"/>
          </a:solidFill>
          <a:latin typeface="+mn-lt"/>
          <a:ea typeface="+mn-ea"/>
          <a:cs typeface="+mn-cs"/>
        </a:defRPr>
      </a:lvl4pPr>
      <a:lvl5pPr marL="1828789" algn="l" defTabSz="914395" rtl="0" eaLnBrk="1" latinLnBrk="0" hangingPunct="1">
        <a:defRPr sz="1800" kern="1200">
          <a:solidFill>
            <a:schemeClr val="tx1"/>
          </a:solidFill>
          <a:latin typeface="+mn-lt"/>
          <a:ea typeface="+mn-ea"/>
          <a:cs typeface="+mn-cs"/>
        </a:defRPr>
      </a:lvl5pPr>
      <a:lvl6pPr marL="2285987" algn="l" defTabSz="914395" rtl="0" eaLnBrk="1" latinLnBrk="0" hangingPunct="1">
        <a:defRPr sz="1800" kern="1200">
          <a:solidFill>
            <a:schemeClr val="tx1"/>
          </a:solidFill>
          <a:latin typeface="+mn-lt"/>
          <a:ea typeface="+mn-ea"/>
          <a:cs typeface="+mn-cs"/>
        </a:defRPr>
      </a:lvl6pPr>
      <a:lvl7pPr marL="2743184" algn="l" defTabSz="914395" rtl="0" eaLnBrk="1" latinLnBrk="0" hangingPunct="1">
        <a:defRPr sz="1800" kern="1200">
          <a:solidFill>
            <a:schemeClr val="tx1"/>
          </a:solidFill>
          <a:latin typeface="+mn-lt"/>
          <a:ea typeface="+mn-ea"/>
          <a:cs typeface="+mn-cs"/>
        </a:defRPr>
      </a:lvl7pPr>
      <a:lvl8pPr marL="3200381" algn="l" defTabSz="914395" rtl="0" eaLnBrk="1" latinLnBrk="0" hangingPunct="1">
        <a:defRPr sz="1800" kern="1200">
          <a:solidFill>
            <a:schemeClr val="tx1"/>
          </a:solidFill>
          <a:latin typeface="+mn-lt"/>
          <a:ea typeface="+mn-ea"/>
          <a:cs typeface="+mn-cs"/>
        </a:defRPr>
      </a:lvl8pPr>
      <a:lvl9pPr marL="3657579" algn="l" defTabSz="91439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3"/>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0734" name="think-cell Slide" r:id="rId14" imgW="270" imgH="270" progId="TCLayout.ActiveDocument.1">
                  <p:embed/>
                </p:oleObj>
              </mc:Choice>
              <mc:Fallback>
                <p:oleObj name="think-cell Slide" r:id="rId14" imgW="270" imgH="270" progId="TCLayout.ActiveDocument.1">
                  <p:embed/>
                  <p:pic>
                    <p:nvPicPr>
                      <p:cNvPr id="2" name="Object 1" hidden="1"/>
                      <p:cNvPicPr/>
                      <p:nvPr/>
                    </p:nvPicPr>
                    <p:blipFill>
                      <a:blip r:embed="rId15"/>
                      <a:stretch>
                        <a:fillRect/>
                      </a:stretch>
                    </p:blipFill>
                    <p:spPr>
                      <a:xfrm>
                        <a:off x="1589" y="1590"/>
                        <a:ext cx="1587" cy="1587"/>
                      </a:xfrm>
                      <a:prstGeom prst="rect">
                        <a:avLst/>
                      </a:prstGeom>
                    </p:spPr>
                  </p:pic>
                </p:oleObj>
              </mc:Fallback>
            </mc:AlternateContent>
          </a:graphicData>
        </a:graphic>
      </p:graphicFrame>
      <p:sp>
        <p:nvSpPr>
          <p:cNvPr id="9" name="Slide Number Placeholder 5"/>
          <p:cNvSpPr txBox="1">
            <a:spLocks/>
          </p:cNvSpPr>
          <p:nvPr userDrawn="1"/>
        </p:nvSpPr>
        <p:spPr>
          <a:xfrm>
            <a:off x="7234959" y="6355212"/>
            <a:ext cx="2310775" cy="365592"/>
          </a:xfrm>
          <a:prstGeom prst="rect">
            <a:avLst/>
          </a:prstGeom>
        </p:spPr>
        <p:txBody>
          <a:bodyPr vert="horz" lIns="82058" tIns="41029" rIns="82058" bIns="41029" rtlCol="0" anchor="ctr"/>
          <a:lstStyle>
            <a:lvl1pPr algn="r">
              <a:defRPr sz="1200">
                <a:solidFill>
                  <a:schemeClr val="tx1">
                    <a:tint val="75000"/>
                  </a:schemeClr>
                </a:solidFill>
              </a:defRPr>
            </a:lvl1pPr>
          </a:lstStyle>
          <a:p>
            <a:pPr defTabSz="914288">
              <a:buClrTx/>
              <a:buFontTx/>
              <a:buNone/>
              <a:defRPr/>
            </a:pPr>
            <a:fld id="{FA26E27B-9644-4D47-9CB9-4DAD21E549BD}" type="slidenum">
              <a:rPr lang="en-US" sz="900" kern="1200" smtClean="0">
                <a:solidFill>
                  <a:srgbClr val="3F5F1F"/>
                </a:solidFill>
                <a:latin typeface="Calibri" panose="020F0502020204030204"/>
                <a:ea typeface="+mn-ea"/>
                <a:cs typeface="+mn-cs"/>
              </a:rPr>
              <a:pPr defTabSz="914288">
                <a:buClrTx/>
                <a:buFontTx/>
                <a:buNone/>
                <a:defRPr/>
              </a:pPr>
              <a:t>‹#›</a:t>
            </a:fld>
            <a:endParaRPr lang="en-US" sz="900" kern="1200" dirty="0">
              <a:solidFill>
                <a:srgbClr val="3F5F1F"/>
              </a:solidFill>
              <a:latin typeface="Calibri" panose="020F0502020204030204"/>
              <a:ea typeface="+mn-ea"/>
              <a:cs typeface="+mn-cs"/>
            </a:endParaRPr>
          </a:p>
        </p:txBody>
      </p:sp>
      <p:cxnSp>
        <p:nvCxnSpPr>
          <p:cNvPr id="12" name="Straight Connector 11"/>
          <p:cNvCxnSpPr>
            <a:cxnSpLocks/>
          </p:cNvCxnSpPr>
          <p:nvPr userDrawn="1"/>
        </p:nvCxnSpPr>
        <p:spPr>
          <a:xfrm>
            <a:off x="450741" y="851340"/>
            <a:ext cx="7315200" cy="0"/>
          </a:xfrm>
          <a:prstGeom prst="line">
            <a:avLst/>
          </a:prstGeom>
          <a:ln w="19050">
            <a:solidFill>
              <a:schemeClr val="accent6">
                <a:lumMod val="75000"/>
              </a:schemeClr>
            </a:solidFill>
            <a:prstDash val="sysDot"/>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0" y="6564694"/>
            <a:ext cx="4343400" cy="293305"/>
          </a:xfrm>
          <a:prstGeom prst="rect">
            <a:avLst/>
          </a:prstGeom>
        </p:spPr>
      </p:pic>
      <p:pic>
        <p:nvPicPr>
          <p:cNvPr id="7" name="Picture 6"/>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7924800" y="323850"/>
            <a:ext cx="1534754" cy="514350"/>
          </a:xfrm>
          <a:prstGeom prst="rect">
            <a:avLst/>
          </a:prstGeom>
        </p:spPr>
      </p:pic>
    </p:spTree>
    <p:extLst>
      <p:ext uri="{BB962C8B-B14F-4D97-AF65-F5344CB8AC3E}">
        <p14:creationId xmlns:p14="http://schemas.microsoft.com/office/powerpoint/2010/main" val="1069431607"/>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8" r:id="rId8"/>
    <p:sldLayoutId id="2147483699" r:id="rId9"/>
    <p:sldLayoutId id="2147483700" r:id="rId10"/>
  </p:sldLayoutIdLst>
  <p:txStyles>
    <p:titleStyle>
      <a:lvl1pPr algn="l" defTabSz="91439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9" indent="-228599" algn="l" defTabSz="91439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96" indent="-228599" algn="l" defTabSz="91439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93" indent="-228599" algn="l" defTabSz="91439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91"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88"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85"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83"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95" rtl="0" eaLnBrk="1" latinLnBrk="0" hangingPunct="1">
        <a:defRPr sz="1800" kern="1200">
          <a:solidFill>
            <a:schemeClr val="tx1"/>
          </a:solidFill>
          <a:latin typeface="+mn-lt"/>
          <a:ea typeface="+mn-ea"/>
          <a:cs typeface="+mn-cs"/>
        </a:defRPr>
      </a:lvl1pPr>
      <a:lvl2pPr marL="457197" algn="l" defTabSz="914395" rtl="0" eaLnBrk="1" latinLnBrk="0" hangingPunct="1">
        <a:defRPr sz="1800" kern="1200">
          <a:solidFill>
            <a:schemeClr val="tx1"/>
          </a:solidFill>
          <a:latin typeface="+mn-lt"/>
          <a:ea typeface="+mn-ea"/>
          <a:cs typeface="+mn-cs"/>
        </a:defRPr>
      </a:lvl2pPr>
      <a:lvl3pPr marL="914395" algn="l" defTabSz="914395" rtl="0" eaLnBrk="1" latinLnBrk="0" hangingPunct="1">
        <a:defRPr sz="1800" kern="1200">
          <a:solidFill>
            <a:schemeClr val="tx1"/>
          </a:solidFill>
          <a:latin typeface="+mn-lt"/>
          <a:ea typeface="+mn-ea"/>
          <a:cs typeface="+mn-cs"/>
        </a:defRPr>
      </a:lvl3pPr>
      <a:lvl4pPr marL="1371592" algn="l" defTabSz="914395" rtl="0" eaLnBrk="1" latinLnBrk="0" hangingPunct="1">
        <a:defRPr sz="1800" kern="1200">
          <a:solidFill>
            <a:schemeClr val="tx1"/>
          </a:solidFill>
          <a:latin typeface="+mn-lt"/>
          <a:ea typeface="+mn-ea"/>
          <a:cs typeface="+mn-cs"/>
        </a:defRPr>
      </a:lvl4pPr>
      <a:lvl5pPr marL="1828789" algn="l" defTabSz="914395" rtl="0" eaLnBrk="1" latinLnBrk="0" hangingPunct="1">
        <a:defRPr sz="1800" kern="1200">
          <a:solidFill>
            <a:schemeClr val="tx1"/>
          </a:solidFill>
          <a:latin typeface="+mn-lt"/>
          <a:ea typeface="+mn-ea"/>
          <a:cs typeface="+mn-cs"/>
        </a:defRPr>
      </a:lvl5pPr>
      <a:lvl6pPr marL="2285987" algn="l" defTabSz="914395" rtl="0" eaLnBrk="1" latinLnBrk="0" hangingPunct="1">
        <a:defRPr sz="1800" kern="1200">
          <a:solidFill>
            <a:schemeClr val="tx1"/>
          </a:solidFill>
          <a:latin typeface="+mn-lt"/>
          <a:ea typeface="+mn-ea"/>
          <a:cs typeface="+mn-cs"/>
        </a:defRPr>
      </a:lvl6pPr>
      <a:lvl7pPr marL="2743184" algn="l" defTabSz="914395" rtl="0" eaLnBrk="1" latinLnBrk="0" hangingPunct="1">
        <a:defRPr sz="1800" kern="1200">
          <a:solidFill>
            <a:schemeClr val="tx1"/>
          </a:solidFill>
          <a:latin typeface="+mn-lt"/>
          <a:ea typeface="+mn-ea"/>
          <a:cs typeface="+mn-cs"/>
        </a:defRPr>
      </a:lvl7pPr>
      <a:lvl8pPr marL="3200381" algn="l" defTabSz="914395" rtl="0" eaLnBrk="1" latinLnBrk="0" hangingPunct="1">
        <a:defRPr sz="1800" kern="1200">
          <a:solidFill>
            <a:schemeClr val="tx1"/>
          </a:solidFill>
          <a:latin typeface="+mn-lt"/>
          <a:ea typeface="+mn-ea"/>
          <a:cs typeface="+mn-cs"/>
        </a:defRPr>
      </a:lvl8pPr>
      <a:lvl9pPr marL="3657579" algn="l" defTabSz="914395"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1998" name="think-cell Slide" r:id="rId15" imgW="270" imgH="270" progId="TCLayout.ActiveDocument.1">
                  <p:embed/>
                </p:oleObj>
              </mc:Choice>
              <mc:Fallback>
                <p:oleObj name="think-cell Slide" r:id="rId15" imgW="270" imgH="270" progId="TCLayout.ActiveDocument.1">
                  <p:embed/>
                  <p:pic>
                    <p:nvPicPr>
                      <p:cNvPr id="2" name="Object 1" hidden="1"/>
                      <p:cNvPicPr/>
                      <p:nvPr/>
                    </p:nvPicPr>
                    <p:blipFill>
                      <a:blip r:embed="rId16"/>
                      <a:stretch>
                        <a:fillRect/>
                      </a:stretch>
                    </p:blipFill>
                    <p:spPr>
                      <a:xfrm>
                        <a:off x="1589" y="1590"/>
                        <a:ext cx="1587" cy="1587"/>
                      </a:xfrm>
                      <a:prstGeom prst="rect">
                        <a:avLst/>
                      </a:prstGeom>
                    </p:spPr>
                  </p:pic>
                </p:oleObj>
              </mc:Fallback>
            </mc:AlternateContent>
          </a:graphicData>
        </a:graphic>
      </p:graphicFrame>
      <p:sp>
        <p:nvSpPr>
          <p:cNvPr id="9" name="Slide Number Placeholder 5"/>
          <p:cNvSpPr txBox="1">
            <a:spLocks/>
          </p:cNvSpPr>
          <p:nvPr userDrawn="1"/>
        </p:nvSpPr>
        <p:spPr>
          <a:xfrm>
            <a:off x="7234959" y="6355212"/>
            <a:ext cx="2310775" cy="365592"/>
          </a:xfrm>
          <a:prstGeom prst="rect">
            <a:avLst/>
          </a:prstGeom>
        </p:spPr>
        <p:txBody>
          <a:bodyPr vert="horz" lIns="82058" tIns="41029" rIns="82058" bIns="41029" rtlCol="0" anchor="ctr"/>
          <a:lstStyle>
            <a:lvl1pPr algn="r">
              <a:defRPr sz="1200">
                <a:solidFill>
                  <a:schemeClr val="tx1">
                    <a:tint val="75000"/>
                  </a:schemeClr>
                </a:solidFill>
              </a:defRPr>
            </a:lvl1pPr>
          </a:lstStyle>
          <a:p>
            <a:pPr defTabSz="914288">
              <a:buClrTx/>
              <a:buFontTx/>
              <a:buNone/>
              <a:defRPr/>
            </a:pPr>
            <a:fld id="{FA26E27B-9644-4D47-9CB9-4DAD21E549BD}" type="slidenum">
              <a:rPr lang="en-US" sz="900" kern="1200" smtClean="0">
                <a:solidFill>
                  <a:srgbClr val="3F5F1F"/>
                </a:solidFill>
                <a:latin typeface="Calibri" panose="020F0502020204030204"/>
                <a:ea typeface="+mn-ea"/>
                <a:cs typeface="+mn-cs"/>
              </a:rPr>
              <a:pPr defTabSz="914288">
                <a:buClrTx/>
                <a:buFontTx/>
                <a:buNone/>
                <a:defRPr/>
              </a:pPr>
              <a:t>‹#›</a:t>
            </a:fld>
            <a:endParaRPr lang="en-US" sz="900" kern="1200" dirty="0">
              <a:solidFill>
                <a:srgbClr val="3F5F1F"/>
              </a:solidFill>
              <a:latin typeface="Calibri" panose="020F0502020204030204"/>
              <a:ea typeface="+mn-ea"/>
              <a:cs typeface="+mn-cs"/>
            </a:endParaRPr>
          </a:p>
        </p:txBody>
      </p:sp>
      <p:cxnSp>
        <p:nvCxnSpPr>
          <p:cNvPr id="12" name="Straight Connector 11"/>
          <p:cNvCxnSpPr>
            <a:cxnSpLocks/>
          </p:cNvCxnSpPr>
          <p:nvPr userDrawn="1"/>
        </p:nvCxnSpPr>
        <p:spPr>
          <a:xfrm>
            <a:off x="450741" y="851340"/>
            <a:ext cx="7315200" cy="0"/>
          </a:xfrm>
          <a:prstGeom prst="line">
            <a:avLst/>
          </a:prstGeom>
          <a:ln w="19050">
            <a:solidFill>
              <a:schemeClr val="accent6">
                <a:lumMod val="75000"/>
              </a:schemeClr>
            </a:solidFill>
            <a:prstDash val="sysDot"/>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0" y="6564694"/>
            <a:ext cx="4343400" cy="293305"/>
          </a:xfrm>
          <a:prstGeom prst="rect">
            <a:avLst/>
          </a:prstGeom>
        </p:spPr>
      </p:pic>
      <p:pic>
        <p:nvPicPr>
          <p:cNvPr id="7" name="Picture 6"/>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7924800" y="323850"/>
            <a:ext cx="1534754" cy="514350"/>
          </a:xfrm>
          <a:prstGeom prst="rect">
            <a:avLst/>
          </a:prstGeom>
        </p:spPr>
      </p:pic>
    </p:spTree>
    <p:extLst>
      <p:ext uri="{BB962C8B-B14F-4D97-AF65-F5344CB8AC3E}">
        <p14:creationId xmlns:p14="http://schemas.microsoft.com/office/powerpoint/2010/main" val="629039521"/>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10" r:id="rId8"/>
    <p:sldLayoutId id="2147483711" r:id="rId9"/>
    <p:sldLayoutId id="2147483712" r:id="rId10"/>
    <p:sldLayoutId id="2147483713" r:id="rId11"/>
  </p:sldLayoutIdLst>
  <p:txStyles>
    <p:titleStyle>
      <a:lvl1pPr algn="l" defTabSz="91439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9" indent="-228599" algn="l" defTabSz="91439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96" indent="-228599" algn="l" defTabSz="91439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93" indent="-228599" algn="l" defTabSz="91439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91"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88"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85"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83"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95" rtl="0" eaLnBrk="1" latinLnBrk="0" hangingPunct="1">
        <a:defRPr sz="1800" kern="1200">
          <a:solidFill>
            <a:schemeClr val="tx1"/>
          </a:solidFill>
          <a:latin typeface="+mn-lt"/>
          <a:ea typeface="+mn-ea"/>
          <a:cs typeface="+mn-cs"/>
        </a:defRPr>
      </a:lvl1pPr>
      <a:lvl2pPr marL="457197" algn="l" defTabSz="914395" rtl="0" eaLnBrk="1" latinLnBrk="0" hangingPunct="1">
        <a:defRPr sz="1800" kern="1200">
          <a:solidFill>
            <a:schemeClr val="tx1"/>
          </a:solidFill>
          <a:latin typeface="+mn-lt"/>
          <a:ea typeface="+mn-ea"/>
          <a:cs typeface="+mn-cs"/>
        </a:defRPr>
      </a:lvl2pPr>
      <a:lvl3pPr marL="914395" algn="l" defTabSz="914395" rtl="0" eaLnBrk="1" latinLnBrk="0" hangingPunct="1">
        <a:defRPr sz="1800" kern="1200">
          <a:solidFill>
            <a:schemeClr val="tx1"/>
          </a:solidFill>
          <a:latin typeface="+mn-lt"/>
          <a:ea typeface="+mn-ea"/>
          <a:cs typeface="+mn-cs"/>
        </a:defRPr>
      </a:lvl3pPr>
      <a:lvl4pPr marL="1371592" algn="l" defTabSz="914395" rtl="0" eaLnBrk="1" latinLnBrk="0" hangingPunct="1">
        <a:defRPr sz="1800" kern="1200">
          <a:solidFill>
            <a:schemeClr val="tx1"/>
          </a:solidFill>
          <a:latin typeface="+mn-lt"/>
          <a:ea typeface="+mn-ea"/>
          <a:cs typeface="+mn-cs"/>
        </a:defRPr>
      </a:lvl4pPr>
      <a:lvl5pPr marL="1828789" algn="l" defTabSz="914395" rtl="0" eaLnBrk="1" latinLnBrk="0" hangingPunct="1">
        <a:defRPr sz="1800" kern="1200">
          <a:solidFill>
            <a:schemeClr val="tx1"/>
          </a:solidFill>
          <a:latin typeface="+mn-lt"/>
          <a:ea typeface="+mn-ea"/>
          <a:cs typeface="+mn-cs"/>
        </a:defRPr>
      </a:lvl5pPr>
      <a:lvl6pPr marL="2285987" algn="l" defTabSz="914395" rtl="0" eaLnBrk="1" latinLnBrk="0" hangingPunct="1">
        <a:defRPr sz="1800" kern="1200">
          <a:solidFill>
            <a:schemeClr val="tx1"/>
          </a:solidFill>
          <a:latin typeface="+mn-lt"/>
          <a:ea typeface="+mn-ea"/>
          <a:cs typeface="+mn-cs"/>
        </a:defRPr>
      </a:lvl6pPr>
      <a:lvl7pPr marL="2743184" algn="l" defTabSz="914395" rtl="0" eaLnBrk="1" latinLnBrk="0" hangingPunct="1">
        <a:defRPr sz="1800" kern="1200">
          <a:solidFill>
            <a:schemeClr val="tx1"/>
          </a:solidFill>
          <a:latin typeface="+mn-lt"/>
          <a:ea typeface="+mn-ea"/>
          <a:cs typeface="+mn-cs"/>
        </a:defRPr>
      </a:lvl7pPr>
      <a:lvl8pPr marL="3200381" algn="l" defTabSz="914395" rtl="0" eaLnBrk="1" latinLnBrk="0" hangingPunct="1">
        <a:defRPr sz="1800" kern="1200">
          <a:solidFill>
            <a:schemeClr val="tx1"/>
          </a:solidFill>
          <a:latin typeface="+mn-lt"/>
          <a:ea typeface="+mn-ea"/>
          <a:cs typeface="+mn-cs"/>
        </a:defRPr>
      </a:lvl8pPr>
      <a:lvl9pPr marL="3657579" algn="l" defTabSz="914395"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4286" name="think-cell Slide" r:id="rId11" imgW="270" imgH="270" progId="TCLayout.ActiveDocument.1">
                  <p:embed/>
                </p:oleObj>
              </mc:Choice>
              <mc:Fallback>
                <p:oleObj name="think-cell Slide" r:id="rId11" imgW="270" imgH="270" progId="TCLayout.ActiveDocument.1">
                  <p:embed/>
                  <p:pic>
                    <p:nvPicPr>
                      <p:cNvPr id="2" name="Object 1" hidden="1"/>
                      <p:cNvPicPr/>
                      <p:nvPr/>
                    </p:nvPicPr>
                    <p:blipFill>
                      <a:blip r:embed="rId12"/>
                      <a:stretch>
                        <a:fillRect/>
                      </a:stretch>
                    </p:blipFill>
                    <p:spPr>
                      <a:xfrm>
                        <a:off x="1589" y="1590"/>
                        <a:ext cx="1587" cy="1587"/>
                      </a:xfrm>
                      <a:prstGeom prst="rect">
                        <a:avLst/>
                      </a:prstGeom>
                    </p:spPr>
                  </p:pic>
                </p:oleObj>
              </mc:Fallback>
            </mc:AlternateContent>
          </a:graphicData>
        </a:graphic>
      </p:graphicFrame>
      <p:sp>
        <p:nvSpPr>
          <p:cNvPr id="9" name="Slide Number Placeholder 5"/>
          <p:cNvSpPr txBox="1">
            <a:spLocks/>
          </p:cNvSpPr>
          <p:nvPr userDrawn="1"/>
        </p:nvSpPr>
        <p:spPr>
          <a:xfrm>
            <a:off x="7234959" y="6355212"/>
            <a:ext cx="2310775" cy="365592"/>
          </a:xfrm>
          <a:prstGeom prst="rect">
            <a:avLst/>
          </a:prstGeom>
        </p:spPr>
        <p:txBody>
          <a:bodyPr vert="horz" lIns="82058" tIns="41029" rIns="82058" bIns="41029" rtlCol="0" anchor="ctr"/>
          <a:lstStyle>
            <a:lvl1pPr algn="r">
              <a:defRPr sz="1200">
                <a:solidFill>
                  <a:schemeClr val="tx1">
                    <a:tint val="75000"/>
                  </a:schemeClr>
                </a:solidFill>
              </a:defRPr>
            </a:lvl1pPr>
          </a:lstStyle>
          <a:p>
            <a:pPr defTabSz="914288">
              <a:buClrTx/>
              <a:buFontTx/>
              <a:buNone/>
              <a:defRPr/>
            </a:pPr>
            <a:fld id="{FA26E27B-9644-4D47-9CB9-4DAD21E549BD}" type="slidenum">
              <a:rPr lang="en-US" sz="900" kern="1200" smtClean="0">
                <a:solidFill>
                  <a:srgbClr val="3F5F1F"/>
                </a:solidFill>
                <a:latin typeface="Calibri" panose="020F0502020204030204"/>
                <a:ea typeface="+mn-ea"/>
                <a:cs typeface="+mn-cs"/>
              </a:rPr>
              <a:pPr defTabSz="914288">
                <a:buClrTx/>
                <a:buFontTx/>
                <a:buNone/>
                <a:defRPr/>
              </a:pPr>
              <a:t>‹#›</a:t>
            </a:fld>
            <a:endParaRPr lang="en-US" sz="900" kern="1200" dirty="0">
              <a:solidFill>
                <a:srgbClr val="3F5F1F"/>
              </a:solidFill>
              <a:latin typeface="Calibri" panose="020F0502020204030204"/>
              <a:ea typeface="+mn-ea"/>
              <a:cs typeface="+mn-cs"/>
            </a:endParaRPr>
          </a:p>
        </p:txBody>
      </p:sp>
      <p:cxnSp>
        <p:nvCxnSpPr>
          <p:cNvPr id="12" name="Straight Connector 11"/>
          <p:cNvCxnSpPr>
            <a:cxnSpLocks/>
          </p:cNvCxnSpPr>
          <p:nvPr userDrawn="1"/>
        </p:nvCxnSpPr>
        <p:spPr>
          <a:xfrm>
            <a:off x="450741" y="851340"/>
            <a:ext cx="7315200" cy="0"/>
          </a:xfrm>
          <a:prstGeom prst="line">
            <a:avLst/>
          </a:prstGeom>
          <a:ln w="19050">
            <a:solidFill>
              <a:schemeClr val="accent6">
                <a:lumMod val="75000"/>
              </a:schemeClr>
            </a:solidFill>
            <a:prstDash val="sysDot"/>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6564694"/>
            <a:ext cx="4343400" cy="293305"/>
          </a:xfrm>
          <a:prstGeom prst="rect">
            <a:avLst/>
          </a:prstGeom>
        </p:spPr>
      </p:pic>
      <p:pic>
        <p:nvPicPr>
          <p:cNvPr id="7" name="Picture 6"/>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7924800" y="323850"/>
            <a:ext cx="1534754" cy="514350"/>
          </a:xfrm>
          <a:prstGeom prst="rect">
            <a:avLst/>
          </a:prstGeom>
        </p:spPr>
      </p:pic>
    </p:spTree>
    <p:extLst>
      <p:ext uri="{BB962C8B-B14F-4D97-AF65-F5344CB8AC3E}">
        <p14:creationId xmlns:p14="http://schemas.microsoft.com/office/powerpoint/2010/main" val="203037499"/>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Lst>
  <p:txStyles>
    <p:titleStyle>
      <a:lvl1pPr algn="l" defTabSz="91439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9" indent="-228599" algn="l" defTabSz="91439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96" indent="-228599" algn="l" defTabSz="91439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93" indent="-228599" algn="l" defTabSz="91439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91"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88"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85"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83"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95" rtl="0" eaLnBrk="1" latinLnBrk="0" hangingPunct="1">
        <a:defRPr sz="1800" kern="1200">
          <a:solidFill>
            <a:schemeClr val="tx1"/>
          </a:solidFill>
          <a:latin typeface="+mn-lt"/>
          <a:ea typeface="+mn-ea"/>
          <a:cs typeface="+mn-cs"/>
        </a:defRPr>
      </a:lvl1pPr>
      <a:lvl2pPr marL="457197" algn="l" defTabSz="914395" rtl="0" eaLnBrk="1" latinLnBrk="0" hangingPunct="1">
        <a:defRPr sz="1800" kern="1200">
          <a:solidFill>
            <a:schemeClr val="tx1"/>
          </a:solidFill>
          <a:latin typeface="+mn-lt"/>
          <a:ea typeface="+mn-ea"/>
          <a:cs typeface="+mn-cs"/>
        </a:defRPr>
      </a:lvl2pPr>
      <a:lvl3pPr marL="914395" algn="l" defTabSz="914395" rtl="0" eaLnBrk="1" latinLnBrk="0" hangingPunct="1">
        <a:defRPr sz="1800" kern="1200">
          <a:solidFill>
            <a:schemeClr val="tx1"/>
          </a:solidFill>
          <a:latin typeface="+mn-lt"/>
          <a:ea typeface="+mn-ea"/>
          <a:cs typeface="+mn-cs"/>
        </a:defRPr>
      </a:lvl3pPr>
      <a:lvl4pPr marL="1371592" algn="l" defTabSz="914395" rtl="0" eaLnBrk="1" latinLnBrk="0" hangingPunct="1">
        <a:defRPr sz="1800" kern="1200">
          <a:solidFill>
            <a:schemeClr val="tx1"/>
          </a:solidFill>
          <a:latin typeface="+mn-lt"/>
          <a:ea typeface="+mn-ea"/>
          <a:cs typeface="+mn-cs"/>
        </a:defRPr>
      </a:lvl4pPr>
      <a:lvl5pPr marL="1828789" algn="l" defTabSz="914395" rtl="0" eaLnBrk="1" latinLnBrk="0" hangingPunct="1">
        <a:defRPr sz="1800" kern="1200">
          <a:solidFill>
            <a:schemeClr val="tx1"/>
          </a:solidFill>
          <a:latin typeface="+mn-lt"/>
          <a:ea typeface="+mn-ea"/>
          <a:cs typeface="+mn-cs"/>
        </a:defRPr>
      </a:lvl5pPr>
      <a:lvl6pPr marL="2285987" algn="l" defTabSz="914395" rtl="0" eaLnBrk="1" latinLnBrk="0" hangingPunct="1">
        <a:defRPr sz="1800" kern="1200">
          <a:solidFill>
            <a:schemeClr val="tx1"/>
          </a:solidFill>
          <a:latin typeface="+mn-lt"/>
          <a:ea typeface="+mn-ea"/>
          <a:cs typeface="+mn-cs"/>
        </a:defRPr>
      </a:lvl6pPr>
      <a:lvl7pPr marL="2743184" algn="l" defTabSz="914395" rtl="0" eaLnBrk="1" latinLnBrk="0" hangingPunct="1">
        <a:defRPr sz="1800" kern="1200">
          <a:solidFill>
            <a:schemeClr val="tx1"/>
          </a:solidFill>
          <a:latin typeface="+mn-lt"/>
          <a:ea typeface="+mn-ea"/>
          <a:cs typeface="+mn-cs"/>
        </a:defRPr>
      </a:lvl7pPr>
      <a:lvl8pPr marL="3200381" algn="l" defTabSz="914395" rtl="0" eaLnBrk="1" latinLnBrk="0" hangingPunct="1">
        <a:defRPr sz="1800" kern="1200">
          <a:solidFill>
            <a:schemeClr val="tx1"/>
          </a:solidFill>
          <a:latin typeface="+mn-lt"/>
          <a:ea typeface="+mn-ea"/>
          <a:cs typeface="+mn-cs"/>
        </a:defRPr>
      </a:lvl8pPr>
      <a:lvl9pPr marL="3657579" algn="l" defTabSz="914395"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nvPr>
        </p:nvGraphicFramePr>
        <p:xfrm>
          <a:off x="0" y="0"/>
          <a:ext cx="175483" cy="161974"/>
        </p:xfrm>
        <a:graphic>
          <a:graphicData uri="http://schemas.openxmlformats.org/presentationml/2006/ole">
            <mc:AlternateContent xmlns:mc="http://schemas.openxmlformats.org/markup-compatibility/2006">
              <mc:Choice xmlns:v="urn:schemas-microsoft-com:vml" Requires="v">
                <p:oleObj spid="_x0000_s62478"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0" y="0"/>
                        <a:ext cx="175483" cy="161974"/>
                      </a:xfrm>
                      <a:prstGeom prst="rect">
                        <a:avLst/>
                      </a:prstGeom>
                    </p:spPr>
                  </p:pic>
                </p:oleObj>
              </mc:Fallback>
            </mc:AlternateContent>
          </a:graphicData>
        </a:graphic>
      </p:graphicFrame>
      <p:pic>
        <p:nvPicPr>
          <p:cNvPr id="59" name="Picture 58"/>
          <p:cNvPicPr>
            <a:picLocks/>
          </p:cNvPicPr>
          <p:nvPr userDrawn="1"/>
        </p:nvPicPr>
        <p:blipFill>
          <a:blip r:embed="rId24" cstate="print"/>
          <a:stretch>
            <a:fillRect/>
          </a:stretch>
        </p:blipFill>
        <p:spPr bwMode="auto">
          <a:xfrm>
            <a:off x="189523" y="681010"/>
            <a:ext cx="8065476" cy="50511"/>
          </a:xfrm>
          <a:prstGeom prst="rect">
            <a:avLst/>
          </a:prstGeom>
        </p:spPr>
      </p:pic>
      <p:pic>
        <p:nvPicPr>
          <p:cNvPr id="60" name="Picture 59" descr="AGRALogo.png"/>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bwMode="ltGray">
          <a:xfrm>
            <a:off x="8329296" y="388621"/>
            <a:ext cx="1354131" cy="530864"/>
          </a:xfrm>
          <a:prstGeom prst="rect">
            <a:avLst/>
          </a:prstGeom>
        </p:spPr>
      </p:pic>
      <p:sp>
        <p:nvSpPr>
          <p:cNvPr id="1033" name="doc id"/>
          <p:cNvSpPr>
            <a:spLocks noChangeArrowheads="1"/>
          </p:cNvSpPr>
          <p:nvPr/>
        </p:nvSpPr>
        <p:spPr bwMode="auto">
          <a:xfrm>
            <a:off x="8933827" y="37255"/>
            <a:ext cx="726499"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29" fontAlgn="base">
              <a:spcBef>
                <a:spcPct val="0"/>
              </a:spcBef>
              <a:spcAft>
                <a:spcPct val="0"/>
              </a:spcAft>
              <a:buClrTx/>
              <a:buFontTx/>
              <a:buNone/>
            </a:pPr>
            <a:endParaRPr lang="en-US" sz="800" kern="1200" dirty="0">
              <a:ea typeface="+mn-ea"/>
              <a:cs typeface="+mn-cs"/>
            </a:endParaRPr>
          </a:p>
        </p:txBody>
      </p:sp>
      <p:sp>
        <p:nvSpPr>
          <p:cNvPr id="1036" name="Rectangle 286"/>
          <p:cNvSpPr>
            <a:spLocks noGrp="1" noChangeArrowheads="1"/>
          </p:cNvSpPr>
          <p:nvPr>
            <p:ph type="body" idx="1"/>
          </p:nvPr>
        </p:nvSpPr>
        <p:spPr bwMode="auto">
          <a:xfrm>
            <a:off x="1878084" y="2508985"/>
            <a:ext cx="475558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247650" y="388621"/>
            <a:ext cx="80073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247651" y="8087"/>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buClrTx/>
              <a:buFontTx/>
              <a:buNone/>
            </a:pPr>
            <a:r>
              <a:rPr lang="en-US" sz="1000" kern="1200" dirty="0">
                <a:solidFill>
                  <a:srgbClr val="808080"/>
                </a:solidFill>
                <a:ea typeface="+mn-ea"/>
                <a:cs typeface="+mn-cs"/>
              </a:rPr>
              <a:t>TRACKER</a:t>
            </a:r>
          </a:p>
        </p:txBody>
      </p:sp>
      <p:sp>
        <p:nvSpPr>
          <p:cNvPr id="11" name="3. Unit of measure" hidden="1"/>
          <p:cNvSpPr txBox="1">
            <a:spLocks noChangeArrowheads="1"/>
          </p:cNvSpPr>
          <p:nvPr/>
        </p:nvSpPr>
        <p:spPr bwMode="auto">
          <a:xfrm>
            <a:off x="247650" y="749678"/>
            <a:ext cx="80073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buClrTx/>
              <a:buFontTx/>
              <a:buNone/>
              <a:defRPr/>
            </a:pPr>
            <a:r>
              <a:rPr lang="en-US" sz="1600" kern="1200" dirty="0">
                <a:solidFill>
                  <a:srgbClr val="808080"/>
                </a:solidFill>
                <a:latin typeface="Arial"/>
                <a:ea typeface="+mn-ea"/>
                <a:cs typeface="+mn-cs"/>
              </a:rPr>
              <a:t>Unit of measure</a:t>
            </a:r>
          </a:p>
        </p:txBody>
      </p:sp>
      <p:grpSp>
        <p:nvGrpSpPr>
          <p:cNvPr id="15" name="ACET" hidden="1"/>
          <p:cNvGrpSpPr>
            <a:grpSpLocks/>
          </p:cNvGrpSpPr>
          <p:nvPr/>
        </p:nvGrpSpPr>
        <p:grpSpPr bwMode="auto">
          <a:xfrm>
            <a:off x="1878084" y="1915010"/>
            <a:ext cx="4713466"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buClrTx/>
                <a:buFontTx/>
                <a:buNone/>
              </a:pPr>
              <a:r>
                <a:rPr lang="en-US" sz="1600" b="1" kern="1200" dirty="0">
                  <a:ea typeface="+mn-ea"/>
                  <a:cs typeface="+mn-cs"/>
                </a:rPr>
                <a:t>Title</a:t>
              </a:r>
            </a:p>
            <a:p>
              <a:pPr fontAlgn="base">
                <a:spcBef>
                  <a:spcPct val="0"/>
                </a:spcBef>
                <a:spcAft>
                  <a:spcPct val="0"/>
                </a:spcAft>
                <a:buClrTx/>
                <a:buFontTx/>
                <a:buNone/>
              </a:pPr>
              <a:r>
                <a:rPr lang="en-US" sz="1600" kern="1200" dirty="0">
                  <a:solidFill>
                    <a:srgbClr val="808080"/>
                  </a:solidFill>
                  <a:ea typeface="+mn-ea"/>
                  <a:cs typeface="+mn-cs"/>
                </a:rPr>
                <a:t>Unit of measure</a:t>
              </a:r>
            </a:p>
          </p:txBody>
        </p:sp>
      </p:grpSp>
      <p:sp>
        <p:nvSpPr>
          <p:cNvPr id="104" name="Slide Number"/>
          <p:cNvSpPr txBox="1">
            <a:spLocks/>
          </p:cNvSpPr>
          <p:nvPr userDrawn="1"/>
        </p:nvSpPr>
        <p:spPr bwMode="auto">
          <a:xfrm>
            <a:off x="9558392" y="6643599"/>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buClrTx/>
              <a:buFontTx/>
              <a:buNone/>
            </a:pPr>
            <a:fld id="{42C328C1-A84F-4A39-A664-DBA00541A8C6}" type="slidenum">
              <a:rPr lang="en-US" sz="800" kern="1200" smtClean="0">
                <a:ea typeface="+mn-ea"/>
                <a:cs typeface="+mn-cs"/>
              </a:rPr>
              <a:pPr algn="r" fontAlgn="base">
                <a:spcBef>
                  <a:spcPct val="0"/>
                </a:spcBef>
                <a:spcAft>
                  <a:spcPct val="0"/>
                </a:spcAft>
                <a:buClrTx/>
                <a:buFontTx/>
                <a:buNone/>
              </a:pPr>
              <a:t>‹#›</a:t>
            </a:fld>
            <a:endParaRPr lang="en-US" sz="800" kern="1200" dirty="0">
              <a:ea typeface="+mn-ea"/>
              <a:cs typeface="+mn-cs"/>
            </a:endParaRPr>
          </a:p>
        </p:txBody>
      </p:sp>
      <p:grpSp>
        <p:nvGrpSpPr>
          <p:cNvPr id="105" name="Slide Elements" hidden="1"/>
          <p:cNvGrpSpPr/>
          <p:nvPr userDrawn="1"/>
        </p:nvGrpSpPr>
        <p:grpSpPr bwMode="auto">
          <a:xfrm>
            <a:off x="247651" y="6441985"/>
            <a:ext cx="9336748" cy="324724"/>
            <a:chOff x="119063" y="6306659"/>
            <a:chExt cx="8618537" cy="324724"/>
          </a:xfrm>
        </p:grpSpPr>
        <p:sp>
          <p:nvSpPr>
            <p:cNvPr id="106" name="4. Footnote"/>
            <p:cNvSpPr txBox="1">
              <a:spLocks noChangeArrowheads="1"/>
            </p:cNvSpPr>
            <p:nvPr/>
          </p:nvSpPr>
          <p:spPr bwMode="auto">
            <a:xfrm>
              <a:off x="119063" y="6306659"/>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fontAlgn="base">
                <a:spcBef>
                  <a:spcPct val="0"/>
                </a:spcBef>
                <a:spcAft>
                  <a:spcPct val="0"/>
                </a:spcAft>
                <a:buClrTx/>
                <a:buFontTx/>
                <a:buNone/>
                <a:defRPr lang="x-none"/>
              </a:pPr>
              <a:r>
                <a:rPr sz="800" kern="1200" dirty="0">
                  <a:solidFill>
                    <a:srgbClr val="000000"/>
                  </a:solidFill>
                  <a:latin typeface="Arial"/>
                  <a:ea typeface="+mn-ea"/>
                  <a:cs typeface="+mn-cs"/>
                </a:rPr>
                <a:t>1 Footnote</a:t>
              </a:r>
            </a:p>
          </p:txBody>
        </p:sp>
        <p:sp>
          <p:nvSpPr>
            <p:cNvPr id="107" name="5. Source"/>
            <p:cNvSpPr>
              <a:spLocks noChangeArrowheads="1"/>
            </p:cNvSpPr>
            <p:nvPr/>
          </p:nvSpPr>
          <p:spPr bwMode="auto">
            <a:xfrm>
              <a:off x="119063" y="6508272"/>
              <a:ext cx="794619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9113" indent="-519113" defTabSz="895350" fontAlgn="base">
                <a:spcBef>
                  <a:spcPct val="0"/>
                </a:spcBef>
                <a:spcAft>
                  <a:spcPct val="0"/>
                </a:spcAft>
                <a:buClrTx/>
                <a:buFontTx/>
                <a:buNone/>
                <a:tabLst>
                  <a:tab pos="612775" algn="l"/>
                </a:tabLst>
              </a:pPr>
              <a:r>
                <a:rPr lang="x-none" sz="800" kern="1200" dirty="0">
                  <a:ea typeface="+mn-ea"/>
                  <a:cs typeface="+mn-cs"/>
                </a:rPr>
                <a:t>SOURCE : Source</a:t>
              </a:r>
              <a:endParaRPr lang="en-US" sz="800" kern="1200" dirty="0">
                <a:ea typeface="+mn-ea"/>
                <a:cs typeface="+mn-cs"/>
              </a:endParaRPr>
            </a:p>
          </p:txBody>
        </p:sp>
      </p:grpSp>
      <p:grpSp>
        <p:nvGrpSpPr>
          <p:cNvPr id="108" name="McKSticker" hidden="1"/>
          <p:cNvGrpSpPr/>
          <p:nvPr userDrawn="1"/>
        </p:nvGrpSpPr>
        <p:grpSpPr bwMode="auto">
          <a:xfrm>
            <a:off x="9210098" y="981080"/>
            <a:ext cx="473335" cy="150811"/>
            <a:chOff x="8303851" y="285750"/>
            <a:chExt cx="436924" cy="150811"/>
          </a:xfrm>
        </p:grpSpPr>
        <p:sp>
          <p:nvSpPr>
            <p:cNvPr id="109" name="StickerRectangle"/>
            <p:cNvSpPr>
              <a:spLocks noChangeArrowheads="1"/>
            </p:cNvSpPr>
            <p:nvPr/>
          </p:nvSpPr>
          <p:spPr bwMode="auto">
            <a:xfrm>
              <a:off x="8303851" y="285750"/>
              <a:ext cx="43692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2960"/>
                </a:buClr>
                <a:buFontTx/>
                <a:buNone/>
              </a:pPr>
              <a:r>
                <a:rPr lang="x-none" sz="800" kern="1200" dirty="0">
                  <a:solidFill>
                    <a:srgbClr val="808080"/>
                  </a:solidFill>
                  <a:ea typeface="+mn-ea"/>
                  <a:cs typeface="+mn-cs"/>
                </a:rPr>
                <a:t>STICKER</a:t>
              </a:r>
            </a:p>
          </p:txBody>
        </p:sp>
        <p:cxnSp>
          <p:nvCxnSpPr>
            <p:cNvPr id="110" name="AutoShape 31"/>
            <p:cNvCxnSpPr>
              <a:cxnSpLocks noChangeShapeType="1"/>
              <a:stCxn id="109" idx="2"/>
              <a:endCxn id="109" idx="4"/>
            </p:cNvCxnSpPr>
            <p:nvPr/>
          </p:nvCxnSpPr>
          <p:spPr bwMode="auto">
            <a:xfrm>
              <a:off x="8303851"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4"/>
              <a:endCxn id="109" idx="6"/>
            </p:cNvCxnSpPr>
            <p:nvPr/>
          </p:nvCxnSpPr>
          <p:spPr bwMode="auto">
            <a:xfrm>
              <a:off x="8303851" y="436561"/>
              <a:ext cx="436924"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12" name="LegendBoxes" hidden="1"/>
          <p:cNvGrpSpPr/>
          <p:nvPr userDrawn="1"/>
        </p:nvGrpSpPr>
        <p:grpSpPr bwMode="auto">
          <a:xfrm>
            <a:off x="8856021" y="974730"/>
            <a:ext cx="784921" cy="997467"/>
            <a:chOff x="7835905" y="279400"/>
            <a:chExt cx="724543" cy="997467"/>
          </a:xfrm>
        </p:grpSpPr>
        <p:sp>
          <p:nvSpPr>
            <p:cNvPr id="113"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4"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5"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6"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7" name="Legend1"/>
            <p:cNvSpPr>
              <a:spLocks noChangeArrowheads="1"/>
            </p:cNvSpPr>
            <p:nvPr/>
          </p:nvSpPr>
          <p:spPr bwMode="auto">
            <a:xfrm>
              <a:off x="8089905"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18" name="Legend2"/>
            <p:cNvSpPr>
              <a:spLocks noChangeArrowheads="1"/>
            </p:cNvSpPr>
            <p:nvPr/>
          </p:nvSpPr>
          <p:spPr bwMode="auto">
            <a:xfrm>
              <a:off x="8089905" y="54927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19" name="Legend3"/>
            <p:cNvSpPr>
              <a:spLocks noChangeArrowheads="1"/>
            </p:cNvSpPr>
            <p:nvPr/>
          </p:nvSpPr>
          <p:spPr bwMode="auto">
            <a:xfrm>
              <a:off x="8089905" y="820738"/>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20" name="Legend4"/>
            <p:cNvSpPr>
              <a:spLocks noChangeArrowheads="1"/>
            </p:cNvSpPr>
            <p:nvPr/>
          </p:nvSpPr>
          <p:spPr bwMode="auto">
            <a:xfrm>
              <a:off x="8089905" y="10922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grpSp>
      <p:grpSp>
        <p:nvGrpSpPr>
          <p:cNvPr id="121" name="LegendLines" hidden="1"/>
          <p:cNvGrpSpPr/>
          <p:nvPr userDrawn="1"/>
        </p:nvGrpSpPr>
        <p:grpSpPr bwMode="auto">
          <a:xfrm>
            <a:off x="8522565" y="974730"/>
            <a:ext cx="1118561" cy="730767"/>
            <a:chOff x="7540629" y="279400"/>
            <a:chExt cx="1032518" cy="730767"/>
          </a:xfrm>
        </p:grpSpPr>
        <p:sp>
          <p:nvSpPr>
            <p:cNvPr id="122"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dirty="0">
                <a:ea typeface="+mn-ea"/>
                <a:cs typeface="+mn-cs"/>
              </a:endParaRPr>
            </a:p>
          </p:txBody>
        </p:sp>
        <p:sp>
          <p:nvSpPr>
            <p:cNvPr id="123"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dirty="0">
                <a:ea typeface="+mn-ea"/>
                <a:cs typeface="+mn-cs"/>
              </a:endParaRPr>
            </a:p>
          </p:txBody>
        </p:sp>
        <p:sp>
          <p:nvSpPr>
            <p:cNvPr id="124"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dirty="0">
                <a:ea typeface="+mn-ea"/>
                <a:cs typeface="+mn-cs"/>
              </a:endParaRPr>
            </a:p>
          </p:txBody>
        </p:sp>
        <p:sp>
          <p:nvSpPr>
            <p:cNvPr id="125" name="Legend1"/>
            <p:cNvSpPr>
              <a:spLocks noChangeArrowheads="1"/>
            </p:cNvSpPr>
            <p:nvPr/>
          </p:nvSpPr>
          <p:spPr bwMode="auto">
            <a:xfrm>
              <a:off x="8102604"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26" name="Legend2"/>
            <p:cNvSpPr>
              <a:spLocks noChangeArrowheads="1"/>
            </p:cNvSpPr>
            <p:nvPr/>
          </p:nvSpPr>
          <p:spPr bwMode="auto">
            <a:xfrm>
              <a:off x="8102604" y="5461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27" name="Legend3"/>
            <p:cNvSpPr>
              <a:spLocks noChangeArrowheads="1"/>
            </p:cNvSpPr>
            <p:nvPr/>
          </p:nvSpPr>
          <p:spPr bwMode="auto">
            <a:xfrm>
              <a:off x="8102604" y="8255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grpSp>
      <p:grpSp>
        <p:nvGrpSpPr>
          <p:cNvPr id="128" name="LegendMoons" hidden="1"/>
          <p:cNvGrpSpPr/>
          <p:nvPr userDrawn="1"/>
        </p:nvGrpSpPr>
        <p:grpSpPr bwMode="auto">
          <a:xfrm>
            <a:off x="8783790" y="946154"/>
            <a:ext cx="857153" cy="1306516"/>
            <a:chOff x="7769225" y="250825"/>
            <a:chExt cx="791218" cy="1306516"/>
          </a:xfrm>
        </p:grpSpPr>
        <p:grpSp>
          <p:nvGrpSpPr>
            <p:cNvPr id="129" name="MoonLegend1"/>
            <p:cNvGrpSpPr>
              <a:grpSpLocks noChangeAspect="1"/>
            </p:cNvGrpSpPr>
            <p:nvPr>
              <p:custDataLst>
                <p:tags r:id="rId7"/>
              </p:custDataLst>
            </p:nvPr>
          </p:nvGrpSpPr>
          <p:grpSpPr bwMode="auto">
            <a:xfrm>
              <a:off x="7769225" y="250825"/>
              <a:ext cx="209550" cy="209551"/>
              <a:chOff x="4533" y="183"/>
              <a:chExt cx="144" cy="144"/>
            </a:xfrm>
          </p:grpSpPr>
          <p:sp>
            <p:nvSpPr>
              <p:cNvPr id="147"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8"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0" name="MoonLegend2"/>
            <p:cNvGrpSpPr>
              <a:grpSpLocks noChangeAspect="1"/>
            </p:cNvGrpSpPr>
            <p:nvPr>
              <p:custDataLst>
                <p:tags r:id="rId8"/>
              </p:custDataLst>
            </p:nvPr>
          </p:nvGrpSpPr>
          <p:grpSpPr bwMode="auto">
            <a:xfrm>
              <a:off x="7769225" y="525066"/>
              <a:ext cx="209550" cy="209551"/>
              <a:chOff x="1694" y="2044"/>
              <a:chExt cx="160" cy="160"/>
            </a:xfrm>
          </p:grpSpPr>
          <p:sp>
            <p:nvSpPr>
              <p:cNvPr id="145"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6" name="Arc 42"/>
              <p:cNvSpPr>
                <a:spLocks noChangeAspect="1"/>
              </p:cNvSpPr>
              <p:nvPr>
                <p:custDataLst>
                  <p:tags r:id="rId19"/>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1" name="MoonLegend4"/>
            <p:cNvGrpSpPr>
              <a:grpSpLocks noChangeAspect="1"/>
            </p:cNvGrpSpPr>
            <p:nvPr>
              <p:custDataLst>
                <p:tags r:id="rId9"/>
              </p:custDataLst>
            </p:nvPr>
          </p:nvGrpSpPr>
          <p:grpSpPr bwMode="auto">
            <a:xfrm>
              <a:off x="7769225" y="1073548"/>
              <a:ext cx="209550" cy="209551"/>
              <a:chOff x="4495" y="1198"/>
              <a:chExt cx="160" cy="160"/>
            </a:xfrm>
          </p:grpSpPr>
          <p:sp>
            <p:nvSpPr>
              <p:cNvPr id="143"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4"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2" name="MoonLegend5"/>
            <p:cNvGrpSpPr>
              <a:grpSpLocks noChangeAspect="1"/>
            </p:cNvGrpSpPr>
            <p:nvPr>
              <p:custDataLst>
                <p:tags r:id="rId10"/>
              </p:custDataLst>
            </p:nvPr>
          </p:nvGrpSpPr>
          <p:grpSpPr bwMode="auto">
            <a:xfrm>
              <a:off x="7769225" y="1347790"/>
              <a:ext cx="209550" cy="209551"/>
              <a:chOff x="4495" y="1440"/>
              <a:chExt cx="160" cy="160"/>
            </a:xfrm>
          </p:grpSpPr>
          <p:sp>
            <p:nvSpPr>
              <p:cNvPr id="141"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2"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3" name="MoonLegend3"/>
            <p:cNvGrpSpPr>
              <a:grpSpLocks noChangeAspect="1"/>
            </p:cNvGrpSpPr>
            <p:nvPr>
              <p:custDataLst>
                <p:tags r:id="rId11"/>
              </p:custDataLst>
            </p:nvPr>
          </p:nvGrpSpPr>
          <p:grpSpPr bwMode="auto">
            <a:xfrm>
              <a:off x="7769225" y="799307"/>
              <a:ext cx="209550" cy="209551"/>
              <a:chOff x="4495" y="1198"/>
              <a:chExt cx="160" cy="160"/>
            </a:xfrm>
          </p:grpSpPr>
          <p:sp>
            <p:nvSpPr>
              <p:cNvPr id="139"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0"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sp>
          <p:nvSpPr>
            <p:cNvPr id="134" name="Legend1"/>
            <p:cNvSpPr>
              <a:spLocks noChangeArrowheads="1"/>
            </p:cNvSpPr>
            <p:nvPr/>
          </p:nvSpPr>
          <p:spPr bwMode="auto">
            <a:xfrm>
              <a:off x="8089900" y="26352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35" name="Legend2"/>
            <p:cNvSpPr>
              <a:spLocks noChangeArrowheads="1"/>
            </p:cNvSpPr>
            <p:nvPr/>
          </p:nvSpPr>
          <p:spPr bwMode="auto">
            <a:xfrm>
              <a:off x="8089900" y="538163"/>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36" name="Legend3"/>
            <p:cNvSpPr>
              <a:spLocks noChangeArrowheads="1"/>
            </p:cNvSpPr>
            <p:nvPr/>
          </p:nvSpPr>
          <p:spPr bwMode="auto">
            <a:xfrm>
              <a:off x="8089900" y="812802"/>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37" name="Legend4"/>
            <p:cNvSpPr>
              <a:spLocks noChangeArrowheads="1"/>
            </p:cNvSpPr>
            <p:nvPr/>
          </p:nvSpPr>
          <p:spPr bwMode="auto">
            <a:xfrm>
              <a:off x="8089900" y="108426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38" name="Legend5"/>
            <p:cNvSpPr>
              <a:spLocks noChangeArrowheads="1"/>
            </p:cNvSpPr>
            <p:nvPr/>
          </p:nvSpPr>
          <p:spPr bwMode="auto">
            <a:xfrm>
              <a:off x="8089900" y="136049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grpSp>
    </p:spTree>
    <p:extLst>
      <p:ext uri="{BB962C8B-B14F-4D97-AF65-F5344CB8AC3E}">
        <p14:creationId xmlns:p14="http://schemas.microsoft.com/office/powerpoint/2010/main" val="1175683248"/>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Lst>
  <p:hf hdr="0" ftr="0" dt="0"/>
  <p:txStyles>
    <p:titleStyle>
      <a:lvl1pPr algn="l" defTabSz="913429" rtl="0" eaLnBrk="1" fontAlgn="base" hangingPunct="1">
        <a:spcBef>
          <a:spcPct val="0"/>
        </a:spcBef>
        <a:spcAft>
          <a:spcPct val="0"/>
        </a:spcAft>
        <a:tabLst>
          <a:tab pos="275324" algn="l"/>
        </a:tabLst>
        <a:defRPr sz="19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75483" cy="161974"/>
        </p:xfrm>
        <a:graphic>
          <a:graphicData uri="http://schemas.openxmlformats.org/presentationml/2006/ole">
            <mc:AlternateContent xmlns:mc="http://schemas.openxmlformats.org/markup-compatibility/2006">
              <mc:Choice xmlns:v="urn:schemas-microsoft-com:vml" Requires="v">
                <p:oleObj spid="_x0000_s66574" name="think-cell Slide" r:id="rId21" imgW="270" imgH="270" progId="TCLayout.ActiveDocument.1">
                  <p:embed/>
                </p:oleObj>
              </mc:Choice>
              <mc:Fallback>
                <p:oleObj name="think-cell Slide" r:id="rId21" imgW="270" imgH="270" progId="TCLayout.ActiveDocument.1">
                  <p:embed/>
                  <p:pic>
                    <p:nvPicPr>
                      <p:cNvPr id="2" name="Object 1" hidden="1"/>
                      <p:cNvPicPr/>
                      <p:nvPr/>
                    </p:nvPicPr>
                    <p:blipFill>
                      <a:blip r:embed="rId22"/>
                      <a:stretch>
                        <a:fillRect/>
                      </a:stretch>
                    </p:blipFill>
                    <p:spPr>
                      <a:xfrm>
                        <a:off x="0" y="0"/>
                        <a:ext cx="175483" cy="161974"/>
                      </a:xfrm>
                      <a:prstGeom prst="rect">
                        <a:avLst/>
                      </a:prstGeom>
                    </p:spPr>
                  </p:pic>
                </p:oleObj>
              </mc:Fallback>
            </mc:AlternateContent>
          </a:graphicData>
        </a:graphic>
      </p:graphicFrame>
      <p:grpSp>
        <p:nvGrpSpPr>
          <p:cNvPr id="4" name="Group 3"/>
          <p:cNvGrpSpPr/>
          <p:nvPr userDrawn="1"/>
        </p:nvGrpSpPr>
        <p:grpSpPr bwMode="ltGray">
          <a:xfrm>
            <a:off x="-2064" y="5612520"/>
            <a:ext cx="2703856" cy="1243195"/>
            <a:chOff x="-9526" y="5620139"/>
            <a:chExt cx="2495867" cy="1243195"/>
          </a:xfrm>
        </p:grpSpPr>
        <p:pic>
          <p:nvPicPr>
            <p:cNvPr id="58" name="Picture 57" descr="inside.png"/>
            <p:cNvPicPr>
              <a:picLocks/>
            </p:cNvPicPr>
            <p:nvPr userDrawn="1"/>
          </p:nvPicPr>
          <p:blipFill rotWithShape="1">
            <a:blip r:embed="rId23" cstate="print">
              <a:extLst>
                <a:ext uri="{28A0092B-C50C-407E-A947-70E740481C1C}">
                  <a14:useLocalDpi xmlns:a14="http://schemas.microsoft.com/office/drawing/2010/main" val="0"/>
                </a:ext>
              </a:extLst>
            </a:blip>
            <a:srcRect l="-116" t="80821" r="71535" b="-60"/>
            <a:stretch/>
          </p:blipFill>
          <p:spPr bwMode="ltGray">
            <a:xfrm>
              <a:off x="-9526" y="5620139"/>
              <a:ext cx="2495867" cy="1243195"/>
            </a:xfrm>
            <a:prstGeom prst="rect">
              <a:avLst/>
            </a:prstGeom>
          </p:spPr>
        </p:pic>
        <p:sp>
          <p:nvSpPr>
            <p:cNvPr id="3" name="Rectangle 2"/>
            <p:cNvSpPr>
              <a:spLocks/>
            </p:cNvSpPr>
            <p:nvPr userDrawn="1"/>
          </p:nvSpPr>
          <p:spPr bwMode="ltGray">
            <a:xfrm>
              <a:off x="-9526" y="5620139"/>
              <a:ext cx="2495867" cy="1243195"/>
            </a:xfrm>
            <a:prstGeom prst="rect">
              <a:avLst/>
            </a:prstGeom>
            <a:solidFill>
              <a:schemeClr val="bg1">
                <a:alpha val="8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600" kern="1200" dirty="0">
                <a:solidFill>
                  <a:srgbClr val="000000"/>
                </a:solidFill>
              </a:endParaRPr>
            </a:p>
          </p:txBody>
        </p:sp>
      </p:grpSp>
      <p:pic>
        <p:nvPicPr>
          <p:cNvPr id="59" name="Picture 58"/>
          <p:cNvPicPr>
            <a:picLocks/>
          </p:cNvPicPr>
          <p:nvPr userDrawn="1"/>
        </p:nvPicPr>
        <p:blipFill>
          <a:blip r:embed="rId24" cstate="print"/>
          <a:stretch>
            <a:fillRect/>
          </a:stretch>
        </p:blipFill>
        <p:spPr bwMode="auto">
          <a:xfrm>
            <a:off x="189523" y="681010"/>
            <a:ext cx="8065476" cy="50511"/>
          </a:xfrm>
          <a:prstGeom prst="rect">
            <a:avLst/>
          </a:prstGeom>
        </p:spPr>
      </p:pic>
      <p:pic>
        <p:nvPicPr>
          <p:cNvPr id="60" name="Picture 59" descr="AGRALogo.png"/>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bwMode="ltGray">
          <a:xfrm>
            <a:off x="8329296" y="388621"/>
            <a:ext cx="1354131" cy="530864"/>
          </a:xfrm>
          <a:prstGeom prst="rect">
            <a:avLst/>
          </a:prstGeom>
        </p:spPr>
      </p:pic>
      <p:sp>
        <p:nvSpPr>
          <p:cNvPr id="1033" name="doc id"/>
          <p:cNvSpPr>
            <a:spLocks noChangeArrowheads="1"/>
          </p:cNvSpPr>
          <p:nvPr/>
        </p:nvSpPr>
        <p:spPr bwMode="auto">
          <a:xfrm>
            <a:off x="8933827" y="37255"/>
            <a:ext cx="726499"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29" fontAlgn="base">
              <a:spcBef>
                <a:spcPct val="0"/>
              </a:spcBef>
              <a:spcAft>
                <a:spcPct val="0"/>
              </a:spcAft>
              <a:buClrTx/>
              <a:buFontTx/>
              <a:buNone/>
            </a:pPr>
            <a:endParaRPr lang="en-US" sz="800" kern="1200" dirty="0">
              <a:ea typeface="+mn-ea"/>
              <a:cs typeface="+mn-cs"/>
            </a:endParaRPr>
          </a:p>
        </p:txBody>
      </p:sp>
      <p:sp>
        <p:nvSpPr>
          <p:cNvPr id="1036" name="Rectangle 286"/>
          <p:cNvSpPr>
            <a:spLocks noGrp="1" noChangeArrowheads="1"/>
          </p:cNvSpPr>
          <p:nvPr>
            <p:ph type="body" idx="1"/>
          </p:nvPr>
        </p:nvSpPr>
        <p:spPr bwMode="auto">
          <a:xfrm>
            <a:off x="1878084" y="2508985"/>
            <a:ext cx="475558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247650" y="388621"/>
            <a:ext cx="80073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247651" y="8087"/>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buClrTx/>
              <a:buFontTx/>
              <a:buNone/>
            </a:pPr>
            <a:r>
              <a:rPr lang="en-US" sz="1000" kern="1200" dirty="0">
                <a:solidFill>
                  <a:srgbClr val="808080"/>
                </a:solidFill>
                <a:ea typeface="+mn-ea"/>
                <a:cs typeface="+mn-cs"/>
              </a:rPr>
              <a:t>TRACKER</a:t>
            </a:r>
          </a:p>
        </p:txBody>
      </p:sp>
      <p:sp>
        <p:nvSpPr>
          <p:cNvPr id="11" name="3. Unit of measure" hidden="1"/>
          <p:cNvSpPr txBox="1">
            <a:spLocks noChangeArrowheads="1"/>
          </p:cNvSpPr>
          <p:nvPr/>
        </p:nvSpPr>
        <p:spPr bwMode="auto">
          <a:xfrm>
            <a:off x="247650" y="749678"/>
            <a:ext cx="80073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buClrTx/>
              <a:buFontTx/>
              <a:buNone/>
              <a:defRPr/>
            </a:pPr>
            <a:r>
              <a:rPr lang="en-US" sz="1600" kern="1200" dirty="0">
                <a:solidFill>
                  <a:srgbClr val="808080"/>
                </a:solidFill>
                <a:latin typeface="Arial"/>
                <a:ea typeface="+mn-ea"/>
                <a:cs typeface="+mn-cs"/>
              </a:rPr>
              <a:t>Unit of measure</a:t>
            </a:r>
          </a:p>
        </p:txBody>
      </p:sp>
      <p:grpSp>
        <p:nvGrpSpPr>
          <p:cNvPr id="15" name="ACET" hidden="1"/>
          <p:cNvGrpSpPr>
            <a:grpSpLocks/>
          </p:cNvGrpSpPr>
          <p:nvPr/>
        </p:nvGrpSpPr>
        <p:grpSpPr bwMode="auto">
          <a:xfrm>
            <a:off x="1878084" y="1915010"/>
            <a:ext cx="4713466"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buClrTx/>
                <a:buFontTx/>
                <a:buNone/>
              </a:pPr>
              <a:r>
                <a:rPr lang="en-US" sz="1600" b="1" kern="1200" dirty="0">
                  <a:ea typeface="+mn-ea"/>
                  <a:cs typeface="+mn-cs"/>
                </a:rPr>
                <a:t>Title</a:t>
              </a:r>
            </a:p>
            <a:p>
              <a:pPr fontAlgn="base">
                <a:spcBef>
                  <a:spcPct val="0"/>
                </a:spcBef>
                <a:spcAft>
                  <a:spcPct val="0"/>
                </a:spcAft>
                <a:buClrTx/>
                <a:buFontTx/>
                <a:buNone/>
              </a:pPr>
              <a:r>
                <a:rPr lang="en-US" sz="1600" kern="1200" dirty="0">
                  <a:solidFill>
                    <a:srgbClr val="808080"/>
                  </a:solidFill>
                  <a:ea typeface="+mn-ea"/>
                  <a:cs typeface="+mn-cs"/>
                </a:rPr>
                <a:t>Unit of measure</a:t>
              </a:r>
            </a:p>
          </p:txBody>
        </p:sp>
      </p:grpSp>
      <p:sp>
        <p:nvSpPr>
          <p:cNvPr id="104" name="Slide Number"/>
          <p:cNvSpPr txBox="1">
            <a:spLocks/>
          </p:cNvSpPr>
          <p:nvPr userDrawn="1"/>
        </p:nvSpPr>
        <p:spPr bwMode="auto">
          <a:xfrm>
            <a:off x="9558392" y="6643599"/>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buClrTx/>
              <a:buFontTx/>
              <a:buNone/>
            </a:pPr>
            <a:fld id="{42C328C1-A84F-4A39-A664-DBA00541A8C6}" type="slidenum">
              <a:rPr lang="en-US" sz="800" kern="1200" smtClean="0">
                <a:ea typeface="+mn-ea"/>
                <a:cs typeface="+mn-cs"/>
              </a:rPr>
              <a:pPr algn="r" fontAlgn="base">
                <a:spcBef>
                  <a:spcPct val="0"/>
                </a:spcBef>
                <a:spcAft>
                  <a:spcPct val="0"/>
                </a:spcAft>
                <a:buClrTx/>
                <a:buFontTx/>
                <a:buNone/>
              </a:pPr>
              <a:t>‹#›</a:t>
            </a:fld>
            <a:endParaRPr lang="en-US" sz="800" kern="1200" dirty="0">
              <a:ea typeface="+mn-ea"/>
              <a:cs typeface="+mn-cs"/>
            </a:endParaRPr>
          </a:p>
        </p:txBody>
      </p:sp>
      <p:grpSp>
        <p:nvGrpSpPr>
          <p:cNvPr id="105" name="Slide Elements" hidden="1"/>
          <p:cNvGrpSpPr/>
          <p:nvPr userDrawn="1"/>
        </p:nvGrpSpPr>
        <p:grpSpPr bwMode="auto">
          <a:xfrm>
            <a:off x="247651" y="6441985"/>
            <a:ext cx="9336748" cy="324724"/>
            <a:chOff x="119063" y="6306659"/>
            <a:chExt cx="8618537" cy="324724"/>
          </a:xfrm>
        </p:grpSpPr>
        <p:sp>
          <p:nvSpPr>
            <p:cNvPr id="106" name="4. Footnote"/>
            <p:cNvSpPr txBox="1">
              <a:spLocks noChangeArrowheads="1"/>
            </p:cNvSpPr>
            <p:nvPr/>
          </p:nvSpPr>
          <p:spPr bwMode="auto">
            <a:xfrm>
              <a:off x="119063" y="6306659"/>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fontAlgn="base">
                <a:spcBef>
                  <a:spcPct val="0"/>
                </a:spcBef>
                <a:spcAft>
                  <a:spcPct val="0"/>
                </a:spcAft>
                <a:buClrTx/>
                <a:buFontTx/>
                <a:buNone/>
                <a:defRPr lang="x-none"/>
              </a:pPr>
              <a:r>
                <a:rPr sz="800" kern="1200" dirty="0">
                  <a:solidFill>
                    <a:srgbClr val="000000"/>
                  </a:solidFill>
                  <a:latin typeface="Arial"/>
                  <a:ea typeface="+mn-ea"/>
                  <a:cs typeface="+mn-cs"/>
                </a:rPr>
                <a:t>1 Footnote</a:t>
              </a:r>
            </a:p>
          </p:txBody>
        </p:sp>
        <p:sp>
          <p:nvSpPr>
            <p:cNvPr id="107" name="5. Source"/>
            <p:cNvSpPr>
              <a:spLocks noChangeArrowheads="1"/>
            </p:cNvSpPr>
            <p:nvPr/>
          </p:nvSpPr>
          <p:spPr bwMode="auto">
            <a:xfrm>
              <a:off x="119063" y="6508272"/>
              <a:ext cx="794619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9113" indent="-519113" defTabSz="895350" fontAlgn="base">
                <a:spcBef>
                  <a:spcPct val="0"/>
                </a:spcBef>
                <a:spcAft>
                  <a:spcPct val="0"/>
                </a:spcAft>
                <a:buClrTx/>
                <a:buFontTx/>
                <a:buNone/>
                <a:tabLst>
                  <a:tab pos="612775" algn="l"/>
                </a:tabLst>
              </a:pPr>
              <a:r>
                <a:rPr lang="x-none" sz="800" kern="1200" dirty="0">
                  <a:ea typeface="+mn-ea"/>
                  <a:cs typeface="+mn-cs"/>
                </a:rPr>
                <a:t>SOURCE : Source</a:t>
              </a:r>
              <a:endParaRPr lang="en-US" sz="800" kern="1200" dirty="0">
                <a:ea typeface="+mn-ea"/>
                <a:cs typeface="+mn-cs"/>
              </a:endParaRPr>
            </a:p>
          </p:txBody>
        </p:sp>
      </p:grpSp>
      <p:grpSp>
        <p:nvGrpSpPr>
          <p:cNvPr id="108" name="McKSticker" hidden="1"/>
          <p:cNvGrpSpPr/>
          <p:nvPr userDrawn="1"/>
        </p:nvGrpSpPr>
        <p:grpSpPr bwMode="auto">
          <a:xfrm>
            <a:off x="9210098" y="981080"/>
            <a:ext cx="473335" cy="150811"/>
            <a:chOff x="8303851" y="285750"/>
            <a:chExt cx="436924" cy="150811"/>
          </a:xfrm>
        </p:grpSpPr>
        <p:sp>
          <p:nvSpPr>
            <p:cNvPr id="109" name="StickerRectangle"/>
            <p:cNvSpPr>
              <a:spLocks noChangeArrowheads="1"/>
            </p:cNvSpPr>
            <p:nvPr/>
          </p:nvSpPr>
          <p:spPr bwMode="auto">
            <a:xfrm>
              <a:off x="8303851" y="285750"/>
              <a:ext cx="43692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2960"/>
                </a:buClr>
                <a:buFontTx/>
                <a:buNone/>
              </a:pPr>
              <a:r>
                <a:rPr lang="x-none" sz="800" kern="1200" dirty="0">
                  <a:solidFill>
                    <a:srgbClr val="808080"/>
                  </a:solidFill>
                  <a:ea typeface="+mn-ea"/>
                  <a:cs typeface="+mn-cs"/>
                </a:rPr>
                <a:t>STICKER</a:t>
              </a:r>
            </a:p>
          </p:txBody>
        </p:sp>
        <p:cxnSp>
          <p:nvCxnSpPr>
            <p:cNvPr id="110" name="AutoShape 31"/>
            <p:cNvCxnSpPr>
              <a:cxnSpLocks noChangeShapeType="1"/>
              <a:stCxn id="109" idx="2"/>
              <a:endCxn id="109" idx="4"/>
            </p:cNvCxnSpPr>
            <p:nvPr/>
          </p:nvCxnSpPr>
          <p:spPr bwMode="auto">
            <a:xfrm>
              <a:off x="8303851"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4"/>
              <a:endCxn id="109" idx="6"/>
            </p:cNvCxnSpPr>
            <p:nvPr/>
          </p:nvCxnSpPr>
          <p:spPr bwMode="auto">
            <a:xfrm>
              <a:off x="8303851" y="436561"/>
              <a:ext cx="436924"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12" name="LegendBoxes" hidden="1"/>
          <p:cNvGrpSpPr/>
          <p:nvPr userDrawn="1"/>
        </p:nvGrpSpPr>
        <p:grpSpPr bwMode="auto">
          <a:xfrm>
            <a:off x="8856021" y="974730"/>
            <a:ext cx="784921" cy="997467"/>
            <a:chOff x="7835905" y="279400"/>
            <a:chExt cx="724543" cy="997467"/>
          </a:xfrm>
        </p:grpSpPr>
        <p:sp>
          <p:nvSpPr>
            <p:cNvPr id="113"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4"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5"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6"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7" name="Legend1"/>
            <p:cNvSpPr>
              <a:spLocks noChangeArrowheads="1"/>
            </p:cNvSpPr>
            <p:nvPr/>
          </p:nvSpPr>
          <p:spPr bwMode="auto">
            <a:xfrm>
              <a:off x="8089905"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18" name="Legend2"/>
            <p:cNvSpPr>
              <a:spLocks noChangeArrowheads="1"/>
            </p:cNvSpPr>
            <p:nvPr/>
          </p:nvSpPr>
          <p:spPr bwMode="auto">
            <a:xfrm>
              <a:off x="8089905" y="54927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19" name="Legend3"/>
            <p:cNvSpPr>
              <a:spLocks noChangeArrowheads="1"/>
            </p:cNvSpPr>
            <p:nvPr/>
          </p:nvSpPr>
          <p:spPr bwMode="auto">
            <a:xfrm>
              <a:off x="8089905" y="820738"/>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20" name="Legend4"/>
            <p:cNvSpPr>
              <a:spLocks noChangeArrowheads="1"/>
            </p:cNvSpPr>
            <p:nvPr/>
          </p:nvSpPr>
          <p:spPr bwMode="auto">
            <a:xfrm>
              <a:off x="8089905" y="10922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grpSp>
      <p:grpSp>
        <p:nvGrpSpPr>
          <p:cNvPr id="121" name="LegendLines" hidden="1"/>
          <p:cNvGrpSpPr/>
          <p:nvPr userDrawn="1"/>
        </p:nvGrpSpPr>
        <p:grpSpPr bwMode="auto">
          <a:xfrm>
            <a:off x="8522565" y="974730"/>
            <a:ext cx="1118561" cy="730767"/>
            <a:chOff x="7540629" y="279400"/>
            <a:chExt cx="1032518" cy="730767"/>
          </a:xfrm>
        </p:grpSpPr>
        <p:sp>
          <p:nvSpPr>
            <p:cNvPr id="122"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dirty="0">
                <a:ea typeface="+mn-ea"/>
                <a:cs typeface="+mn-cs"/>
              </a:endParaRPr>
            </a:p>
          </p:txBody>
        </p:sp>
        <p:sp>
          <p:nvSpPr>
            <p:cNvPr id="123"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dirty="0">
                <a:ea typeface="+mn-ea"/>
                <a:cs typeface="+mn-cs"/>
              </a:endParaRPr>
            </a:p>
          </p:txBody>
        </p:sp>
        <p:sp>
          <p:nvSpPr>
            <p:cNvPr id="124"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dirty="0">
                <a:ea typeface="+mn-ea"/>
                <a:cs typeface="+mn-cs"/>
              </a:endParaRPr>
            </a:p>
          </p:txBody>
        </p:sp>
        <p:sp>
          <p:nvSpPr>
            <p:cNvPr id="125" name="Legend1"/>
            <p:cNvSpPr>
              <a:spLocks noChangeArrowheads="1"/>
            </p:cNvSpPr>
            <p:nvPr/>
          </p:nvSpPr>
          <p:spPr bwMode="auto">
            <a:xfrm>
              <a:off x="8102604"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26" name="Legend2"/>
            <p:cNvSpPr>
              <a:spLocks noChangeArrowheads="1"/>
            </p:cNvSpPr>
            <p:nvPr/>
          </p:nvSpPr>
          <p:spPr bwMode="auto">
            <a:xfrm>
              <a:off x="8102604" y="5461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27" name="Legend3"/>
            <p:cNvSpPr>
              <a:spLocks noChangeArrowheads="1"/>
            </p:cNvSpPr>
            <p:nvPr/>
          </p:nvSpPr>
          <p:spPr bwMode="auto">
            <a:xfrm>
              <a:off x="8102604" y="8255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grpSp>
      <p:grpSp>
        <p:nvGrpSpPr>
          <p:cNvPr id="128" name="LegendMoons" hidden="1"/>
          <p:cNvGrpSpPr/>
          <p:nvPr userDrawn="1"/>
        </p:nvGrpSpPr>
        <p:grpSpPr bwMode="auto">
          <a:xfrm>
            <a:off x="8783790" y="946154"/>
            <a:ext cx="857153" cy="1306516"/>
            <a:chOff x="7769225" y="250825"/>
            <a:chExt cx="791218" cy="1306516"/>
          </a:xfrm>
        </p:grpSpPr>
        <p:grpSp>
          <p:nvGrpSpPr>
            <p:cNvPr id="129" name="MoonLegend1"/>
            <p:cNvGrpSpPr>
              <a:grpSpLocks noChangeAspect="1"/>
            </p:cNvGrpSpPr>
            <p:nvPr>
              <p:custDataLst>
                <p:tags r:id="rId6"/>
              </p:custDataLst>
            </p:nvPr>
          </p:nvGrpSpPr>
          <p:grpSpPr bwMode="auto">
            <a:xfrm>
              <a:off x="7769225" y="250825"/>
              <a:ext cx="209550" cy="209551"/>
              <a:chOff x="4533" y="183"/>
              <a:chExt cx="144" cy="144"/>
            </a:xfrm>
          </p:grpSpPr>
          <p:sp>
            <p:nvSpPr>
              <p:cNvPr id="147" name="Oval 38"/>
              <p:cNvSpPr>
                <a:spLocks noChangeAspect="1" noChangeArrowheads="1"/>
              </p:cNvSpPr>
              <p:nvPr>
                <p:custDataLst>
                  <p:tags r:id="rId19"/>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8" name="Arc 39"/>
              <p:cNvSpPr>
                <a:spLocks noChangeAspect="1"/>
              </p:cNvSpPr>
              <p:nvPr>
                <p:custDataLst>
                  <p:tags r:id="rId20"/>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0" name="MoonLegend2"/>
            <p:cNvGrpSpPr>
              <a:grpSpLocks noChangeAspect="1"/>
            </p:cNvGrpSpPr>
            <p:nvPr>
              <p:custDataLst>
                <p:tags r:id="rId7"/>
              </p:custDataLst>
            </p:nvPr>
          </p:nvGrpSpPr>
          <p:grpSpPr bwMode="auto">
            <a:xfrm>
              <a:off x="7769225" y="525066"/>
              <a:ext cx="209550" cy="209551"/>
              <a:chOff x="1694" y="2044"/>
              <a:chExt cx="160" cy="160"/>
            </a:xfrm>
          </p:grpSpPr>
          <p:sp>
            <p:nvSpPr>
              <p:cNvPr id="145"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6" name="Arc 42"/>
              <p:cNvSpPr>
                <a:spLocks noChangeAspect="1"/>
              </p:cNvSpPr>
              <p:nvPr>
                <p:custDataLst>
                  <p:tags r:id="rId18"/>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1" name="MoonLegend4"/>
            <p:cNvGrpSpPr>
              <a:grpSpLocks noChangeAspect="1"/>
            </p:cNvGrpSpPr>
            <p:nvPr>
              <p:custDataLst>
                <p:tags r:id="rId8"/>
              </p:custDataLst>
            </p:nvPr>
          </p:nvGrpSpPr>
          <p:grpSpPr bwMode="auto">
            <a:xfrm>
              <a:off x="7769225" y="1073548"/>
              <a:ext cx="209550" cy="209551"/>
              <a:chOff x="4495" y="1198"/>
              <a:chExt cx="160" cy="160"/>
            </a:xfrm>
          </p:grpSpPr>
          <p:sp>
            <p:nvSpPr>
              <p:cNvPr id="143"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4" name="Arc 48"/>
              <p:cNvSpPr>
                <a:spLocks noChangeAspect="1"/>
              </p:cNvSpPr>
              <p:nvPr>
                <p:custDataLst>
                  <p:tags r:id="rId16"/>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2" name="MoonLegend5"/>
            <p:cNvGrpSpPr>
              <a:grpSpLocks noChangeAspect="1"/>
            </p:cNvGrpSpPr>
            <p:nvPr>
              <p:custDataLst>
                <p:tags r:id="rId9"/>
              </p:custDataLst>
            </p:nvPr>
          </p:nvGrpSpPr>
          <p:grpSpPr bwMode="auto">
            <a:xfrm>
              <a:off x="7769225" y="1347790"/>
              <a:ext cx="209550" cy="209551"/>
              <a:chOff x="4495" y="1440"/>
              <a:chExt cx="160" cy="160"/>
            </a:xfrm>
          </p:grpSpPr>
          <p:sp>
            <p:nvSpPr>
              <p:cNvPr id="141" name="Oval 50"/>
              <p:cNvSpPr>
                <a:spLocks noChangeAspect="1" noChangeArrowheads="1"/>
              </p:cNvSpPr>
              <p:nvPr>
                <p:custDataLst>
                  <p:tags r:id="rId13"/>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2" name="Oval 51"/>
              <p:cNvSpPr>
                <a:spLocks noChangeAspect="1" noChangeArrowheads="1"/>
              </p:cNvSpPr>
              <p:nvPr>
                <p:custDataLst>
                  <p:tags r:id="rId14"/>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3" name="MoonLegend3"/>
            <p:cNvGrpSpPr>
              <a:grpSpLocks noChangeAspect="1"/>
            </p:cNvGrpSpPr>
            <p:nvPr>
              <p:custDataLst>
                <p:tags r:id="rId10"/>
              </p:custDataLst>
            </p:nvPr>
          </p:nvGrpSpPr>
          <p:grpSpPr bwMode="auto">
            <a:xfrm>
              <a:off x="7769225" y="799307"/>
              <a:ext cx="209550" cy="209551"/>
              <a:chOff x="4495" y="1198"/>
              <a:chExt cx="160" cy="160"/>
            </a:xfrm>
          </p:grpSpPr>
          <p:sp>
            <p:nvSpPr>
              <p:cNvPr id="139" name="Oval 47"/>
              <p:cNvSpPr>
                <a:spLocks noChangeAspect="1" noChangeArrowheads="1"/>
              </p:cNvSpPr>
              <p:nvPr>
                <p:custDataLst>
                  <p:tags r:id="rId1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0" name="Arc 48"/>
              <p:cNvSpPr>
                <a:spLocks noChangeAspect="1"/>
              </p:cNvSpPr>
              <p:nvPr>
                <p:custDataLst>
                  <p:tags r:id="rId12"/>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sp>
          <p:nvSpPr>
            <p:cNvPr id="134" name="Legend1"/>
            <p:cNvSpPr>
              <a:spLocks noChangeArrowheads="1"/>
            </p:cNvSpPr>
            <p:nvPr/>
          </p:nvSpPr>
          <p:spPr bwMode="auto">
            <a:xfrm>
              <a:off x="8089900" y="26352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35" name="Legend2"/>
            <p:cNvSpPr>
              <a:spLocks noChangeArrowheads="1"/>
            </p:cNvSpPr>
            <p:nvPr/>
          </p:nvSpPr>
          <p:spPr bwMode="auto">
            <a:xfrm>
              <a:off x="8089900" y="538163"/>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36" name="Legend3"/>
            <p:cNvSpPr>
              <a:spLocks noChangeArrowheads="1"/>
            </p:cNvSpPr>
            <p:nvPr/>
          </p:nvSpPr>
          <p:spPr bwMode="auto">
            <a:xfrm>
              <a:off x="8089900" y="812802"/>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37" name="Legend4"/>
            <p:cNvSpPr>
              <a:spLocks noChangeArrowheads="1"/>
            </p:cNvSpPr>
            <p:nvPr/>
          </p:nvSpPr>
          <p:spPr bwMode="auto">
            <a:xfrm>
              <a:off x="8089900" y="108426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38" name="Legend5"/>
            <p:cNvSpPr>
              <a:spLocks noChangeArrowheads="1"/>
            </p:cNvSpPr>
            <p:nvPr/>
          </p:nvSpPr>
          <p:spPr bwMode="auto">
            <a:xfrm>
              <a:off x="8089900" y="136049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grpSp>
    </p:spTree>
    <p:extLst>
      <p:ext uri="{BB962C8B-B14F-4D97-AF65-F5344CB8AC3E}">
        <p14:creationId xmlns:p14="http://schemas.microsoft.com/office/powerpoint/2010/main" val="2184658173"/>
      </p:ext>
    </p:extLst>
  </p:cSld>
  <p:clrMap bg1="lt1" tx1="dk1" bg2="lt2" tx2="dk2" accent1="accent1" accent2="accent2" accent3="accent3" accent4="accent4" accent5="accent5" accent6="accent6" hlink="hlink" folHlink="folHlink"/>
  <p:sldLayoutIdLst>
    <p:sldLayoutId id="2147483748" r:id="rId1"/>
    <p:sldLayoutId id="2147483749" r:id="rId2"/>
  </p:sldLayoutIdLst>
  <p:hf hdr="0" ftr="0" dt="0"/>
  <p:txStyles>
    <p:titleStyle>
      <a:lvl1pPr algn="l" defTabSz="913429" rtl="0" eaLnBrk="1" fontAlgn="base" hangingPunct="1">
        <a:spcBef>
          <a:spcPct val="0"/>
        </a:spcBef>
        <a:spcAft>
          <a:spcPct val="0"/>
        </a:spcAft>
        <a:tabLst>
          <a:tab pos="275324" algn="l"/>
        </a:tabLst>
        <a:defRPr sz="19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2680839445"/>
              </p:ext>
            </p:extLst>
          </p:nvPr>
        </p:nvGraphicFramePr>
        <p:xfrm>
          <a:off x="0" y="0"/>
          <a:ext cx="175483" cy="161974"/>
        </p:xfrm>
        <a:graphic>
          <a:graphicData uri="http://schemas.openxmlformats.org/presentationml/2006/ole">
            <mc:AlternateContent xmlns:mc="http://schemas.openxmlformats.org/markup-compatibility/2006">
              <mc:Choice xmlns:v="urn:schemas-microsoft-com:vml" Requires="v">
                <p:oleObj spid="_x0000_s69646"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75483" cy="161974"/>
                      </a:xfrm>
                      <a:prstGeom prst="rect">
                        <a:avLst/>
                      </a:prstGeom>
                    </p:spPr>
                  </p:pic>
                </p:oleObj>
              </mc:Fallback>
            </mc:AlternateContent>
          </a:graphicData>
        </a:graphic>
      </p:graphicFrame>
      <p:sp>
        <p:nvSpPr>
          <p:cNvPr id="3" name="Rectangle 2" hidden="1"/>
          <p:cNvSpPr/>
          <p:nvPr userDrawn="1">
            <p:custDataLst>
              <p:tags r:id="rId7"/>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1900" b="1" i="0" baseline="0" dirty="0">
              <a:solidFill>
                <a:schemeClr val="tx1"/>
              </a:solidFill>
              <a:latin typeface="Arial" panose="020B0604020202020204" pitchFamily="34" charset="0"/>
              <a:ea typeface="+mj-ea"/>
              <a:cs typeface="+mj-cs"/>
              <a:sym typeface="Arial" panose="020B0604020202020204" pitchFamily="34" charset="0"/>
            </a:endParaRPr>
          </a:p>
        </p:txBody>
      </p:sp>
      <p:pic>
        <p:nvPicPr>
          <p:cNvPr id="59" name="Picture 58"/>
          <p:cNvPicPr>
            <a:picLocks/>
          </p:cNvPicPr>
          <p:nvPr userDrawn="1"/>
        </p:nvPicPr>
        <p:blipFill>
          <a:blip r:embed="rId25" cstate="print"/>
          <a:stretch>
            <a:fillRect/>
          </a:stretch>
        </p:blipFill>
        <p:spPr bwMode="auto">
          <a:xfrm>
            <a:off x="189523" y="681010"/>
            <a:ext cx="8065476" cy="50511"/>
          </a:xfrm>
          <a:prstGeom prst="rect">
            <a:avLst/>
          </a:prstGeom>
        </p:spPr>
      </p:pic>
      <p:pic>
        <p:nvPicPr>
          <p:cNvPr id="60" name="Picture 59" descr="AGRALogo.png"/>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bwMode="ltGray">
          <a:xfrm>
            <a:off x="8329296" y="388621"/>
            <a:ext cx="1354131" cy="530864"/>
          </a:xfrm>
          <a:prstGeom prst="rect">
            <a:avLst/>
          </a:prstGeom>
        </p:spPr>
      </p:pic>
      <p:sp>
        <p:nvSpPr>
          <p:cNvPr id="1033" name="doc id"/>
          <p:cNvSpPr>
            <a:spLocks noChangeArrowheads="1"/>
          </p:cNvSpPr>
          <p:nvPr/>
        </p:nvSpPr>
        <p:spPr bwMode="auto">
          <a:xfrm>
            <a:off x="8933827" y="37255"/>
            <a:ext cx="726499"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29" fontAlgn="base">
              <a:spcBef>
                <a:spcPct val="0"/>
              </a:spcBef>
              <a:spcAft>
                <a:spcPct val="0"/>
              </a:spcAft>
              <a:buClrTx/>
              <a:buFontTx/>
              <a:buNone/>
            </a:pPr>
            <a:endParaRPr lang="en-US" sz="800" kern="1200" dirty="0">
              <a:ea typeface="+mn-ea"/>
              <a:cs typeface="+mn-cs"/>
            </a:endParaRPr>
          </a:p>
        </p:txBody>
      </p:sp>
      <p:sp>
        <p:nvSpPr>
          <p:cNvPr id="1036" name="Rectangle 286"/>
          <p:cNvSpPr>
            <a:spLocks noGrp="1" noChangeArrowheads="1"/>
          </p:cNvSpPr>
          <p:nvPr>
            <p:ph type="body" idx="1"/>
          </p:nvPr>
        </p:nvSpPr>
        <p:spPr bwMode="auto">
          <a:xfrm>
            <a:off x="1878084" y="2508985"/>
            <a:ext cx="475558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247650" y="388621"/>
            <a:ext cx="80073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247651" y="8087"/>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buClrTx/>
              <a:buFontTx/>
              <a:buNone/>
            </a:pPr>
            <a:r>
              <a:rPr lang="en-US" sz="1000" kern="1200" dirty="0">
                <a:solidFill>
                  <a:srgbClr val="808080"/>
                </a:solidFill>
                <a:ea typeface="+mn-ea"/>
                <a:cs typeface="+mn-cs"/>
              </a:rPr>
              <a:t>TRACKER</a:t>
            </a:r>
          </a:p>
        </p:txBody>
      </p:sp>
      <p:sp>
        <p:nvSpPr>
          <p:cNvPr id="11" name="3. Unit of measure" hidden="1"/>
          <p:cNvSpPr txBox="1">
            <a:spLocks noChangeArrowheads="1"/>
          </p:cNvSpPr>
          <p:nvPr/>
        </p:nvSpPr>
        <p:spPr bwMode="auto">
          <a:xfrm>
            <a:off x="247650" y="749678"/>
            <a:ext cx="80073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buClrTx/>
              <a:buFontTx/>
              <a:buNone/>
              <a:defRPr/>
            </a:pPr>
            <a:r>
              <a:rPr lang="en-US" sz="1600" kern="1200" dirty="0">
                <a:solidFill>
                  <a:srgbClr val="808080"/>
                </a:solidFill>
                <a:latin typeface="Arial"/>
                <a:ea typeface="+mn-ea"/>
                <a:cs typeface="+mn-cs"/>
              </a:rPr>
              <a:t>Unit of measure</a:t>
            </a:r>
          </a:p>
        </p:txBody>
      </p:sp>
      <p:grpSp>
        <p:nvGrpSpPr>
          <p:cNvPr id="15" name="ACET" hidden="1"/>
          <p:cNvGrpSpPr>
            <a:grpSpLocks/>
          </p:cNvGrpSpPr>
          <p:nvPr/>
        </p:nvGrpSpPr>
        <p:grpSpPr bwMode="auto">
          <a:xfrm>
            <a:off x="1878084" y="1915010"/>
            <a:ext cx="4713466"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buClrTx/>
                <a:buFontTx/>
                <a:buNone/>
              </a:pPr>
              <a:r>
                <a:rPr lang="en-US" sz="1600" b="1" kern="1200" dirty="0">
                  <a:ea typeface="+mn-ea"/>
                  <a:cs typeface="+mn-cs"/>
                </a:rPr>
                <a:t>Title</a:t>
              </a:r>
            </a:p>
            <a:p>
              <a:pPr fontAlgn="base">
                <a:spcBef>
                  <a:spcPct val="0"/>
                </a:spcBef>
                <a:spcAft>
                  <a:spcPct val="0"/>
                </a:spcAft>
                <a:buClrTx/>
                <a:buFontTx/>
                <a:buNone/>
              </a:pPr>
              <a:r>
                <a:rPr lang="en-US" sz="1600" kern="1200" dirty="0">
                  <a:solidFill>
                    <a:srgbClr val="808080"/>
                  </a:solidFill>
                  <a:ea typeface="+mn-ea"/>
                  <a:cs typeface="+mn-cs"/>
                </a:rPr>
                <a:t>Unit of measure</a:t>
              </a:r>
            </a:p>
          </p:txBody>
        </p:sp>
      </p:grpSp>
      <p:sp>
        <p:nvSpPr>
          <p:cNvPr id="104" name="Slide Number"/>
          <p:cNvSpPr txBox="1">
            <a:spLocks/>
          </p:cNvSpPr>
          <p:nvPr userDrawn="1"/>
        </p:nvSpPr>
        <p:spPr bwMode="auto">
          <a:xfrm>
            <a:off x="9558392" y="6643599"/>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buClrTx/>
              <a:buFontTx/>
              <a:buNone/>
            </a:pPr>
            <a:fld id="{42C328C1-A84F-4A39-A664-DBA00541A8C6}" type="slidenum">
              <a:rPr lang="en-US" sz="800" kern="1200" smtClean="0">
                <a:ea typeface="+mn-ea"/>
                <a:cs typeface="+mn-cs"/>
              </a:rPr>
              <a:pPr algn="r" fontAlgn="base">
                <a:spcBef>
                  <a:spcPct val="0"/>
                </a:spcBef>
                <a:spcAft>
                  <a:spcPct val="0"/>
                </a:spcAft>
                <a:buClrTx/>
                <a:buFontTx/>
                <a:buNone/>
              </a:pPr>
              <a:t>‹#›</a:t>
            </a:fld>
            <a:endParaRPr lang="en-US" sz="800" kern="1200" dirty="0">
              <a:ea typeface="+mn-ea"/>
              <a:cs typeface="+mn-cs"/>
            </a:endParaRPr>
          </a:p>
        </p:txBody>
      </p:sp>
      <p:grpSp>
        <p:nvGrpSpPr>
          <p:cNvPr id="105" name="Slide Elements" hidden="1"/>
          <p:cNvGrpSpPr/>
          <p:nvPr userDrawn="1"/>
        </p:nvGrpSpPr>
        <p:grpSpPr bwMode="auto">
          <a:xfrm>
            <a:off x="247651" y="6441985"/>
            <a:ext cx="9336748" cy="324724"/>
            <a:chOff x="119063" y="6306659"/>
            <a:chExt cx="8618537" cy="324724"/>
          </a:xfrm>
        </p:grpSpPr>
        <p:sp>
          <p:nvSpPr>
            <p:cNvPr id="106" name="4. Footnote"/>
            <p:cNvSpPr txBox="1">
              <a:spLocks noChangeArrowheads="1"/>
            </p:cNvSpPr>
            <p:nvPr/>
          </p:nvSpPr>
          <p:spPr bwMode="auto">
            <a:xfrm>
              <a:off x="119063" y="6306659"/>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fontAlgn="base">
                <a:spcBef>
                  <a:spcPct val="0"/>
                </a:spcBef>
                <a:spcAft>
                  <a:spcPct val="0"/>
                </a:spcAft>
                <a:buClrTx/>
                <a:buFontTx/>
                <a:buNone/>
                <a:defRPr lang="x-none"/>
              </a:pPr>
              <a:r>
                <a:rPr sz="800" kern="1200" dirty="0">
                  <a:solidFill>
                    <a:srgbClr val="000000"/>
                  </a:solidFill>
                  <a:latin typeface="Arial"/>
                  <a:ea typeface="+mn-ea"/>
                  <a:cs typeface="+mn-cs"/>
                </a:rPr>
                <a:t>1 Footnote</a:t>
              </a:r>
            </a:p>
          </p:txBody>
        </p:sp>
        <p:sp>
          <p:nvSpPr>
            <p:cNvPr id="107" name="5. Source"/>
            <p:cNvSpPr>
              <a:spLocks noChangeArrowheads="1"/>
            </p:cNvSpPr>
            <p:nvPr/>
          </p:nvSpPr>
          <p:spPr bwMode="auto">
            <a:xfrm>
              <a:off x="119063" y="6508272"/>
              <a:ext cx="794619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9113" indent="-519113" defTabSz="895350" fontAlgn="base">
                <a:spcBef>
                  <a:spcPct val="0"/>
                </a:spcBef>
                <a:spcAft>
                  <a:spcPct val="0"/>
                </a:spcAft>
                <a:buClrTx/>
                <a:buFontTx/>
                <a:buNone/>
                <a:tabLst>
                  <a:tab pos="612775" algn="l"/>
                </a:tabLst>
              </a:pPr>
              <a:r>
                <a:rPr lang="x-none" sz="800" kern="1200" dirty="0">
                  <a:ea typeface="+mn-ea"/>
                  <a:cs typeface="+mn-cs"/>
                </a:rPr>
                <a:t>SOURCE : Source</a:t>
              </a:r>
              <a:endParaRPr lang="en-US" sz="800" kern="1200" dirty="0">
                <a:ea typeface="+mn-ea"/>
                <a:cs typeface="+mn-cs"/>
              </a:endParaRPr>
            </a:p>
          </p:txBody>
        </p:sp>
      </p:grpSp>
      <p:grpSp>
        <p:nvGrpSpPr>
          <p:cNvPr id="108" name="McKSticker" hidden="1"/>
          <p:cNvGrpSpPr/>
          <p:nvPr userDrawn="1"/>
        </p:nvGrpSpPr>
        <p:grpSpPr bwMode="auto">
          <a:xfrm>
            <a:off x="9210098" y="981080"/>
            <a:ext cx="473335" cy="150811"/>
            <a:chOff x="8303851" y="285750"/>
            <a:chExt cx="436924" cy="150811"/>
          </a:xfrm>
        </p:grpSpPr>
        <p:sp>
          <p:nvSpPr>
            <p:cNvPr id="109" name="StickerRectangle"/>
            <p:cNvSpPr>
              <a:spLocks noChangeArrowheads="1"/>
            </p:cNvSpPr>
            <p:nvPr/>
          </p:nvSpPr>
          <p:spPr bwMode="auto">
            <a:xfrm>
              <a:off x="8303851" y="285750"/>
              <a:ext cx="43692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2960"/>
                </a:buClr>
                <a:buFontTx/>
                <a:buNone/>
              </a:pPr>
              <a:r>
                <a:rPr lang="x-none" sz="800" kern="1200" dirty="0">
                  <a:solidFill>
                    <a:srgbClr val="808080"/>
                  </a:solidFill>
                  <a:ea typeface="+mn-ea"/>
                  <a:cs typeface="+mn-cs"/>
                </a:rPr>
                <a:t>STICKER</a:t>
              </a:r>
            </a:p>
          </p:txBody>
        </p:sp>
        <p:cxnSp>
          <p:nvCxnSpPr>
            <p:cNvPr id="110" name="AutoShape 31"/>
            <p:cNvCxnSpPr>
              <a:cxnSpLocks noChangeShapeType="1"/>
              <a:stCxn id="109" idx="2"/>
              <a:endCxn id="109" idx="4"/>
            </p:cNvCxnSpPr>
            <p:nvPr/>
          </p:nvCxnSpPr>
          <p:spPr bwMode="auto">
            <a:xfrm>
              <a:off x="8303851"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4"/>
              <a:endCxn id="109" idx="6"/>
            </p:cNvCxnSpPr>
            <p:nvPr/>
          </p:nvCxnSpPr>
          <p:spPr bwMode="auto">
            <a:xfrm>
              <a:off x="8303851" y="436561"/>
              <a:ext cx="436924"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12" name="LegendBoxes" hidden="1"/>
          <p:cNvGrpSpPr/>
          <p:nvPr userDrawn="1"/>
        </p:nvGrpSpPr>
        <p:grpSpPr bwMode="auto">
          <a:xfrm>
            <a:off x="8856021" y="974730"/>
            <a:ext cx="784921" cy="997467"/>
            <a:chOff x="7835905" y="279400"/>
            <a:chExt cx="724543" cy="997467"/>
          </a:xfrm>
        </p:grpSpPr>
        <p:sp>
          <p:nvSpPr>
            <p:cNvPr id="113"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4"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5"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6"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7" name="Legend1"/>
            <p:cNvSpPr>
              <a:spLocks noChangeArrowheads="1"/>
            </p:cNvSpPr>
            <p:nvPr/>
          </p:nvSpPr>
          <p:spPr bwMode="auto">
            <a:xfrm>
              <a:off x="8089905"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18" name="Legend2"/>
            <p:cNvSpPr>
              <a:spLocks noChangeArrowheads="1"/>
            </p:cNvSpPr>
            <p:nvPr/>
          </p:nvSpPr>
          <p:spPr bwMode="auto">
            <a:xfrm>
              <a:off x="8089905" y="54927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19" name="Legend3"/>
            <p:cNvSpPr>
              <a:spLocks noChangeArrowheads="1"/>
            </p:cNvSpPr>
            <p:nvPr/>
          </p:nvSpPr>
          <p:spPr bwMode="auto">
            <a:xfrm>
              <a:off x="8089905" y="820738"/>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20" name="Legend4"/>
            <p:cNvSpPr>
              <a:spLocks noChangeArrowheads="1"/>
            </p:cNvSpPr>
            <p:nvPr/>
          </p:nvSpPr>
          <p:spPr bwMode="auto">
            <a:xfrm>
              <a:off x="8089905" y="10922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grpSp>
      <p:grpSp>
        <p:nvGrpSpPr>
          <p:cNvPr id="121" name="LegendLines" hidden="1"/>
          <p:cNvGrpSpPr/>
          <p:nvPr userDrawn="1"/>
        </p:nvGrpSpPr>
        <p:grpSpPr bwMode="auto">
          <a:xfrm>
            <a:off x="8522565" y="974730"/>
            <a:ext cx="1118561" cy="730767"/>
            <a:chOff x="7540629" y="279400"/>
            <a:chExt cx="1032518" cy="730767"/>
          </a:xfrm>
        </p:grpSpPr>
        <p:sp>
          <p:nvSpPr>
            <p:cNvPr id="122"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dirty="0">
                <a:ea typeface="+mn-ea"/>
                <a:cs typeface="+mn-cs"/>
              </a:endParaRPr>
            </a:p>
          </p:txBody>
        </p:sp>
        <p:sp>
          <p:nvSpPr>
            <p:cNvPr id="123"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dirty="0">
                <a:ea typeface="+mn-ea"/>
                <a:cs typeface="+mn-cs"/>
              </a:endParaRPr>
            </a:p>
          </p:txBody>
        </p:sp>
        <p:sp>
          <p:nvSpPr>
            <p:cNvPr id="124"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dirty="0">
                <a:ea typeface="+mn-ea"/>
                <a:cs typeface="+mn-cs"/>
              </a:endParaRPr>
            </a:p>
          </p:txBody>
        </p:sp>
        <p:sp>
          <p:nvSpPr>
            <p:cNvPr id="125" name="Legend1"/>
            <p:cNvSpPr>
              <a:spLocks noChangeArrowheads="1"/>
            </p:cNvSpPr>
            <p:nvPr/>
          </p:nvSpPr>
          <p:spPr bwMode="auto">
            <a:xfrm>
              <a:off x="8102604"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26" name="Legend2"/>
            <p:cNvSpPr>
              <a:spLocks noChangeArrowheads="1"/>
            </p:cNvSpPr>
            <p:nvPr/>
          </p:nvSpPr>
          <p:spPr bwMode="auto">
            <a:xfrm>
              <a:off x="8102604" y="5461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27" name="Legend3"/>
            <p:cNvSpPr>
              <a:spLocks noChangeArrowheads="1"/>
            </p:cNvSpPr>
            <p:nvPr/>
          </p:nvSpPr>
          <p:spPr bwMode="auto">
            <a:xfrm>
              <a:off x="8102604" y="8255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grpSp>
      <p:grpSp>
        <p:nvGrpSpPr>
          <p:cNvPr id="128" name="LegendMoons" hidden="1"/>
          <p:cNvGrpSpPr/>
          <p:nvPr userDrawn="1"/>
        </p:nvGrpSpPr>
        <p:grpSpPr bwMode="auto">
          <a:xfrm>
            <a:off x="8783790" y="946154"/>
            <a:ext cx="857153" cy="1306516"/>
            <a:chOff x="7769225" y="250825"/>
            <a:chExt cx="791218" cy="1306516"/>
          </a:xfrm>
        </p:grpSpPr>
        <p:grpSp>
          <p:nvGrpSpPr>
            <p:cNvPr id="129" name="MoonLegend1"/>
            <p:cNvGrpSpPr>
              <a:grpSpLocks noChangeAspect="1"/>
            </p:cNvGrpSpPr>
            <p:nvPr>
              <p:custDataLst>
                <p:tags r:id="rId8"/>
              </p:custDataLst>
            </p:nvPr>
          </p:nvGrpSpPr>
          <p:grpSpPr bwMode="auto">
            <a:xfrm>
              <a:off x="7769225" y="250825"/>
              <a:ext cx="209550" cy="209551"/>
              <a:chOff x="4533" y="183"/>
              <a:chExt cx="144" cy="144"/>
            </a:xfrm>
          </p:grpSpPr>
          <p:sp>
            <p:nvSpPr>
              <p:cNvPr id="147"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8" name="Arc 39"/>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0" name="MoonLegend2"/>
            <p:cNvGrpSpPr>
              <a:grpSpLocks noChangeAspect="1"/>
            </p:cNvGrpSpPr>
            <p:nvPr>
              <p:custDataLst>
                <p:tags r:id="rId9"/>
              </p:custDataLst>
            </p:nvPr>
          </p:nvGrpSpPr>
          <p:grpSpPr bwMode="auto">
            <a:xfrm>
              <a:off x="7769225" y="525066"/>
              <a:ext cx="209550" cy="209551"/>
              <a:chOff x="1694" y="2044"/>
              <a:chExt cx="160" cy="160"/>
            </a:xfrm>
          </p:grpSpPr>
          <p:sp>
            <p:nvSpPr>
              <p:cNvPr id="145"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6" name="Arc 42"/>
              <p:cNvSpPr>
                <a:spLocks noChangeAspect="1"/>
              </p:cNvSpPr>
              <p:nvPr>
                <p:custDataLst>
                  <p:tags r:id="rId20"/>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1" name="MoonLegend4"/>
            <p:cNvGrpSpPr>
              <a:grpSpLocks noChangeAspect="1"/>
            </p:cNvGrpSpPr>
            <p:nvPr>
              <p:custDataLst>
                <p:tags r:id="rId10"/>
              </p:custDataLst>
            </p:nvPr>
          </p:nvGrpSpPr>
          <p:grpSpPr bwMode="auto">
            <a:xfrm>
              <a:off x="7769225" y="1073548"/>
              <a:ext cx="209550" cy="209551"/>
              <a:chOff x="4495" y="1198"/>
              <a:chExt cx="160" cy="160"/>
            </a:xfrm>
          </p:grpSpPr>
          <p:sp>
            <p:nvSpPr>
              <p:cNvPr id="143"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4"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2" name="MoonLegend5"/>
            <p:cNvGrpSpPr>
              <a:grpSpLocks noChangeAspect="1"/>
            </p:cNvGrpSpPr>
            <p:nvPr>
              <p:custDataLst>
                <p:tags r:id="rId11"/>
              </p:custDataLst>
            </p:nvPr>
          </p:nvGrpSpPr>
          <p:grpSpPr bwMode="auto">
            <a:xfrm>
              <a:off x="7769225" y="1347790"/>
              <a:ext cx="209550" cy="209551"/>
              <a:chOff x="4495" y="1440"/>
              <a:chExt cx="160" cy="160"/>
            </a:xfrm>
          </p:grpSpPr>
          <p:sp>
            <p:nvSpPr>
              <p:cNvPr id="141"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2"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3" name="MoonLegend3"/>
            <p:cNvGrpSpPr>
              <a:grpSpLocks noChangeAspect="1"/>
            </p:cNvGrpSpPr>
            <p:nvPr>
              <p:custDataLst>
                <p:tags r:id="rId12"/>
              </p:custDataLst>
            </p:nvPr>
          </p:nvGrpSpPr>
          <p:grpSpPr bwMode="auto">
            <a:xfrm>
              <a:off x="7769225" y="799307"/>
              <a:ext cx="209550" cy="209551"/>
              <a:chOff x="4495" y="1198"/>
              <a:chExt cx="160" cy="160"/>
            </a:xfrm>
          </p:grpSpPr>
          <p:sp>
            <p:nvSpPr>
              <p:cNvPr id="139"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0"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sp>
          <p:nvSpPr>
            <p:cNvPr id="134" name="Legend1"/>
            <p:cNvSpPr>
              <a:spLocks noChangeArrowheads="1"/>
            </p:cNvSpPr>
            <p:nvPr/>
          </p:nvSpPr>
          <p:spPr bwMode="auto">
            <a:xfrm>
              <a:off x="8089900" y="26352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35" name="Legend2"/>
            <p:cNvSpPr>
              <a:spLocks noChangeArrowheads="1"/>
            </p:cNvSpPr>
            <p:nvPr/>
          </p:nvSpPr>
          <p:spPr bwMode="auto">
            <a:xfrm>
              <a:off x="8089900" y="538163"/>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36" name="Legend3"/>
            <p:cNvSpPr>
              <a:spLocks noChangeArrowheads="1"/>
            </p:cNvSpPr>
            <p:nvPr/>
          </p:nvSpPr>
          <p:spPr bwMode="auto">
            <a:xfrm>
              <a:off x="8089900" y="812802"/>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37" name="Legend4"/>
            <p:cNvSpPr>
              <a:spLocks noChangeArrowheads="1"/>
            </p:cNvSpPr>
            <p:nvPr/>
          </p:nvSpPr>
          <p:spPr bwMode="auto">
            <a:xfrm>
              <a:off x="8089900" y="108426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38" name="Legend5"/>
            <p:cNvSpPr>
              <a:spLocks noChangeArrowheads="1"/>
            </p:cNvSpPr>
            <p:nvPr/>
          </p:nvSpPr>
          <p:spPr bwMode="auto">
            <a:xfrm>
              <a:off x="8089900" y="136049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grpSp>
    </p:spTree>
    <p:extLst>
      <p:ext uri="{BB962C8B-B14F-4D97-AF65-F5344CB8AC3E}">
        <p14:creationId xmlns:p14="http://schemas.microsoft.com/office/powerpoint/2010/main" val="1090894706"/>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Lst>
  <p:hf hdr="0" ftr="0" dt="0"/>
  <p:txStyles>
    <p:titleStyle>
      <a:lvl1pPr algn="l" defTabSz="913429" rtl="0" eaLnBrk="1" fontAlgn="base" hangingPunct="1">
        <a:spcBef>
          <a:spcPct val="0"/>
        </a:spcBef>
        <a:spcAft>
          <a:spcPct val="0"/>
        </a:spcAft>
        <a:tabLst>
          <a:tab pos="275324" algn="l"/>
        </a:tabLst>
        <a:defRPr sz="19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png"/><Relationship Id="rId2" Type="http://schemas.openxmlformats.org/officeDocument/2006/relationships/tags" Target="../tags/tag276.xml"/><Relationship Id="rId1" Type="http://schemas.openxmlformats.org/officeDocument/2006/relationships/vmlDrawing" Target="../drawings/vmlDrawing75.vml"/><Relationship Id="rId6" Type="http://schemas.openxmlformats.org/officeDocument/2006/relationships/image" Target="../media/image24.emf"/><Relationship Id="rId5" Type="http://schemas.openxmlformats.org/officeDocument/2006/relationships/oleObject" Target="../embeddings/oleObject75.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287.xml"/><Relationship Id="rId7" Type="http://schemas.openxmlformats.org/officeDocument/2006/relationships/image" Target="../media/image24.emf"/><Relationship Id="rId2" Type="http://schemas.openxmlformats.org/officeDocument/2006/relationships/tags" Target="../tags/tag286.xml"/><Relationship Id="rId1" Type="http://schemas.openxmlformats.org/officeDocument/2006/relationships/vmlDrawing" Target="../drawings/vmlDrawing81.vml"/><Relationship Id="rId6" Type="http://schemas.openxmlformats.org/officeDocument/2006/relationships/oleObject" Target="../embeddings/oleObject81.bin"/><Relationship Id="rId5" Type="http://schemas.openxmlformats.org/officeDocument/2006/relationships/notesSlide" Target="../notesSlides/notesSlide6.xml"/><Relationship Id="rId4" Type="http://schemas.openxmlformats.org/officeDocument/2006/relationships/slideLayout" Target="../slideLayouts/slideLayout13.xml"/><Relationship Id="rId9" Type="http://schemas.openxmlformats.org/officeDocument/2006/relationships/image" Target="../media/image29.png"/></Relationships>
</file>

<file path=ppt/slides/_rels/slide11.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jpeg"/><Relationship Id="rId3" Type="http://schemas.openxmlformats.org/officeDocument/2006/relationships/slideLayout" Target="../slideLayouts/slideLayout9.xml"/><Relationship Id="rId7" Type="http://schemas.openxmlformats.org/officeDocument/2006/relationships/image" Target="../media/image1.png"/><Relationship Id="rId12" Type="http://schemas.openxmlformats.org/officeDocument/2006/relationships/image" Target="cid:image001.png@01D52369.6758D1B0" TargetMode="External"/><Relationship Id="rId2" Type="http://schemas.openxmlformats.org/officeDocument/2006/relationships/tags" Target="../tags/tag288.xml"/><Relationship Id="rId16" Type="http://schemas.openxmlformats.org/officeDocument/2006/relationships/image" Target="cid:image001.png@01D5236B.69A8CA40" TargetMode="External"/><Relationship Id="rId1" Type="http://schemas.openxmlformats.org/officeDocument/2006/relationships/vmlDrawing" Target="../drawings/vmlDrawing82.vml"/><Relationship Id="rId6" Type="http://schemas.openxmlformats.org/officeDocument/2006/relationships/image" Target="../media/image24.emf"/><Relationship Id="rId11" Type="http://schemas.openxmlformats.org/officeDocument/2006/relationships/image" Target="../media/image33.png"/><Relationship Id="rId5" Type="http://schemas.openxmlformats.org/officeDocument/2006/relationships/oleObject" Target="../embeddings/oleObject82.bin"/><Relationship Id="rId15" Type="http://schemas.openxmlformats.org/officeDocument/2006/relationships/image" Target="../media/image36.png"/><Relationship Id="rId10" Type="http://schemas.openxmlformats.org/officeDocument/2006/relationships/image" Target="../media/image32.jpeg"/><Relationship Id="rId4" Type="http://schemas.openxmlformats.org/officeDocument/2006/relationships/notesSlide" Target="../notesSlides/notesSlide7.xml"/><Relationship Id="rId9" Type="http://schemas.openxmlformats.org/officeDocument/2006/relationships/image" Target="../media/image31.png"/><Relationship Id="rId14" Type="http://schemas.openxmlformats.org/officeDocument/2006/relationships/image" Target="../media/image35.jpeg"/></Relationships>
</file>

<file path=ppt/slides/_rels/slide12.xml.rels><?xml version="1.0" encoding="UTF-8" standalone="yes"?>
<Relationships xmlns="http://schemas.openxmlformats.org/package/2006/relationships"><Relationship Id="rId3" Type="http://schemas.openxmlformats.org/officeDocument/2006/relationships/tags" Target="../tags/tag290.xml"/><Relationship Id="rId2" Type="http://schemas.openxmlformats.org/officeDocument/2006/relationships/tags" Target="../tags/tag289.xml"/><Relationship Id="rId1" Type="http://schemas.openxmlformats.org/officeDocument/2006/relationships/vmlDrawing" Target="../drawings/vmlDrawing83.vml"/><Relationship Id="rId6" Type="http://schemas.openxmlformats.org/officeDocument/2006/relationships/image" Target="../media/image14.emf"/><Relationship Id="rId5" Type="http://schemas.openxmlformats.org/officeDocument/2006/relationships/oleObject" Target="../embeddings/oleObject83.bin"/><Relationship Id="rId4" Type="http://schemas.openxmlformats.org/officeDocument/2006/relationships/slideLayout" Target="../slideLayouts/slideLayout86.xml"/></Relationships>
</file>

<file path=ppt/slides/_rels/slide13.xml.rels><?xml version="1.0" encoding="UTF-8" standalone="yes"?>
<Relationships xmlns="http://schemas.openxmlformats.org/package/2006/relationships"><Relationship Id="rId3" Type="http://schemas.openxmlformats.org/officeDocument/2006/relationships/tags" Target="../tags/tag292.xml"/><Relationship Id="rId2" Type="http://schemas.openxmlformats.org/officeDocument/2006/relationships/tags" Target="../tags/tag291.xml"/><Relationship Id="rId1" Type="http://schemas.openxmlformats.org/officeDocument/2006/relationships/vmlDrawing" Target="../drawings/vmlDrawing84.vml"/><Relationship Id="rId6" Type="http://schemas.openxmlformats.org/officeDocument/2006/relationships/image" Target="../media/image14.emf"/><Relationship Id="rId5" Type="http://schemas.openxmlformats.org/officeDocument/2006/relationships/oleObject" Target="../embeddings/oleObject84.bin"/><Relationship Id="rId4"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tags" Target="../tags/tag294.xml"/><Relationship Id="rId2" Type="http://schemas.openxmlformats.org/officeDocument/2006/relationships/tags" Target="../tags/tag293.xml"/><Relationship Id="rId1" Type="http://schemas.openxmlformats.org/officeDocument/2006/relationships/vmlDrawing" Target="../drawings/vmlDrawing85.vml"/><Relationship Id="rId6" Type="http://schemas.openxmlformats.org/officeDocument/2006/relationships/image" Target="../media/image14.emf"/><Relationship Id="rId5" Type="http://schemas.openxmlformats.org/officeDocument/2006/relationships/oleObject" Target="../embeddings/oleObject85.bin"/><Relationship Id="rId4"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tags" Target="../tags/tag296.xml"/><Relationship Id="rId2" Type="http://schemas.openxmlformats.org/officeDocument/2006/relationships/tags" Target="../tags/tag295.xml"/><Relationship Id="rId1" Type="http://schemas.openxmlformats.org/officeDocument/2006/relationships/vmlDrawing" Target="../drawings/vmlDrawing86.vml"/><Relationship Id="rId6" Type="http://schemas.openxmlformats.org/officeDocument/2006/relationships/image" Target="../media/image14.emf"/><Relationship Id="rId5" Type="http://schemas.openxmlformats.org/officeDocument/2006/relationships/oleObject" Target="../embeddings/oleObject86.bin"/><Relationship Id="rId4"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tags" Target="../tags/tag298.xml"/><Relationship Id="rId2" Type="http://schemas.openxmlformats.org/officeDocument/2006/relationships/tags" Target="../tags/tag297.xml"/><Relationship Id="rId1" Type="http://schemas.openxmlformats.org/officeDocument/2006/relationships/vmlDrawing" Target="../drawings/vmlDrawing87.vml"/><Relationship Id="rId6" Type="http://schemas.openxmlformats.org/officeDocument/2006/relationships/image" Target="../media/image14.emf"/><Relationship Id="rId5" Type="http://schemas.openxmlformats.org/officeDocument/2006/relationships/oleObject" Target="../embeddings/oleObject87.bin"/><Relationship Id="rId4"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tags" Target="../tags/tag300.xml"/><Relationship Id="rId2" Type="http://schemas.openxmlformats.org/officeDocument/2006/relationships/tags" Target="../tags/tag299.xml"/><Relationship Id="rId1" Type="http://schemas.openxmlformats.org/officeDocument/2006/relationships/vmlDrawing" Target="../drawings/vmlDrawing88.vml"/><Relationship Id="rId6" Type="http://schemas.openxmlformats.org/officeDocument/2006/relationships/image" Target="../media/image14.emf"/><Relationship Id="rId5" Type="http://schemas.openxmlformats.org/officeDocument/2006/relationships/oleObject" Target="../embeddings/oleObject88.bin"/><Relationship Id="rId4"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tags" Target="../tags/tag302.xml"/><Relationship Id="rId2" Type="http://schemas.openxmlformats.org/officeDocument/2006/relationships/tags" Target="../tags/tag301.xml"/><Relationship Id="rId1" Type="http://schemas.openxmlformats.org/officeDocument/2006/relationships/vmlDrawing" Target="../drawings/vmlDrawing89.vml"/><Relationship Id="rId6" Type="http://schemas.openxmlformats.org/officeDocument/2006/relationships/image" Target="../media/image21.emf"/><Relationship Id="rId5" Type="http://schemas.openxmlformats.org/officeDocument/2006/relationships/oleObject" Target="../embeddings/oleObject89.bin"/><Relationship Id="rId4"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tags" Target="../tags/tag304.xml"/><Relationship Id="rId2" Type="http://schemas.openxmlformats.org/officeDocument/2006/relationships/tags" Target="../tags/tag303.xml"/><Relationship Id="rId1" Type="http://schemas.openxmlformats.org/officeDocument/2006/relationships/vmlDrawing" Target="../drawings/vmlDrawing90.vml"/><Relationship Id="rId6" Type="http://schemas.openxmlformats.org/officeDocument/2006/relationships/image" Target="../media/image14.emf"/><Relationship Id="rId5" Type="http://schemas.openxmlformats.org/officeDocument/2006/relationships/oleObject" Target="../embeddings/oleObject90.bin"/><Relationship Id="rId4"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1.png"/><Relationship Id="rId2" Type="http://schemas.openxmlformats.org/officeDocument/2006/relationships/tags" Target="../tags/tag277.xml"/><Relationship Id="rId1" Type="http://schemas.openxmlformats.org/officeDocument/2006/relationships/vmlDrawing" Target="../drawings/vmlDrawing76.vml"/><Relationship Id="rId6" Type="http://schemas.openxmlformats.org/officeDocument/2006/relationships/image" Target="../media/image21.emf"/><Relationship Id="rId5" Type="http://schemas.openxmlformats.org/officeDocument/2006/relationships/oleObject" Target="../embeddings/oleObject76.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9.xml"/><Relationship Id="rId4" Type="http://schemas.openxmlformats.org/officeDocument/2006/relationships/image" Target="../media/image39.png"/></Relationships>
</file>

<file path=ppt/slides/_rels/slide21.xml.rels><?xml version="1.0" encoding="UTF-8" standalone="yes"?>
<Relationships xmlns="http://schemas.openxmlformats.org/package/2006/relationships"><Relationship Id="rId3" Type="http://schemas.openxmlformats.org/officeDocument/2006/relationships/tags" Target="../tags/tag306.xml"/><Relationship Id="rId2" Type="http://schemas.openxmlformats.org/officeDocument/2006/relationships/tags" Target="../tags/tag305.xml"/><Relationship Id="rId1" Type="http://schemas.openxmlformats.org/officeDocument/2006/relationships/vmlDrawing" Target="../drawings/vmlDrawing91.vml"/><Relationship Id="rId6" Type="http://schemas.openxmlformats.org/officeDocument/2006/relationships/image" Target="../media/image21.emf"/><Relationship Id="rId5" Type="http://schemas.openxmlformats.org/officeDocument/2006/relationships/oleObject" Target="../embeddings/oleObject91.bin"/><Relationship Id="rId4"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tags" Target="../tags/tag308.xml"/><Relationship Id="rId2" Type="http://schemas.openxmlformats.org/officeDocument/2006/relationships/tags" Target="../tags/tag307.xml"/><Relationship Id="rId1" Type="http://schemas.openxmlformats.org/officeDocument/2006/relationships/vmlDrawing" Target="../drawings/vmlDrawing92.vml"/><Relationship Id="rId6" Type="http://schemas.openxmlformats.org/officeDocument/2006/relationships/image" Target="../media/image21.emf"/><Relationship Id="rId5" Type="http://schemas.openxmlformats.org/officeDocument/2006/relationships/oleObject" Target="../embeddings/oleObject92.bin"/><Relationship Id="rId4"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310.xml"/><Relationship Id="rId7" Type="http://schemas.openxmlformats.org/officeDocument/2006/relationships/image" Target="../media/image40.png"/><Relationship Id="rId2" Type="http://schemas.openxmlformats.org/officeDocument/2006/relationships/tags" Target="../tags/tag309.xml"/><Relationship Id="rId1" Type="http://schemas.openxmlformats.org/officeDocument/2006/relationships/vmlDrawing" Target="../drawings/vmlDrawing93.vml"/><Relationship Id="rId6" Type="http://schemas.openxmlformats.org/officeDocument/2006/relationships/image" Target="../media/image14.emf"/><Relationship Id="rId11" Type="http://schemas.openxmlformats.org/officeDocument/2006/relationships/image" Target="../media/image43.png"/><Relationship Id="rId5" Type="http://schemas.openxmlformats.org/officeDocument/2006/relationships/oleObject" Target="../embeddings/oleObject93.bin"/><Relationship Id="rId10" Type="http://schemas.openxmlformats.org/officeDocument/2006/relationships/image" Target="../media/image42.png"/><Relationship Id="rId4" Type="http://schemas.openxmlformats.org/officeDocument/2006/relationships/slideLayout" Target="../slideLayouts/slideLayout13.xml"/><Relationship Id="rId9" Type="http://schemas.openxmlformats.org/officeDocument/2006/relationships/image" Target="../media/image41.png"/></Relationships>
</file>

<file path=ppt/slides/_rels/slide24.xml.rels><?xml version="1.0" encoding="UTF-8" standalone="yes"?>
<Relationships xmlns="http://schemas.openxmlformats.org/package/2006/relationships"><Relationship Id="rId3" Type="http://schemas.openxmlformats.org/officeDocument/2006/relationships/tags" Target="../tags/tag312.xml"/><Relationship Id="rId2" Type="http://schemas.openxmlformats.org/officeDocument/2006/relationships/tags" Target="../tags/tag311.xml"/><Relationship Id="rId1" Type="http://schemas.openxmlformats.org/officeDocument/2006/relationships/vmlDrawing" Target="../drawings/vmlDrawing94.vml"/><Relationship Id="rId6" Type="http://schemas.openxmlformats.org/officeDocument/2006/relationships/image" Target="../media/image44.emf"/><Relationship Id="rId5" Type="http://schemas.openxmlformats.org/officeDocument/2006/relationships/oleObject" Target="../embeddings/oleObject94.bin"/><Relationship Id="rId4"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13" Type="http://schemas.openxmlformats.org/officeDocument/2006/relationships/tags" Target="../tags/tag324.xml"/><Relationship Id="rId18" Type="http://schemas.openxmlformats.org/officeDocument/2006/relationships/tags" Target="../tags/tag329.xml"/><Relationship Id="rId26" Type="http://schemas.openxmlformats.org/officeDocument/2006/relationships/tags" Target="../tags/tag337.xml"/><Relationship Id="rId3" Type="http://schemas.openxmlformats.org/officeDocument/2006/relationships/tags" Target="../tags/tag314.xml"/><Relationship Id="rId21" Type="http://schemas.openxmlformats.org/officeDocument/2006/relationships/tags" Target="../tags/tag332.xml"/><Relationship Id="rId7" Type="http://schemas.openxmlformats.org/officeDocument/2006/relationships/tags" Target="../tags/tag318.xml"/><Relationship Id="rId12" Type="http://schemas.openxmlformats.org/officeDocument/2006/relationships/tags" Target="../tags/tag323.xml"/><Relationship Id="rId17" Type="http://schemas.openxmlformats.org/officeDocument/2006/relationships/tags" Target="../tags/tag328.xml"/><Relationship Id="rId25" Type="http://schemas.openxmlformats.org/officeDocument/2006/relationships/tags" Target="../tags/tag336.xml"/><Relationship Id="rId33" Type="http://schemas.openxmlformats.org/officeDocument/2006/relationships/image" Target="../media/image45.emf"/><Relationship Id="rId2" Type="http://schemas.openxmlformats.org/officeDocument/2006/relationships/tags" Target="../tags/tag313.xml"/><Relationship Id="rId16" Type="http://schemas.openxmlformats.org/officeDocument/2006/relationships/tags" Target="../tags/tag327.xml"/><Relationship Id="rId20" Type="http://schemas.openxmlformats.org/officeDocument/2006/relationships/tags" Target="../tags/tag331.xml"/><Relationship Id="rId29" Type="http://schemas.openxmlformats.org/officeDocument/2006/relationships/tags" Target="../tags/tag340.xml"/><Relationship Id="rId1" Type="http://schemas.openxmlformats.org/officeDocument/2006/relationships/vmlDrawing" Target="../drawings/vmlDrawing95.vml"/><Relationship Id="rId6" Type="http://schemas.openxmlformats.org/officeDocument/2006/relationships/tags" Target="../tags/tag317.xml"/><Relationship Id="rId11" Type="http://schemas.openxmlformats.org/officeDocument/2006/relationships/tags" Target="../tags/tag322.xml"/><Relationship Id="rId24" Type="http://schemas.openxmlformats.org/officeDocument/2006/relationships/tags" Target="../tags/tag335.xml"/><Relationship Id="rId32" Type="http://schemas.openxmlformats.org/officeDocument/2006/relationships/oleObject" Target="../embeddings/oleObject95.bin"/><Relationship Id="rId5" Type="http://schemas.openxmlformats.org/officeDocument/2006/relationships/tags" Target="../tags/tag316.xml"/><Relationship Id="rId15" Type="http://schemas.openxmlformats.org/officeDocument/2006/relationships/tags" Target="../tags/tag326.xml"/><Relationship Id="rId23" Type="http://schemas.openxmlformats.org/officeDocument/2006/relationships/tags" Target="../tags/tag334.xml"/><Relationship Id="rId28" Type="http://schemas.openxmlformats.org/officeDocument/2006/relationships/tags" Target="../tags/tag339.xml"/><Relationship Id="rId10" Type="http://schemas.openxmlformats.org/officeDocument/2006/relationships/tags" Target="../tags/tag321.xml"/><Relationship Id="rId19" Type="http://schemas.openxmlformats.org/officeDocument/2006/relationships/tags" Target="../tags/tag330.xml"/><Relationship Id="rId31" Type="http://schemas.openxmlformats.org/officeDocument/2006/relationships/slideLayout" Target="../slideLayouts/slideLayout76.xml"/><Relationship Id="rId4" Type="http://schemas.openxmlformats.org/officeDocument/2006/relationships/tags" Target="../tags/tag315.xml"/><Relationship Id="rId9" Type="http://schemas.openxmlformats.org/officeDocument/2006/relationships/tags" Target="../tags/tag320.xml"/><Relationship Id="rId14" Type="http://schemas.openxmlformats.org/officeDocument/2006/relationships/tags" Target="../tags/tag325.xml"/><Relationship Id="rId22" Type="http://schemas.openxmlformats.org/officeDocument/2006/relationships/tags" Target="../tags/tag333.xml"/><Relationship Id="rId27" Type="http://schemas.openxmlformats.org/officeDocument/2006/relationships/tags" Target="../tags/tag338.xml"/><Relationship Id="rId30" Type="http://schemas.openxmlformats.org/officeDocument/2006/relationships/tags" Target="../tags/tag341.xml"/><Relationship Id="rId8" Type="http://schemas.openxmlformats.org/officeDocument/2006/relationships/tags" Target="../tags/tag319.xml"/></Relationships>
</file>

<file path=ppt/slides/_rels/slide26.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slideLayout" Target="../slideLayouts/slideLayout79.xml"/><Relationship Id="rId7" Type="http://schemas.openxmlformats.org/officeDocument/2006/relationships/diagramLayout" Target="../diagrams/layout1.xml"/><Relationship Id="rId2" Type="http://schemas.openxmlformats.org/officeDocument/2006/relationships/tags" Target="../tags/tag342.xml"/><Relationship Id="rId1" Type="http://schemas.openxmlformats.org/officeDocument/2006/relationships/vmlDrawing" Target="../drawings/vmlDrawing96.vml"/><Relationship Id="rId6" Type="http://schemas.openxmlformats.org/officeDocument/2006/relationships/diagramData" Target="../diagrams/data1.xml"/><Relationship Id="rId5" Type="http://schemas.openxmlformats.org/officeDocument/2006/relationships/image" Target="../media/image46.emf"/><Relationship Id="rId10" Type="http://schemas.microsoft.com/office/2007/relationships/diagramDrawing" Target="../diagrams/drawing1.xml"/><Relationship Id="rId4" Type="http://schemas.openxmlformats.org/officeDocument/2006/relationships/oleObject" Target="../embeddings/oleObject96.bin"/><Relationship Id="rId9" Type="http://schemas.openxmlformats.org/officeDocument/2006/relationships/diagramColors" Target="../diagrams/colors1.xml"/></Relationships>
</file>

<file path=ppt/slides/_rels/slide27.xml.rels><?xml version="1.0" encoding="UTF-8" standalone="yes"?>
<Relationships xmlns="http://schemas.openxmlformats.org/package/2006/relationships"><Relationship Id="rId3" Type="http://schemas.openxmlformats.org/officeDocument/2006/relationships/tags" Target="../tags/tag344.xml"/><Relationship Id="rId2" Type="http://schemas.openxmlformats.org/officeDocument/2006/relationships/tags" Target="../tags/tag343.xml"/><Relationship Id="rId1" Type="http://schemas.openxmlformats.org/officeDocument/2006/relationships/vmlDrawing" Target="../drawings/vmlDrawing97.vml"/><Relationship Id="rId6" Type="http://schemas.openxmlformats.org/officeDocument/2006/relationships/image" Target="../media/image14.emf"/><Relationship Id="rId5" Type="http://schemas.openxmlformats.org/officeDocument/2006/relationships/oleObject" Target="../embeddings/oleObject97.bin"/><Relationship Id="rId4"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tags" Target="../tags/tag346.xml"/><Relationship Id="rId2" Type="http://schemas.openxmlformats.org/officeDocument/2006/relationships/tags" Target="../tags/tag345.xml"/><Relationship Id="rId1" Type="http://schemas.openxmlformats.org/officeDocument/2006/relationships/vmlDrawing" Target="../drawings/vmlDrawing98.vml"/><Relationship Id="rId6" Type="http://schemas.openxmlformats.org/officeDocument/2006/relationships/image" Target="../media/image44.emf"/><Relationship Id="rId5" Type="http://schemas.openxmlformats.org/officeDocument/2006/relationships/oleObject" Target="../embeddings/oleObject98.bin"/><Relationship Id="rId4"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3" Type="http://schemas.openxmlformats.org/officeDocument/2006/relationships/tags" Target="../tags/tag348.xml"/><Relationship Id="rId7" Type="http://schemas.openxmlformats.org/officeDocument/2006/relationships/image" Target="../media/image47.emf"/><Relationship Id="rId2" Type="http://schemas.openxmlformats.org/officeDocument/2006/relationships/tags" Target="../tags/tag347.xml"/><Relationship Id="rId1" Type="http://schemas.openxmlformats.org/officeDocument/2006/relationships/vmlDrawing" Target="../drawings/vmlDrawing99.vml"/><Relationship Id="rId6" Type="http://schemas.openxmlformats.org/officeDocument/2006/relationships/oleObject" Target="../embeddings/oleObject99.bin"/><Relationship Id="rId5" Type="http://schemas.openxmlformats.org/officeDocument/2006/relationships/notesSlide" Target="../notesSlides/notesSlide8.xml"/><Relationship Id="rId4" Type="http://schemas.openxmlformats.org/officeDocument/2006/relationships/slideLayout" Target="../slideLayouts/slideLayout9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3" Type="http://schemas.openxmlformats.org/officeDocument/2006/relationships/tags" Target="../tags/tag350.xml"/><Relationship Id="rId7" Type="http://schemas.openxmlformats.org/officeDocument/2006/relationships/comments" Target="../comments/comment1.xml"/><Relationship Id="rId2" Type="http://schemas.openxmlformats.org/officeDocument/2006/relationships/tags" Target="../tags/tag349.xml"/><Relationship Id="rId1" Type="http://schemas.openxmlformats.org/officeDocument/2006/relationships/vmlDrawing" Target="../drawings/vmlDrawing100.vml"/><Relationship Id="rId6" Type="http://schemas.openxmlformats.org/officeDocument/2006/relationships/image" Target="../media/image21.emf"/><Relationship Id="rId5" Type="http://schemas.openxmlformats.org/officeDocument/2006/relationships/oleObject" Target="../embeddings/oleObject100.bin"/><Relationship Id="rId4" Type="http://schemas.openxmlformats.org/officeDocument/2006/relationships/slideLayout" Target="../slideLayouts/slideLayout91.xml"/></Relationships>
</file>

<file path=ppt/slides/_rels/slide31.xml.rels><?xml version="1.0" encoding="UTF-8" standalone="yes"?>
<Relationships xmlns="http://schemas.openxmlformats.org/package/2006/relationships"><Relationship Id="rId3" Type="http://schemas.openxmlformats.org/officeDocument/2006/relationships/tags" Target="../tags/tag352.xml"/><Relationship Id="rId2" Type="http://schemas.openxmlformats.org/officeDocument/2006/relationships/tags" Target="../tags/tag351.xml"/><Relationship Id="rId1" Type="http://schemas.openxmlformats.org/officeDocument/2006/relationships/vmlDrawing" Target="../drawings/vmlDrawing101.vml"/><Relationship Id="rId6" Type="http://schemas.openxmlformats.org/officeDocument/2006/relationships/image" Target="../media/image14.emf"/><Relationship Id="rId5" Type="http://schemas.openxmlformats.org/officeDocument/2006/relationships/oleObject" Target="../embeddings/oleObject101.bin"/><Relationship Id="rId4"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354.xml"/><Relationship Id="rId7" Type="http://schemas.openxmlformats.org/officeDocument/2006/relationships/image" Target="../media/image48.png"/><Relationship Id="rId2" Type="http://schemas.openxmlformats.org/officeDocument/2006/relationships/tags" Target="../tags/tag353.xml"/><Relationship Id="rId1" Type="http://schemas.openxmlformats.org/officeDocument/2006/relationships/vmlDrawing" Target="../drawings/vmlDrawing102.vml"/><Relationship Id="rId6" Type="http://schemas.openxmlformats.org/officeDocument/2006/relationships/image" Target="../media/image14.emf"/><Relationship Id="rId11" Type="http://schemas.openxmlformats.org/officeDocument/2006/relationships/image" Target="../media/image52.png"/><Relationship Id="rId5" Type="http://schemas.openxmlformats.org/officeDocument/2006/relationships/oleObject" Target="../embeddings/oleObject102.bin"/><Relationship Id="rId10" Type="http://schemas.openxmlformats.org/officeDocument/2006/relationships/image" Target="../media/image51.png"/><Relationship Id="rId4" Type="http://schemas.openxmlformats.org/officeDocument/2006/relationships/slideLayout" Target="../slideLayouts/slideLayout13.xml"/><Relationship Id="rId9" Type="http://schemas.openxmlformats.org/officeDocument/2006/relationships/image" Target="../media/image50.png"/></Relationships>
</file>

<file path=ppt/slides/_rels/slide33.xml.rels><?xml version="1.0" encoding="UTF-8" standalone="yes"?>
<Relationships xmlns="http://schemas.openxmlformats.org/package/2006/relationships"><Relationship Id="rId2" Type="http://schemas.openxmlformats.org/officeDocument/2006/relationships/comments" Target="../comments/comment2.xml"/><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8" Type="http://schemas.openxmlformats.org/officeDocument/2006/relationships/tags" Target="../tags/tag361.xml"/><Relationship Id="rId13" Type="http://schemas.openxmlformats.org/officeDocument/2006/relationships/tags" Target="../tags/tag366.xml"/><Relationship Id="rId18" Type="http://schemas.openxmlformats.org/officeDocument/2006/relationships/tags" Target="../tags/tag371.xml"/><Relationship Id="rId26" Type="http://schemas.openxmlformats.org/officeDocument/2006/relationships/tags" Target="../tags/tag379.xml"/><Relationship Id="rId3" Type="http://schemas.openxmlformats.org/officeDocument/2006/relationships/tags" Target="../tags/tag356.xml"/><Relationship Id="rId21" Type="http://schemas.openxmlformats.org/officeDocument/2006/relationships/tags" Target="../tags/tag374.xml"/><Relationship Id="rId7" Type="http://schemas.openxmlformats.org/officeDocument/2006/relationships/tags" Target="../tags/tag360.xml"/><Relationship Id="rId12" Type="http://schemas.openxmlformats.org/officeDocument/2006/relationships/tags" Target="../tags/tag365.xml"/><Relationship Id="rId17" Type="http://schemas.openxmlformats.org/officeDocument/2006/relationships/tags" Target="../tags/tag370.xml"/><Relationship Id="rId25" Type="http://schemas.openxmlformats.org/officeDocument/2006/relationships/tags" Target="../tags/tag378.xml"/><Relationship Id="rId2" Type="http://schemas.openxmlformats.org/officeDocument/2006/relationships/tags" Target="../tags/tag355.xml"/><Relationship Id="rId16" Type="http://schemas.openxmlformats.org/officeDocument/2006/relationships/tags" Target="../tags/tag369.xml"/><Relationship Id="rId20" Type="http://schemas.openxmlformats.org/officeDocument/2006/relationships/tags" Target="../tags/tag373.xml"/><Relationship Id="rId29" Type="http://schemas.openxmlformats.org/officeDocument/2006/relationships/slideLayout" Target="../slideLayouts/slideLayout14.xml"/><Relationship Id="rId1" Type="http://schemas.openxmlformats.org/officeDocument/2006/relationships/vmlDrawing" Target="../drawings/vmlDrawing103.vml"/><Relationship Id="rId6" Type="http://schemas.openxmlformats.org/officeDocument/2006/relationships/tags" Target="../tags/tag359.xml"/><Relationship Id="rId11" Type="http://schemas.openxmlformats.org/officeDocument/2006/relationships/tags" Target="../tags/tag364.xml"/><Relationship Id="rId24" Type="http://schemas.openxmlformats.org/officeDocument/2006/relationships/tags" Target="../tags/tag377.xml"/><Relationship Id="rId5" Type="http://schemas.openxmlformats.org/officeDocument/2006/relationships/tags" Target="../tags/tag358.xml"/><Relationship Id="rId15" Type="http://schemas.openxmlformats.org/officeDocument/2006/relationships/tags" Target="../tags/tag368.xml"/><Relationship Id="rId23" Type="http://schemas.openxmlformats.org/officeDocument/2006/relationships/tags" Target="../tags/tag376.xml"/><Relationship Id="rId28" Type="http://schemas.openxmlformats.org/officeDocument/2006/relationships/tags" Target="../tags/tag381.xml"/><Relationship Id="rId10" Type="http://schemas.openxmlformats.org/officeDocument/2006/relationships/tags" Target="../tags/tag363.xml"/><Relationship Id="rId19" Type="http://schemas.openxmlformats.org/officeDocument/2006/relationships/tags" Target="../tags/tag372.xml"/><Relationship Id="rId31" Type="http://schemas.openxmlformats.org/officeDocument/2006/relationships/image" Target="../media/image21.emf"/><Relationship Id="rId4" Type="http://schemas.openxmlformats.org/officeDocument/2006/relationships/tags" Target="../tags/tag357.xml"/><Relationship Id="rId9" Type="http://schemas.openxmlformats.org/officeDocument/2006/relationships/tags" Target="../tags/tag362.xml"/><Relationship Id="rId14" Type="http://schemas.openxmlformats.org/officeDocument/2006/relationships/tags" Target="../tags/tag367.xml"/><Relationship Id="rId22" Type="http://schemas.openxmlformats.org/officeDocument/2006/relationships/tags" Target="../tags/tag375.xml"/><Relationship Id="rId27" Type="http://schemas.openxmlformats.org/officeDocument/2006/relationships/tags" Target="../tags/tag380.xml"/><Relationship Id="rId30" Type="http://schemas.openxmlformats.org/officeDocument/2006/relationships/oleObject" Target="../embeddings/oleObject103.bin"/></Relationships>
</file>

<file path=ppt/slides/_rels/slide35.xml.rels><?xml version="1.0" encoding="UTF-8" standalone="yes"?>
<Relationships xmlns="http://schemas.openxmlformats.org/package/2006/relationships"><Relationship Id="rId3" Type="http://schemas.openxmlformats.org/officeDocument/2006/relationships/tags" Target="../tags/tag383.xml"/><Relationship Id="rId2" Type="http://schemas.openxmlformats.org/officeDocument/2006/relationships/tags" Target="../tags/tag382.xml"/><Relationship Id="rId1" Type="http://schemas.openxmlformats.org/officeDocument/2006/relationships/vmlDrawing" Target="../drawings/vmlDrawing104.vml"/><Relationship Id="rId6" Type="http://schemas.openxmlformats.org/officeDocument/2006/relationships/image" Target="../media/image14.emf"/><Relationship Id="rId5" Type="http://schemas.openxmlformats.org/officeDocument/2006/relationships/oleObject" Target="../embeddings/oleObject104.bin"/><Relationship Id="rId4"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3" Type="http://schemas.openxmlformats.org/officeDocument/2006/relationships/tags" Target="../tags/tag385.xml"/><Relationship Id="rId2" Type="http://schemas.openxmlformats.org/officeDocument/2006/relationships/tags" Target="../tags/tag384.xml"/><Relationship Id="rId1" Type="http://schemas.openxmlformats.org/officeDocument/2006/relationships/vmlDrawing" Target="../drawings/vmlDrawing105.vml"/><Relationship Id="rId6" Type="http://schemas.openxmlformats.org/officeDocument/2006/relationships/image" Target="../media/image14.emf"/><Relationship Id="rId5" Type="http://schemas.openxmlformats.org/officeDocument/2006/relationships/oleObject" Target="../embeddings/oleObject105.bin"/><Relationship Id="rId4"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3" Type="http://schemas.openxmlformats.org/officeDocument/2006/relationships/tags" Target="../tags/tag387.xml"/><Relationship Id="rId2" Type="http://schemas.openxmlformats.org/officeDocument/2006/relationships/tags" Target="../tags/tag386.xml"/><Relationship Id="rId1" Type="http://schemas.openxmlformats.org/officeDocument/2006/relationships/vmlDrawing" Target="../drawings/vmlDrawing106.vml"/><Relationship Id="rId6" Type="http://schemas.openxmlformats.org/officeDocument/2006/relationships/image" Target="../media/image14.emf"/><Relationship Id="rId5" Type="http://schemas.openxmlformats.org/officeDocument/2006/relationships/oleObject" Target="../embeddings/oleObject106.bin"/><Relationship Id="rId4"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8" Type="http://schemas.openxmlformats.org/officeDocument/2006/relationships/image" Target="../media/image54.jpeg"/><Relationship Id="rId3" Type="http://schemas.openxmlformats.org/officeDocument/2006/relationships/tags" Target="../tags/tag389.xml"/><Relationship Id="rId7" Type="http://schemas.openxmlformats.org/officeDocument/2006/relationships/image" Target="../media/image53.jpeg"/><Relationship Id="rId2" Type="http://schemas.openxmlformats.org/officeDocument/2006/relationships/tags" Target="../tags/tag388.xml"/><Relationship Id="rId1" Type="http://schemas.openxmlformats.org/officeDocument/2006/relationships/vmlDrawing" Target="../drawings/vmlDrawing107.vml"/><Relationship Id="rId6" Type="http://schemas.openxmlformats.org/officeDocument/2006/relationships/image" Target="../media/image21.emf"/><Relationship Id="rId5" Type="http://schemas.openxmlformats.org/officeDocument/2006/relationships/oleObject" Target="../embeddings/oleObject107.bin"/><Relationship Id="rId10" Type="http://schemas.openxmlformats.org/officeDocument/2006/relationships/image" Target="../media/image56.png"/><Relationship Id="rId4" Type="http://schemas.openxmlformats.org/officeDocument/2006/relationships/slideLayout" Target="../slideLayouts/slideLayout14.xml"/><Relationship Id="rId9" Type="http://schemas.openxmlformats.org/officeDocument/2006/relationships/image" Target="../media/image55.png"/></Relationships>
</file>

<file path=ppt/slides/_rels/slide39.xml.rels><?xml version="1.0" encoding="UTF-8" standalone="yes"?>
<Relationships xmlns="http://schemas.openxmlformats.org/package/2006/relationships"><Relationship Id="rId2" Type="http://schemas.openxmlformats.org/officeDocument/2006/relationships/comments" Target="../comments/comment3.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2" Type="http://schemas.openxmlformats.org/officeDocument/2006/relationships/comments" Target="../comments/comment4.xml"/><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3" Type="http://schemas.openxmlformats.org/officeDocument/2006/relationships/tags" Target="../tags/tag391.xml"/><Relationship Id="rId2" Type="http://schemas.openxmlformats.org/officeDocument/2006/relationships/tags" Target="../tags/tag390.xml"/><Relationship Id="rId1" Type="http://schemas.openxmlformats.org/officeDocument/2006/relationships/vmlDrawing" Target="../drawings/vmlDrawing108.vml"/><Relationship Id="rId6" Type="http://schemas.openxmlformats.org/officeDocument/2006/relationships/image" Target="../media/image21.emf"/><Relationship Id="rId5" Type="http://schemas.openxmlformats.org/officeDocument/2006/relationships/oleObject" Target="../embeddings/oleObject108.bin"/><Relationship Id="rId4"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13" Type="http://schemas.openxmlformats.org/officeDocument/2006/relationships/tags" Target="../tags/tag403.xml"/><Relationship Id="rId18" Type="http://schemas.openxmlformats.org/officeDocument/2006/relationships/tags" Target="../tags/tag408.xml"/><Relationship Id="rId26" Type="http://schemas.openxmlformats.org/officeDocument/2006/relationships/tags" Target="../tags/tag416.xml"/><Relationship Id="rId3" Type="http://schemas.openxmlformats.org/officeDocument/2006/relationships/tags" Target="../tags/tag393.xml"/><Relationship Id="rId21" Type="http://schemas.openxmlformats.org/officeDocument/2006/relationships/tags" Target="../tags/tag411.xml"/><Relationship Id="rId34" Type="http://schemas.openxmlformats.org/officeDocument/2006/relationships/slideLayout" Target="../slideLayouts/slideLayout13.xml"/><Relationship Id="rId7" Type="http://schemas.openxmlformats.org/officeDocument/2006/relationships/tags" Target="../tags/tag397.xml"/><Relationship Id="rId12" Type="http://schemas.openxmlformats.org/officeDocument/2006/relationships/tags" Target="../tags/tag402.xml"/><Relationship Id="rId17" Type="http://schemas.openxmlformats.org/officeDocument/2006/relationships/tags" Target="../tags/tag407.xml"/><Relationship Id="rId25" Type="http://schemas.openxmlformats.org/officeDocument/2006/relationships/tags" Target="../tags/tag415.xml"/><Relationship Id="rId33" Type="http://schemas.openxmlformats.org/officeDocument/2006/relationships/tags" Target="../tags/tag423.xml"/><Relationship Id="rId2" Type="http://schemas.openxmlformats.org/officeDocument/2006/relationships/tags" Target="../tags/tag392.xml"/><Relationship Id="rId16" Type="http://schemas.openxmlformats.org/officeDocument/2006/relationships/tags" Target="../tags/tag406.xml"/><Relationship Id="rId20" Type="http://schemas.openxmlformats.org/officeDocument/2006/relationships/tags" Target="../tags/tag410.xml"/><Relationship Id="rId29" Type="http://schemas.openxmlformats.org/officeDocument/2006/relationships/tags" Target="../tags/tag419.xml"/><Relationship Id="rId1" Type="http://schemas.openxmlformats.org/officeDocument/2006/relationships/vmlDrawing" Target="../drawings/vmlDrawing109.vml"/><Relationship Id="rId6" Type="http://schemas.openxmlformats.org/officeDocument/2006/relationships/tags" Target="../tags/tag396.xml"/><Relationship Id="rId11" Type="http://schemas.openxmlformats.org/officeDocument/2006/relationships/tags" Target="../tags/tag401.xml"/><Relationship Id="rId24" Type="http://schemas.openxmlformats.org/officeDocument/2006/relationships/tags" Target="../tags/tag414.xml"/><Relationship Id="rId32" Type="http://schemas.openxmlformats.org/officeDocument/2006/relationships/tags" Target="../tags/tag422.xml"/><Relationship Id="rId5" Type="http://schemas.openxmlformats.org/officeDocument/2006/relationships/tags" Target="../tags/tag395.xml"/><Relationship Id="rId15" Type="http://schemas.openxmlformats.org/officeDocument/2006/relationships/tags" Target="../tags/tag405.xml"/><Relationship Id="rId23" Type="http://schemas.openxmlformats.org/officeDocument/2006/relationships/tags" Target="../tags/tag413.xml"/><Relationship Id="rId28" Type="http://schemas.openxmlformats.org/officeDocument/2006/relationships/tags" Target="../tags/tag418.xml"/><Relationship Id="rId36" Type="http://schemas.openxmlformats.org/officeDocument/2006/relationships/image" Target="../media/image14.emf"/><Relationship Id="rId10" Type="http://schemas.openxmlformats.org/officeDocument/2006/relationships/tags" Target="../tags/tag400.xml"/><Relationship Id="rId19" Type="http://schemas.openxmlformats.org/officeDocument/2006/relationships/tags" Target="../tags/tag409.xml"/><Relationship Id="rId31" Type="http://schemas.openxmlformats.org/officeDocument/2006/relationships/tags" Target="../tags/tag421.xml"/><Relationship Id="rId4" Type="http://schemas.openxmlformats.org/officeDocument/2006/relationships/tags" Target="../tags/tag394.xml"/><Relationship Id="rId9" Type="http://schemas.openxmlformats.org/officeDocument/2006/relationships/tags" Target="../tags/tag399.xml"/><Relationship Id="rId14" Type="http://schemas.openxmlformats.org/officeDocument/2006/relationships/tags" Target="../tags/tag404.xml"/><Relationship Id="rId22" Type="http://schemas.openxmlformats.org/officeDocument/2006/relationships/tags" Target="../tags/tag412.xml"/><Relationship Id="rId27" Type="http://schemas.openxmlformats.org/officeDocument/2006/relationships/tags" Target="../tags/tag417.xml"/><Relationship Id="rId30" Type="http://schemas.openxmlformats.org/officeDocument/2006/relationships/tags" Target="../tags/tag420.xml"/><Relationship Id="rId35" Type="http://schemas.openxmlformats.org/officeDocument/2006/relationships/oleObject" Target="../embeddings/oleObject109.bin"/><Relationship Id="rId8" Type="http://schemas.openxmlformats.org/officeDocument/2006/relationships/tags" Target="../tags/tag398.xml"/></Relationships>
</file>

<file path=ppt/slides/_rels/slide4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png"/><Relationship Id="rId2" Type="http://schemas.openxmlformats.org/officeDocument/2006/relationships/tags" Target="../tags/tag424.xml"/><Relationship Id="rId1" Type="http://schemas.openxmlformats.org/officeDocument/2006/relationships/vmlDrawing" Target="../drawings/vmlDrawing110.vml"/><Relationship Id="rId6" Type="http://schemas.openxmlformats.org/officeDocument/2006/relationships/image" Target="../media/image14.emf"/><Relationship Id="rId5" Type="http://schemas.openxmlformats.org/officeDocument/2006/relationships/oleObject" Target="../embeddings/oleObject110.bin"/><Relationship Id="rId4" Type="http://schemas.openxmlformats.org/officeDocument/2006/relationships/notesSlide" Target="../notesSlides/notesSlide10.xml"/></Relationships>
</file>

<file path=ppt/slides/_rels/slide45.xml.rels><?xml version="1.0" encoding="UTF-8" standalone="yes"?>
<Relationships xmlns="http://schemas.openxmlformats.org/package/2006/relationships"><Relationship Id="rId3" Type="http://schemas.openxmlformats.org/officeDocument/2006/relationships/tags" Target="../tags/tag426.xml"/><Relationship Id="rId2" Type="http://schemas.openxmlformats.org/officeDocument/2006/relationships/tags" Target="../tags/tag425.xml"/><Relationship Id="rId1" Type="http://schemas.openxmlformats.org/officeDocument/2006/relationships/vmlDrawing" Target="../drawings/vmlDrawing111.vml"/><Relationship Id="rId6" Type="http://schemas.openxmlformats.org/officeDocument/2006/relationships/image" Target="../media/image14.emf"/><Relationship Id="rId5" Type="http://schemas.openxmlformats.org/officeDocument/2006/relationships/oleObject" Target="../embeddings/oleObject111.bin"/><Relationship Id="rId4" Type="http://schemas.openxmlformats.org/officeDocument/2006/relationships/slideLayout" Target="../slideLayouts/slideLayout15.xml"/></Relationships>
</file>

<file path=ppt/slides/_rels/slide46.xml.rels><?xml version="1.0" encoding="UTF-8" standalone="yes"?>
<Relationships xmlns="http://schemas.openxmlformats.org/package/2006/relationships"><Relationship Id="rId3" Type="http://schemas.openxmlformats.org/officeDocument/2006/relationships/tags" Target="../tags/tag428.xml"/><Relationship Id="rId2" Type="http://schemas.openxmlformats.org/officeDocument/2006/relationships/tags" Target="../tags/tag427.xml"/><Relationship Id="rId1" Type="http://schemas.openxmlformats.org/officeDocument/2006/relationships/vmlDrawing" Target="../drawings/vmlDrawing112.vml"/><Relationship Id="rId6" Type="http://schemas.openxmlformats.org/officeDocument/2006/relationships/image" Target="../media/image21.emf"/><Relationship Id="rId5" Type="http://schemas.openxmlformats.org/officeDocument/2006/relationships/oleObject" Target="../embeddings/oleObject112.bin"/><Relationship Id="rId4"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3" Type="http://schemas.openxmlformats.org/officeDocument/2006/relationships/tags" Target="../tags/tag430.xml"/><Relationship Id="rId2" Type="http://schemas.openxmlformats.org/officeDocument/2006/relationships/tags" Target="../tags/tag429.xml"/><Relationship Id="rId1" Type="http://schemas.openxmlformats.org/officeDocument/2006/relationships/vmlDrawing" Target="../drawings/vmlDrawing113.vml"/><Relationship Id="rId6" Type="http://schemas.openxmlformats.org/officeDocument/2006/relationships/image" Target="../media/image21.emf"/><Relationship Id="rId5" Type="http://schemas.openxmlformats.org/officeDocument/2006/relationships/oleObject" Target="../embeddings/oleObject113.bin"/><Relationship Id="rId4"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3" Type="http://schemas.openxmlformats.org/officeDocument/2006/relationships/tags" Target="../tags/tag432.xml"/><Relationship Id="rId2" Type="http://schemas.openxmlformats.org/officeDocument/2006/relationships/tags" Target="../tags/tag431.xml"/><Relationship Id="rId1" Type="http://schemas.openxmlformats.org/officeDocument/2006/relationships/vmlDrawing" Target="../drawings/vmlDrawing114.vml"/><Relationship Id="rId6" Type="http://schemas.openxmlformats.org/officeDocument/2006/relationships/image" Target="../media/image21.emf"/><Relationship Id="rId5" Type="http://schemas.openxmlformats.org/officeDocument/2006/relationships/oleObject" Target="../embeddings/oleObject114.bin"/><Relationship Id="rId4" Type="http://schemas.openxmlformats.org/officeDocument/2006/relationships/slideLayout" Target="../slideLayouts/slideLayout1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0.xml.rels><?xml version="1.0" encoding="UTF-8" standalone="yes"?>
<Relationships xmlns="http://schemas.openxmlformats.org/package/2006/relationships"><Relationship Id="rId3" Type="http://schemas.openxmlformats.org/officeDocument/2006/relationships/tags" Target="../tags/tag434.xml"/><Relationship Id="rId7" Type="http://schemas.openxmlformats.org/officeDocument/2006/relationships/chart" Target="../charts/chart1.xml"/><Relationship Id="rId2" Type="http://schemas.openxmlformats.org/officeDocument/2006/relationships/tags" Target="../tags/tag433.xml"/><Relationship Id="rId1" Type="http://schemas.openxmlformats.org/officeDocument/2006/relationships/vmlDrawing" Target="../drawings/vmlDrawing115.vml"/><Relationship Id="rId6" Type="http://schemas.openxmlformats.org/officeDocument/2006/relationships/image" Target="../media/image57.emf"/><Relationship Id="rId5" Type="http://schemas.openxmlformats.org/officeDocument/2006/relationships/oleObject" Target="../embeddings/oleObject115.bin"/><Relationship Id="rId4" Type="http://schemas.openxmlformats.org/officeDocument/2006/relationships/slideLayout" Target="../slideLayouts/slideLayout9.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2.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tags" Target="../tags/tag436.xml"/><Relationship Id="rId7" Type="http://schemas.openxmlformats.org/officeDocument/2006/relationships/image" Target="../media/image58.png"/><Relationship Id="rId2" Type="http://schemas.openxmlformats.org/officeDocument/2006/relationships/tags" Target="../tags/tag435.xml"/><Relationship Id="rId1" Type="http://schemas.openxmlformats.org/officeDocument/2006/relationships/vmlDrawing" Target="../drawings/vmlDrawing116.vml"/><Relationship Id="rId6" Type="http://schemas.openxmlformats.org/officeDocument/2006/relationships/image" Target="../media/image21.emf"/><Relationship Id="rId5" Type="http://schemas.openxmlformats.org/officeDocument/2006/relationships/oleObject" Target="../embeddings/oleObject117.bin"/><Relationship Id="rId4" Type="http://schemas.openxmlformats.org/officeDocument/2006/relationships/slideLayout" Target="../slideLayouts/slideLayout9.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6.xml.rels><?xml version="1.0" encoding="UTF-8" standalone="yes"?>
<Relationships xmlns="http://schemas.openxmlformats.org/package/2006/relationships"><Relationship Id="rId3" Type="http://schemas.openxmlformats.org/officeDocument/2006/relationships/hyperlink" Target="http://worldbank.org/" TargetMode="External"/><Relationship Id="rId2" Type="http://schemas.openxmlformats.org/officeDocument/2006/relationships/hyperlink" Target="http://www.ressaks.org/" TargetMode="Externa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tags" Target="../tags/tag279.xml"/><Relationship Id="rId2" Type="http://schemas.openxmlformats.org/officeDocument/2006/relationships/tags" Target="../tags/tag278.xml"/><Relationship Id="rId1" Type="http://schemas.openxmlformats.org/officeDocument/2006/relationships/vmlDrawing" Target="../drawings/vmlDrawing77.vml"/><Relationship Id="rId6" Type="http://schemas.openxmlformats.org/officeDocument/2006/relationships/image" Target="../media/image14.emf"/><Relationship Id="rId5" Type="http://schemas.openxmlformats.org/officeDocument/2006/relationships/oleObject" Target="../embeddings/oleObject77.bin"/><Relationship Id="rId4"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281.xml"/><Relationship Id="rId7" Type="http://schemas.openxmlformats.org/officeDocument/2006/relationships/image" Target="../media/image24.emf"/><Relationship Id="rId2" Type="http://schemas.openxmlformats.org/officeDocument/2006/relationships/tags" Target="../tags/tag280.xml"/><Relationship Id="rId1" Type="http://schemas.openxmlformats.org/officeDocument/2006/relationships/vmlDrawing" Target="../drawings/vmlDrawing78.vml"/><Relationship Id="rId6" Type="http://schemas.openxmlformats.org/officeDocument/2006/relationships/oleObject" Target="../embeddings/oleObject78.bin"/><Relationship Id="rId5" Type="http://schemas.openxmlformats.org/officeDocument/2006/relationships/notesSlide" Target="../notesSlides/notesSlide3.xml"/><Relationship Id="rId10" Type="http://schemas.openxmlformats.org/officeDocument/2006/relationships/image" Target="../media/image26.png"/><Relationship Id="rId4" Type="http://schemas.openxmlformats.org/officeDocument/2006/relationships/slideLayout" Target="../slideLayouts/slideLayout13.xml"/><Relationship Id="rId9" Type="http://schemas.openxmlformats.org/officeDocument/2006/relationships/image" Target="../media/image25.png"/></Relationships>
</file>

<file path=ppt/slides/_rels/slide8.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283.xml"/><Relationship Id="rId7" Type="http://schemas.openxmlformats.org/officeDocument/2006/relationships/image" Target="../media/image24.emf"/><Relationship Id="rId2" Type="http://schemas.openxmlformats.org/officeDocument/2006/relationships/tags" Target="../tags/tag282.xml"/><Relationship Id="rId1" Type="http://schemas.openxmlformats.org/officeDocument/2006/relationships/vmlDrawing" Target="../drawings/vmlDrawing79.vml"/><Relationship Id="rId6" Type="http://schemas.openxmlformats.org/officeDocument/2006/relationships/oleObject" Target="../embeddings/oleObject79.bin"/><Relationship Id="rId5" Type="http://schemas.openxmlformats.org/officeDocument/2006/relationships/notesSlide" Target="../notesSlides/notesSlide4.xml"/><Relationship Id="rId4" Type="http://schemas.openxmlformats.org/officeDocument/2006/relationships/slideLayout" Target="../slideLayouts/slideLayout13.xml"/><Relationship Id="rId9" Type="http://schemas.openxmlformats.org/officeDocument/2006/relationships/image" Target="../media/image27.png"/></Relationships>
</file>

<file path=ppt/slides/_rels/slide9.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285.xml"/><Relationship Id="rId7" Type="http://schemas.openxmlformats.org/officeDocument/2006/relationships/image" Target="../media/image24.emf"/><Relationship Id="rId2" Type="http://schemas.openxmlformats.org/officeDocument/2006/relationships/tags" Target="../tags/tag284.xml"/><Relationship Id="rId1" Type="http://schemas.openxmlformats.org/officeDocument/2006/relationships/vmlDrawing" Target="../drawings/vmlDrawing80.vml"/><Relationship Id="rId6" Type="http://schemas.openxmlformats.org/officeDocument/2006/relationships/oleObject" Target="../embeddings/oleObject80.bin"/><Relationship Id="rId5" Type="http://schemas.openxmlformats.org/officeDocument/2006/relationships/notesSlide" Target="../notesSlides/notesSlide5.xml"/><Relationship Id="rId4" Type="http://schemas.openxmlformats.org/officeDocument/2006/relationships/slideLayout" Target="../slideLayouts/slideLayout13.xml"/><Relationship Id="rId9"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57"/>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68006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78" name="think-cell Slide" r:id="rId5" imgW="395" imgH="396" progId="TCLayout.ActiveDocument.1">
                  <p:embed/>
                </p:oleObj>
              </mc:Choice>
              <mc:Fallback>
                <p:oleObj name="think-cell Slide" r:id="rId5" imgW="395" imgH="396"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58" name="Google Shape;158;p25"/>
          <p:cNvPicPr preferRelativeResize="0"/>
          <p:nvPr/>
        </p:nvPicPr>
        <p:blipFill rotWithShape="1">
          <a:blip r:embed="rId7">
            <a:alphaModFix/>
          </a:blip>
          <a:srcRect/>
          <a:stretch/>
        </p:blipFill>
        <p:spPr>
          <a:xfrm>
            <a:off x="1588" y="1588"/>
            <a:ext cx="1588" cy="1588"/>
          </a:xfrm>
          <a:prstGeom prst="rect">
            <a:avLst/>
          </a:prstGeom>
          <a:noFill/>
          <a:ln>
            <a:noFill/>
          </a:ln>
        </p:spPr>
      </p:pic>
      <p:sp>
        <p:nvSpPr>
          <p:cNvPr id="159" name="Google Shape;159;p25"/>
          <p:cNvSpPr txBox="1">
            <a:spLocks noGrp="1"/>
          </p:cNvSpPr>
          <p:nvPr>
            <p:ph type="title"/>
          </p:nvPr>
        </p:nvSpPr>
        <p:spPr>
          <a:xfrm>
            <a:off x="629771" y="5052850"/>
            <a:ext cx="8915400" cy="796621"/>
          </a:xfrm>
          <a:prstGeom prst="rect">
            <a:avLst/>
          </a:prstGeom>
          <a:noFill/>
          <a:ln>
            <a:noFill/>
          </a:ln>
        </p:spPr>
        <p:txBody>
          <a:bodyPr spcFirstLastPara="1" wrap="square" lIns="91425" tIns="45700" rIns="91425" bIns="45700" anchor="t" anchorCtr="0">
            <a:noAutofit/>
          </a:bodyPr>
          <a:lstStyle/>
          <a:p>
            <a:pPr marL="0" marR="0" lvl="0" indent="0" algn="ctr" rtl="0">
              <a:lnSpc>
                <a:spcPct val="90000"/>
              </a:lnSpc>
              <a:spcBef>
                <a:spcPts val="0"/>
              </a:spcBef>
              <a:spcAft>
                <a:spcPts val="0"/>
              </a:spcAft>
              <a:buClr>
                <a:schemeClr val="lt1"/>
              </a:buClr>
              <a:buSzPts val="4000"/>
              <a:buFont typeface="Arial"/>
              <a:buNone/>
            </a:pPr>
            <a:r>
              <a:rPr lang="en-US" sz="4000" b="0" i="0" u="none" strike="noStrike" cap="none" dirty="0">
                <a:solidFill>
                  <a:schemeClr val="lt1"/>
                </a:solidFill>
                <a:latin typeface="Arial"/>
                <a:ea typeface="Arial"/>
                <a:cs typeface="Arial"/>
                <a:sym typeface="Arial"/>
              </a:rPr>
              <a:t>AGRA </a:t>
            </a:r>
            <a:r>
              <a:rPr lang="en-US" sz="4000" dirty="0"/>
              <a:t>Mali </a:t>
            </a:r>
            <a:r>
              <a:rPr lang="en-US" sz="4000" b="0" i="0" u="none" strike="noStrike" cap="none" dirty="0">
                <a:solidFill>
                  <a:schemeClr val="lt1"/>
                </a:solidFill>
                <a:latin typeface="Arial"/>
                <a:ea typeface="Arial"/>
                <a:cs typeface="Arial"/>
                <a:sym typeface="Arial"/>
              </a:rPr>
              <a:t>Operational Plan </a:t>
            </a:r>
            <a:endParaRPr dirty="0"/>
          </a:p>
        </p:txBody>
      </p:sp>
      <p:sp>
        <p:nvSpPr>
          <p:cNvPr id="160" name="Google Shape;160;p25"/>
          <p:cNvSpPr txBox="1">
            <a:spLocks noGrp="1"/>
          </p:cNvSpPr>
          <p:nvPr>
            <p:ph type="subTitle" idx="1"/>
          </p:nvPr>
        </p:nvSpPr>
        <p:spPr>
          <a:xfrm>
            <a:off x="495300" y="6031975"/>
            <a:ext cx="8397935" cy="384595"/>
          </a:xfrm>
          <a:prstGeom prst="rect">
            <a:avLst/>
          </a:prstGeom>
          <a:noFill/>
          <a:ln>
            <a:noFill/>
          </a:ln>
        </p:spPr>
        <p:txBody>
          <a:bodyPr spcFirstLastPara="1" wrap="square" lIns="0" tIns="0" rIns="0" bIns="0" anchor="t" anchorCtr="0">
            <a:noAutofit/>
          </a:bodyPr>
          <a:lstStyle/>
          <a:p>
            <a:pPr marL="0" marR="0" lvl="0" indent="0" algn="ctr" rtl="0">
              <a:lnSpc>
                <a:spcPct val="90000"/>
              </a:lnSpc>
              <a:spcBef>
                <a:spcPts val="0"/>
              </a:spcBef>
              <a:spcAft>
                <a:spcPts val="0"/>
              </a:spcAft>
              <a:buClr>
                <a:schemeClr val="lt1"/>
              </a:buClr>
              <a:buSzPts val="1600"/>
              <a:buFont typeface="Arial"/>
              <a:buNone/>
            </a:pPr>
            <a:r>
              <a:rPr lang="en-US" sz="1600" b="0" i="1" u="none" strike="noStrike" cap="none" dirty="0">
                <a:solidFill>
                  <a:schemeClr val="lt1"/>
                </a:solidFill>
                <a:latin typeface="Arial"/>
                <a:ea typeface="Arial"/>
                <a:cs typeface="Arial"/>
                <a:sym typeface="Arial"/>
              </a:rPr>
              <a:t>Revised, June 2019</a:t>
            </a:r>
            <a:endParaRPr sz="1600" b="0" i="1" u="none" strike="noStrike" cap="none" dirty="0">
              <a:solidFill>
                <a:schemeClr val="lt1"/>
              </a:solidFill>
              <a:latin typeface="Arial"/>
              <a:ea typeface="Arial"/>
              <a:cs typeface="Arial"/>
              <a:sym typeface="Aria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50"/>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18" name="think-cell Slide" r:id="rId6" imgW="395" imgH="396" progId="TCLayout.ActiveDocument.1">
                  <p:embed/>
                </p:oleObj>
              </mc:Choice>
              <mc:Fallback>
                <p:oleObj name="think-cell Slide" r:id="rId6" imgW="395" imgH="396"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defRPr/>
            </a:pPr>
            <a:endParaRPr lang="en-US" sz="1000" dirty="0">
              <a:solidFill>
                <a:srgbClr val="FFFFFF"/>
              </a:solidFill>
              <a:sym typeface="+mn-lt"/>
            </a:endParaRPr>
          </a:p>
        </p:txBody>
      </p:sp>
      <p:pic>
        <p:nvPicPr>
          <p:cNvPr id="251" name="Google Shape;251;p38"/>
          <p:cNvPicPr preferRelativeResize="0"/>
          <p:nvPr/>
        </p:nvPicPr>
        <p:blipFill rotWithShape="1">
          <a:blip r:embed="rId8">
            <a:alphaModFix/>
          </a:blip>
          <a:srcRect/>
          <a:stretch/>
        </p:blipFill>
        <p:spPr>
          <a:xfrm>
            <a:off x="1588" y="1588"/>
            <a:ext cx="1588" cy="1588"/>
          </a:xfrm>
          <a:prstGeom prst="rect">
            <a:avLst/>
          </a:prstGeom>
          <a:noFill/>
          <a:ln>
            <a:noFill/>
          </a:ln>
        </p:spPr>
      </p:pic>
      <p:sp>
        <p:nvSpPr>
          <p:cNvPr id="252" name="Google Shape;252;p38"/>
          <p:cNvSpPr txBox="1">
            <a:spLocks noGrp="1"/>
          </p:cNvSpPr>
          <p:nvPr>
            <p:ph type="title"/>
          </p:nvPr>
        </p:nvSpPr>
        <p:spPr/>
        <p:txBody>
          <a:bodyPr/>
          <a:lstStyle/>
          <a:p>
            <a:pPr lvl="0"/>
            <a:r>
              <a:rPr lang="en-US" sz="1600" dirty="0"/>
              <a:t>There is room to develop a more vibrant private sector if policy and other incentives are put in place for the benefit of the small holder farmer</a:t>
            </a:r>
            <a:endParaRPr lang="en-US" sz="1600" dirty="0">
              <a:sym typeface="Arial"/>
            </a:endParaRPr>
          </a:p>
        </p:txBody>
      </p:sp>
      <p:grpSp>
        <p:nvGrpSpPr>
          <p:cNvPr id="27" name="Group 26"/>
          <p:cNvGrpSpPr/>
          <p:nvPr/>
        </p:nvGrpSpPr>
        <p:grpSpPr>
          <a:xfrm>
            <a:off x="134652" y="927295"/>
            <a:ext cx="4809880" cy="5462218"/>
            <a:chOff x="743319" y="1113274"/>
            <a:chExt cx="2702399" cy="1322149"/>
          </a:xfrm>
        </p:grpSpPr>
        <p:sp>
          <p:nvSpPr>
            <p:cNvPr id="28" name="Google Shape;253;p38"/>
            <p:cNvSpPr/>
            <p:nvPr/>
          </p:nvSpPr>
          <p:spPr>
            <a:xfrm>
              <a:off x="756005" y="1113274"/>
              <a:ext cx="2683371" cy="88790"/>
            </a:xfrm>
            <a:prstGeom prst="rect">
              <a:avLst/>
            </a:prstGeom>
            <a:solidFill>
              <a:srgbClr val="E1EFD8"/>
            </a:solidFill>
            <a:ln w="12700" cap="flat" cmpd="sng">
              <a:solidFill>
                <a:srgbClr val="7F7F7F"/>
              </a:solidFill>
              <a:prstDash val="solid"/>
              <a:miter lim="800000"/>
              <a:headEnd type="none" w="sm" len="sm"/>
              <a:tailEnd type="none" w="sm" len="sm"/>
            </a:ln>
          </p:spPr>
          <p:txBody>
            <a:bodyPr spcFirstLastPara="1" wrap="square" lIns="91425" tIns="45700" rIns="91425" bIns="45700" anchor="ctr" anchorCtr="0">
              <a:noAutofit/>
            </a:bodyPr>
            <a:lstStyle/>
            <a:p>
              <a:pPr>
                <a:defRPr/>
              </a:pPr>
              <a:r>
                <a:rPr lang="en-US" sz="1200" b="1" dirty="0"/>
                <a:t>3. The Private Sector Landscape and enabling environment</a:t>
              </a:r>
              <a:endParaRPr sz="1200" dirty="0"/>
            </a:p>
          </p:txBody>
        </p:sp>
        <p:sp>
          <p:nvSpPr>
            <p:cNvPr id="29" name="Google Shape;255;p38"/>
            <p:cNvSpPr/>
            <p:nvPr/>
          </p:nvSpPr>
          <p:spPr>
            <a:xfrm>
              <a:off x="743319" y="1226378"/>
              <a:ext cx="2702399" cy="1209045"/>
            </a:xfrm>
            <a:prstGeom prst="rect">
              <a:avLst/>
            </a:prstGeom>
            <a:noFill/>
            <a:ln w="12700" cap="flat" cmpd="sng">
              <a:solidFill>
                <a:srgbClr val="7F7F7F"/>
              </a:solidFill>
              <a:prstDash val="solid"/>
              <a:miter lim="800000"/>
              <a:headEnd type="none" w="sm" len="sm"/>
              <a:tailEnd type="none" w="sm" len="sm"/>
            </a:ln>
          </p:spPr>
          <p:txBody>
            <a:bodyPr spcFirstLastPara="1" wrap="square" lIns="91425" tIns="45700" rIns="91425" bIns="45700" anchor="t" anchorCtr="0">
              <a:noAutofit/>
            </a:bodyPr>
            <a:lstStyle/>
            <a:p>
              <a:pPr marL="171450" indent="-171450" algn="just">
                <a:buFont typeface="Arial" panose="020B0604020202020204" pitchFamily="34" charset="0"/>
                <a:buChar char="•"/>
                <a:defRPr/>
              </a:pPr>
              <a:r>
                <a:rPr lang="en-US" sz="1050" dirty="0">
                  <a:latin typeface="Arial" panose="020B0604020202020204" pitchFamily="34" charset="0"/>
                  <a:ea typeface="Times New Roman" panose="02020603050405020304" pitchFamily="18" charset="0"/>
                  <a:cs typeface="Arial" panose="020B0604020202020204" pitchFamily="34" charset="0"/>
                </a:rPr>
                <a:t>The Government of Mali started the implementation of agricultural policy and regulatory reforms in the early 80s in order to improve the enabling business environment.</a:t>
              </a:r>
            </a:p>
            <a:p>
              <a:pPr marL="171450" indent="-171450" algn="just">
                <a:buFont typeface="Arial" panose="020B0604020202020204" pitchFamily="34" charset="0"/>
                <a:buChar char="•"/>
                <a:defRPr/>
              </a:pPr>
              <a:r>
                <a:rPr lang="en-US" sz="1050" dirty="0">
                  <a:latin typeface="Arial" panose="020B0604020202020204" pitchFamily="34" charset="0"/>
                  <a:ea typeface="Times New Roman" panose="02020603050405020304" pitchFamily="18" charset="0"/>
                  <a:cs typeface="Arial" panose="020B0604020202020204" pitchFamily="34" charset="0"/>
                </a:rPr>
                <a:t>A Market Information System (OMA -1989) was put in place to improve access of farmers organizations to markets and increase the capacity of the government in the evaluation of the agricultural policy and macroeconomic reforms.</a:t>
              </a:r>
              <a:endParaRPr lang="en-GB" sz="1050" dirty="0">
                <a:latin typeface="Arial" panose="020B0604020202020204" pitchFamily="34" charset="0"/>
                <a:ea typeface="Times New Roman" panose="02020603050405020304" pitchFamily="18" charset="0"/>
                <a:cs typeface="Arial" panose="020B0604020202020204" pitchFamily="34" charset="0"/>
              </a:endParaRPr>
            </a:p>
            <a:p>
              <a:pPr marL="171450" indent="-171450" algn="just">
                <a:buFont typeface="Arial" panose="020B0604020202020204" pitchFamily="34" charset="0"/>
                <a:buChar char="•"/>
                <a:defRPr/>
              </a:pPr>
              <a:r>
                <a:rPr lang="en-US" sz="1050" dirty="0">
                  <a:solidFill>
                    <a:schemeClr val="tx1"/>
                  </a:solidFill>
                  <a:latin typeface="Arial" panose="020B0604020202020204" pitchFamily="34" charset="0"/>
                  <a:ea typeface="Times New Roman" panose="02020603050405020304" pitchFamily="18" charset="0"/>
                  <a:cs typeface="Arial" panose="020B0604020202020204" pitchFamily="34" charset="0"/>
                </a:rPr>
                <a:t>The Strategic Framework for the Fight against Poverty </a:t>
              </a:r>
              <a:r>
                <a:rPr lang="en-US" sz="1050" dirty="0" smtClean="0">
                  <a:solidFill>
                    <a:schemeClr val="tx1"/>
                  </a:solidFill>
                  <a:latin typeface="Arial" panose="020B0604020202020204" pitchFamily="34" charset="0"/>
                  <a:ea typeface="Times New Roman" panose="02020603050405020304" pitchFamily="18" charset="0"/>
                  <a:cs typeface="Arial" panose="020B0604020202020204" pitchFamily="34" charset="0"/>
                </a:rPr>
                <a:t>has </a:t>
              </a:r>
              <a:r>
                <a:rPr lang="en-US" sz="1050" dirty="0">
                  <a:solidFill>
                    <a:schemeClr val="tx1"/>
                  </a:solidFill>
                  <a:latin typeface="Arial" panose="020B0604020202020204" pitchFamily="34" charset="0"/>
                  <a:ea typeface="Times New Roman" panose="02020603050405020304" pitchFamily="18" charset="0"/>
                  <a:cs typeface="Arial" panose="020B0604020202020204" pitchFamily="34" charset="0"/>
                </a:rPr>
                <a:t>led to several changes: </a:t>
              </a:r>
            </a:p>
            <a:p>
              <a:pPr marL="396875" lvl="4" indent="-171450" algn="just">
                <a:buFont typeface="Courier New" panose="02070309020205020404" pitchFamily="49" charset="0"/>
                <a:buChar char="o"/>
                <a:defRPr/>
              </a:pPr>
              <a:r>
                <a:rPr lang="en-US" sz="1050" dirty="0">
                  <a:solidFill>
                    <a:schemeClr val="tx1"/>
                  </a:solidFill>
                  <a:latin typeface="Arial" panose="020B0604020202020204" pitchFamily="34" charset="0"/>
                  <a:ea typeface="Times New Roman" panose="02020603050405020304" pitchFamily="18" charset="0"/>
                  <a:cs typeface="Arial" panose="020B0604020202020204" pitchFamily="34" charset="0"/>
                </a:rPr>
                <a:t>New seed legislation and liberalization of the seed industry for the benefit of seed companies</a:t>
              </a:r>
              <a:endParaRPr lang="en-GB" sz="1050" dirty="0">
                <a:solidFill>
                  <a:schemeClr val="tx1"/>
                </a:solidFill>
                <a:latin typeface="Arial" panose="020B0604020202020204" pitchFamily="34" charset="0"/>
                <a:ea typeface="Times New Roman" panose="02020603050405020304" pitchFamily="18" charset="0"/>
                <a:cs typeface="Arial" panose="020B0604020202020204" pitchFamily="34" charset="0"/>
              </a:endParaRPr>
            </a:p>
            <a:p>
              <a:pPr marL="395288" lvl="2" indent="-171450" algn="just">
                <a:buSzPts val="1100"/>
                <a:buFont typeface="Courier New" panose="02070309020205020404" pitchFamily="49" charset="0"/>
                <a:buChar char="o"/>
                <a:defRPr/>
              </a:pPr>
              <a:r>
                <a:rPr lang="en-US" sz="1050" dirty="0">
                  <a:solidFill>
                    <a:schemeClr val="tx1"/>
                  </a:solidFill>
                  <a:latin typeface="Arial" panose="020B0604020202020204" pitchFamily="34" charset="0"/>
                  <a:ea typeface="Times New Roman" panose="02020603050405020304" pitchFamily="18" charset="0"/>
                  <a:cs typeface="Arial" panose="020B0604020202020204" pitchFamily="34" charset="0"/>
                </a:rPr>
                <a:t>National Seed Committee (CNS) </a:t>
              </a:r>
              <a:endParaRPr lang="en-US" sz="1050" dirty="0" smtClean="0">
                <a:solidFill>
                  <a:schemeClr val="tx1"/>
                </a:solidFill>
                <a:latin typeface="Arial" panose="020B0604020202020204" pitchFamily="34" charset="0"/>
                <a:ea typeface="Times New Roman" panose="02020603050405020304" pitchFamily="18" charset="0"/>
                <a:cs typeface="Arial" panose="020B0604020202020204" pitchFamily="34" charset="0"/>
              </a:endParaRPr>
            </a:p>
            <a:p>
              <a:pPr marL="395288" lvl="2" indent="-171450" algn="just">
                <a:buSzPts val="1100"/>
                <a:buFont typeface="Courier New" panose="02070309020205020404" pitchFamily="49" charset="0"/>
                <a:buChar char="o"/>
                <a:defRPr/>
              </a:pPr>
              <a:r>
                <a:rPr lang="en-US" sz="1050" dirty="0" smtClean="0">
                  <a:solidFill>
                    <a:schemeClr val="tx1"/>
                  </a:solidFill>
                  <a:latin typeface="Arial" panose="020B0604020202020204" pitchFamily="34" charset="0"/>
                  <a:ea typeface="Times New Roman" panose="02020603050405020304" pitchFamily="18" charset="0"/>
                  <a:cs typeface="Arial" panose="020B0604020202020204" pitchFamily="34" charset="0"/>
                </a:rPr>
                <a:t>National </a:t>
              </a:r>
              <a:r>
                <a:rPr lang="en-US" sz="1050" dirty="0">
                  <a:solidFill>
                    <a:schemeClr val="tx1"/>
                  </a:solidFill>
                  <a:latin typeface="Arial" panose="020B0604020202020204" pitchFamily="34" charset="0"/>
                  <a:ea typeface="Times New Roman" panose="02020603050405020304" pitchFamily="18" charset="0"/>
                  <a:cs typeface="Arial" panose="020B0604020202020204" pitchFamily="34" charset="0"/>
                </a:rPr>
                <a:t>body for fertilizer control and specified conditions and modalities for registration of distributors and wholesalers required by law</a:t>
              </a:r>
              <a:endParaRPr lang="en-GB" sz="1050" dirty="0">
                <a:solidFill>
                  <a:schemeClr val="tx1"/>
                </a:solidFill>
                <a:latin typeface="Arial" panose="020B0604020202020204" pitchFamily="34" charset="0"/>
                <a:ea typeface="Times New Roman" panose="02020603050405020304" pitchFamily="18" charset="0"/>
                <a:cs typeface="Arial" panose="020B0604020202020204" pitchFamily="34" charset="0"/>
              </a:endParaRPr>
            </a:p>
            <a:p>
              <a:pPr algn="just">
                <a:buSzPts val="1100"/>
                <a:defRPr/>
              </a:pPr>
              <a:r>
                <a:rPr lang="en-US" sz="1050" dirty="0" smtClean="0">
                  <a:latin typeface="Arial" panose="020B0604020202020204" pitchFamily="34" charset="0"/>
                  <a:ea typeface="Times New Roman" panose="02020603050405020304" pitchFamily="18" charset="0"/>
                  <a:cs typeface="Arial" panose="020B0604020202020204" pitchFamily="34" charset="0"/>
                </a:rPr>
                <a:t>Despite </a:t>
              </a:r>
              <a:r>
                <a:rPr lang="en-US" sz="1050" dirty="0">
                  <a:latin typeface="Arial" panose="020B0604020202020204" pitchFamily="34" charset="0"/>
                  <a:ea typeface="Times New Roman" panose="02020603050405020304" pitchFamily="18" charset="0"/>
                  <a:cs typeface="Arial" panose="020B0604020202020204" pitchFamily="34" charset="0"/>
                </a:rPr>
                <a:t>these efforts by Government, the cost of doing business in agriculture still remains high.  The World Bank Enabling Business of Agriculture (EBA) </a:t>
              </a:r>
            </a:p>
            <a:p>
              <a:pPr algn="just">
                <a:buSzPts val="1100"/>
                <a:defRPr/>
              </a:pPr>
              <a:r>
                <a:rPr lang="en-US" sz="1050" dirty="0">
                  <a:latin typeface="Arial" panose="020B0604020202020204" pitchFamily="34" charset="0"/>
                  <a:ea typeface="Times New Roman" panose="02020603050405020304" pitchFamily="18" charset="0"/>
                  <a:cs typeface="Arial" panose="020B0604020202020204" pitchFamily="34" charset="0"/>
                </a:rPr>
                <a:t>2017 which </a:t>
              </a:r>
              <a:r>
                <a:rPr lang="en-US" sz="1050" dirty="0"/>
                <a:t>measures laws and regulations that impact the business environment for a sustainable and thriving agricultural sector ranked Mali 52/62 in the seed sector; 23/62 in Fertilizer; 61/62 in Machinery; 41/62 in Finance; 44/62 in Transport and 50/62 in Water.  </a:t>
              </a:r>
              <a:r>
                <a:rPr lang="en-US" sz="1050" dirty="0">
                  <a:latin typeface="Arial" panose="020B0604020202020204" pitchFamily="34" charset="0"/>
                  <a:ea typeface="Times New Roman" panose="02020603050405020304" pitchFamily="18" charset="0"/>
                  <a:cs typeface="Arial" panose="020B0604020202020204" pitchFamily="34" charset="0"/>
                </a:rPr>
                <a:t>There is therefore need for follow up at the administrative and legislative processes and stages to see through implementation.  </a:t>
              </a:r>
            </a:p>
            <a:p>
              <a:pPr algn="just">
                <a:defRPr/>
              </a:pPr>
              <a:endParaRPr lang="en-US" sz="1050" dirty="0">
                <a:latin typeface="Arial" panose="020B0604020202020204" pitchFamily="34" charset="0"/>
                <a:ea typeface="Times New Roman" panose="02020603050405020304" pitchFamily="18" charset="0"/>
                <a:cs typeface="Arial" panose="020B0604020202020204" pitchFamily="34" charset="0"/>
              </a:endParaRPr>
            </a:p>
            <a:p>
              <a:pPr algn="just">
                <a:defRPr/>
              </a:pPr>
              <a:r>
                <a:rPr lang="en-US" sz="1050" dirty="0">
                  <a:solidFill>
                    <a:schemeClr val="tx1"/>
                  </a:solidFill>
                  <a:latin typeface="Arial" panose="020B0604020202020204" pitchFamily="34" charset="0"/>
                  <a:ea typeface="Times New Roman" panose="02020603050405020304" pitchFamily="18" charset="0"/>
                  <a:cs typeface="Arial" panose="020B0604020202020204" pitchFamily="34" charset="0"/>
                </a:rPr>
                <a:t>Priority policies that should be addressed </a:t>
              </a:r>
              <a:r>
                <a:rPr lang="en-US" sz="1050" dirty="0" smtClean="0">
                  <a:solidFill>
                    <a:schemeClr val="tx1"/>
                  </a:solidFill>
                  <a:latin typeface="Arial" panose="020B0604020202020204" pitchFamily="34" charset="0"/>
                  <a:ea typeface="Times New Roman" panose="02020603050405020304" pitchFamily="18" charset="0"/>
                  <a:cs typeface="Arial" panose="020B0604020202020204" pitchFamily="34" charset="0"/>
                </a:rPr>
                <a:t>and in line with the commitment for the next years BR include</a:t>
              </a:r>
              <a:r>
                <a:rPr lang="en-US" sz="1050" dirty="0">
                  <a:solidFill>
                    <a:schemeClr val="tx1"/>
                  </a:solidFill>
                  <a:latin typeface="Arial" panose="020B0604020202020204" pitchFamily="34" charset="0"/>
                  <a:ea typeface="Times New Roman" panose="02020603050405020304" pitchFamily="18" charset="0"/>
                  <a:cs typeface="Arial" panose="020B0604020202020204" pitchFamily="34" charset="0"/>
                </a:rPr>
                <a:t>:</a:t>
              </a:r>
              <a:endParaRPr lang="en-GB" sz="1050" dirty="0">
                <a:solidFill>
                  <a:schemeClr val="tx1"/>
                </a:solidFill>
                <a:latin typeface="Arial" panose="020B0604020202020204" pitchFamily="34" charset="0"/>
                <a:ea typeface="Times New Roman" panose="02020603050405020304" pitchFamily="18" charset="0"/>
                <a:cs typeface="Arial" panose="020B0604020202020204" pitchFamily="34" charset="0"/>
              </a:endParaRPr>
            </a:p>
            <a:p>
              <a:pPr marL="171450" indent="-171450" algn="just">
                <a:buSzPts val="1100"/>
                <a:buFont typeface="Arial" panose="020B0604020202020204" pitchFamily="34" charset="0"/>
                <a:buChar char="•"/>
                <a:defRPr/>
              </a:pPr>
              <a:r>
                <a:rPr lang="en-US" sz="1050" dirty="0">
                  <a:solidFill>
                    <a:schemeClr val="tx1"/>
                  </a:solidFill>
                  <a:latin typeface="Arial" panose="020B0604020202020204" pitchFamily="34" charset="0"/>
                  <a:ea typeface="Times New Roman" panose="02020603050405020304" pitchFamily="18" charset="0"/>
                  <a:cs typeface="Arial" panose="020B0604020202020204" pitchFamily="34" charset="0"/>
                </a:rPr>
                <a:t>Implementation of ECOWAS harmonized rules governing quality control, certification and marketing of plant seeds, seedlings, fertilizers, grades and standards, weights and measures;</a:t>
              </a:r>
              <a:endParaRPr lang="en-GB" sz="1050" dirty="0">
                <a:solidFill>
                  <a:schemeClr val="tx1"/>
                </a:solidFill>
                <a:latin typeface="Arial" panose="020B0604020202020204" pitchFamily="34" charset="0"/>
                <a:ea typeface="Times New Roman" panose="02020603050405020304" pitchFamily="18" charset="0"/>
                <a:cs typeface="Arial" panose="020B0604020202020204" pitchFamily="34" charset="0"/>
              </a:endParaRPr>
            </a:p>
            <a:p>
              <a:pPr marL="171450" indent="-171450" algn="just">
                <a:buSzPts val="1100"/>
                <a:buFont typeface="Arial" panose="020B0604020202020204" pitchFamily="34" charset="0"/>
                <a:buChar char="•"/>
                <a:defRPr/>
              </a:pPr>
              <a:r>
                <a:rPr lang="en-US" sz="1050" dirty="0">
                  <a:solidFill>
                    <a:schemeClr val="tx1"/>
                  </a:solidFill>
                  <a:latin typeface="Arial" panose="020B0604020202020204" pitchFamily="34" charset="0"/>
                  <a:ea typeface="Times New Roman" panose="02020603050405020304" pitchFamily="18" charset="0"/>
                  <a:cs typeface="Arial" panose="020B0604020202020204" pitchFamily="34" charset="0"/>
                </a:rPr>
                <a:t>Set up regulation for operationalizing the Warrantage Act,</a:t>
              </a:r>
              <a:endParaRPr lang="en-GB" sz="1050" dirty="0">
                <a:solidFill>
                  <a:schemeClr val="tx1"/>
                </a:solidFill>
                <a:latin typeface="Arial" panose="020B0604020202020204" pitchFamily="34" charset="0"/>
                <a:ea typeface="Times New Roman" panose="02020603050405020304" pitchFamily="18" charset="0"/>
                <a:cs typeface="Arial" panose="020B0604020202020204" pitchFamily="34" charset="0"/>
              </a:endParaRPr>
            </a:p>
            <a:p>
              <a:pPr marL="171450" indent="-171450" algn="just">
                <a:buSzPts val="1100"/>
                <a:buFont typeface="Arial" panose="020B0604020202020204" pitchFamily="34" charset="0"/>
                <a:buChar char="•"/>
                <a:defRPr/>
              </a:pPr>
              <a:r>
                <a:rPr lang="en-US" sz="1050" dirty="0">
                  <a:solidFill>
                    <a:schemeClr val="tx1"/>
                  </a:solidFill>
                  <a:latin typeface="Arial" panose="020B0604020202020204" pitchFamily="34" charset="0"/>
                  <a:ea typeface="Times New Roman" panose="02020603050405020304" pitchFamily="18" charset="0"/>
                  <a:cs typeface="Arial" panose="020B0604020202020204" pitchFamily="34" charset="0"/>
                </a:rPr>
                <a:t>Develop a policy and legislative framework for agricultural mechaniza</a:t>
              </a:r>
              <a:r>
                <a:rPr lang="en-US" sz="1050" dirty="0">
                  <a:latin typeface="Arial" panose="020B0604020202020204" pitchFamily="34" charset="0"/>
                  <a:ea typeface="Times New Roman" panose="02020603050405020304" pitchFamily="18" charset="0"/>
                  <a:cs typeface="Arial" panose="020B0604020202020204" pitchFamily="34" charset="0"/>
                </a:rPr>
                <a:t>tion </a:t>
              </a:r>
            </a:p>
          </p:txBody>
        </p:sp>
      </p:grpSp>
      <p:grpSp>
        <p:nvGrpSpPr>
          <p:cNvPr id="13" name="Group 12"/>
          <p:cNvGrpSpPr/>
          <p:nvPr/>
        </p:nvGrpSpPr>
        <p:grpSpPr>
          <a:xfrm>
            <a:off x="5101764" y="914400"/>
            <a:ext cx="4595392" cy="2641604"/>
            <a:chOff x="747778" y="1056460"/>
            <a:chExt cx="3003263" cy="940045"/>
          </a:xfrm>
        </p:grpSpPr>
        <p:sp>
          <p:nvSpPr>
            <p:cNvPr id="14" name="Google Shape;253;p38"/>
            <p:cNvSpPr/>
            <p:nvPr/>
          </p:nvSpPr>
          <p:spPr>
            <a:xfrm>
              <a:off x="764824" y="1056460"/>
              <a:ext cx="2977989" cy="136587"/>
            </a:xfrm>
            <a:prstGeom prst="rect">
              <a:avLst/>
            </a:prstGeom>
            <a:solidFill>
              <a:srgbClr val="E1EFD8"/>
            </a:solidFill>
            <a:ln w="12700" cap="flat" cmpd="sng">
              <a:solidFill>
                <a:srgbClr val="7F7F7F"/>
              </a:solidFill>
              <a:prstDash val="solid"/>
              <a:miter lim="800000"/>
              <a:headEnd type="none" w="sm" len="sm"/>
              <a:tailEnd type="none" w="sm" len="sm"/>
            </a:ln>
          </p:spPr>
          <p:txBody>
            <a:bodyPr spcFirstLastPara="1" wrap="square" lIns="91425" tIns="45700" rIns="91425" bIns="45700" anchor="ctr" anchorCtr="0">
              <a:noAutofit/>
            </a:bodyPr>
            <a:lstStyle/>
            <a:p>
              <a:r>
                <a:rPr lang="en-US" sz="1200" b="1" dirty="0"/>
                <a:t>4. Profile of a Smallholder Farmer</a:t>
              </a:r>
              <a:endParaRPr sz="1200" dirty="0"/>
            </a:p>
          </p:txBody>
        </p:sp>
        <p:sp>
          <p:nvSpPr>
            <p:cNvPr id="15" name="Google Shape;255;p38"/>
            <p:cNvSpPr/>
            <p:nvPr/>
          </p:nvSpPr>
          <p:spPr>
            <a:xfrm>
              <a:off x="747778" y="1230186"/>
              <a:ext cx="3003263" cy="766319"/>
            </a:xfrm>
            <a:prstGeom prst="rect">
              <a:avLst/>
            </a:prstGeom>
            <a:noFill/>
            <a:ln w="12700" cap="flat" cmpd="sng">
              <a:solidFill>
                <a:srgbClr val="7F7F7F"/>
              </a:solidFill>
              <a:prstDash val="solid"/>
              <a:miter lim="800000"/>
              <a:headEnd type="none" w="sm" len="sm"/>
              <a:tailEnd type="none" w="sm" len="sm"/>
            </a:ln>
          </p:spPr>
          <p:txBody>
            <a:bodyPr spcFirstLastPara="1" wrap="square" lIns="91425" tIns="45700" rIns="91425" bIns="45700" anchor="t" anchorCtr="0">
              <a:noAutofit/>
            </a:bodyPr>
            <a:lstStyle/>
            <a:p>
              <a:pPr marL="171450" lvl="2" indent="-171450">
                <a:buClr>
                  <a:srgbClr val="385623"/>
                </a:buClr>
                <a:buSzPts val="1050"/>
                <a:buFont typeface="Arial" panose="020B0604020202020204" pitchFamily="34" charset="0"/>
                <a:buChar char="•"/>
              </a:pPr>
              <a:r>
                <a:rPr lang="en-US" sz="1050" dirty="0"/>
                <a:t>Estimates show that 23% of farmers using improved varieties of seed</a:t>
              </a:r>
            </a:p>
            <a:p>
              <a:pPr marL="171450" indent="-171450">
                <a:buClr>
                  <a:srgbClr val="385623"/>
                </a:buClr>
                <a:buSzPts val="1050"/>
                <a:buFont typeface="Arial" panose="020B0604020202020204" pitchFamily="34" charset="0"/>
                <a:buChar char="•"/>
              </a:pPr>
              <a:r>
                <a:rPr lang="en-US" sz="1050" dirty="0">
                  <a:solidFill>
                    <a:schemeClr val="tx1"/>
                  </a:solidFill>
                </a:rPr>
                <a:t>On average, a farmer in Mali has to travel ~17 km to access an agro-dealer</a:t>
              </a:r>
              <a:r>
                <a:rPr lang="en-US" sz="1050" baseline="30000" dirty="0">
                  <a:solidFill>
                    <a:schemeClr val="tx1"/>
                  </a:solidFill>
                </a:rPr>
                <a:t> </a:t>
              </a:r>
            </a:p>
            <a:p>
              <a:pPr marL="171450" indent="-171450">
                <a:buClr>
                  <a:srgbClr val="385623"/>
                </a:buClr>
                <a:buSzPts val="1050"/>
                <a:buFont typeface="Arial" panose="020B0604020202020204" pitchFamily="34" charset="0"/>
                <a:buChar char="•"/>
              </a:pPr>
              <a:r>
                <a:rPr lang="en-US" sz="1050" dirty="0">
                  <a:solidFill>
                    <a:schemeClr val="tx1"/>
                  </a:solidFill>
                </a:rPr>
                <a:t>The extension agent to farmer ratio is 1:4,702</a:t>
              </a:r>
              <a:r>
                <a:rPr lang="en-US" sz="1050" baseline="30000" dirty="0">
                  <a:solidFill>
                    <a:schemeClr val="tx1"/>
                  </a:solidFill>
                </a:rPr>
                <a:t> </a:t>
              </a:r>
              <a:r>
                <a:rPr lang="en-US" sz="1050" dirty="0">
                  <a:solidFill>
                    <a:schemeClr val="tx1"/>
                  </a:solidFill>
                </a:rPr>
                <a:t>which is much higher than the region and </a:t>
              </a:r>
              <a:r>
                <a:rPr lang="en-US" sz="1050" dirty="0" smtClean="0">
                  <a:solidFill>
                    <a:schemeClr val="tx1"/>
                  </a:solidFill>
                </a:rPr>
                <a:t>some countries in SSA</a:t>
              </a:r>
              <a:endParaRPr lang="en-US" sz="1050" baseline="30000" dirty="0">
                <a:solidFill>
                  <a:schemeClr val="tx1"/>
                </a:solidFill>
              </a:endParaRPr>
            </a:p>
            <a:p>
              <a:pPr marL="171450" indent="-171450">
                <a:buClr>
                  <a:srgbClr val="385623"/>
                </a:buClr>
                <a:buSzPts val="1050"/>
                <a:buFont typeface="Arial" panose="020B0604020202020204" pitchFamily="34" charset="0"/>
                <a:buChar char="•"/>
              </a:pPr>
              <a:r>
                <a:rPr lang="en-US" sz="1050" dirty="0">
                  <a:solidFill>
                    <a:schemeClr val="tx1"/>
                  </a:solidFill>
                </a:rPr>
                <a:t>Fertilizer use stands at 28 kg/ha against a 50kg/ha recommendation but higher than the region and SSA</a:t>
              </a:r>
            </a:p>
            <a:p>
              <a:pPr marL="171450" indent="-171450">
                <a:buFont typeface="Arial" panose="020B0604020202020204" pitchFamily="34" charset="0"/>
                <a:buChar char="•"/>
              </a:pPr>
              <a:r>
                <a:rPr lang="en-US" sz="1050" dirty="0">
                  <a:solidFill>
                    <a:schemeClr val="tx1"/>
                  </a:solidFill>
                </a:rPr>
                <a:t>Millet, sorghum, maize, and cowpea are the basic staple crops and are produced by 90% of farmers for subsistence; </a:t>
              </a:r>
            </a:p>
            <a:p>
              <a:pPr marL="171450" indent="-171450">
                <a:buFont typeface="Arial" panose="020B0604020202020204" pitchFamily="34" charset="0"/>
                <a:buChar char="•"/>
              </a:pPr>
              <a:r>
                <a:rPr lang="en-US" sz="1050" dirty="0">
                  <a:solidFill>
                    <a:schemeClr val="tx1"/>
                  </a:solidFill>
                </a:rPr>
                <a:t>Yields of these crops </a:t>
              </a:r>
              <a:r>
                <a:rPr lang="en-US" sz="1050" dirty="0" smtClean="0">
                  <a:solidFill>
                    <a:schemeClr val="tx1"/>
                  </a:solidFill>
                </a:rPr>
                <a:t>are </a:t>
              </a:r>
              <a:r>
                <a:rPr lang="en-US" sz="1050" dirty="0">
                  <a:solidFill>
                    <a:schemeClr val="tx1"/>
                  </a:solidFill>
                </a:rPr>
                <a:t>much lower than the optimal with maize at 2.7 MT/HA against 8 MT/HA; millet 0.83 MT/HA against 2.5MT/HA; sorghum 0.95 MT/HA against 3.5 MT/HA; cowpea being 0,58 MT/HA against 2MT</a:t>
              </a:r>
            </a:p>
          </p:txBody>
        </p:sp>
      </p:grpSp>
      <p:pic>
        <p:nvPicPr>
          <p:cNvPr id="16" name="Picture 15"/>
          <p:cNvPicPr>
            <a:picLocks noChangeAspect="1"/>
          </p:cNvPicPr>
          <p:nvPr/>
        </p:nvPicPr>
        <p:blipFill>
          <a:blip r:embed="rId9"/>
          <a:stretch>
            <a:fillRect/>
          </a:stretch>
        </p:blipFill>
        <p:spPr>
          <a:xfrm>
            <a:off x="5087404" y="3815643"/>
            <a:ext cx="4609752" cy="2562579"/>
          </a:xfrm>
          <a:prstGeom prst="rect">
            <a:avLst/>
          </a:prstGeom>
        </p:spPr>
      </p:pic>
      <p:sp>
        <p:nvSpPr>
          <p:cNvPr id="3" name="Rectangle 2"/>
          <p:cNvSpPr/>
          <p:nvPr/>
        </p:nvSpPr>
        <p:spPr>
          <a:xfrm>
            <a:off x="5836023" y="3778624"/>
            <a:ext cx="3133165" cy="4437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Target Crops Current Yields vs. Potential</a:t>
            </a:r>
            <a:endParaRPr lang="en-US" sz="1200" dirty="0">
              <a:solidFill>
                <a:schemeClr val="tx1"/>
              </a:solidFill>
            </a:endParaRPr>
          </a:p>
        </p:txBody>
      </p:sp>
    </p:spTree>
    <p:extLst>
      <p:ext uri="{BB962C8B-B14F-4D97-AF65-F5344CB8AC3E}">
        <p14:creationId xmlns:p14="http://schemas.microsoft.com/office/powerpoint/2010/main" val="410761012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50"/>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063" name="think-cell Slide" r:id="rId5" imgW="395" imgH="396" progId="TCLayout.ActiveDocument.1">
                  <p:embed/>
                </p:oleObj>
              </mc:Choice>
              <mc:Fallback>
                <p:oleObj name="think-cell Slide" r:id="rId5" imgW="395" imgH="396"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51" name="Google Shape;251;p38"/>
          <p:cNvPicPr preferRelativeResize="0"/>
          <p:nvPr/>
        </p:nvPicPr>
        <p:blipFill rotWithShape="1">
          <a:blip r:embed="rId7">
            <a:alphaModFix/>
          </a:blip>
          <a:srcRect/>
          <a:stretch/>
        </p:blipFill>
        <p:spPr>
          <a:xfrm>
            <a:off x="1588" y="1588"/>
            <a:ext cx="1588" cy="1588"/>
          </a:xfrm>
          <a:prstGeom prst="rect">
            <a:avLst/>
          </a:prstGeom>
          <a:noFill/>
          <a:ln>
            <a:noFill/>
          </a:ln>
        </p:spPr>
      </p:pic>
      <p:sp>
        <p:nvSpPr>
          <p:cNvPr id="252" name="Google Shape;252;p38"/>
          <p:cNvSpPr txBox="1">
            <a:spLocks noGrp="1"/>
          </p:cNvSpPr>
          <p:nvPr>
            <p:ph type="title"/>
          </p:nvPr>
        </p:nvSpPr>
        <p:spPr>
          <a:xfrm>
            <a:off x="450741" y="32458"/>
            <a:ext cx="7245459" cy="530960"/>
          </a:xfrm>
          <a:prstGeom prst="rect">
            <a:avLst/>
          </a:prstGeom>
          <a:noFill/>
          <a:ln>
            <a:noFill/>
          </a:ln>
        </p:spPr>
        <p:txBody>
          <a:bodyPr spcFirstLastPara="1" wrap="square" lIns="0" tIns="0" rIns="0" bIns="0" anchor="b" anchorCtr="0">
            <a:noAutofit/>
          </a:bodyPr>
          <a:lstStyle/>
          <a:p>
            <a:pPr marL="0" marR="0" lvl="0" indent="0" rtl="0">
              <a:lnSpc>
                <a:spcPct val="90000"/>
              </a:lnSpc>
              <a:spcBef>
                <a:spcPts val="0"/>
              </a:spcBef>
              <a:spcAft>
                <a:spcPts val="0"/>
              </a:spcAft>
              <a:buClr>
                <a:schemeClr val="dk1"/>
              </a:buClr>
              <a:buSzPts val="2200"/>
              <a:buFont typeface="Arial"/>
              <a:buNone/>
            </a:pPr>
            <a:r>
              <a:rPr lang="en-US" sz="1800" b="1" i="0" u="none" strike="noStrike" cap="none" dirty="0">
                <a:solidFill>
                  <a:schemeClr val="tx1"/>
                </a:solidFill>
                <a:latin typeface="Arial"/>
                <a:ea typeface="Arial"/>
                <a:cs typeface="Arial"/>
                <a:sym typeface="Arial"/>
              </a:rPr>
              <a:t>Donor funding accounts for 16% of total spend in Agriculture with 33 donors being the largest funders</a:t>
            </a:r>
            <a:endParaRPr sz="1800" b="1" i="1" u="none" strike="noStrike" cap="none" dirty="0">
              <a:solidFill>
                <a:schemeClr val="tx1"/>
              </a:solidFill>
              <a:latin typeface="Arial"/>
              <a:ea typeface="Arial"/>
              <a:cs typeface="Arial"/>
              <a:sym typeface="Arial"/>
            </a:endParaRPr>
          </a:p>
        </p:txBody>
      </p:sp>
      <p:sp>
        <p:nvSpPr>
          <p:cNvPr id="254" name="Google Shape;254;p38"/>
          <p:cNvSpPr/>
          <p:nvPr/>
        </p:nvSpPr>
        <p:spPr>
          <a:xfrm>
            <a:off x="319508" y="735831"/>
            <a:ext cx="9167364" cy="350646"/>
          </a:xfrm>
          <a:prstGeom prst="rect">
            <a:avLst/>
          </a:prstGeom>
          <a:solidFill>
            <a:srgbClr val="C4E0B2"/>
          </a:solidFill>
          <a:ln w="12700" cap="flat" cmpd="sng">
            <a:solidFill>
              <a:srgbClr val="7F7F7F"/>
            </a:solidFill>
            <a:prstDash val="solid"/>
            <a:miter lim="800000"/>
            <a:headEnd type="none" w="sm" len="sm"/>
            <a:tailEnd type="none" w="sm" len="sm"/>
          </a:ln>
        </p:spPr>
        <p:txBody>
          <a:bodyPr spcFirstLastPara="1" wrap="square" lIns="91425" tIns="45700" rIns="91425" bIns="45700" anchor="ctr" anchorCtr="0">
            <a:noAutofit/>
          </a:bodyPr>
          <a:lstStyle/>
          <a:p>
            <a:pPr>
              <a:defRPr/>
            </a:pPr>
            <a:r>
              <a:rPr lang="en-US" sz="1200" b="1" dirty="0"/>
              <a:t>5</a:t>
            </a:r>
            <a:r>
              <a:rPr lang="en-US" sz="1200" dirty="0"/>
              <a:t>. </a:t>
            </a:r>
            <a:r>
              <a:rPr lang="en-US" sz="1200" b="1" dirty="0"/>
              <a:t>The Donor Landscape</a:t>
            </a:r>
            <a:endParaRPr lang="en-US" sz="1200" dirty="0"/>
          </a:p>
        </p:txBody>
      </p:sp>
      <p:sp>
        <p:nvSpPr>
          <p:cNvPr id="257" name="Google Shape;257;p38"/>
          <p:cNvSpPr/>
          <p:nvPr/>
        </p:nvSpPr>
        <p:spPr>
          <a:xfrm>
            <a:off x="315897" y="1121703"/>
            <a:ext cx="9080652" cy="1237675"/>
          </a:xfrm>
          <a:prstGeom prst="rect">
            <a:avLst/>
          </a:prstGeom>
          <a:noFill/>
          <a:ln w="12700" cap="flat" cmpd="sng">
            <a:solidFill>
              <a:srgbClr val="7F7F7F"/>
            </a:solidFill>
            <a:prstDash val="solid"/>
            <a:miter lim="800000"/>
            <a:headEnd type="none" w="sm" len="sm"/>
            <a:tailEnd type="none" w="sm" len="sm"/>
          </a:ln>
        </p:spPr>
        <p:txBody>
          <a:bodyPr spcFirstLastPara="1" wrap="square" lIns="91425" tIns="45700" rIns="91425" bIns="45700" anchor="t" anchorCtr="0">
            <a:noAutofit/>
          </a:bodyPr>
          <a:lstStyle/>
          <a:p>
            <a:pPr marL="171450" indent="-171450">
              <a:buClr>
                <a:srgbClr val="385623"/>
              </a:buClr>
              <a:buSzPts val="1050"/>
              <a:buFont typeface="Arial" panose="020B0604020202020204" pitchFamily="34" charset="0"/>
              <a:buChar char="•"/>
              <a:defRPr/>
            </a:pPr>
            <a:r>
              <a:rPr lang="en-US" sz="1000" dirty="0">
                <a:latin typeface="Arial" panose="020B0604020202020204" pitchFamily="34" charset="0"/>
                <a:cs typeface="Arial" panose="020B0604020202020204" pitchFamily="34" charset="0"/>
              </a:rPr>
              <a:t>The World Bank is the leading multilateral financial partner of the sector with 20% of the total financing acquired at sector level followed by the African Development Bank with at 13% and the Islamic Development Bank with at 10%</a:t>
            </a:r>
          </a:p>
          <a:p>
            <a:pPr marL="171450" indent="-171450">
              <a:buClr>
                <a:srgbClr val="385623"/>
              </a:buClr>
              <a:buSzPts val="1050"/>
              <a:buFont typeface="Arial" panose="020B0604020202020204" pitchFamily="34" charset="0"/>
              <a:buChar char="•"/>
              <a:defRPr/>
            </a:pPr>
            <a:r>
              <a:rPr lang="en-US" sz="1000" dirty="0">
                <a:latin typeface="Arial" panose="020B0604020202020204" pitchFamily="34" charset="0"/>
                <a:cs typeface="Arial" panose="020B0604020202020204" pitchFamily="34" charset="0"/>
              </a:rPr>
              <a:t>Approximately 26% of Mali ODA budget of CFAF 222,657 billion goes toward the sector. </a:t>
            </a:r>
          </a:p>
          <a:p>
            <a:pPr marL="171450" indent="-171450">
              <a:buClr>
                <a:srgbClr val="385623"/>
              </a:buClr>
              <a:buSzPts val="1050"/>
              <a:buFont typeface="Arial" panose="020B0604020202020204" pitchFamily="34" charset="0"/>
              <a:buChar char="•"/>
              <a:defRPr/>
            </a:pPr>
            <a:r>
              <a:rPr lang="en-US" sz="1000" dirty="0">
                <a:latin typeface="Arial" panose="020B0604020202020204" pitchFamily="34" charset="0"/>
                <a:cs typeface="Arial" panose="020B0604020202020204" pitchFamily="34" charset="0"/>
              </a:rPr>
              <a:t>The National Fund for Agricultural Supports:</a:t>
            </a:r>
          </a:p>
          <a:p>
            <a:pPr marL="442913" lvl="2" indent="-174625">
              <a:buClr>
                <a:srgbClr val="385623"/>
              </a:buClr>
              <a:buSzPts val="1050"/>
              <a:buFont typeface="Wingdings" panose="05000000000000000000" pitchFamily="2" charset="2"/>
              <a:buChar char="ü"/>
              <a:defRPr/>
            </a:pPr>
            <a:r>
              <a:rPr lang="en-US" sz="1000" dirty="0">
                <a:latin typeface="Arial" panose="020B0604020202020204" pitchFamily="34" charset="0"/>
                <a:cs typeface="Arial" panose="020B0604020202020204" pitchFamily="34" charset="0"/>
              </a:rPr>
              <a:t>the "Agricultural Development" window</a:t>
            </a:r>
          </a:p>
          <a:p>
            <a:pPr marL="442913" lvl="2" indent="-174625">
              <a:buClr>
                <a:srgbClr val="385623"/>
              </a:buClr>
              <a:buSzPts val="1050"/>
              <a:buFont typeface="Wingdings" panose="05000000000000000000" pitchFamily="2" charset="2"/>
              <a:buChar char="ü"/>
              <a:defRPr/>
            </a:pPr>
            <a:r>
              <a:rPr lang="en-US" sz="1000" dirty="0">
                <a:latin typeface="Arial" panose="020B0604020202020204" pitchFamily="34" charset="0"/>
                <a:cs typeface="Arial" panose="020B0604020202020204" pitchFamily="34" charset="0"/>
              </a:rPr>
              <a:t>the window "Risks and Agricultural Calamities"</a:t>
            </a:r>
          </a:p>
          <a:p>
            <a:pPr marL="442913" lvl="2" indent="-174625">
              <a:buClr>
                <a:srgbClr val="385623"/>
              </a:buClr>
              <a:buSzPts val="1050"/>
              <a:buFont typeface="Wingdings" panose="05000000000000000000" pitchFamily="2" charset="2"/>
              <a:buChar char="ü"/>
              <a:defRPr/>
            </a:pPr>
            <a:r>
              <a:rPr lang="en-US" sz="1000" dirty="0">
                <a:latin typeface="Arial" panose="020B0604020202020204" pitchFamily="34" charset="0"/>
                <a:cs typeface="Arial" panose="020B0604020202020204" pitchFamily="34" charset="0"/>
              </a:rPr>
              <a:t>the "Guarantee Fund" window</a:t>
            </a:r>
          </a:p>
          <a:p>
            <a:pPr lvl="8">
              <a:buClr>
                <a:srgbClr val="385623"/>
              </a:buClr>
              <a:buSzPts val="1050"/>
              <a:defRPr/>
            </a:pPr>
            <a:endParaRPr lang="en-US" dirty="0">
              <a:latin typeface="Calibri" panose="020F0502020204030204" pitchFamily="34" charset="0"/>
              <a:cs typeface="Calibri" panose="020F0502020204030204" pitchFamily="34" charset="0"/>
            </a:endParaRPr>
          </a:p>
        </p:txBody>
      </p:sp>
      <p:pic>
        <p:nvPicPr>
          <p:cNvPr id="3" name="Picture 2"/>
          <p:cNvPicPr>
            <a:picLocks noChangeAspect="1"/>
          </p:cNvPicPr>
          <p:nvPr/>
        </p:nvPicPr>
        <p:blipFill>
          <a:blip r:embed="rId8"/>
          <a:stretch>
            <a:fillRect/>
          </a:stretch>
        </p:blipFill>
        <p:spPr>
          <a:xfrm>
            <a:off x="308219" y="2563757"/>
            <a:ext cx="8610003" cy="3498917"/>
          </a:xfrm>
          <a:prstGeom prst="rect">
            <a:avLst/>
          </a:prstGeom>
        </p:spPr>
      </p:pic>
      <p:pic>
        <p:nvPicPr>
          <p:cNvPr id="8" name="Picture 22" descr="Image result for Canada logo"/>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492956" y="3264663"/>
            <a:ext cx="422024" cy="31651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2" descr="Image result for Canada logo"/>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606167" y="3839428"/>
            <a:ext cx="422024" cy="31651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71" descr="Image result for AfDB logo"/>
          <p:cNvPicPr>
            <a:picLocks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514000" y="3264663"/>
            <a:ext cx="231948" cy="23194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71" descr="Image result for AfDB logo"/>
          <p:cNvPicPr>
            <a:picLocks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841522" y="4523807"/>
            <a:ext cx="231948" cy="23194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descr="Logo Schweizer Wappen"/>
          <p:cNvPicPr/>
          <p:nvPr/>
        </p:nvPicPr>
        <p:blipFill rotWithShape="1">
          <a:blip r:embed="rId11" r:link="rId12">
            <a:extLst>
              <a:ext uri="{28A0092B-C50C-407E-A947-70E740481C1C}">
                <a14:useLocalDpi xmlns:a14="http://schemas.microsoft.com/office/drawing/2010/main" val="0"/>
              </a:ext>
            </a:extLst>
          </a:blip>
          <a:srcRect r="85437" b="8000"/>
          <a:stretch>
            <a:fillRect/>
          </a:stretch>
        </p:blipFill>
        <p:spPr bwMode="auto">
          <a:xfrm>
            <a:off x="6758396" y="4693744"/>
            <a:ext cx="225878" cy="261433"/>
          </a:xfrm>
          <a:prstGeom prst="rect">
            <a:avLst/>
          </a:prstGeom>
          <a:noFill/>
          <a:ln>
            <a:noFill/>
          </a:ln>
          <a:extLst>
            <a:ext uri="{53640926-AAD7-44D8-BBD7-CCE9431645EC}">
              <a14:shadowObscured xmlns:a14="http://schemas.microsoft.com/office/drawing/2010/main"/>
            </a:ext>
          </a:extLst>
        </p:spPr>
      </p:pic>
      <p:pic>
        <p:nvPicPr>
          <p:cNvPr id="15" name="Picture 14" descr="Logo Schweizer Wappen"/>
          <p:cNvPicPr/>
          <p:nvPr/>
        </p:nvPicPr>
        <p:blipFill rotWithShape="1">
          <a:blip r:embed="rId11" r:link="rId12">
            <a:extLst>
              <a:ext uri="{28A0092B-C50C-407E-A947-70E740481C1C}">
                <a14:useLocalDpi xmlns:a14="http://schemas.microsoft.com/office/drawing/2010/main" val="0"/>
              </a:ext>
            </a:extLst>
          </a:blip>
          <a:srcRect r="85437" b="8000"/>
          <a:stretch>
            <a:fillRect/>
          </a:stretch>
        </p:blipFill>
        <p:spPr bwMode="auto">
          <a:xfrm>
            <a:off x="7354933" y="4025229"/>
            <a:ext cx="225878" cy="261433"/>
          </a:xfrm>
          <a:prstGeom prst="rect">
            <a:avLst/>
          </a:prstGeom>
          <a:noFill/>
          <a:ln>
            <a:noFill/>
          </a:ln>
          <a:extLst>
            <a:ext uri="{53640926-AAD7-44D8-BBD7-CCE9431645EC}">
              <a14:shadowObscured xmlns:a14="http://schemas.microsoft.com/office/drawing/2010/main"/>
            </a:ext>
          </a:extLst>
        </p:spPr>
      </p:pic>
      <p:pic>
        <p:nvPicPr>
          <p:cNvPr id="16" name="Picture 20" descr="http://www.moc.gov.kh/images/weblinks/20150130143000057.jpg"/>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t="6118" b="41882"/>
          <a:stretch/>
        </p:blipFill>
        <p:spPr bwMode="auto">
          <a:xfrm>
            <a:off x="7386706" y="3697938"/>
            <a:ext cx="162331" cy="25353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0" descr="http://www.moc.gov.kh/images/weblinks/20150130143000057.jpg"/>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t="6118" b="41882"/>
          <a:stretch/>
        </p:blipFill>
        <p:spPr bwMode="auto">
          <a:xfrm>
            <a:off x="7354933" y="4624289"/>
            <a:ext cx="162331" cy="253534"/>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0" descr="http://www.moc.gov.kh/images/weblinks/20150130143000057.jpg"/>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t="6118" b="41882"/>
          <a:stretch/>
        </p:blipFill>
        <p:spPr bwMode="auto">
          <a:xfrm>
            <a:off x="3986933" y="3779557"/>
            <a:ext cx="173073" cy="270312"/>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0" descr="http://www.moc.gov.kh/images/weblinks/20150130143000057.jpg"/>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t="6118" b="41882"/>
          <a:stretch/>
        </p:blipFill>
        <p:spPr bwMode="auto">
          <a:xfrm>
            <a:off x="4683150" y="4523807"/>
            <a:ext cx="173073" cy="27031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descr="http://www.moc.gov.kh/images/weblinks/20150130143000057.jpg"/>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t="6118" b="41882"/>
          <a:stretch/>
        </p:blipFill>
        <p:spPr bwMode="auto">
          <a:xfrm>
            <a:off x="3986933" y="3245481"/>
            <a:ext cx="173073" cy="270312"/>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0" descr="http://www.moc.gov.kh/images/weblinks/20150130143000057.jpg"/>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t="6118" b="41882"/>
          <a:stretch/>
        </p:blipFill>
        <p:spPr bwMode="auto">
          <a:xfrm>
            <a:off x="9223476" y="5783809"/>
            <a:ext cx="173073" cy="270312"/>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descr="Home"/>
          <p:cNvPicPr/>
          <p:nvPr/>
        </p:nvPicPr>
        <p:blipFill>
          <a:blip r:embed="rId15" r:link="rId16">
            <a:extLst>
              <a:ext uri="{28A0092B-C50C-407E-A947-70E740481C1C}">
                <a14:useLocalDpi xmlns:a14="http://schemas.microsoft.com/office/drawing/2010/main" val="0"/>
              </a:ext>
            </a:extLst>
          </a:blip>
          <a:srcRect/>
          <a:stretch>
            <a:fillRect/>
          </a:stretch>
        </p:blipFill>
        <p:spPr bwMode="auto">
          <a:xfrm>
            <a:off x="4659024" y="6195524"/>
            <a:ext cx="670560" cy="349885"/>
          </a:xfrm>
          <a:prstGeom prst="rect">
            <a:avLst/>
          </a:prstGeom>
          <a:noFill/>
          <a:ln>
            <a:noFill/>
          </a:ln>
        </p:spPr>
      </p:pic>
    </p:spTree>
    <p:extLst>
      <p:ext uri="{BB962C8B-B14F-4D97-AF65-F5344CB8AC3E}">
        <p14:creationId xmlns:p14="http://schemas.microsoft.com/office/powerpoint/2010/main" val="214823470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spid="_x0000_s132114" name="think-cell Slide" r:id="rId5" imgW="270" imgH="270" progId="TCLayout.ActiveDocument.1">
                  <p:embed/>
                </p:oleObj>
              </mc:Choice>
              <mc:Fallback>
                <p:oleObj name="think-cell Slide" r:id="rId5" imgW="270" imgH="270" progId="TCLayout.ActiveDocument.1">
                  <p:embed/>
                  <p:pic>
                    <p:nvPicPr>
                      <p:cNvPr id="8" name="Object 7" hidden="1"/>
                      <p:cNvPicPr/>
                      <p:nvPr/>
                    </p:nvPicPr>
                    <p:blipFill>
                      <a:blip r:embed="rId6"/>
                      <a:stretch>
                        <a:fillRect/>
                      </a:stretch>
                    </p:blipFill>
                    <p:spPr>
                      <a:xfrm>
                        <a:off x="929978" y="644228"/>
                        <a:ext cx="1290" cy="1290"/>
                      </a:xfrm>
                      <a:prstGeom prst="rect">
                        <a:avLst/>
                      </a:prstGeom>
                    </p:spPr>
                  </p:pic>
                </p:oleObj>
              </mc:Fallback>
            </mc:AlternateContent>
          </a:graphicData>
        </a:graphic>
      </p:graphicFrame>
      <p:sp>
        <p:nvSpPr>
          <p:cNvPr id="7" name="Rectangle 6" hidden="1"/>
          <p:cNvSpPr/>
          <p:nvPr>
            <p:custDataLst>
              <p:tags r:id="rId3"/>
            </p:custDataLst>
          </p:nvPr>
        </p:nvSpPr>
        <p:spPr>
          <a:xfrm>
            <a:off x="928688" y="642938"/>
            <a:ext cx="128984" cy="1289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742950">
              <a:lnSpc>
                <a:spcPct val="90000"/>
              </a:lnSpc>
              <a:spcBef>
                <a:spcPct val="0"/>
              </a:spcBef>
              <a:spcAft>
                <a:spcPct val="0"/>
              </a:spcAft>
            </a:pPr>
            <a:endParaRPr lang="en-US" sz="1650" b="1" dirty="0">
              <a:solidFill>
                <a:srgbClr val="FFFFFF"/>
              </a:solidFill>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In addition to Macro-economic analysis, AGRA also carried out analysis of  specific systems to inform the strategy </a:t>
            </a:r>
            <a:r>
              <a:rPr lang="en-US" sz="1100" i="1" dirty="0"/>
              <a:t>(1 of 4)</a:t>
            </a:r>
          </a:p>
        </p:txBody>
      </p:sp>
      <p:sp>
        <p:nvSpPr>
          <p:cNvPr id="3" name="TextBox 2"/>
          <p:cNvSpPr txBox="1"/>
          <p:nvPr/>
        </p:nvSpPr>
        <p:spPr>
          <a:xfrm>
            <a:off x="404771" y="876558"/>
            <a:ext cx="2749680" cy="267446"/>
          </a:xfrm>
          <a:prstGeom prst="rect">
            <a:avLst/>
          </a:prstGeom>
          <a:noFill/>
        </p:spPr>
        <p:txBody>
          <a:bodyPr wrap="square" rtlCol="0">
            <a:spAutoFit/>
          </a:bodyPr>
          <a:lstStyle/>
          <a:p>
            <a:pPr defTabSz="742950"/>
            <a:r>
              <a:rPr lang="en-US" sz="1138" b="1" dirty="0">
                <a:ea typeface="+mn-ea"/>
              </a:rPr>
              <a:t>Seed systems </a:t>
            </a:r>
          </a:p>
        </p:txBody>
      </p:sp>
      <p:graphicFrame>
        <p:nvGraphicFramePr>
          <p:cNvPr id="4" name="Table 3"/>
          <p:cNvGraphicFramePr>
            <a:graphicFrameLocks noGrp="1"/>
          </p:cNvGraphicFramePr>
          <p:nvPr>
            <p:extLst>
              <p:ext uri="{D42A27DB-BD31-4B8C-83A1-F6EECF244321}">
                <p14:modId xmlns:p14="http://schemas.microsoft.com/office/powerpoint/2010/main" val="322672910"/>
              </p:ext>
            </p:extLst>
          </p:nvPr>
        </p:nvGraphicFramePr>
        <p:xfrm>
          <a:off x="344026" y="1150208"/>
          <a:ext cx="9402248" cy="5707792"/>
        </p:xfrm>
        <a:graphic>
          <a:graphicData uri="http://schemas.openxmlformats.org/drawingml/2006/table">
            <a:tbl>
              <a:tblPr firstRow="1" bandRow="1">
                <a:tableStyleId>{2D5ABB26-0587-4C30-8999-92F81FD0307C}</a:tableStyleId>
              </a:tblPr>
              <a:tblGrid>
                <a:gridCol w="1286739">
                  <a:extLst>
                    <a:ext uri="{9D8B030D-6E8A-4147-A177-3AD203B41FA5}">
                      <a16:colId xmlns="" xmlns:a16="http://schemas.microsoft.com/office/drawing/2014/main" val="20000"/>
                    </a:ext>
                  </a:extLst>
                </a:gridCol>
                <a:gridCol w="1645920">
                  <a:extLst>
                    <a:ext uri="{9D8B030D-6E8A-4147-A177-3AD203B41FA5}">
                      <a16:colId xmlns="" xmlns:a16="http://schemas.microsoft.com/office/drawing/2014/main" val="20001"/>
                    </a:ext>
                  </a:extLst>
                </a:gridCol>
                <a:gridCol w="1358900">
                  <a:extLst>
                    <a:ext uri="{9D8B030D-6E8A-4147-A177-3AD203B41FA5}">
                      <a16:colId xmlns="" xmlns:a16="http://schemas.microsoft.com/office/drawing/2014/main" val="20002"/>
                    </a:ext>
                  </a:extLst>
                </a:gridCol>
                <a:gridCol w="2194560">
                  <a:extLst>
                    <a:ext uri="{9D8B030D-6E8A-4147-A177-3AD203B41FA5}">
                      <a16:colId xmlns="" xmlns:a16="http://schemas.microsoft.com/office/drawing/2014/main" val="20003"/>
                    </a:ext>
                  </a:extLst>
                </a:gridCol>
                <a:gridCol w="1554480">
                  <a:extLst>
                    <a:ext uri="{9D8B030D-6E8A-4147-A177-3AD203B41FA5}">
                      <a16:colId xmlns="" xmlns:a16="http://schemas.microsoft.com/office/drawing/2014/main" val="20004"/>
                    </a:ext>
                  </a:extLst>
                </a:gridCol>
                <a:gridCol w="1361649">
                  <a:extLst>
                    <a:ext uri="{9D8B030D-6E8A-4147-A177-3AD203B41FA5}">
                      <a16:colId xmlns="" xmlns:a16="http://schemas.microsoft.com/office/drawing/2014/main" val="20005"/>
                    </a:ext>
                  </a:extLst>
                </a:gridCol>
              </a:tblGrid>
              <a:tr h="40300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000" b="1" dirty="0">
                          <a:solidFill>
                            <a:schemeClr val="tx1"/>
                          </a:solidFill>
                        </a:rPr>
                        <a:t>Breeding</a:t>
                      </a:r>
                      <a:r>
                        <a:rPr lang="en-US" sz="1000" b="1" baseline="0" dirty="0">
                          <a:solidFill>
                            <a:schemeClr val="tx1"/>
                          </a:solidFill>
                        </a:rPr>
                        <a:t> and variety release</a:t>
                      </a:r>
                      <a:endParaRPr lang="en-US" sz="1000" b="1" dirty="0">
                        <a:solidFill>
                          <a:schemeClr val="tx1"/>
                        </a:solidFill>
                      </a:endParaRPr>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75000"/>
                      </a:schemeClr>
                    </a:solidFill>
                  </a:tcPr>
                </a:tc>
                <a:tc>
                  <a:txBody>
                    <a:bodyPr/>
                    <a:lstStyle/>
                    <a:p>
                      <a:r>
                        <a:rPr lang="en-US" sz="1000" b="1" dirty="0">
                          <a:solidFill>
                            <a:schemeClr val="tx1"/>
                          </a:solidFill>
                        </a:rPr>
                        <a:t>EGS supply</a:t>
                      </a:r>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75000"/>
                      </a:schemeClr>
                    </a:solidFill>
                  </a:tcPr>
                </a:tc>
                <a:tc>
                  <a:txBody>
                    <a:bodyPr/>
                    <a:lstStyle/>
                    <a:p>
                      <a:r>
                        <a:rPr lang="en-US" sz="1000" b="1" dirty="0">
                          <a:solidFill>
                            <a:schemeClr val="tx1"/>
                          </a:solidFill>
                        </a:rPr>
                        <a:t>Certified seed production</a:t>
                      </a:r>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75000"/>
                      </a:schemeClr>
                    </a:solidFill>
                  </a:tcPr>
                </a:tc>
                <a:tc>
                  <a:txBody>
                    <a:bodyPr/>
                    <a:lstStyle/>
                    <a:p>
                      <a:r>
                        <a:rPr lang="en-US" sz="1000" b="1" dirty="0">
                          <a:solidFill>
                            <a:schemeClr val="tx1"/>
                          </a:solidFill>
                        </a:rPr>
                        <a:t>Awareness by farmers</a:t>
                      </a:r>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75000"/>
                      </a:schemeClr>
                    </a:solidFill>
                  </a:tcPr>
                </a:tc>
                <a:tc>
                  <a:txBody>
                    <a:bodyPr/>
                    <a:lstStyle/>
                    <a:p>
                      <a:r>
                        <a:rPr lang="en-US" sz="1000" b="1" dirty="0">
                          <a:solidFill>
                            <a:schemeClr val="tx1"/>
                          </a:solidFill>
                        </a:rPr>
                        <a:t>Marketing</a:t>
                      </a:r>
                      <a:r>
                        <a:rPr lang="en-US" sz="1000" b="1" baseline="0" dirty="0">
                          <a:solidFill>
                            <a:schemeClr val="tx1"/>
                          </a:solidFill>
                        </a:rPr>
                        <a:t> and distribution</a:t>
                      </a:r>
                      <a:endParaRPr lang="en-US" sz="1000" b="1" dirty="0">
                        <a:solidFill>
                          <a:schemeClr val="tx1"/>
                        </a:solidFill>
                      </a:endParaRPr>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000" b="1" dirty="0">
                          <a:solidFill>
                            <a:schemeClr val="tx1"/>
                          </a:solidFill>
                        </a:rPr>
                        <a:t>Regulation</a:t>
                      </a:r>
                    </a:p>
                    <a:p>
                      <a:endParaRPr lang="en-US" sz="1000" b="1" dirty="0">
                        <a:solidFill>
                          <a:schemeClr val="tx1"/>
                        </a:solidFill>
                      </a:endParaRPr>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75000"/>
                      </a:schemeClr>
                    </a:solidFill>
                  </a:tcPr>
                </a:tc>
                <a:extLst>
                  <a:ext uri="{0D108BD9-81ED-4DB2-BD59-A6C34878D82A}">
                    <a16:rowId xmlns="" xmlns:a16="http://schemas.microsoft.com/office/drawing/2014/main" val="10000"/>
                  </a:ext>
                </a:extLst>
              </a:tr>
              <a:tr h="3388189">
                <a:tc>
                  <a:txBody>
                    <a:bodyPr/>
                    <a:lstStyle/>
                    <a:p>
                      <a:pPr marL="128588" indent="-128588" defTabSz="685800">
                        <a:spcAft>
                          <a:spcPts val="225"/>
                        </a:spcAft>
                        <a:buFont typeface="Arial" panose="020B0604020202020204" pitchFamily="34" charset="0"/>
                        <a:buChar char="•"/>
                      </a:pPr>
                      <a:r>
                        <a:rPr lang="en-US" sz="1000" baseline="0" dirty="0" smtClean="0">
                          <a:solidFill>
                            <a:schemeClr val="tx1"/>
                          </a:solidFill>
                        </a:rPr>
                        <a:t>66 Varieties </a:t>
                      </a:r>
                      <a:r>
                        <a:rPr lang="en-US" sz="1000" baseline="0" dirty="0">
                          <a:solidFill>
                            <a:schemeClr val="tx1"/>
                          </a:solidFill>
                        </a:rPr>
                        <a:t>developed and released between 2010 and 2018:</a:t>
                      </a:r>
                    </a:p>
                    <a:p>
                      <a:pPr marL="128588" lvl="1" indent="-128588" defTabSz="685800">
                        <a:spcAft>
                          <a:spcPts val="225"/>
                        </a:spcAft>
                        <a:buFont typeface="Arial" panose="020B0604020202020204" pitchFamily="34" charset="0"/>
                        <a:buChar char="•"/>
                      </a:pPr>
                      <a:endParaRPr lang="en-US" sz="1000" baseline="0" dirty="0">
                        <a:solidFill>
                          <a:schemeClr val="tx1"/>
                        </a:solidFill>
                      </a:endParaRPr>
                    </a:p>
                    <a:p>
                      <a:pPr marL="338138" lvl="4" indent="-171450" defTabSz="685800">
                        <a:spcAft>
                          <a:spcPts val="225"/>
                        </a:spcAft>
                        <a:buFont typeface="Courier New" panose="02070309020205020404" pitchFamily="49" charset="0"/>
                        <a:buChar char="o"/>
                      </a:pPr>
                      <a:r>
                        <a:rPr lang="en-US" sz="1000" baseline="0" dirty="0" smtClean="0">
                          <a:solidFill>
                            <a:schemeClr val="tx1"/>
                          </a:solidFill>
                        </a:rPr>
                        <a:t>13 Cowpea,</a:t>
                      </a:r>
                    </a:p>
                    <a:p>
                      <a:pPr marL="338138" lvl="4" indent="-171450" defTabSz="685800">
                        <a:spcAft>
                          <a:spcPts val="225"/>
                        </a:spcAft>
                        <a:buFont typeface="Courier New" panose="02070309020205020404" pitchFamily="49" charset="0"/>
                        <a:buChar char="o"/>
                      </a:pPr>
                      <a:r>
                        <a:rPr lang="en-US" sz="1000" baseline="0" dirty="0" smtClean="0">
                          <a:solidFill>
                            <a:schemeClr val="tx1"/>
                          </a:solidFill>
                        </a:rPr>
                        <a:t>18 Maize, </a:t>
                      </a:r>
                    </a:p>
                    <a:p>
                      <a:pPr marL="338138" lvl="4" indent="-171450" defTabSz="685800">
                        <a:spcAft>
                          <a:spcPts val="225"/>
                        </a:spcAft>
                        <a:buFont typeface="Courier New" panose="02070309020205020404" pitchFamily="49" charset="0"/>
                        <a:buChar char="o"/>
                      </a:pPr>
                      <a:r>
                        <a:rPr lang="en-US" sz="1000" baseline="0" dirty="0" smtClean="0">
                          <a:solidFill>
                            <a:schemeClr val="tx1"/>
                          </a:solidFill>
                        </a:rPr>
                        <a:t>27 Rice,</a:t>
                      </a:r>
                    </a:p>
                    <a:p>
                      <a:pPr marL="338138" lvl="4" indent="-171450" defTabSz="685800">
                        <a:spcAft>
                          <a:spcPts val="225"/>
                        </a:spcAft>
                        <a:buFont typeface="Courier New" panose="02070309020205020404" pitchFamily="49" charset="0"/>
                        <a:buChar char="o"/>
                      </a:pPr>
                      <a:r>
                        <a:rPr lang="en-US" sz="1000" baseline="0" dirty="0" smtClean="0">
                          <a:solidFill>
                            <a:schemeClr val="tx1"/>
                          </a:solidFill>
                        </a:rPr>
                        <a:t>13 Sorghum, </a:t>
                      </a:r>
                    </a:p>
                    <a:p>
                      <a:pPr marL="338138" lvl="4" indent="-171450" defTabSz="685800">
                        <a:spcAft>
                          <a:spcPts val="225"/>
                        </a:spcAft>
                        <a:buFont typeface="Courier New" panose="02070309020205020404" pitchFamily="49" charset="0"/>
                        <a:buChar char="o"/>
                      </a:pPr>
                      <a:r>
                        <a:rPr lang="en-US" sz="1000" baseline="0" dirty="0" smtClean="0">
                          <a:solidFill>
                            <a:schemeClr val="tx1"/>
                          </a:solidFill>
                        </a:rPr>
                        <a:t>4 Pearl Millet)</a:t>
                      </a:r>
                    </a:p>
                    <a:p>
                      <a:pPr marL="0" indent="0" defTabSz="685800">
                        <a:spcAft>
                          <a:spcPts val="225"/>
                        </a:spcAft>
                        <a:buFont typeface="Arial" panose="020B0604020202020204" pitchFamily="34" charset="0"/>
                        <a:buNone/>
                      </a:pPr>
                      <a:endParaRPr lang="en-US" sz="1000" baseline="0" dirty="0">
                        <a:solidFill>
                          <a:schemeClr val="tx1"/>
                        </a:solidFill>
                      </a:endParaRPr>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28588" indent="-128588" defTabSz="685800">
                        <a:spcAft>
                          <a:spcPts val="225"/>
                        </a:spcAft>
                        <a:buFont typeface="Arial" panose="020B0604020202020204" pitchFamily="34" charset="0"/>
                        <a:buChar char="•"/>
                      </a:pPr>
                      <a:r>
                        <a:rPr lang="en-US" sz="1000" dirty="0">
                          <a:solidFill>
                            <a:schemeClr val="tx1"/>
                          </a:solidFill>
                        </a:rPr>
                        <a:t>IER is the source of early generation seed.</a:t>
                      </a:r>
                    </a:p>
                    <a:p>
                      <a:pPr marL="128588" indent="-128588" defTabSz="685800">
                        <a:spcAft>
                          <a:spcPts val="225"/>
                        </a:spcAft>
                        <a:buFont typeface="Arial" panose="020B0604020202020204" pitchFamily="34" charset="0"/>
                        <a:buChar char="•"/>
                      </a:pPr>
                      <a:r>
                        <a:rPr lang="en-US" sz="1000" dirty="0">
                          <a:solidFill>
                            <a:schemeClr val="tx1"/>
                          </a:solidFill>
                        </a:rPr>
                        <a:t>Some private</a:t>
                      </a:r>
                      <a:r>
                        <a:rPr lang="en-US" sz="1000" baseline="0" dirty="0">
                          <a:solidFill>
                            <a:schemeClr val="tx1"/>
                          </a:solidFill>
                        </a:rPr>
                        <a:t> seed companies like SOPROSA,  Faso Kaba, Camara Semences, Comptoir 2000 SA, DOUNKAFA produce their own foundation seed. </a:t>
                      </a:r>
                      <a:endParaRPr lang="en-US" sz="1000" baseline="0" dirty="0" smtClean="0">
                        <a:solidFill>
                          <a:schemeClr val="tx1"/>
                        </a:solidFill>
                      </a:endParaRPr>
                    </a:p>
                    <a:p>
                      <a:pPr marL="128588" indent="-128588" defTabSz="685800">
                        <a:spcAft>
                          <a:spcPts val="225"/>
                        </a:spcAft>
                        <a:buFont typeface="Arial" panose="020B0604020202020204" pitchFamily="34" charset="0"/>
                        <a:buChar char="•"/>
                      </a:pPr>
                      <a:r>
                        <a:rPr lang="en-US" sz="1000" dirty="0" smtClean="0">
                          <a:solidFill>
                            <a:schemeClr val="tx1"/>
                          </a:solidFill>
                        </a:rPr>
                        <a:t>No</a:t>
                      </a:r>
                      <a:r>
                        <a:rPr lang="en-US" sz="1000" dirty="0">
                          <a:solidFill>
                            <a:schemeClr val="tx1"/>
                          </a:solidFill>
                        </a:rPr>
                        <a:t>. of active breeders:</a:t>
                      </a:r>
                    </a:p>
                    <a:p>
                      <a:pPr marL="338138" lvl="1" indent="-171450" defTabSz="685800">
                        <a:spcAft>
                          <a:spcPts val="225"/>
                        </a:spcAft>
                        <a:buFont typeface="Courier New" panose="02070309020205020404" pitchFamily="49" charset="0"/>
                        <a:buChar char="o"/>
                      </a:pPr>
                      <a:r>
                        <a:rPr lang="en-US" sz="1000" dirty="0">
                          <a:solidFill>
                            <a:schemeClr val="tx1"/>
                          </a:solidFill>
                        </a:rPr>
                        <a:t>2 maize,</a:t>
                      </a:r>
                    </a:p>
                    <a:p>
                      <a:pPr marL="338138" lvl="1" indent="-171450" defTabSz="685800">
                        <a:spcAft>
                          <a:spcPts val="225"/>
                        </a:spcAft>
                        <a:buFont typeface="Courier New" panose="02070309020205020404" pitchFamily="49" charset="0"/>
                        <a:buChar char="o"/>
                      </a:pPr>
                      <a:r>
                        <a:rPr lang="en-US" sz="1000" dirty="0">
                          <a:solidFill>
                            <a:schemeClr val="tx1"/>
                          </a:solidFill>
                        </a:rPr>
                        <a:t>2 Sorghum, </a:t>
                      </a:r>
                    </a:p>
                    <a:p>
                      <a:pPr marL="338138" lvl="1" indent="-171450" defTabSz="685800">
                        <a:spcAft>
                          <a:spcPts val="225"/>
                        </a:spcAft>
                        <a:buFont typeface="Courier New" panose="02070309020205020404" pitchFamily="49" charset="0"/>
                        <a:buChar char="o"/>
                      </a:pPr>
                      <a:r>
                        <a:rPr lang="en-US" sz="1000" dirty="0">
                          <a:solidFill>
                            <a:schemeClr val="tx1"/>
                          </a:solidFill>
                        </a:rPr>
                        <a:t>1 Millet,</a:t>
                      </a:r>
                    </a:p>
                    <a:p>
                      <a:pPr marL="338138" lvl="1" indent="-171450" defTabSz="685800">
                        <a:spcAft>
                          <a:spcPts val="225"/>
                        </a:spcAft>
                        <a:buFont typeface="Courier New" panose="02070309020205020404" pitchFamily="49" charset="0"/>
                        <a:buChar char="o"/>
                      </a:pPr>
                      <a:r>
                        <a:rPr lang="en-US" sz="1000" dirty="0">
                          <a:solidFill>
                            <a:schemeClr val="tx1"/>
                          </a:solidFill>
                        </a:rPr>
                        <a:t> 1</a:t>
                      </a:r>
                      <a:r>
                        <a:rPr lang="en-US" sz="1000" baseline="0" dirty="0">
                          <a:solidFill>
                            <a:schemeClr val="tx1"/>
                          </a:solidFill>
                        </a:rPr>
                        <a:t> </a:t>
                      </a:r>
                      <a:r>
                        <a:rPr lang="en-US" sz="1000" dirty="0">
                          <a:solidFill>
                            <a:schemeClr val="tx1"/>
                          </a:solidFill>
                        </a:rPr>
                        <a:t>Cowpea.</a:t>
                      </a:r>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28588" indent="-128588" defTabSz="685800">
                        <a:spcAft>
                          <a:spcPts val="225"/>
                        </a:spcAft>
                        <a:buFont typeface="Arial" panose="020B0604020202020204" pitchFamily="34" charset="0"/>
                        <a:buChar char="•"/>
                      </a:pPr>
                      <a:r>
                        <a:rPr lang="en-US" sz="1000" dirty="0">
                          <a:solidFill>
                            <a:schemeClr val="tx1"/>
                          </a:solidFill>
                        </a:rPr>
                        <a:t>7 active seed companies producing certified seed for the key food crops – maize, rice, sorghum, pearl millet and cowpea.</a:t>
                      </a:r>
                    </a:p>
                    <a:p>
                      <a:pPr marL="128588" indent="-128588" defTabSz="685800">
                        <a:spcAft>
                          <a:spcPts val="225"/>
                        </a:spcAft>
                        <a:buFont typeface="Arial" panose="020B0604020202020204" pitchFamily="34" charset="0"/>
                        <a:buChar char="•"/>
                      </a:pPr>
                      <a:r>
                        <a:rPr lang="en-US" sz="1000" dirty="0">
                          <a:solidFill>
                            <a:schemeClr val="tx1"/>
                          </a:solidFill>
                        </a:rPr>
                        <a:t>Seed sales in 2018,</a:t>
                      </a:r>
                      <a:r>
                        <a:rPr lang="en-US" sz="1000" baseline="0" dirty="0">
                          <a:solidFill>
                            <a:schemeClr val="tx1"/>
                          </a:solidFill>
                        </a:rPr>
                        <a:t> 427</a:t>
                      </a:r>
                      <a:r>
                        <a:rPr lang="en-US" sz="1000" dirty="0">
                          <a:solidFill>
                            <a:schemeClr val="tx1"/>
                          </a:solidFill>
                        </a:rPr>
                        <a:t> MT of sorghum, 96 MT of millet, 254 MT of cowpea</a:t>
                      </a:r>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28588" indent="-128588" defTabSz="685800">
                        <a:spcAft>
                          <a:spcPts val="225"/>
                        </a:spcAft>
                        <a:buFont typeface="Arial" panose="020B0604020202020204" pitchFamily="34" charset="0"/>
                        <a:buChar char="•"/>
                      </a:pPr>
                      <a:r>
                        <a:rPr lang="en-US" sz="1000" dirty="0">
                          <a:solidFill>
                            <a:schemeClr val="tx1"/>
                          </a:solidFill>
                        </a:rPr>
                        <a:t>Low level of utilization of improved seeds (incl. hybrids) by farmers.</a:t>
                      </a:r>
                    </a:p>
                    <a:p>
                      <a:pPr marL="128588" indent="-128588" defTabSz="685800">
                        <a:spcAft>
                          <a:spcPts val="225"/>
                        </a:spcAft>
                        <a:buFont typeface="Arial" panose="020B0604020202020204" pitchFamily="34" charset="0"/>
                        <a:buChar char="•"/>
                      </a:pPr>
                      <a:r>
                        <a:rPr lang="en-US" sz="1000" dirty="0">
                          <a:solidFill>
                            <a:schemeClr val="tx1"/>
                          </a:solidFill>
                        </a:rPr>
                        <a:t>ASSEMA is a relatively vibrant seed association providing</a:t>
                      </a:r>
                      <a:r>
                        <a:rPr lang="en-US" sz="1000" baseline="0" dirty="0">
                          <a:solidFill>
                            <a:schemeClr val="tx1"/>
                          </a:solidFill>
                        </a:rPr>
                        <a:t> seeds through the informal seed sector.</a:t>
                      </a:r>
                    </a:p>
                    <a:p>
                      <a:pPr marL="128588" indent="-128588" defTabSz="685800">
                        <a:spcAft>
                          <a:spcPts val="225"/>
                        </a:spcAft>
                        <a:buFont typeface="Arial" panose="020B0604020202020204" pitchFamily="34" charset="0"/>
                        <a:buChar char="•"/>
                      </a:pPr>
                      <a:r>
                        <a:rPr lang="en-US" sz="1000" baseline="0" dirty="0">
                          <a:solidFill>
                            <a:schemeClr val="tx1"/>
                          </a:solidFill>
                        </a:rPr>
                        <a:t>EUCORD trained 600 VBAs to provide extension services and improved seeds to 28,000 smallholder farmers. </a:t>
                      </a:r>
                    </a:p>
                    <a:p>
                      <a:pPr marL="128588" indent="-128588" defTabSz="685800">
                        <a:spcAft>
                          <a:spcPts val="225"/>
                        </a:spcAft>
                        <a:buFont typeface="Arial" panose="020B0604020202020204" pitchFamily="34" charset="0"/>
                        <a:buChar char="•"/>
                      </a:pPr>
                      <a:r>
                        <a:rPr lang="en-US" sz="1000" baseline="0" dirty="0">
                          <a:solidFill>
                            <a:schemeClr val="tx1"/>
                          </a:solidFill>
                        </a:rPr>
                        <a:t>Mission Sahel trained 300 VBAs to provide extension services and improved seeds to 39,400 smallholder farmers.</a:t>
                      </a:r>
                    </a:p>
                    <a:p>
                      <a:pPr marL="128588" indent="-128588" defTabSz="685800">
                        <a:spcAft>
                          <a:spcPts val="225"/>
                        </a:spcAft>
                        <a:buFont typeface="Arial" panose="020B0604020202020204" pitchFamily="34" charset="0"/>
                        <a:buChar char="•"/>
                      </a:pPr>
                      <a:r>
                        <a:rPr lang="en-US" sz="1000" baseline="0" dirty="0">
                          <a:solidFill>
                            <a:schemeClr val="tx1"/>
                          </a:solidFill>
                        </a:rPr>
                        <a:t>AMDD trained 300 VBAs to provide extension services and improved seeds to 43598 smallholder farmers</a:t>
                      </a:r>
                    </a:p>
                    <a:p>
                      <a:pPr marL="128588" indent="-128588" defTabSz="685800">
                        <a:spcAft>
                          <a:spcPts val="225"/>
                        </a:spcAft>
                        <a:buFont typeface="Arial" panose="020B0604020202020204" pitchFamily="34" charset="0"/>
                        <a:buChar char="•"/>
                      </a:pPr>
                      <a:r>
                        <a:rPr lang="en-US" sz="1000" baseline="0" dirty="0">
                          <a:solidFill>
                            <a:schemeClr val="tx1"/>
                          </a:solidFill>
                        </a:rPr>
                        <a:t>Faso Jigi trained 385</a:t>
                      </a:r>
                      <a:r>
                        <a:rPr kumimoji="0" lang="en-US" sz="1000" b="0" i="0" u="none" strike="noStrike" kern="0" cap="none" spc="0" normalizeH="0" baseline="0" noProof="0" dirty="0">
                          <a:ln>
                            <a:noFill/>
                          </a:ln>
                          <a:solidFill>
                            <a:schemeClr val="tx1"/>
                          </a:solidFill>
                          <a:effectLst/>
                          <a:uLnTx/>
                          <a:uFillTx/>
                          <a:latin typeface="+mn-lt"/>
                          <a:ea typeface="+mn-ea"/>
                          <a:cs typeface="+mn-cs"/>
                          <a:sym typeface="Arial"/>
                        </a:rPr>
                        <a:t> VBAs </a:t>
                      </a:r>
                      <a:r>
                        <a:rPr lang="en-US" sz="1000" baseline="0" dirty="0">
                          <a:solidFill>
                            <a:schemeClr val="tx1"/>
                          </a:solidFill>
                        </a:rPr>
                        <a:t>to provide extension services and improved seeds to  33,755 smallholder farmers</a:t>
                      </a:r>
                      <a:endParaRPr lang="en-US" sz="1000" dirty="0">
                        <a:solidFill>
                          <a:schemeClr val="tx1"/>
                        </a:solidFill>
                      </a:endParaRPr>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28588" indent="-128588" defTabSz="685800">
                        <a:spcAft>
                          <a:spcPts val="225"/>
                        </a:spcAft>
                        <a:buFont typeface="Arial" panose="020B0604020202020204" pitchFamily="34" charset="0"/>
                        <a:buChar char="•"/>
                      </a:pPr>
                      <a:r>
                        <a:rPr lang="en-US" sz="1000" dirty="0">
                          <a:solidFill>
                            <a:schemeClr val="tx1"/>
                          </a:solidFill>
                        </a:rPr>
                        <a:t>MALIMARK trained 300 agro dealers</a:t>
                      </a:r>
                    </a:p>
                    <a:p>
                      <a:pPr marL="171450" marR="0" lvl="0" indent="-171450" algn="l" defTabSz="685800" rtl="0" eaLnBrk="1" fontAlgn="auto" latinLnBrk="0" hangingPunct="1">
                        <a:lnSpc>
                          <a:spcPct val="100000"/>
                        </a:lnSpc>
                        <a:spcBef>
                          <a:spcPts val="0"/>
                        </a:spcBef>
                        <a:spcAft>
                          <a:spcPts val="225"/>
                        </a:spcAft>
                        <a:buClr>
                          <a:srgbClr val="000000"/>
                        </a:buClr>
                        <a:buSzTx/>
                        <a:buFont typeface="Arial" panose="020B0604020202020204" pitchFamily="34" charset="0"/>
                        <a:buChar char="•"/>
                        <a:tabLst/>
                        <a:defRPr/>
                      </a:pPr>
                      <a:r>
                        <a:rPr lang="en-US" sz="1000" b="0" i="0" u="none" strike="noStrike" cap="none" noProof="0" dirty="0">
                          <a:solidFill>
                            <a:schemeClr val="tx1"/>
                          </a:solidFill>
                          <a:latin typeface="+mn-lt"/>
                          <a:ea typeface="+mn-ea"/>
                          <a:cs typeface="+mn-cs"/>
                          <a:sym typeface="Arial"/>
                        </a:rPr>
                        <a:t>Investments have reduced the distance covered by the agro-dealers from the base of 20.2 km to average of 17.8 km to access agro inputs. </a:t>
                      </a:r>
                    </a:p>
                    <a:p>
                      <a:pPr marL="128588" marR="0" indent="-128588" algn="l" defTabSz="685800" rtl="0">
                        <a:lnSpc>
                          <a:spcPct val="100000"/>
                        </a:lnSpc>
                        <a:spcBef>
                          <a:spcPts val="0"/>
                        </a:spcBef>
                        <a:spcAft>
                          <a:spcPts val="225"/>
                        </a:spcAft>
                        <a:buClr>
                          <a:srgbClr val="000000"/>
                        </a:buClr>
                        <a:buFont typeface="Arial" panose="020B0604020202020204" pitchFamily="34" charset="0"/>
                        <a:buChar char="•"/>
                      </a:pPr>
                      <a:endParaRPr lang="en-US" sz="1000" b="0" i="0" u="none" strike="noStrike" cap="none" dirty="0">
                        <a:solidFill>
                          <a:schemeClr val="tx1"/>
                        </a:solidFill>
                        <a:latin typeface="+mn-lt"/>
                        <a:ea typeface="+mn-ea"/>
                        <a:cs typeface="+mn-cs"/>
                        <a:sym typeface="Arial"/>
                      </a:endParaRPr>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28588" indent="-128588" defTabSz="685800">
                        <a:spcAft>
                          <a:spcPts val="225"/>
                        </a:spcAft>
                        <a:buFont typeface="Arial" panose="020B0604020202020204" pitchFamily="34" charset="0"/>
                        <a:buChar char="•"/>
                      </a:pPr>
                      <a:r>
                        <a:rPr lang="en-US" sz="1000" dirty="0">
                          <a:solidFill>
                            <a:schemeClr val="tx1"/>
                          </a:solidFill>
                        </a:rPr>
                        <a:t>Seed adulteration still a challenge</a:t>
                      </a:r>
                      <a:r>
                        <a:rPr lang="en-US" sz="1000" baseline="0" dirty="0">
                          <a:solidFill>
                            <a:schemeClr val="tx1"/>
                          </a:solidFill>
                        </a:rPr>
                        <a:t> in Mali.</a:t>
                      </a:r>
                    </a:p>
                    <a:p>
                      <a:pPr marL="128588" indent="-128588" defTabSz="685800">
                        <a:spcAft>
                          <a:spcPts val="225"/>
                        </a:spcAft>
                        <a:buFont typeface="Arial" panose="020B0604020202020204" pitchFamily="34" charset="0"/>
                        <a:buChar char="•"/>
                      </a:pPr>
                      <a:r>
                        <a:rPr lang="en-US" sz="1000" baseline="0" dirty="0">
                          <a:solidFill>
                            <a:schemeClr val="tx1"/>
                          </a:solidFill>
                        </a:rPr>
                        <a:t>ECOWAS harmonized seed regulations yet to be domesticated and implemented in Mali.</a:t>
                      </a:r>
                    </a:p>
                    <a:p>
                      <a:endParaRPr lang="en-US" sz="1000" dirty="0">
                        <a:solidFill>
                          <a:schemeClr val="tx1"/>
                        </a:solidFill>
                      </a:endParaRPr>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 xmlns:a16="http://schemas.microsoft.com/office/drawing/2014/main" val="10001"/>
                  </a:ext>
                </a:extLst>
              </a:tr>
              <a:tr h="1668973">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000" dirty="0">
                          <a:solidFill>
                            <a:schemeClr val="tx1"/>
                          </a:solidFill>
                        </a:rPr>
                        <a:t>Very long variety release process: seed companies dissatisfied with the duration of the </a:t>
                      </a:r>
                      <a:r>
                        <a:rPr lang="en-US" sz="1000" dirty="0" smtClean="0">
                          <a:solidFill>
                            <a:schemeClr val="tx1"/>
                          </a:solidFill>
                        </a:rPr>
                        <a:t>proces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1000" dirty="0" smtClean="0">
                        <a:solidFill>
                          <a:schemeClr val="tx1"/>
                        </a:solidFil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000" dirty="0" smtClean="0">
                          <a:solidFill>
                            <a:schemeClr val="tx1"/>
                          </a:solidFill>
                        </a:rPr>
                        <a:t>Need</a:t>
                      </a:r>
                      <a:r>
                        <a:rPr lang="en-US" sz="1000" baseline="0" dirty="0" smtClean="0">
                          <a:solidFill>
                            <a:schemeClr val="tx1"/>
                          </a:solidFill>
                        </a:rPr>
                        <a:t> for more drought tolerant and short maturing varieties</a:t>
                      </a:r>
                      <a:endParaRPr lang="en-US" sz="1000" dirty="0">
                        <a:solidFill>
                          <a:schemeClr val="tx1"/>
                        </a:solidFill>
                      </a:endParaRPr>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sz="1000" dirty="0">
                          <a:solidFill>
                            <a:schemeClr val="tx1"/>
                          </a:solidFill>
                        </a:rPr>
                        <a:t>Shortage of quality foundation seed for most crops particularly maize</a:t>
                      </a:r>
                      <a:r>
                        <a:rPr lang="en-GB" sz="1000" baseline="0" dirty="0">
                          <a:solidFill>
                            <a:schemeClr val="tx1"/>
                          </a:solidFill>
                        </a:rPr>
                        <a:t> hybrids</a:t>
                      </a:r>
                      <a:endParaRPr lang="en-GB" sz="1000" dirty="0">
                        <a:solidFill>
                          <a:schemeClr val="tx1"/>
                        </a:solidFill>
                      </a:endParaRPr>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000" dirty="0">
                          <a:solidFill>
                            <a:schemeClr val="tx1"/>
                          </a:solidFill>
                        </a:rPr>
                        <a:t>Low volumes of production and sales for certified seed for all key food crops</a:t>
                      </a:r>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28588" indent="-128588" defTabSz="685800">
                        <a:spcAft>
                          <a:spcPts val="225"/>
                        </a:spcAft>
                        <a:buFont typeface="Arial" panose="020B0604020202020204" pitchFamily="34" charset="0"/>
                        <a:buChar char="•"/>
                      </a:pPr>
                      <a:r>
                        <a:rPr lang="en-US" sz="1000" dirty="0">
                          <a:solidFill>
                            <a:schemeClr val="tx1"/>
                          </a:solidFill>
                        </a:rPr>
                        <a:t>Insufficient private sector engagement in raising awareness of improved varieties among farmers</a:t>
                      </a:r>
                      <a:r>
                        <a:rPr lang="en-US" sz="1000" dirty="0" smtClean="0">
                          <a:solidFill>
                            <a:schemeClr val="tx1"/>
                          </a:solidFill>
                        </a:rPr>
                        <a:t>.</a:t>
                      </a:r>
                    </a:p>
                    <a:p>
                      <a:pPr marL="128588" indent="-128588" defTabSz="685800">
                        <a:spcAft>
                          <a:spcPts val="225"/>
                        </a:spcAft>
                        <a:buFont typeface="Arial" panose="020B0604020202020204" pitchFamily="34" charset="0"/>
                        <a:buChar char="•"/>
                      </a:pPr>
                      <a:r>
                        <a:rPr lang="en-US" sz="1000" dirty="0" smtClean="0">
                          <a:solidFill>
                            <a:schemeClr val="tx1"/>
                          </a:solidFill>
                        </a:rPr>
                        <a:t>Limited use</a:t>
                      </a:r>
                      <a:r>
                        <a:rPr lang="en-US" sz="1000" baseline="0" dirty="0" smtClean="0">
                          <a:solidFill>
                            <a:schemeClr val="tx1"/>
                          </a:solidFill>
                        </a:rPr>
                        <a:t> of climate information by farmers in the use of appropriate seed for specific climatic regions</a:t>
                      </a:r>
                      <a:endParaRPr lang="en-US" sz="1000" dirty="0">
                        <a:solidFill>
                          <a:schemeClr val="tx1"/>
                        </a:solidFill>
                      </a:endParaRPr>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28588" indent="-128588" defTabSz="685800">
                        <a:spcAft>
                          <a:spcPts val="225"/>
                        </a:spcAft>
                        <a:buFont typeface="Arial" panose="020B0604020202020204" pitchFamily="34" charset="0"/>
                        <a:buChar char="•"/>
                      </a:pPr>
                      <a:r>
                        <a:rPr lang="en-US" sz="1000" dirty="0">
                          <a:solidFill>
                            <a:schemeClr val="tx1"/>
                          </a:solidFill>
                        </a:rPr>
                        <a:t>Under-developed agro-dealer network: insufficient number and capacity</a:t>
                      </a:r>
                    </a:p>
                    <a:p>
                      <a:pPr marL="128588" indent="-128588" defTabSz="685800">
                        <a:spcAft>
                          <a:spcPts val="225"/>
                        </a:spcAft>
                        <a:buFont typeface="Arial" panose="020B0604020202020204" pitchFamily="34" charset="0"/>
                        <a:buChar char="•"/>
                      </a:pPr>
                      <a:r>
                        <a:rPr lang="en-US" sz="1000" dirty="0">
                          <a:solidFill>
                            <a:schemeClr val="tx1"/>
                          </a:solidFill>
                        </a:rPr>
                        <a:t>Limited</a:t>
                      </a:r>
                      <a:r>
                        <a:rPr lang="en-US" sz="1000" baseline="0" dirty="0">
                          <a:solidFill>
                            <a:schemeClr val="tx1"/>
                          </a:solidFill>
                        </a:rPr>
                        <a:t> storage/ warehousing facilities for agro-dealers</a:t>
                      </a:r>
                      <a:endParaRPr lang="en-US" sz="1000" dirty="0">
                        <a:solidFill>
                          <a:schemeClr val="tx1"/>
                        </a:solidFill>
                      </a:endParaRPr>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000" baseline="0" dirty="0">
                          <a:solidFill>
                            <a:schemeClr val="tx1"/>
                          </a:solidFill>
                        </a:rPr>
                        <a:t>LABOSEM in charge of seed inspection and certification woefully under-resourced leading to the incidence of fake seeds.</a:t>
                      </a:r>
                    </a:p>
                    <a:p>
                      <a:endParaRPr lang="en-US" sz="1000" dirty="0">
                        <a:solidFill>
                          <a:schemeClr val="tx1"/>
                        </a:solidFill>
                      </a:endParaRPr>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 xmlns:a16="http://schemas.microsoft.com/office/drawing/2014/main" val="10002"/>
                  </a:ext>
                </a:extLst>
              </a:tr>
            </a:tbl>
          </a:graphicData>
        </a:graphic>
      </p:graphicFrame>
      <p:sp>
        <p:nvSpPr>
          <p:cNvPr id="5" name="TextBox 4"/>
          <p:cNvSpPr txBox="1"/>
          <p:nvPr/>
        </p:nvSpPr>
        <p:spPr>
          <a:xfrm rot="16200000">
            <a:off x="-216573" y="2424812"/>
            <a:ext cx="903795" cy="267446"/>
          </a:xfrm>
          <a:prstGeom prst="rect">
            <a:avLst/>
          </a:prstGeom>
          <a:noFill/>
        </p:spPr>
        <p:txBody>
          <a:bodyPr wrap="square" rtlCol="0">
            <a:spAutoFit/>
          </a:bodyPr>
          <a:lstStyle/>
          <a:p>
            <a:pPr defTabSz="742950"/>
            <a:r>
              <a:rPr lang="en-US" sz="1138" dirty="0">
                <a:ea typeface="+mn-ea"/>
              </a:rPr>
              <a:t>Status</a:t>
            </a:r>
          </a:p>
        </p:txBody>
      </p:sp>
      <p:sp>
        <p:nvSpPr>
          <p:cNvPr id="6" name="TextBox 5"/>
          <p:cNvSpPr txBox="1"/>
          <p:nvPr/>
        </p:nvSpPr>
        <p:spPr>
          <a:xfrm rot="16200000">
            <a:off x="-216571" y="5537756"/>
            <a:ext cx="903795" cy="267446"/>
          </a:xfrm>
          <a:prstGeom prst="rect">
            <a:avLst/>
          </a:prstGeom>
          <a:noFill/>
        </p:spPr>
        <p:txBody>
          <a:bodyPr wrap="square" rtlCol="0">
            <a:spAutoFit/>
          </a:bodyPr>
          <a:lstStyle/>
          <a:p>
            <a:pPr defTabSz="742950"/>
            <a:r>
              <a:rPr lang="en-US" sz="1138" dirty="0">
                <a:ea typeface="+mn-ea"/>
              </a:rPr>
              <a:t>Gaps</a:t>
            </a:r>
          </a:p>
        </p:txBody>
      </p:sp>
    </p:spTree>
    <p:extLst>
      <p:ext uri="{BB962C8B-B14F-4D97-AF65-F5344CB8AC3E}">
        <p14:creationId xmlns:p14="http://schemas.microsoft.com/office/powerpoint/2010/main" val="246621493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39" name="think-cell Slide" r:id="rId5" imgW="270" imgH="270" progId="TCLayout.ActiveDocument.1">
                  <p:embed/>
                </p:oleObj>
              </mc:Choice>
              <mc:Fallback>
                <p:oleObj name="think-cell Slide" r:id="rId5" imgW="270" imgH="270"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defRPr/>
            </a:pPr>
            <a:endParaRPr lang="en-US" sz="2031" b="1" dirty="0">
              <a:solidFill>
                <a:srgbClr val="FFFFFF"/>
              </a:solidFill>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sz="2000" dirty="0"/>
              <a:t>Systems Analysis - </a:t>
            </a:r>
            <a:r>
              <a:rPr lang="en-US" sz="2000" dirty="0">
                <a:solidFill>
                  <a:srgbClr val="000000"/>
                </a:solidFill>
                <a:latin typeface="Arial"/>
                <a:cs typeface="Arial"/>
              </a:rPr>
              <a:t>Soil health and fertilizer systems </a:t>
            </a:r>
            <a:r>
              <a:rPr lang="en-US" sz="1000" i="1" dirty="0"/>
              <a:t>(2 of 4)</a:t>
            </a:r>
          </a:p>
        </p:txBody>
      </p:sp>
      <p:graphicFrame>
        <p:nvGraphicFramePr>
          <p:cNvPr id="4" name="Table 3"/>
          <p:cNvGraphicFramePr>
            <a:graphicFrameLocks noGrp="1"/>
          </p:cNvGraphicFramePr>
          <p:nvPr>
            <p:extLst>
              <p:ext uri="{D42A27DB-BD31-4B8C-83A1-F6EECF244321}">
                <p14:modId xmlns:p14="http://schemas.microsoft.com/office/powerpoint/2010/main" val="2853080643"/>
              </p:ext>
            </p:extLst>
          </p:nvPr>
        </p:nvGraphicFramePr>
        <p:xfrm>
          <a:off x="487680" y="962809"/>
          <a:ext cx="9418320" cy="5426244"/>
        </p:xfrm>
        <a:graphic>
          <a:graphicData uri="http://schemas.openxmlformats.org/drawingml/2006/table">
            <a:tbl>
              <a:tblPr firstRow="1" bandRow="1">
                <a:tableStyleId>{2D5ABB26-0587-4C30-8999-92F81FD0307C}</a:tableStyleId>
              </a:tblPr>
              <a:tblGrid>
                <a:gridCol w="1790982">
                  <a:extLst>
                    <a:ext uri="{9D8B030D-6E8A-4147-A177-3AD203B41FA5}">
                      <a16:colId xmlns="" xmlns:a16="http://schemas.microsoft.com/office/drawing/2014/main" val="20000"/>
                    </a:ext>
                  </a:extLst>
                </a:gridCol>
                <a:gridCol w="1565563">
                  <a:extLst>
                    <a:ext uri="{9D8B030D-6E8A-4147-A177-3AD203B41FA5}">
                      <a16:colId xmlns="" xmlns:a16="http://schemas.microsoft.com/office/drawing/2014/main" val="20001"/>
                    </a:ext>
                  </a:extLst>
                </a:gridCol>
                <a:gridCol w="1352615">
                  <a:extLst>
                    <a:ext uri="{9D8B030D-6E8A-4147-A177-3AD203B41FA5}">
                      <a16:colId xmlns="" xmlns:a16="http://schemas.microsoft.com/office/drawing/2014/main" val="20002"/>
                    </a:ext>
                  </a:extLst>
                </a:gridCol>
                <a:gridCol w="1569720">
                  <a:extLst>
                    <a:ext uri="{9D8B030D-6E8A-4147-A177-3AD203B41FA5}">
                      <a16:colId xmlns="" xmlns:a16="http://schemas.microsoft.com/office/drawing/2014/main" val="20003"/>
                    </a:ext>
                  </a:extLst>
                </a:gridCol>
                <a:gridCol w="1569720">
                  <a:extLst>
                    <a:ext uri="{9D8B030D-6E8A-4147-A177-3AD203B41FA5}">
                      <a16:colId xmlns="" xmlns:a16="http://schemas.microsoft.com/office/drawing/2014/main" val="20004"/>
                    </a:ext>
                  </a:extLst>
                </a:gridCol>
                <a:gridCol w="1569720">
                  <a:extLst>
                    <a:ext uri="{9D8B030D-6E8A-4147-A177-3AD203B41FA5}">
                      <a16:colId xmlns="" xmlns:a16="http://schemas.microsoft.com/office/drawing/2014/main" val="20005"/>
                    </a:ext>
                  </a:extLst>
                </a:gridCol>
              </a:tblGrid>
              <a:tr h="459591">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050" b="1" dirty="0">
                          <a:solidFill>
                            <a:schemeClr val="bg1"/>
                          </a:solidFill>
                        </a:rPr>
                        <a:t>Soil Mapping and Testing</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75000"/>
                      </a:schemeClr>
                    </a:solidFill>
                  </a:tcPr>
                </a:tc>
                <a:tc>
                  <a:txBody>
                    <a:bodyPr/>
                    <a:lstStyle/>
                    <a:p>
                      <a:r>
                        <a:rPr lang="en-US" sz="1050" b="1" dirty="0">
                          <a:solidFill>
                            <a:schemeClr val="bg1"/>
                          </a:solidFill>
                        </a:rPr>
                        <a:t>Product</a:t>
                      </a:r>
                      <a:r>
                        <a:rPr lang="en-US" sz="1050" b="1" baseline="0" dirty="0">
                          <a:solidFill>
                            <a:schemeClr val="bg1"/>
                          </a:solidFill>
                        </a:rPr>
                        <a:t> development</a:t>
                      </a:r>
                      <a:endParaRPr lang="en-US" sz="1050" b="1" dirty="0">
                        <a:solidFill>
                          <a:schemeClr val="bg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75000"/>
                      </a:schemeClr>
                    </a:solidFill>
                  </a:tcPr>
                </a:tc>
                <a:tc>
                  <a:txBody>
                    <a:bodyPr/>
                    <a:lstStyle/>
                    <a:p>
                      <a:r>
                        <a:rPr lang="en-US" sz="1050" b="1" dirty="0">
                          <a:solidFill>
                            <a:schemeClr val="bg1"/>
                          </a:solidFill>
                        </a:rPr>
                        <a:t>Fertilizer</a:t>
                      </a:r>
                      <a:r>
                        <a:rPr lang="en-US" sz="1050" b="1" baseline="0" dirty="0">
                          <a:solidFill>
                            <a:schemeClr val="bg1"/>
                          </a:solidFill>
                        </a:rPr>
                        <a:t> blends</a:t>
                      </a:r>
                      <a:r>
                        <a:rPr lang="en-US" sz="1050" b="1" dirty="0">
                          <a:solidFill>
                            <a:schemeClr val="bg1"/>
                          </a:solidFill>
                        </a:rPr>
                        <a:t> production</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75000"/>
                      </a:schemeClr>
                    </a:solidFill>
                  </a:tcPr>
                </a:tc>
                <a:tc>
                  <a:txBody>
                    <a:bodyPr/>
                    <a:lstStyle/>
                    <a:p>
                      <a:r>
                        <a:rPr lang="en-US" sz="1050" b="1" dirty="0">
                          <a:solidFill>
                            <a:schemeClr val="bg1"/>
                          </a:solidFill>
                        </a:rPr>
                        <a:t>Awareness by farmers</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75000"/>
                      </a:schemeClr>
                    </a:solidFill>
                  </a:tcPr>
                </a:tc>
                <a:tc>
                  <a:txBody>
                    <a:bodyPr/>
                    <a:lstStyle/>
                    <a:p>
                      <a:r>
                        <a:rPr lang="en-US" sz="1050" b="1" dirty="0">
                          <a:solidFill>
                            <a:schemeClr val="bg1"/>
                          </a:solidFill>
                        </a:rPr>
                        <a:t>Commercialization</a:t>
                      </a:r>
                      <a:r>
                        <a:rPr lang="en-US" sz="1050" b="1" baseline="0" dirty="0">
                          <a:solidFill>
                            <a:schemeClr val="bg1"/>
                          </a:solidFill>
                        </a:rPr>
                        <a:t> and distribution</a:t>
                      </a:r>
                      <a:endParaRPr lang="en-US" sz="1050" b="1" dirty="0">
                        <a:solidFill>
                          <a:schemeClr val="bg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050" b="1" dirty="0">
                          <a:solidFill>
                            <a:schemeClr val="bg1"/>
                          </a:solidFill>
                        </a:rPr>
                        <a:t>Regulation</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75000"/>
                      </a:schemeClr>
                    </a:solidFill>
                  </a:tcPr>
                </a:tc>
                <a:extLst>
                  <a:ext uri="{0D108BD9-81ED-4DB2-BD59-A6C34878D82A}">
                    <a16:rowId xmlns="" xmlns:a16="http://schemas.microsoft.com/office/drawing/2014/main" val="10000"/>
                  </a:ext>
                </a:extLst>
              </a:tr>
              <a:tr h="1655687">
                <a:tc>
                  <a:txBody>
                    <a:bodyPr/>
                    <a:lstStyle/>
                    <a:p>
                      <a:pPr marL="171450" marR="0" lvl="0" indent="-171450" algn="l" defTabSz="914400" rtl="0" eaLnBrk="1" fontAlgn="auto" latinLnBrk="0" hangingPunct="1">
                        <a:lnSpc>
                          <a:spcPct val="107000"/>
                        </a:lnSpc>
                        <a:spcBef>
                          <a:spcPts val="0"/>
                        </a:spcBef>
                        <a:spcAft>
                          <a:spcPts val="800"/>
                        </a:spcAft>
                        <a:buClr>
                          <a:srgbClr val="000000"/>
                        </a:buClr>
                        <a:buSzTx/>
                        <a:buFont typeface="Arial" panose="020B0604020202020204" pitchFamily="34" charset="0"/>
                        <a:buChar char="•"/>
                        <a:tabLst/>
                        <a:defRPr/>
                      </a:pPr>
                      <a:r>
                        <a:rPr kumimoji="0" lang="en-US" sz="1100" b="0" i="0" u="none" strike="noStrike" kern="0" cap="none" spc="0" normalizeH="0" baseline="0" noProof="0" dirty="0">
                          <a:ln>
                            <a:noFill/>
                          </a:ln>
                          <a:solidFill>
                            <a:srgbClr val="000000"/>
                          </a:solidFill>
                          <a:effectLst/>
                          <a:uLnTx/>
                          <a:uFillTx/>
                          <a:latin typeface="+mn-lt"/>
                          <a:ea typeface="+mn-ea"/>
                          <a:cs typeface="+mn-cs"/>
                          <a:sym typeface="Arial"/>
                        </a:rPr>
                        <a:t>Almost inexistent soil analysis; </a:t>
                      </a:r>
                      <a:r>
                        <a:rPr kumimoji="0" lang="en-US" sz="1100" b="0" i="0" u="none" strike="noStrike" kern="0" cap="none" spc="0" normalizeH="0" baseline="0" noProof="0" dirty="0">
                          <a:ln>
                            <a:noFill/>
                          </a:ln>
                          <a:solidFill>
                            <a:srgbClr val="000000"/>
                          </a:solidFill>
                          <a:effectLst/>
                          <a:uLnTx/>
                          <a:uFillTx/>
                          <a:latin typeface="+mn-lt"/>
                          <a:ea typeface="Calibri" panose="020F0502020204030204" pitchFamily="34" charset="0"/>
                          <a:cs typeface="Times New Roman" panose="02020603050405020304" pitchFamily="18" charset="0"/>
                          <a:sym typeface="Arial"/>
                        </a:rPr>
                        <a:t>some 1000 georeferenced soil samples in the Segou region with some extending to Sikasso and Mopti done by Toguna and OCP. </a:t>
                      </a:r>
                    </a:p>
                    <a:p>
                      <a:pPr marL="128588" indent="-128588" defTabSz="685800">
                        <a:spcAft>
                          <a:spcPts val="225"/>
                        </a:spcAft>
                        <a:buFont typeface="Arial" panose="020B0604020202020204" pitchFamily="34" charset="0"/>
                        <a:buChar char="•"/>
                      </a:pPr>
                      <a:r>
                        <a:rPr lang="en-US" sz="1100" dirty="0">
                          <a:effectLst/>
                          <a:latin typeface="+mn-lt"/>
                          <a:ea typeface="Calibri" panose="020F0502020204030204" pitchFamily="34" charset="0"/>
                          <a:cs typeface="Times New Roman" panose="02020603050405020304" pitchFamily="18" charset="0"/>
                        </a:rPr>
                        <a:t>Some investments in soils mapping are planned for 2020 under an Islamic Development Bank loan</a:t>
                      </a:r>
                      <a:endParaRPr lang="en-US" sz="1100" dirty="0">
                        <a:solidFill>
                          <a:schemeClr val="tx1"/>
                        </a:solidFill>
                        <a:latin typeface="+mn-lt"/>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28270" indent="-128270" defTabSz="685800">
                        <a:spcAft>
                          <a:spcPts val="225"/>
                        </a:spcAft>
                        <a:buFont typeface="Arial" panose="020B0604020202020204" pitchFamily="34" charset="0"/>
                        <a:buChar char="•"/>
                      </a:pPr>
                      <a:r>
                        <a:rPr lang="en-US" sz="1100" dirty="0">
                          <a:solidFill>
                            <a:schemeClr val="tx1"/>
                          </a:solidFill>
                          <a:latin typeface="+mn-lt"/>
                        </a:rPr>
                        <a:t>Fertilizer developed (Yara and</a:t>
                      </a:r>
                      <a:r>
                        <a:rPr lang="en-US" sz="1100" baseline="0" dirty="0">
                          <a:solidFill>
                            <a:schemeClr val="tx1"/>
                          </a:solidFill>
                          <a:latin typeface="+mn-lt"/>
                        </a:rPr>
                        <a:t> Toguna)</a:t>
                      </a:r>
                      <a:endParaRPr lang="en-US" sz="1100" dirty="0">
                        <a:solidFill>
                          <a:schemeClr val="tx1"/>
                        </a:solidFill>
                        <a:latin typeface="+mn-lt"/>
                      </a:endParaRPr>
                    </a:p>
                    <a:p>
                      <a:pPr marL="128588" indent="-128588" defTabSz="685800">
                        <a:spcAft>
                          <a:spcPts val="225"/>
                        </a:spcAft>
                        <a:buFont typeface="Arial" panose="020B0604020202020204" pitchFamily="34" charset="0"/>
                        <a:buChar char="•"/>
                      </a:pPr>
                      <a:r>
                        <a:rPr lang="en-US" sz="1100" dirty="0">
                          <a:solidFill>
                            <a:schemeClr val="tx1"/>
                          </a:solidFill>
                          <a:latin typeface="+mn-lt"/>
                        </a:rPr>
                        <a:t>Trials</a:t>
                      </a:r>
                      <a:r>
                        <a:rPr lang="en-US" sz="1100" baseline="0" dirty="0">
                          <a:solidFill>
                            <a:schemeClr val="tx1"/>
                          </a:solidFill>
                          <a:latin typeface="+mn-lt"/>
                        </a:rPr>
                        <a:t> done by IER/Toguna for </a:t>
                      </a:r>
                      <a:r>
                        <a:rPr lang="en-US" sz="1100" baseline="0" dirty="0" smtClean="0">
                          <a:solidFill>
                            <a:schemeClr val="tx1"/>
                          </a:solidFill>
                          <a:latin typeface="+mn-lt"/>
                        </a:rPr>
                        <a:t>Maize, Sorghum</a:t>
                      </a:r>
                      <a:r>
                        <a:rPr lang="en-US" sz="1100" baseline="0" dirty="0">
                          <a:solidFill>
                            <a:schemeClr val="tx1"/>
                          </a:solidFill>
                          <a:latin typeface="+mn-lt"/>
                        </a:rPr>
                        <a:t>, cowpea and millet blends</a:t>
                      </a:r>
                    </a:p>
                    <a:p>
                      <a:pPr marL="128588" indent="-128588" defTabSz="685800">
                        <a:spcAft>
                          <a:spcPts val="225"/>
                        </a:spcAft>
                        <a:buFont typeface="Arial" panose="020B0604020202020204" pitchFamily="34" charset="0"/>
                        <a:buChar char="•"/>
                      </a:pPr>
                      <a:r>
                        <a:rPr lang="en-US" sz="1100" baseline="0" dirty="0">
                          <a:solidFill>
                            <a:schemeClr val="tx1"/>
                          </a:solidFill>
                          <a:latin typeface="+mn-lt"/>
                        </a:rPr>
                        <a:t>3 blending plants operating</a:t>
                      </a:r>
                      <a:endParaRPr lang="en-US" sz="1100" dirty="0">
                        <a:solidFill>
                          <a:schemeClr val="tx1"/>
                        </a:solidFill>
                        <a:latin typeface="+mn-lt"/>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28588" indent="-128588" defTabSz="685800">
                        <a:spcAft>
                          <a:spcPts val="225"/>
                        </a:spcAft>
                        <a:buFont typeface="Arial" panose="020B0604020202020204" pitchFamily="34" charset="0"/>
                        <a:buChar char="•"/>
                      </a:pPr>
                      <a:r>
                        <a:rPr lang="en-US" sz="1100" dirty="0">
                          <a:solidFill>
                            <a:schemeClr val="tx1"/>
                          </a:solidFill>
                          <a:latin typeface="+mn-lt"/>
                        </a:rPr>
                        <a:t>Low production of blends </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28588" indent="-128588" defTabSz="685800">
                        <a:spcAft>
                          <a:spcPts val="225"/>
                        </a:spcAft>
                        <a:buFont typeface="Arial" panose="020B0604020202020204" pitchFamily="34" charset="0"/>
                        <a:buChar char="•"/>
                      </a:pPr>
                      <a:r>
                        <a:rPr lang="en-US" sz="1100" dirty="0">
                          <a:solidFill>
                            <a:schemeClr val="tx1"/>
                          </a:solidFill>
                          <a:latin typeface="+mn-lt"/>
                        </a:rPr>
                        <a:t>Mali is one of the countries where the rate of fertilizer use is high compare</a:t>
                      </a:r>
                      <a:r>
                        <a:rPr lang="en-US" sz="1100" baseline="0" dirty="0">
                          <a:solidFill>
                            <a:schemeClr val="tx1"/>
                          </a:solidFill>
                          <a:latin typeface="+mn-lt"/>
                        </a:rPr>
                        <a:t> to its neighbors, 28kg/ha</a:t>
                      </a:r>
                      <a:endParaRPr lang="en-US" sz="1100" dirty="0">
                        <a:solidFill>
                          <a:schemeClr val="tx1"/>
                        </a:solidFill>
                        <a:latin typeface="+mn-lt"/>
                      </a:endParaRPr>
                    </a:p>
                    <a:p>
                      <a:pPr marL="128588" indent="-128588" defTabSz="685800">
                        <a:spcAft>
                          <a:spcPts val="225"/>
                        </a:spcAft>
                        <a:buFont typeface="Arial" panose="020B0604020202020204" pitchFamily="34" charset="0"/>
                        <a:buChar char="•"/>
                      </a:pPr>
                      <a:r>
                        <a:rPr lang="en-US" sz="1100" dirty="0">
                          <a:solidFill>
                            <a:schemeClr val="tx1"/>
                          </a:solidFill>
                          <a:latin typeface="+mn-lt"/>
                        </a:rPr>
                        <a:t>Ongoing</a:t>
                      </a:r>
                      <a:r>
                        <a:rPr lang="en-US" sz="1100" baseline="0" dirty="0">
                          <a:solidFill>
                            <a:schemeClr val="tx1"/>
                          </a:solidFill>
                          <a:latin typeface="+mn-lt"/>
                        </a:rPr>
                        <a:t> subsidy program includes farmers awareness</a:t>
                      </a:r>
                      <a:endParaRPr lang="en-US" sz="1100" dirty="0">
                        <a:solidFill>
                          <a:schemeClr val="tx1"/>
                        </a:solidFill>
                        <a:latin typeface="+mn-lt"/>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28588" indent="-128588" defTabSz="685800">
                        <a:spcAft>
                          <a:spcPts val="225"/>
                        </a:spcAft>
                        <a:buFont typeface="Arial" panose="020B0604020202020204" pitchFamily="34" charset="0"/>
                        <a:buChar char="•"/>
                      </a:pPr>
                      <a:r>
                        <a:rPr lang="en-US" sz="1100" dirty="0">
                          <a:solidFill>
                            <a:schemeClr val="tx1"/>
                          </a:solidFill>
                          <a:latin typeface="+mn-lt"/>
                        </a:rPr>
                        <a:t>Trained agro-dealers operating in the country</a:t>
                      </a:r>
                    </a:p>
                    <a:p>
                      <a:pPr marL="128588" indent="-128588" defTabSz="685800">
                        <a:spcAft>
                          <a:spcPts val="225"/>
                        </a:spcAft>
                        <a:buFont typeface="Arial" panose="020B0604020202020204" pitchFamily="34" charset="0"/>
                        <a:buChar char="•"/>
                      </a:pPr>
                      <a:r>
                        <a:rPr lang="en-US" sz="1100" dirty="0">
                          <a:solidFill>
                            <a:schemeClr val="tx1"/>
                          </a:solidFill>
                          <a:latin typeface="+mn-lt"/>
                        </a:rPr>
                        <a:t>Distance still long from</a:t>
                      </a:r>
                      <a:r>
                        <a:rPr lang="en-US" sz="1100" baseline="0" dirty="0">
                          <a:solidFill>
                            <a:schemeClr val="tx1"/>
                          </a:solidFill>
                          <a:latin typeface="+mn-lt"/>
                        </a:rPr>
                        <a:t> a farmer to an agro-dealer.</a:t>
                      </a:r>
                      <a:endParaRPr lang="en-US" sz="1100" dirty="0">
                        <a:solidFill>
                          <a:schemeClr val="tx1"/>
                        </a:solidFill>
                        <a:latin typeface="+mn-lt"/>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28588" marR="0" indent="-128588" algn="l" defTabSz="685800" rtl="0">
                        <a:lnSpc>
                          <a:spcPct val="100000"/>
                        </a:lnSpc>
                        <a:spcBef>
                          <a:spcPts val="0"/>
                        </a:spcBef>
                        <a:spcAft>
                          <a:spcPts val="225"/>
                        </a:spcAft>
                        <a:buClr>
                          <a:srgbClr val="000000"/>
                        </a:buClr>
                        <a:buFont typeface="Arial" panose="020B0604020202020204" pitchFamily="34" charset="0"/>
                        <a:buChar char="•"/>
                      </a:pPr>
                      <a:r>
                        <a:rPr lang="en-US" sz="1100" b="0" i="0" u="none" strike="noStrike" cap="none" dirty="0">
                          <a:solidFill>
                            <a:schemeClr val="tx1"/>
                          </a:solidFill>
                          <a:latin typeface="+mn-lt"/>
                          <a:ea typeface="+mn-ea"/>
                          <a:cs typeface="+mn-cs"/>
                          <a:sym typeface="Arial"/>
                        </a:rPr>
                        <a:t>The legal framework for fertilizer regulation exists as well as regulations guiding labeling and quality control based on the regional regulation.</a:t>
                      </a:r>
                    </a:p>
                    <a:p>
                      <a:pPr marL="128588" indent="-128588" defTabSz="685800">
                        <a:spcAft>
                          <a:spcPts val="225"/>
                        </a:spcAft>
                        <a:buFont typeface="Arial" panose="020B0604020202020204" pitchFamily="34" charset="0"/>
                        <a:buChar char="•"/>
                      </a:pPr>
                      <a:endParaRPr lang="en-US" sz="1100" dirty="0">
                        <a:solidFill>
                          <a:schemeClr val="tx1"/>
                        </a:solidFill>
                        <a:latin typeface="+mn-lt"/>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 xmlns:a16="http://schemas.microsoft.com/office/drawing/2014/main" val="10001"/>
                  </a:ext>
                </a:extLst>
              </a:tr>
              <a:tr h="1655687">
                <a:tc>
                  <a:txBody>
                    <a:bodyPr/>
                    <a:lstStyle/>
                    <a:p>
                      <a:pPr marL="171450" marR="0" indent="-171450">
                        <a:lnSpc>
                          <a:spcPct val="107000"/>
                        </a:lnSpc>
                        <a:spcBef>
                          <a:spcPts val="0"/>
                        </a:spcBef>
                        <a:spcAft>
                          <a:spcPts val="0"/>
                        </a:spcAft>
                        <a:buFont typeface="Arial" panose="020B0604020202020204" pitchFamily="34" charset="0"/>
                        <a:buChar char="•"/>
                      </a:pPr>
                      <a:r>
                        <a:rPr lang="en-US" sz="1100" dirty="0">
                          <a:solidFill>
                            <a:schemeClr val="tx1"/>
                          </a:solidFill>
                          <a:effectLst/>
                          <a:latin typeface="+mn-lt"/>
                          <a:ea typeface="Calibri" panose="020F0502020204030204" pitchFamily="34" charset="0"/>
                          <a:cs typeface="Times New Roman" panose="02020603050405020304" pitchFamily="18" charset="0"/>
                        </a:rPr>
                        <a:t>Lack of soils </a:t>
                      </a:r>
                      <a:r>
                        <a:rPr lang="en-US" sz="1100" dirty="0" smtClean="0">
                          <a:solidFill>
                            <a:schemeClr val="tx1"/>
                          </a:solidFill>
                          <a:effectLst/>
                          <a:latin typeface="+mn-lt"/>
                          <a:ea typeface="Calibri" panose="020F0502020204030204" pitchFamily="34" charset="0"/>
                          <a:cs typeface="Times New Roman" panose="02020603050405020304" pitchFamily="18" charset="0"/>
                        </a:rPr>
                        <a:t>information</a:t>
                      </a:r>
                    </a:p>
                    <a:p>
                      <a:pPr marL="171450" marR="0" indent="-171450">
                        <a:lnSpc>
                          <a:spcPct val="107000"/>
                        </a:lnSpc>
                        <a:spcBef>
                          <a:spcPts val="0"/>
                        </a:spcBef>
                        <a:spcAft>
                          <a:spcPts val="0"/>
                        </a:spcAft>
                        <a:buFont typeface="Arial" panose="020B0604020202020204" pitchFamily="34" charset="0"/>
                        <a:buChar char="•"/>
                      </a:pPr>
                      <a:r>
                        <a:rPr lang="en-US" sz="1100" dirty="0" smtClean="0">
                          <a:solidFill>
                            <a:schemeClr val="tx1"/>
                          </a:solidFill>
                          <a:effectLst/>
                          <a:latin typeface="+mn-lt"/>
                          <a:ea typeface="Calibri" panose="020F0502020204030204" pitchFamily="34" charset="0"/>
                          <a:cs typeface="Times New Roman" panose="02020603050405020304" pitchFamily="18" charset="0"/>
                        </a:rPr>
                        <a:t>Limited use of agroforestry</a:t>
                      </a:r>
                      <a:r>
                        <a:rPr lang="en-US" sz="1100" baseline="0" dirty="0" smtClean="0">
                          <a:solidFill>
                            <a:schemeClr val="tx1"/>
                          </a:solidFill>
                          <a:effectLst/>
                          <a:latin typeface="+mn-lt"/>
                          <a:ea typeface="Calibri" panose="020F0502020204030204" pitchFamily="34" charset="0"/>
                          <a:cs typeface="Times New Roman" panose="02020603050405020304" pitchFamily="18" charset="0"/>
                        </a:rPr>
                        <a:t> as an integrated  management technology</a:t>
                      </a:r>
                      <a:r>
                        <a:rPr lang="en-US" sz="1100" dirty="0" smtClean="0">
                          <a:solidFill>
                            <a:schemeClr val="tx1"/>
                          </a:solidFill>
                          <a:effectLst/>
                          <a:latin typeface="+mn-lt"/>
                          <a:ea typeface="Calibri" panose="020F0502020204030204" pitchFamily="34" charset="0"/>
                          <a:cs typeface="Times New Roman" panose="02020603050405020304" pitchFamily="18" charset="0"/>
                        </a:rPr>
                        <a:t> </a:t>
                      </a:r>
                      <a:endParaRPr lang="en-US" sz="1100" dirty="0">
                        <a:solidFill>
                          <a:schemeClr val="tx1"/>
                        </a:solidFill>
                        <a:effectLst/>
                        <a:latin typeface="+mn-lt"/>
                        <a:ea typeface="Calibri" panose="020F0502020204030204" pitchFamily="34" charset="0"/>
                        <a:cs typeface="Times New Roman" panose="02020603050405020304" pitchFamily="18" charset="0"/>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71450" marR="0" lvl="0" indent="-171450" algn="l" rtl="0" eaLnBrk="1" fontAlgn="auto" latinLnBrk="0" hangingPunct="1">
                        <a:lnSpc>
                          <a:spcPct val="107000"/>
                        </a:lnSpc>
                        <a:spcBef>
                          <a:spcPts val="0"/>
                        </a:spcBef>
                        <a:spcAft>
                          <a:spcPts val="800"/>
                        </a:spcAft>
                        <a:buFont typeface="Arial" panose="020B0604020202020204" pitchFamily="34" charset="0"/>
                        <a:buChar char="•"/>
                      </a:pPr>
                      <a:r>
                        <a:rPr kumimoji="0" lang="en-US" sz="1100" b="0" i="0" u="none" strike="noStrike" kern="0" cap="none" spc="0" normalizeH="0" baseline="0" noProof="0" dirty="0">
                          <a:ln>
                            <a:noFill/>
                          </a:ln>
                          <a:solidFill>
                            <a:schemeClr val="tx1"/>
                          </a:solidFill>
                          <a:effectLst/>
                          <a:uLnTx/>
                          <a:uFillTx/>
                          <a:latin typeface="+mn-lt"/>
                          <a:ea typeface="Calibri" panose="020F0502020204030204" pitchFamily="34" charset="0"/>
                          <a:cs typeface="Times New Roman"/>
                          <a:sym typeface="Arial"/>
                        </a:rPr>
                        <a:t>Trials to validate some </a:t>
                      </a:r>
                      <a:r>
                        <a:rPr lang="en-US" sz="1100" b="0" i="0" u="none" strike="noStrike" kern="0" cap="none" spc="0" normalizeH="0" baseline="0" noProof="0" dirty="0">
                          <a:ln>
                            <a:noFill/>
                          </a:ln>
                          <a:solidFill>
                            <a:schemeClr val="tx1"/>
                          </a:solidFill>
                          <a:effectLst/>
                          <a:uLnTx/>
                          <a:uFillTx/>
                          <a:latin typeface="+mn-lt"/>
                          <a:ea typeface="Calibri" panose="020F0502020204030204" pitchFamily="34" charset="0"/>
                          <a:cs typeface="Times New Roman"/>
                        </a:rPr>
                        <a:t>fertilizer  </a:t>
                      </a:r>
                      <a:r>
                        <a:rPr kumimoji="0" lang="en-US" sz="1100" b="0" i="0" u="none" strike="noStrike" kern="0" cap="none" spc="0" normalizeH="0" baseline="0" noProof="0" dirty="0">
                          <a:ln>
                            <a:noFill/>
                          </a:ln>
                          <a:solidFill>
                            <a:schemeClr val="tx1"/>
                          </a:solidFill>
                          <a:effectLst/>
                          <a:uLnTx/>
                          <a:uFillTx/>
                          <a:latin typeface="+mn-lt"/>
                          <a:ea typeface="Calibri" panose="020F0502020204030204" pitchFamily="34" charset="0"/>
                          <a:cs typeface="Times New Roman"/>
                          <a:sym typeface="Arial"/>
                        </a:rPr>
                        <a:t>formulations</a:t>
                      </a:r>
                    </a:p>
                    <a:p>
                      <a:pPr marL="171450" marR="0" lvl="0" indent="-171450" algn="l" defTabSz="914400" rtl="0" eaLnBrk="1" fontAlgn="auto" latinLnBrk="0" hangingPunct="1">
                        <a:lnSpc>
                          <a:spcPct val="107000"/>
                        </a:lnSpc>
                        <a:spcBef>
                          <a:spcPts val="0"/>
                        </a:spcBef>
                        <a:spcAft>
                          <a:spcPts val="0"/>
                        </a:spcAft>
                        <a:buClr>
                          <a:srgbClr val="000000"/>
                        </a:buClr>
                        <a:buSzTx/>
                        <a:buFont typeface="Arial" panose="020B0604020202020204" pitchFamily="34" charset="0"/>
                        <a:buChar char="•"/>
                        <a:tabLst/>
                        <a:defRPr/>
                      </a:pPr>
                      <a:r>
                        <a:rPr kumimoji="0" lang="en-US" sz="1100" b="0" i="0" u="none" strike="noStrike" kern="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sym typeface="Arial"/>
                        </a:rPr>
                        <a:t>Stakeholders (blenders and researchers) capacity in balanced crop nutrition and requirement for blending.</a:t>
                      </a:r>
                      <a:endParaRPr lang="en-US" sz="1100" dirty="0">
                        <a:solidFill>
                          <a:schemeClr val="tx1"/>
                        </a:solidFill>
                        <a:latin typeface="+mn-lt"/>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28588" marR="0" lvl="0" indent="-128588" algn="l" defTabSz="685800" rtl="0" eaLnBrk="1" fontAlgn="auto" latinLnBrk="0" hangingPunct="1">
                        <a:lnSpc>
                          <a:spcPct val="100000"/>
                        </a:lnSpc>
                        <a:spcBef>
                          <a:spcPts val="0"/>
                        </a:spcBef>
                        <a:spcAft>
                          <a:spcPts val="225"/>
                        </a:spcAft>
                        <a:buClr>
                          <a:srgbClr val="000000"/>
                        </a:buClr>
                        <a:buSzTx/>
                        <a:buFont typeface="Arial" panose="020B0604020202020204" pitchFamily="34" charset="0"/>
                        <a:buChar char="•"/>
                        <a:tabLst/>
                        <a:defRPr/>
                      </a:pPr>
                      <a:r>
                        <a:rPr kumimoji="0" lang="en-US" sz="1100" b="0" i="0" u="none" strike="noStrike" kern="0" cap="none" spc="0" normalizeH="0" baseline="0" noProof="0" dirty="0">
                          <a:ln>
                            <a:noFill/>
                          </a:ln>
                          <a:solidFill>
                            <a:srgbClr val="000000"/>
                          </a:solidFill>
                          <a:effectLst/>
                          <a:uLnTx/>
                          <a:uFillTx/>
                          <a:latin typeface="+mn-lt"/>
                          <a:ea typeface="+mn-ea"/>
                          <a:cs typeface="+mn-cs"/>
                          <a:sym typeface="Arial"/>
                        </a:rPr>
                        <a:t>Low demand of the blends</a:t>
                      </a:r>
                    </a:p>
                    <a:p>
                      <a:pPr marL="128588" marR="0" lvl="0" indent="-128588" algn="l" defTabSz="685800" rtl="0" eaLnBrk="1" fontAlgn="auto" latinLnBrk="0" hangingPunct="1">
                        <a:lnSpc>
                          <a:spcPct val="100000"/>
                        </a:lnSpc>
                        <a:spcBef>
                          <a:spcPts val="0"/>
                        </a:spcBef>
                        <a:spcAft>
                          <a:spcPts val="225"/>
                        </a:spcAft>
                        <a:buClr>
                          <a:srgbClr val="000000"/>
                        </a:buClr>
                        <a:buSzTx/>
                        <a:buFont typeface="Arial" panose="020B0604020202020204" pitchFamily="34" charset="0"/>
                        <a:buChar char="•"/>
                        <a:tabLst/>
                        <a:defRPr/>
                      </a:pPr>
                      <a:r>
                        <a:rPr kumimoji="0" lang="en-US" sz="1100" b="0" i="0" u="none" strike="noStrike" kern="0" cap="none" spc="0" normalizeH="0" baseline="0" noProof="0" dirty="0">
                          <a:ln>
                            <a:noFill/>
                          </a:ln>
                          <a:solidFill>
                            <a:srgbClr val="000000"/>
                          </a:solidFill>
                          <a:effectLst/>
                          <a:uLnTx/>
                          <a:uFillTx/>
                          <a:latin typeface="+mn-lt"/>
                          <a:ea typeface="+mn-ea"/>
                          <a:cs typeface="+mn-cs"/>
                          <a:sym typeface="Arial"/>
                        </a:rPr>
                        <a:t>Limited technical capacity of blenders and researchers</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71450" marR="0" indent="-171450" algn="l" defTabSz="685800" rtl="0">
                        <a:lnSpc>
                          <a:spcPct val="107000"/>
                        </a:lnSpc>
                        <a:spcBef>
                          <a:spcPts val="0"/>
                        </a:spcBef>
                        <a:spcAft>
                          <a:spcPts val="800"/>
                        </a:spcAft>
                        <a:buClr>
                          <a:srgbClr val="000000"/>
                        </a:buClr>
                        <a:buFont typeface="Arial" panose="020B0604020202020204" pitchFamily="34" charset="0"/>
                        <a:buChar char="•"/>
                      </a:pPr>
                      <a:r>
                        <a:rPr lang="en-US" sz="1100" b="0" i="0" u="none" strike="noStrike" cap="none" dirty="0">
                          <a:solidFill>
                            <a:schemeClr val="tx1"/>
                          </a:solidFill>
                          <a:effectLst/>
                          <a:latin typeface="+mn-lt"/>
                          <a:ea typeface="Calibri" panose="020F0502020204030204" pitchFamily="34" charset="0"/>
                          <a:cs typeface="Times New Roman" panose="02020603050405020304" pitchFamily="18" charset="0"/>
                          <a:sym typeface="Arial"/>
                        </a:rPr>
                        <a:t>Inefficient extension </a:t>
                      </a:r>
                      <a:r>
                        <a:rPr lang="en-US" sz="1100" b="0" i="0" u="none" strike="noStrike" cap="none" dirty="0" smtClean="0">
                          <a:solidFill>
                            <a:schemeClr val="tx1"/>
                          </a:solidFill>
                          <a:effectLst/>
                          <a:latin typeface="+mn-lt"/>
                          <a:ea typeface="Calibri" panose="020F0502020204030204" pitchFamily="34" charset="0"/>
                          <a:cs typeface="Times New Roman" panose="02020603050405020304" pitchFamily="18" charset="0"/>
                          <a:sym typeface="Arial"/>
                        </a:rPr>
                        <a:t>program</a:t>
                      </a:r>
                    </a:p>
                    <a:p>
                      <a:pPr marL="171450" marR="0" indent="-171450" algn="l" defTabSz="685800" rtl="0">
                        <a:lnSpc>
                          <a:spcPct val="107000"/>
                        </a:lnSpc>
                        <a:spcBef>
                          <a:spcPts val="0"/>
                        </a:spcBef>
                        <a:spcAft>
                          <a:spcPts val="800"/>
                        </a:spcAft>
                        <a:buClr>
                          <a:srgbClr val="000000"/>
                        </a:buClr>
                        <a:buFont typeface="Arial" panose="020B0604020202020204" pitchFamily="34" charset="0"/>
                        <a:buChar char="•"/>
                      </a:pPr>
                      <a:r>
                        <a:rPr lang="en-US" sz="1100" b="0" i="0" u="none" strike="noStrike" cap="none" dirty="0" smtClean="0">
                          <a:solidFill>
                            <a:schemeClr val="tx1"/>
                          </a:solidFill>
                          <a:effectLst/>
                          <a:latin typeface="+mn-lt"/>
                          <a:ea typeface="Calibri" panose="020F0502020204030204" pitchFamily="34" charset="0"/>
                          <a:cs typeface="Times New Roman" panose="02020603050405020304" pitchFamily="18" charset="0"/>
                          <a:sym typeface="Arial"/>
                        </a:rPr>
                        <a:t>Low involvement of private sector in extension</a:t>
                      </a:r>
                    </a:p>
                    <a:p>
                      <a:pPr marL="171450" marR="0" indent="-171450" algn="l" defTabSz="685800" rtl="0">
                        <a:lnSpc>
                          <a:spcPct val="107000"/>
                        </a:lnSpc>
                        <a:spcBef>
                          <a:spcPts val="0"/>
                        </a:spcBef>
                        <a:spcAft>
                          <a:spcPts val="800"/>
                        </a:spcAft>
                        <a:buClr>
                          <a:srgbClr val="000000"/>
                        </a:buClr>
                        <a:buFont typeface="Arial" panose="020B0604020202020204" pitchFamily="34" charset="0"/>
                        <a:buChar char="•"/>
                      </a:pPr>
                      <a:r>
                        <a:rPr lang="en-US" sz="1100" b="0" i="0" u="none" strike="noStrike" cap="none" dirty="0" smtClean="0">
                          <a:solidFill>
                            <a:schemeClr val="tx1"/>
                          </a:solidFill>
                          <a:effectLst/>
                          <a:latin typeface="+mn-lt"/>
                          <a:ea typeface="Calibri" panose="020F0502020204030204" pitchFamily="34" charset="0"/>
                          <a:cs typeface="Times New Roman" panose="02020603050405020304" pitchFamily="18" charset="0"/>
                          <a:sym typeface="Arial"/>
                        </a:rPr>
                        <a:t>Insufficient</a:t>
                      </a:r>
                      <a:r>
                        <a:rPr lang="en-US" sz="1100" b="0" i="0" u="none" strike="noStrike" cap="none" baseline="0" dirty="0" smtClean="0">
                          <a:solidFill>
                            <a:schemeClr val="tx1"/>
                          </a:solidFill>
                          <a:effectLst/>
                          <a:latin typeface="+mn-lt"/>
                          <a:ea typeface="Calibri" panose="020F0502020204030204" pitchFamily="34" charset="0"/>
                          <a:cs typeface="Times New Roman" panose="02020603050405020304" pitchFamily="18" charset="0"/>
                          <a:sym typeface="Arial"/>
                        </a:rPr>
                        <a:t> </a:t>
                      </a:r>
                      <a:r>
                        <a:rPr lang="en-US" sz="1100" b="0" i="0" u="none" strike="noStrike" cap="none" baseline="0" dirty="0" smtClean="0">
                          <a:solidFill>
                            <a:schemeClr val="tx1"/>
                          </a:solidFill>
                          <a:effectLst/>
                          <a:latin typeface="+mn-lt"/>
                          <a:ea typeface="Calibri" panose="020F0502020204030204" pitchFamily="34" charset="0"/>
                          <a:cs typeface="Times New Roman" panose="02020603050405020304" pitchFamily="18" charset="0"/>
                          <a:sym typeface="Arial"/>
                        </a:rPr>
                        <a:t>use of climate smart technologies in extension</a:t>
                      </a:r>
                      <a:endParaRPr lang="en-US" sz="1100" b="0" i="0" u="none" strike="noStrike" cap="none" dirty="0">
                        <a:solidFill>
                          <a:schemeClr val="tx1"/>
                        </a:solidFill>
                        <a:effectLst/>
                        <a:latin typeface="+mn-lt"/>
                        <a:ea typeface="Calibri" panose="020F0502020204030204" pitchFamily="34" charset="0"/>
                        <a:cs typeface="Times New Roman" panose="02020603050405020304" pitchFamily="18" charset="0"/>
                        <a:sym typeface="Arial"/>
                      </a:endParaRPr>
                    </a:p>
                    <a:p>
                      <a:pPr marL="128588" indent="-128588" defTabSz="685800">
                        <a:spcAft>
                          <a:spcPts val="225"/>
                        </a:spcAft>
                        <a:buFont typeface="Arial" panose="020B0604020202020204" pitchFamily="34" charset="0"/>
                        <a:buChar char="•"/>
                      </a:pPr>
                      <a:endParaRPr lang="en-US" sz="1100" dirty="0">
                        <a:solidFill>
                          <a:schemeClr val="tx1"/>
                        </a:solidFill>
                        <a:latin typeface="+mn-lt"/>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71450" marR="0" indent="-171450">
                        <a:lnSpc>
                          <a:spcPct val="107000"/>
                        </a:lnSpc>
                        <a:spcBef>
                          <a:spcPts val="0"/>
                        </a:spcBef>
                        <a:spcAft>
                          <a:spcPts val="800"/>
                        </a:spcAft>
                        <a:buFont typeface="Arial" panose="020B0604020202020204" pitchFamily="34" charset="0"/>
                        <a:buChar char="•"/>
                      </a:pPr>
                      <a:r>
                        <a:rPr lang="en-US" sz="1100" dirty="0">
                          <a:effectLst/>
                          <a:latin typeface="+mn-lt"/>
                          <a:ea typeface="Calibri" panose="020F0502020204030204" pitchFamily="34" charset="0"/>
                          <a:cs typeface="Times New Roman" panose="02020603050405020304" pitchFamily="18" charset="0"/>
                        </a:rPr>
                        <a:t>Too many small ADs (&lt;300mt/yr)</a:t>
                      </a:r>
                    </a:p>
                    <a:p>
                      <a:pPr marL="171450" marR="0" indent="-171450">
                        <a:lnSpc>
                          <a:spcPct val="107000"/>
                        </a:lnSpc>
                        <a:spcBef>
                          <a:spcPts val="0"/>
                        </a:spcBef>
                        <a:spcAft>
                          <a:spcPts val="800"/>
                        </a:spcAft>
                        <a:buFont typeface="Arial" panose="020B0604020202020204" pitchFamily="34" charset="0"/>
                        <a:buChar char="•"/>
                      </a:pPr>
                      <a:r>
                        <a:rPr lang="en-US" sz="1100" dirty="0">
                          <a:effectLst/>
                          <a:latin typeface="+mn-lt"/>
                          <a:ea typeface="Calibri" panose="020F0502020204030204" pitchFamily="34" charset="0"/>
                          <a:cs typeface="Times New Roman" panose="02020603050405020304" pitchFamily="18" charset="0"/>
                        </a:rPr>
                        <a:t>Lack of working capital</a:t>
                      </a:r>
                    </a:p>
                    <a:p>
                      <a:pPr marL="171450" marR="0" indent="-171450">
                        <a:lnSpc>
                          <a:spcPct val="107000"/>
                        </a:lnSpc>
                        <a:spcBef>
                          <a:spcPts val="0"/>
                        </a:spcBef>
                        <a:spcAft>
                          <a:spcPts val="800"/>
                        </a:spcAft>
                        <a:buFont typeface="Arial" panose="020B0604020202020204" pitchFamily="34" charset="0"/>
                        <a:buChar char="•"/>
                      </a:pPr>
                      <a:r>
                        <a:rPr lang="en-US" sz="1100" dirty="0">
                          <a:effectLst/>
                          <a:latin typeface="+mn-lt"/>
                          <a:ea typeface="Calibri" panose="020F0502020204030204" pitchFamily="34" charset="0"/>
                          <a:cs typeface="Times New Roman" panose="02020603050405020304" pitchFamily="18" charset="0"/>
                        </a:rPr>
                        <a:t>Distribution competence – marketing, accounting, planning…</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71450" marR="0" indent="-171450" algn="l" defTabSz="685800" rtl="0">
                        <a:lnSpc>
                          <a:spcPct val="107000"/>
                        </a:lnSpc>
                        <a:spcBef>
                          <a:spcPts val="0"/>
                        </a:spcBef>
                        <a:spcAft>
                          <a:spcPts val="800"/>
                        </a:spcAft>
                        <a:buClr>
                          <a:srgbClr val="000000"/>
                        </a:buClr>
                        <a:buFont typeface="Arial" panose="020B0604020202020204" pitchFamily="34" charset="0"/>
                        <a:buChar char="•"/>
                      </a:pPr>
                      <a:r>
                        <a:rPr lang="en-US" sz="1100" b="0" i="0" u="none" strike="noStrike" cap="none" dirty="0">
                          <a:solidFill>
                            <a:schemeClr val="tx1"/>
                          </a:solidFill>
                          <a:effectLst/>
                          <a:latin typeface="+mn-lt"/>
                          <a:ea typeface="Calibri" panose="020F0502020204030204" pitchFamily="34" charset="0"/>
                          <a:cs typeface="Times New Roman" panose="02020603050405020304" pitchFamily="18" charset="0"/>
                          <a:sym typeface="Arial"/>
                        </a:rPr>
                        <a:t>Difficult enforcement of the regulations</a:t>
                      </a:r>
                    </a:p>
                    <a:p>
                      <a:pPr marL="171450" marR="0" indent="-171450" algn="l" defTabSz="685800" rtl="0">
                        <a:lnSpc>
                          <a:spcPct val="107000"/>
                        </a:lnSpc>
                        <a:spcBef>
                          <a:spcPts val="0"/>
                        </a:spcBef>
                        <a:spcAft>
                          <a:spcPts val="800"/>
                        </a:spcAft>
                        <a:buClr>
                          <a:srgbClr val="000000"/>
                        </a:buClr>
                        <a:buFont typeface="Arial" panose="020B0604020202020204" pitchFamily="34" charset="0"/>
                        <a:buChar char="•"/>
                      </a:pPr>
                      <a:r>
                        <a:rPr lang="en-US" sz="1100" b="0" i="0" u="none" strike="noStrike" cap="none" dirty="0">
                          <a:solidFill>
                            <a:schemeClr val="tx1"/>
                          </a:solidFill>
                          <a:effectLst/>
                          <a:latin typeface="+mn-lt"/>
                          <a:ea typeface="Calibri" panose="020F0502020204030204" pitchFamily="34" charset="0"/>
                          <a:cs typeface="Times New Roman" panose="02020603050405020304" pitchFamily="18" charset="0"/>
                          <a:sym typeface="Arial"/>
                        </a:rPr>
                        <a:t>nutrients are not systematically tested </a:t>
                      </a:r>
                    </a:p>
                    <a:p>
                      <a:pPr marL="171450" marR="0" indent="-171450" algn="l" defTabSz="685800" rtl="0">
                        <a:lnSpc>
                          <a:spcPct val="107000"/>
                        </a:lnSpc>
                        <a:spcBef>
                          <a:spcPts val="0"/>
                        </a:spcBef>
                        <a:spcAft>
                          <a:spcPts val="800"/>
                        </a:spcAft>
                        <a:buClr>
                          <a:srgbClr val="000000"/>
                        </a:buClr>
                        <a:buFont typeface="Arial" panose="020B0604020202020204" pitchFamily="34" charset="0"/>
                        <a:buChar char="•"/>
                      </a:pPr>
                      <a:r>
                        <a:rPr lang="en-US" sz="1100" b="0" i="0" u="none" strike="noStrike" cap="none" dirty="0">
                          <a:solidFill>
                            <a:schemeClr val="tx1"/>
                          </a:solidFill>
                          <a:effectLst/>
                          <a:latin typeface="+mn-lt"/>
                          <a:ea typeface="Calibri" panose="020F0502020204030204" pitchFamily="34" charset="0"/>
                          <a:cs typeface="Times New Roman" panose="02020603050405020304" pitchFamily="18" charset="0"/>
                          <a:sym typeface="Arial"/>
                        </a:rPr>
                        <a:t>borders are fairly porous</a:t>
                      </a:r>
                    </a:p>
                    <a:p>
                      <a:pPr marL="0" indent="0" defTabSz="685800">
                        <a:spcAft>
                          <a:spcPts val="225"/>
                        </a:spcAft>
                        <a:buFont typeface="Arial" panose="020B0604020202020204" pitchFamily="34" charset="0"/>
                        <a:buNone/>
                      </a:pPr>
                      <a:endParaRPr lang="en-US" sz="1100" dirty="0">
                        <a:solidFill>
                          <a:schemeClr val="tx1"/>
                        </a:solidFill>
                        <a:latin typeface="+mn-lt"/>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 xmlns:a16="http://schemas.microsoft.com/office/drawing/2014/main" val="10002"/>
                  </a:ext>
                </a:extLst>
              </a:tr>
            </a:tbl>
          </a:graphicData>
        </a:graphic>
      </p:graphicFrame>
      <p:sp>
        <p:nvSpPr>
          <p:cNvPr id="5" name="TextBox 4"/>
          <p:cNvSpPr txBox="1"/>
          <p:nvPr/>
        </p:nvSpPr>
        <p:spPr>
          <a:xfrm rot="16200000">
            <a:off x="-358220" y="2074417"/>
            <a:ext cx="1112363" cy="307777"/>
          </a:xfrm>
          <a:prstGeom prst="rect">
            <a:avLst/>
          </a:prstGeom>
          <a:noFill/>
        </p:spPr>
        <p:txBody>
          <a:bodyPr wrap="square" rtlCol="0">
            <a:spAutoFit/>
          </a:bodyPr>
          <a:lstStyle/>
          <a:p>
            <a:pPr>
              <a:defRPr/>
            </a:pPr>
            <a:r>
              <a:rPr lang="en-US" dirty="0"/>
              <a:t>Status</a:t>
            </a:r>
          </a:p>
        </p:txBody>
      </p:sp>
      <p:sp>
        <p:nvSpPr>
          <p:cNvPr id="6" name="TextBox 5"/>
          <p:cNvSpPr txBox="1"/>
          <p:nvPr/>
        </p:nvSpPr>
        <p:spPr>
          <a:xfrm rot="16200000">
            <a:off x="-358221" y="4578084"/>
            <a:ext cx="1112363" cy="307777"/>
          </a:xfrm>
          <a:prstGeom prst="rect">
            <a:avLst/>
          </a:prstGeom>
          <a:noFill/>
        </p:spPr>
        <p:txBody>
          <a:bodyPr wrap="square" rtlCol="0">
            <a:spAutoFit/>
          </a:bodyPr>
          <a:lstStyle/>
          <a:p>
            <a:pPr>
              <a:defRPr/>
            </a:pPr>
            <a:r>
              <a:rPr lang="en-US" dirty="0"/>
              <a:t>Gaps</a:t>
            </a:r>
          </a:p>
        </p:txBody>
      </p:sp>
    </p:spTree>
    <p:extLst>
      <p:ext uri="{BB962C8B-B14F-4D97-AF65-F5344CB8AC3E}">
        <p14:creationId xmlns:p14="http://schemas.microsoft.com/office/powerpoint/2010/main" val="174351937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161" name="think-cell Slide" r:id="rId5" imgW="270" imgH="270" progId="TCLayout.ActiveDocument.1">
                  <p:embed/>
                </p:oleObj>
              </mc:Choice>
              <mc:Fallback>
                <p:oleObj name="think-cell Slide" r:id="rId5" imgW="270" imgH="270"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031" b="1" dirty="0">
              <a:solidFill>
                <a:srgbClr val="FFFFFF"/>
              </a:solidFill>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Systems analysis </a:t>
            </a:r>
            <a:r>
              <a:rPr lang="en-US" sz="1100" i="1" dirty="0"/>
              <a:t>(3 of 4)</a:t>
            </a:r>
          </a:p>
        </p:txBody>
      </p:sp>
      <p:sp>
        <p:nvSpPr>
          <p:cNvPr id="3" name="TextBox 2"/>
          <p:cNvSpPr txBox="1"/>
          <p:nvPr/>
        </p:nvSpPr>
        <p:spPr>
          <a:xfrm>
            <a:off x="259227" y="870101"/>
            <a:ext cx="3384222" cy="276999"/>
          </a:xfrm>
          <a:prstGeom prst="rect">
            <a:avLst/>
          </a:prstGeom>
          <a:noFill/>
        </p:spPr>
        <p:txBody>
          <a:bodyPr wrap="square" rtlCol="0">
            <a:spAutoFit/>
          </a:bodyPr>
          <a:lstStyle/>
          <a:p>
            <a:r>
              <a:rPr lang="en-US" sz="1200" b="1" dirty="0"/>
              <a:t>Extension</a:t>
            </a:r>
          </a:p>
        </p:txBody>
      </p:sp>
      <p:sp>
        <p:nvSpPr>
          <p:cNvPr id="12" name="TextBox 11"/>
          <p:cNvSpPr txBox="1"/>
          <p:nvPr/>
        </p:nvSpPr>
        <p:spPr>
          <a:xfrm>
            <a:off x="5168652" y="870101"/>
            <a:ext cx="3384222" cy="276999"/>
          </a:xfrm>
          <a:prstGeom prst="rect">
            <a:avLst/>
          </a:prstGeom>
          <a:noFill/>
        </p:spPr>
        <p:txBody>
          <a:bodyPr wrap="square" rtlCol="0">
            <a:spAutoFit/>
          </a:bodyPr>
          <a:lstStyle/>
          <a:p>
            <a:r>
              <a:rPr lang="en-US" sz="1200" b="1" dirty="0"/>
              <a:t>Agro-dealer networks</a:t>
            </a:r>
          </a:p>
        </p:txBody>
      </p:sp>
      <p:graphicFrame>
        <p:nvGraphicFramePr>
          <p:cNvPr id="15" name="Table 14"/>
          <p:cNvGraphicFramePr>
            <a:graphicFrameLocks noGrp="1"/>
          </p:cNvGraphicFramePr>
          <p:nvPr>
            <p:extLst>
              <p:ext uri="{D42A27DB-BD31-4B8C-83A1-F6EECF244321}">
                <p14:modId xmlns:p14="http://schemas.microsoft.com/office/powerpoint/2010/main" val="2694158293"/>
              </p:ext>
            </p:extLst>
          </p:nvPr>
        </p:nvGraphicFramePr>
        <p:xfrm>
          <a:off x="259226" y="1147100"/>
          <a:ext cx="4909425" cy="5676900"/>
        </p:xfrm>
        <a:graphic>
          <a:graphicData uri="http://schemas.openxmlformats.org/drawingml/2006/table">
            <a:tbl>
              <a:tblPr firstRow="1" bandRow="1">
                <a:tableStyleId>{2D5ABB26-0587-4C30-8999-92F81FD0307C}</a:tableStyleId>
              </a:tblPr>
              <a:tblGrid>
                <a:gridCol w="1372077">
                  <a:extLst>
                    <a:ext uri="{9D8B030D-6E8A-4147-A177-3AD203B41FA5}">
                      <a16:colId xmlns="" xmlns:a16="http://schemas.microsoft.com/office/drawing/2014/main" val="20000"/>
                    </a:ext>
                  </a:extLst>
                </a:gridCol>
                <a:gridCol w="3537348">
                  <a:extLst>
                    <a:ext uri="{9D8B030D-6E8A-4147-A177-3AD203B41FA5}">
                      <a16:colId xmlns="" xmlns:a16="http://schemas.microsoft.com/office/drawing/2014/main" val="20001"/>
                    </a:ext>
                  </a:extLst>
                </a:gridCol>
              </a:tblGrid>
              <a:tr h="2349648">
                <a:tc>
                  <a:txBody>
                    <a:bodyPr/>
                    <a:lstStyle/>
                    <a:p>
                      <a:r>
                        <a:rPr lang="en-US" sz="1200" dirty="0">
                          <a:solidFill>
                            <a:schemeClr val="tx1"/>
                          </a:solidFill>
                        </a:rPr>
                        <a:t>Current state of play</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r>
                        <a:rPr lang="en-US" sz="1000" dirty="0">
                          <a:solidFill>
                            <a:schemeClr val="tx1"/>
                          </a:solidFill>
                          <a:effectLst/>
                          <a:latin typeface="+mn-lt"/>
                          <a:ea typeface="Times New Roman" panose="02020603050405020304" pitchFamily="18" charset="0"/>
                        </a:rPr>
                        <a:t>Ineffective extension service: </a:t>
                      </a:r>
                    </a:p>
                    <a:p>
                      <a:pPr marL="171450" indent="-171450">
                        <a:buFont typeface="Arial" panose="020B0604020202020204" pitchFamily="34" charset="0"/>
                        <a:buChar char="•"/>
                      </a:pPr>
                      <a:r>
                        <a:rPr lang="en-US" sz="1000" dirty="0">
                          <a:solidFill>
                            <a:schemeClr val="tx1"/>
                          </a:solidFill>
                          <a:effectLst/>
                          <a:latin typeface="+mn-lt"/>
                          <a:ea typeface="Times New Roman" panose="02020603050405020304" pitchFamily="18" charset="0"/>
                        </a:rPr>
                        <a:t>1:4,702</a:t>
                      </a:r>
                      <a:r>
                        <a:rPr lang="en-US" sz="1000" baseline="0" dirty="0">
                          <a:solidFill>
                            <a:schemeClr val="tx1"/>
                          </a:solidFill>
                          <a:effectLst/>
                          <a:latin typeface="+mn-lt"/>
                          <a:ea typeface="Times New Roman" panose="02020603050405020304" pitchFamily="18" charset="0"/>
                        </a:rPr>
                        <a:t> SHF to </a:t>
                      </a:r>
                      <a:r>
                        <a:rPr lang="en-US" sz="1000" dirty="0">
                          <a:solidFill>
                            <a:schemeClr val="tx1"/>
                          </a:solidFill>
                          <a:effectLst/>
                          <a:latin typeface="+mn-lt"/>
                          <a:ea typeface="Times New Roman" panose="02020603050405020304" pitchFamily="18" charset="0"/>
                        </a:rPr>
                        <a:t>extension agent.</a:t>
                      </a:r>
                      <a:r>
                        <a:rPr lang="en-US" sz="1000" baseline="0" dirty="0">
                          <a:solidFill>
                            <a:schemeClr val="tx1"/>
                          </a:solidFill>
                          <a:effectLst/>
                          <a:latin typeface="+mn-lt"/>
                          <a:ea typeface="Times New Roman" panose="02020603050405020304" pitchFamily="18" charset="0"/>
                        </a:rPr>
                        <a:t> </a:t>
                      </a:r>
                      <a:r>
                        <a:rPr lang="en-US" sz="1000" dirty="0">
                          <a:solidFill>
                            <a:schemeClr val="tx1"/>
                          </a:solidFill>
                          <a:effectLst/>
                          <a:latin typeface="+mn-lt"/>
                          <a:ea typeface="Calibri" panose="020F0502020204030204" pitchFamily="34" charset="0"/>
                          <a:cs typeface="Times New Roman" panose="02020603050405020304" pitchFamily="18" charset="0"/>
                        </a:rPr>
                        <a:t>The approach is based on the decentralization of agricultural extension.</a:t>
                      </a:r>
                    </a:p>
                    <a:p>
                      <a:pPr marL="171450" indent="-171450">
                        <a:buFont typeface="Arial" panose="020B0604020202020204" pitchFamily="34" charset="0"/>
                        <a:buChar char="•"/>
                      </a:pPr>
                      <a:r>
                        <a:rPr lang="en-US" sz="1000" dirty="0">
                          <a:solidFill>
                            <a:schemeClr val="tx1"/>
                          </a:solidFill>
                          <a:effectLst/>
                          <a:latin typeface="+mn-lt"/>
                          <a:ea typeface="Calibri" panose="020F0502020204030204" pitchFamily="34" charset="0"/>
                          <a:cs typeface="Times New Roman" panose="02020603050405020304" pitchFamily="18" charset="0"/>
                        </a:rPr>
                        <a:t>P</a:t>
                      </a:r>
                      <a:r>
                        <a:rPr lang="en-US" sz="1000" baseline="0" dirty="0">
                          <a:solidFill>
                            <a:schemeClr val="tx1"/>
                          </a:solidFill>
                          <a:latin typeface="+mn-lt"/>
                        </a:rPr>
                        <a:t>rivate extension is weak and only some NGOs and some private companies (seed, agro-dealers,…) are investing in extension. </a:t>
                      </a:r>
                    </a:p>
                    <a:p>
                      <a:pPr marL="171450" indent="-171450">
                        <a:buFont typeface="Arial" panose="020B0604020202020204" pitchFamily="34" charset="0"/>
                        <a:buChar char="•"/>
                      </a:pPr>
                      <a:r>
                        <a:rPr lang="en-US" sz="1000" baseline="0" dirty="0">
                          <a:solidFill>
                            <a:schemeClr val="tx1"/>
                          </a:solidFill>
                        </a:rPr>
                        <a:t>The current investments in the country through projects are around $103 Million.</a:t>
                      </a:r>
                    </a:p>
                    <a:p>
                      <a:pPr marL="171450" indent="-171450">
                        <a:buFont typeface="Arial" panose="020B0604020202020204" pitchFamily="34" charset="0"/>
                        <a:buChar char="•"/>
                      </a:pPr>
                      <a:r>
                        <a:rPr lang="en-US" sz="1000" baseline="0" dirty="0">
                          <a:solidFill>
                            <a:schemeClr val="tx1"/>
                          </a:solidFill>
                        </a:rPr>
                        <a:t>Challenges and limitations of the extension is mainly the limited number of extension agent and their capacities as well as lack of resources.</a:t>
                      </a:r>
                    </a:p>
                    <a:p>
                      <a:pPr marL="171450" indent="-171450">
                        <a:buFont typeface="Arial" panose="020B0604020202020204" pitchFamily="34" charset="0"/>
                        <a:buChar char="•"/>
                      </a:pPr>
                      <a:r>
                        <a:rPr lang="en-US" sz="1000" strike="noStrike" baseline="0" dirty="0" smtClean="0">
                          <a:solidFill>
                            <a:schemeClr val="tx1"/>
                          </a:solidFill>
                        </a:rPr>
                        <a:t>T</a:t>
                      </a:r>
                      <a:r>
                        <a:rPr lang="en-US" sz="1000" baseline="0" dirty="0" smtClean="0">
                          <a:solidFill>
                            <a:schemeClr val="tx1"/>
                          </a:solidFill>
                        </a:rPr>
                        <a:t>here </a:t>
                      </a:r>
                      <a:r>
                        <a:rPr lang="en-US" sz="1000" baseline="0" dirty="0">
                          <a:solidFill>
                            <a:schemeClr val="tx1"/>
                          </a:solidFill>
                        </a:rPr>
                        <a:t>is a weak link between the extension and research. </a:t>
                      </a:r>
                    </a:p>
                    <a:p>
                      <a:pPr marL="171450" indent="-171450">
                        <a:buFont typeface="Arial" panose="020B0604020202020204" pitchFamily="34" charset="0"/>
                        <a:buChar char="•"/>
                      </a:pPr>
                      <a:r>
                        <a:rPr lang="en-US" sz="1000" baseline="0" dirty="0">
                          <a:solidFill>
                            <a:schemeClr val="tx1"/>
                          </a:solidFill>
                        </a:rPr>
                        <a:t>In the Northern part of the country, insecurity continues to hamper </a:t>
                      </a:r>
                      <a:r>
                        <a:rPr lang="en-US" sz="1000" baseline="0" dirty="0" smtClean="0">
                          <a:solidFill>
                            <a:schemeClr val="tx1"/>
                          </a:solidFill>
                        </a:rPr>
                        <a:t>operations</a:t>
                      </a:r>
                    </a:p>
                    <a:p>
                      <a:pPr marL="171450" indent="-171450">
                        <a:buFont typeface="Arial" panose="020B0604020202020204" pitchFamily="34" charset="0"/>
                        <a:buChar char="•"/>
                      </a:pPr>
                      <a:r>
                        <a:rPr lang="en-US" sz="1000" baseline="0" dirty="0" smtClean="0">
                          <a:solidFill>
                            <a:schemeClr val="tx1"/>
                          </a:solidFill>
                        </a:rPr>
                        <a:t>Limited content as it relates climate smart technologies</a:t>
                      </a:r>
                      <a:endParaRPr lang="en-US" sz="1000"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 xmlns:a16="http://schemas.microsoft.com/office/drawing/2014/main" val="10000"/>
                  </a:ext>
                </a:extLst>
              </a:tr>
              <a:tr h="2115296">
                <a:tc>
                  <a:txBody>
                    <a:bodyPr/>
                    <a:lstStyle/>
                    <a:p>
                      <a:r>
                        <a:rPr lang="en-US" sz="1200" dirty="0">
                          <a:solidFill>
                            <a:schemeClr val="tx1"/>
                          </a:solidFill>
                        </a:rPr>
                        <a:t>Opportunities</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171450" indent="-171450" algn="l">
                        <a:buFont typeface="Arial" panose="020B0604020202020204" pitchFamily="34" charset="0"/>
                        <a:buChar char="•"/>
                      </a:pPr>
                      <a:r>
                        <a:rPr lang="en-US" sz="1000" dirty="0">
                          <a:solidFill>
                            <a:schemeClr val="tx1"/>
                          </a:solidFill>
                        </a:rPr>
                        <a:t>Seed companies and agro-dealers are interested in building supply </a:t>
                      </a:r>
                      <a:r>
                        <a:rPr lang="en-US" sz="1000" dirty="0" smtClean="0">
                          <a:solidFill>
                            <a:schemeClr val="tx1"/>
                          </a:solidFill>
                        </a:rPr>
                        <a:t>chains that include extension</a:t>
                      </a:r>
                      <a:endParaRPr lang="en-US" sz="1000" dirty="0">
                        <a:solidFill>
                          <a:schemeClr val="tx1"/>
                        </a:solidFill>
                      </a:endParaRPr>
                    </a:p>
                    <a:p>
                      <a:pPr marL="171450" marR="0" indent="-171450" algn="l">
                        <a:lnSpc>
                          <a:spcPct val="115000"/>
                        </a:lnSpc>
                        <a:spcBef>
                          <a:spcPts val="0"/>
                        </a:spcBef>
                        <a:spcAft>
                          <a:spcPts val="0"/>
                        </a:spcAft>
                        <a:buFont typeface="Arial" panose="020B0604020202020204" pitchFamily="34" charset="0"/>
                        <a:buChar char="•"/>
                      </a:pPr>
                      <a:r>
                        <a:rPr lang="en-US" sz="1000" dirty="0">
                          <a:solidFill>
                            <a:schemeClr val="tx1"/>
                          </a:solidFill>
                          <a:effectLst/>
                          <a:latin typeface="+mn-lt"/>
                          <a:ea typeface="Times New Roman" panose="02020603050405020304" pitchFamily="18" charset="0"/>
                          <a:cs typeface="Times New Roman" panose="02020603050405020304" pitchFamily="18" charset="0"/>
                        </a:rPr>
                        <a:t>DNA recognizes that the number of public extension agent is insufficient to reach all farmers. Thus the Government is interested in other approaches </a:t>
                      </a:r>
                    </a:p>
                    <a:p>
                      <a:pPr marL="171450" indent="-171450" algn="l">
                        <a:buFont typeface="Arial" panose="020B0604020202020204" pitchFamily="34" charset="0"/>
                        <a:buChar char="•"/>
                      </a:pPr>
                      <a:r>
                        <a:rPr lang="en-US" sz="1000" dirty="0">
                          <a:solidFill>
                            <a:schemeClr val="tx1"/>
                          </a:solidFill>
                        </a:rPr>
                        <a:t>The extension system is decentralized and therefore, local government</a:t>
                      </a:r>
                      <a:r>
                        <a:rPr lang="en-US" sz="1000" baseline="0" dirty="0">
                          <a:solidFill>
                            <a:schemeClr val="tx1"/>
                          </a:solidFill>
                        </a:rPr>
                        <a:t> are willing to implement innovative approaches to reach farmers.</a:t>
                      </a:r>
                    </a:p>
                    <a:p>
                      <a:pPr marL="171450" indent="-171450" algn="l">
                        <a:buFont typeface="Arial" panose="020B0604020202020204" pitchFamily="34" charset="0"/>
                        <a:buChar char="•"/>
                      </a:pPr>
                      <a:r>
                        <a:rPr lang="en-US" sz="1000" baseline="0" dirty="0">
                          <a:solidFill>
                            <a:schemeClr val="tx1"/>
                          </a:solidFill>
                          <a:latin typeface="+mn-lt"/>
                        </a:rPr>
                        <a:t>AGRA’s VBAs approach is an opportunity for youth and women employment in extension and agro-dealership. </a:t>
                      </a:r>
                    </a:p>
                    <a:p>
                      <a:pPr marL="171450" indent="-171450" algn="l">
                        <a:buFont typeface="Arial" panose="020B0604020202020204" pitchFamily="34" charset="0"/>
                        <a:buChar char="•"/>
                      </a:pPr>
                      <a:r>
                        <a:rPr lang="en-US" sz="1000" baseline="0" dirty="0">
                          <a:solidFill>
                            <a:schemeClr val="tx1"/>
                          </a:solidFill>
                          <a:latin typeface="+mn-lt"/>
                        </a:rPr>
                        <a:t>From the biennial review, Mali has committed to </a:t>
                      </a:r>
                      <a:r>
                        <a:rPr lang="en-GB" sz="1000" dirty="0">
                          <a:solidFill>
                            <a:schemeClr val="tx1"/>
                          </a:solidFill>
                          <a:effectLst/>
                          <a:latin typeface="+mn-lt"/>
                          <a:ea typeface="Calibri" panose="020F0502020204030204" pitchFamily="34" charset="0"/>
                          <a:cs typeface="Times New Roman" panose="02020603050405020304" pitchFamily="18" charset="0"/>
                        </a:rPr>
                        <a:t>facilitate women access to financial services</a:t>
                      </a:r>
                      <a:r>
                        <a:rPr lang="en-GB" sz="1000" dirty="0" smtClean="0">
                          <a:solidFill>
                            <a:schemeClr val="tx1"/>
                          </a:solidFill>
                          <a:effectLst/>
                          <a:latin typeface="+mn-lt"/>
                          <a:ea typeface="Calibri" panose="020F0502020204030204" pitchFamily="34" charset="0"/>
                          <a:cs typeface="Times New Roman" panose="02020603050405020304" pitchFamily="18" charset="0"/>
                        </a:rPr>
                        <a:t>.</a:t>
                      </a:r>
                    </a:p>
                    <a:p>
                      <a:pPr marL="171450" indent="-171450" algn="l">
                        <a:buFont typeface="Arial" panose="020B0604020202020204" pitchFamily="34" charset="0"/>
                        <a:buChar char="•"/>
                      </a:pPr>
                      <a:r>
                        <a:rPr lang="en-GB" sz="1000" dirty="0" smtClean="0">
                          <a:solidFill>
                            <a:schemeClr val="tx1"/>
                          </a:solidFill>
                          <a:effectLst/>
                          <a:latin typeface="+mn-lt"/>
                          <a:ea typeface="Calibri" panose="020F0502020204030204" pitchFamily="34" charset="0"/>
                          <a:cs typeface="Times New Roman" panose="02020603050405020304" pitchFamily="18" charset="0"/>
                        </a:rPr>
                        <a:t>Climate smart approaches to be integrated in extension curricular</a:t>
                      </a:r>
                      <a:endParaRPr lang="en-GB" sz="1000" dirty="0">
                        <a:solidFill>
                          <a:schemeClr val="tx1"/>
                        </a:solidFill>
                        <a:effectLst/>
                        <a:latin typeface="+mn-lt"/>
                        <a:ea typeface="Calibri" panose="020F0502020204030204" pitchFamily="34" charset="0"/>
                        <a:cs typeface="Times New Roman" panose="02020603050405020304" pitchFamily="18" charset="0"/>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 xmlns:a16="http://schemas.microsoft.com/office/drawing/2014/main" val="10001"/>
                  </a:ext>
                </a:extLst>
              </a:tr>
              <a:tr h="627391">
                <a:tc>
                  <a:txBody>
                    <a:bodyPr/>
                    <a:lstStyle/>
                    <a:p>
                      <a:r>
                        <a:rPr lang="en-US" sz="1200" dirty="0">
                          <a:solidFill>
                            <a:schemeClr val="tx1"/>
                          </a:solidFill>
                        </a:rPr>
                        <a:t/>
                      </a:r>
                      <a:br>
                        <a:rPr lang="en-US" sz="1200" dirty="0">
                          <a:solidFill>
                            <a:schemeClr val="tx1"/>
                          </a:solidFill>
                        </a:rPr>
                      </a:br>
                      <a:r>
                        <a:rPr lang="en-US" sz="1200" dirty="0">
                          <a:solidFill>
                            <a:schemeClr val="tx1"/>
                          </a:solidFill>
                        </a:rPr>
                        <a:t>Enablers</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171450" indent="-171450" algn="l">
                        <a:buFont typeface="Arial" panose="020B0604020202020204" pitchFamily="34" charset="0"/>
                        <a:buChar char="•"/>
                      </a:pPr>
                      <a:r>
                        <a:rPr lang="en-US" sz="1000" baseline="0" dirty="0">
                          <a:solidFill>
                            <a:schemeClr val="tx1"/>
                          </a:solidFill>
                        </a:rPr>
                        <a:t>Some pilot projects have been implemented by IER-IRD and Orange-Mali on E-extension. </a:t>
                      </a:r>
                    </a:p>
                    <a:p>
                      <a:pPr marL="171450" indent="-171450" algn="l">
                        <a:buFont typeface="Arial" panose="020B0604020202020204" pitchFamily="34" charset="0"/>
                        <a:buChar char="•"/>
                      </a:pPr>
                      <a:r>
                        <a:rPr lang="en-US" sz="1000" b="0" i="0" u="none" strike="noStrike" cap="none" baseline="0" dirty="0">
                          <a:solidFill>
                            <a:schemeClr val="tx1"/>
                          </a:solidFill>
                          <a:latin typeface="+mn-lt"/>
                          <a:ea typeface="+mn-ea"/>
                          <a:cs typeface="+mn-cs"/>
                          <a:sym typeface="Arial"/>
                        </a:rPr>
                        <a:t>There is a national strategy on extension. </a:t>
                      </a:r>
                      <a:endParaRPr lang="en-US" sz="1000" b="0" i="0" u="none" strike="noStrike" cap="none" baseline="0" dirty="0" smtClean="0">
                        <a:solidFill>
                          <a:schemeClr val="tx1"/>
                        </a:solidFill>
                        <a:latin typeface="+mn-lt"/>
                        <a:ea typeface="+mn-ea"/>
                        <a:cs typeface="+mn-cs"/>
                        <a:sym typeface="Arial"/>
                      </a:endParaRPr>
                    </a:p>
                    <a:p>
                      <a:pPr marL="171450" indent="-171450" algn="l">
                        <a:buFont typeface="Arial" panose="020B0604020202020204" pitchFamily="34" charset="0"/>
                        <a:buChar char="•"/>
                      </a:pPr>
                      <a:r>
                        <a:rPr lang="en-US" sz="1000" b="0" i="0" u="none" strike="noStrike" cap="none" baseline="0" dirty="0" smtClean="0">
                          <a:solidFill>
                            <a:schemeClr val="tx1"/>
                          </a:solidFill>
                          <a:latin typeface="+mn-lt"/>
                          <a:ea typeface="+mn-ea"/>
                          <a:cs typeface="+mn-cs"/>
                          <a:sym typeface="Arial"/>
                        </a:rPr>
                        <a:t>Some development partners are willing to support the Government to improve its extension</a:t>
                      </a:r>
                      <a:endParaRPr lang="en-US" sz="1000" b="0" i="0" u="none" strike="noStrike" cap="none" baseline="0" dirty="0">
                        <a:solidFill>
                          <a:schemeClr val="tx1"/>
                        </a:solidFill>
                        <a:latin typeface="+mn-lt"/>
                        <a:ea typeface="+mn-ea"/>
                        <a:cs typeface="+mn-cs"/>
                        <a:sym typeface="Aria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 xmlns:a16="http://schemas.microsoft.com/office/drawing/2014/main" val="10002"/>
                  </a:ext>
                </a:extLst>
              </a:tr>
            </a:tbl>
          </a:graphicData>
        </a:graphic>
      </p:graphicFrame>
      <p:graphicFrame>
        <p:nvGraphicFramePr>
          <p:cNvPr id="16" name="Table 15"/>
          <p:cNvGraphicFramePr>
            <a:graphicFrameLocks noGrp="1"/>
          </p:cNvGraphicFramePr>
          <p:nvPr>
            <p:extLst>
              <p:ext uri="{D42A27DB-BD31-4B8C-83A1-F6EECF244321}">
                <p14:modId xmlns:p14="http://schemas.microsoft.com/office/powerpoint/2010/main" val="2700161439"/>
              </p:ext>
            </p:extLst>
          </p:nvPr>
        </p:nvGraphicFramePr>
        <p:xfrm>
          <a:off x="5472953" y="1147101"/>
          <a:ext cx="4316506" cy="6065520"/>
        </p:xfrm>
        <a:graphic>
          <a:graphicData uri="http://schemas.openxmlformats.org/drawingml/2006/table">
            <a:tbl>
              <a:tblPr firstRow="1" bandRow="1">
                <a:tableStyleId>{2D5ABB26-0587-4C30-8999-92F81FD0307C}</a:tableStyleId>
              </a:tblPr>
              <a:tblGrid>
                <a:gridCol w="1365156">
                  <a:extLst>
                    <a:ext uri="{9D8B030D-6E8A-4147-A177-3AD203B41FA5}">
                      <a16:colId xmlns="" xmlns:a16="http://schemas.microsoft.com/office/drawing/2014/main" val="20000"/>
                    </a:ext>
                  </a:extLst>
                </a:gridCol>
                <a:gridCol w="2951350">
                  <a:extLst>
                    <a:ext uri="{9D8B030D-6E8A-4147-A177-3AD203B41FA5}">
                      <a16:colId xmlns="" xmlns:a16="http://schemas.microsoft.com/office/drawing/2014/main" val="20001"/>
                    </a:ext>
                  </a:extLst>
                </a:gridCol>
              </a:tblGrid>
              <a:tr h="1574621">
                <a:tc>
                  <a:txBody>
                    <a:bodyPr/>
                    <a:lstStyle/>
                    <a:p>
                      <a:r>
                        <a:rPr lang="en-US" sz="1200" dirty="0">
                          <a:solidFill>
                            <a:schemeClr val="tx1"/>
                          </a:solidFill>
                        </a:rPr>
                        <a:t>Current state of play</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220 agro dealers have been trained over the past 14 months to provide services to 262,500 farmers under the AGRA-funded projects in the three geographical operational areas in Mali. </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This has reduced the distance covered by these farmers from the base of 20.2 km to average of 17.8 km to access agro inputs. </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About 1,610 agro dealers must be recruited to reduce the distance covered from over 17 km to less than 10 km</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 xmlns:a16="http://schemas.microsoft.com/office/drawing/2014/main" val="10000"/>
                  </a:ext>
                </a:extLst>
              </a:tr>
              <a:tr h="2010865">
                <a:tc>
                  <a:txBody>
                    <a:bodyPr/>
                    <a:lstStyle/>
                    <a:p>
                      <a:r>
                        <a:rPr lang="en-US" sz="1200" dirty="0">
                          <a:solidFill>
                            <a:schemeClr val="tx1"/>
                          </a:solidFill>
                        </a:rPr>
                        <a:t>Opportunities</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The uptake of improved crop production technology by the AGRA-funded projects is an opportunity for investment in agro dealership to enhance access to agro inputs by smallholder farmers. </a:t>
                      </a:r>
                      <a:endParaRPr kumimoji="0" lang="en-US" sz="1000" b="0" i="0" u="none" strike="noStrike" kern="1200" cap="none" spc="0" normalizeH="0" baseline="0" noProof="0" dirty="0" smtClean="0">
                        <a:ln>
                          <a:noFill/>
                        </a:ln>
                        <a:solidFill>
                          <a:schemeClr val="tx1"/>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smtClean="0">
                          <a:ln>
                            <a:noFill/>
                          </a:ln>
                          <a:solidFill>
                            <a:schemeClr val="tx1"/>
                          </a:solidFill>
                          <a:effectLst/>
                          <a:uLnTx/>
                          <a:uFillTx/>
                          <a:latin typeface="+mn-lt"/>
                          <a:ea typeface="+mn-ea"/>
                          <a:cs typeface="+mn-cs"/>
                        </a:rPr>
                        <a:t>Some partners are investing in agro-dealers (AFAP, IFDC, AfDB through TAAT)</a:t>
                      </a:r>
                      <a:endParaRPr kumimoji="0" lang="en-US" sz="1000" b="0" i="0" u="none" strike="noStrike" kern="1200" cap="none" spc="0" normalizeH="0" baseline="0" noProof="0" dirty="0">
                        <a:ln>
                          <a:noFill/>
                        </a:ln>
                        <a:solidFill>
                          <a:schemeClr val="tx1"/>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Some of the VBAs have shown interest and initiated process to invest in agro input distribution to facilitate prospective reduction in distance covered by smallholder farmers to access agro input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The interest of some aggregators to investment in backward integration will also enhance demand for agro </a:t>
                      </a:r>
                      <a:r>
                        <a:rPr kumimoji="0" lang="en-US" sz="1000" b="0" i="0" u="none" strike="noStrike" kern="1200" cap="none" spc="0" normalizeH="0" baseline="0" noProof="0" dirty="0" smtClean="0">
                          <a:ln>
                            <a:noFill/>
                          </a:ln>
                          <a:solidFill>
                            <a:schemeClr val="tx1"/>
                          </a:solidFill>
                          <a:effectLst/>
                          <a:uLnTx/>
                          <a:uFillTx/>
                          <a:latin typeface="+mn-lt"/>
                          <a:ea typeface="+mn-ea"/>
                          <a:cs typeface="+mn-cs"/>
                        </a:rPr>
                        <a:t>inpu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smtClean="0">
                          <a:ln>
                            <a:noFill/>
                          </a:ln>
                          <a:solidFill>
                            <a:schemeClr val="tx1"/>
                          </a:solidFill>
                          <a:effectLst/>
                          <a:uLnTx/>
                          <a:uFillTx/>
                          <a:latin typeface="+mn-lt"/>
                          <a:ea typeface="+mn-ea"/>
                          <a:cs typeface="+mn-cs"/>
                        </a:rPr>
                        <a:t>Building resilience into agro-dealer network (smart inputs, advisory services on practices, market information)</a:t>
                      </a:r>
                      <a:endParaRPr kumimoji="0" lang="en-US" sz="1000" b="0" i="0" u="none" strike="noStrike" kern="1200" cap="none" spc="0" normalizeH="0" baseline="0" noProof="0" dirty="0">
                        <a:ln>
                          <a:noFill/>
                        </a:ln>
                        <a:solidFill>
                          <a:schemeClr val="tx1"/>
                        </a:solidFill>
                        <a:effectLst/>
                        <a:uLnTx/>
                        <a:uFillTx/>
                        <a:latin typeface="+mn-lt"/>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 xmlns:a16="http://schemas.microsoft.com/office/drawing/2014/main" val="10001"/>
                  </a:ext>
                </a:extLst>
              </a:tr>
              <a:tr h="1157226">
                <a:tc>
                  <a:txBody>
                    <a:bodyPr/>
                    <a:lstStyle/>
                    <a:p>
                      <a:r>
                        <a:rPr lang="en-US" sz="1200" dirty="0">
                          <a:solidFill>
                            <a:schemeClr val="tx1"/>
                          </a:solidFill>
                        </a:rPr>
                        <a:t/>
                      </a:r>
                      <a:br>
                        <a:rPr lang="en-US" sz="1200" dirty="0">
                          <a:solidFill>
                            <a:schemeClr val="tx1"/>
                          </a:solidFill>
                        </a:rPr>
                      </a:br>
                      <a:r>
                        <a:rPr lang="en-US" sz="1200" dirty="0">
                          <a:solidFill>
                            <a:schemeClr val="tx1"/>
                          </a:solidFill>
                        </a:rPr>
                        <a:t>Enablers</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171450" indent="-171450">
                        <a:buFont typeface="Arial" panose="020B0604020202020204" pitchFamily="34" charset="0"/>
                        <a:buChar char="•"/>
                      </a:pPr>
                      <a:r>
                        <a:rPr lang="en-US" sz="1000" dirty="0">
                          <a:solidFill>
                            <a:schemeClr val="tx1"/>
                          </a:solidFill>
                          <a:latin typeface="+mn-lt"/>
                        </a:rPr>
                        <a:t>Some partners have developed geo-referenced agro-dealers data bas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The development of Mali agriculture flagship in maize, sorghum, cowpea and millet will facilitate investment in agro input distribution as well as mechanization and irrigation </a:t>
                      </a:r>
                      <a:r>
                        <a:rPr kumimoji="0" lang="en-US" sz="1000" b="0" i="0" u="none" strike="noStrike" kern="1200" cap="none" spc="0" normalizeH="0" baseline="0" noProof="0" dirty="0" smtClean="0">
                          <a:ln>
                            <a:noFill/>
                          </a:ln>
                          <a:solidFill>
                            <a:schemeClr val="tx1"/>
                          </a:solidFill>
                          <a:effectLst/>
                          <a:uLnTx/>
                          <a:uFillTx/>
                          <a:latin typeface="+mn-lt"/>
                          <a:ea typeface="+mn-ea"/>
                          <a:cs typeface="+mn-cs"/>
                        </a:rPr>
                        <a:t>syste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smtClean="0">
                          <a:ln>
                            <a:noFill/>
                          </a:ln>
                          <a:solidFill>
                            <a:schemeClr val="tx1"/>
                          </a:solidFill>
                          <a:effectLst/>
                          <a:uLnTx/>
                          <a:uFillTx/>
                          <a:latin typeface="+mn-lt"/>
                          <a:ea typeface="+mn-ea"/>
                          <a:cs typeface="+mn-cs"/>
                        </a:rPr>
                        <a:t>Some private companies (seed and fertilizer) are willing to support the supply chain</a:t>
                      </a:r>
                      <a:endParaRPr kumimoji="0" lang="en-US" sz="1000" b="0" i="0" u="none" strike="noStrike" kern="1200" cap="none" spc="0" normalizeH="0" baseline="0" noProof="0" dirty="0">
                        <a:ln>
                          <a:noFill/>
                        </a:ln>
                        <a:solidFill>
                          <a:schemeClr val="tx1"/>
                        </a:solidFill>
                        <a:effectLst/>
                        <a:uLnTx/>
                        <a:uFillTx/>
                        <a:latin typeface="+mn-lt"/>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 xmlns:a16="http://schemas.microsoft.com/office/drawing/2014/main" val="10002"/>
                  </a:ext>
                </a:extLst>
              </a:tr>
            </a:tbl>
          </a:graphicData>
        </a:graphic>
      </p:graphicFrame>
    </p:spTree>
    <p:extLst>
      <p:ext uri="{BB962C8B-B14F-4D97-AF65-F5344CB8AC3E}">
        <p14:creationId xmlns:p14="http://schemas.microsoft.com/office/powerpoint/2010/main" val="21338626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184" name="think-cell Slide" r:id="rId5" imgW="270" imgH="270" progId="TCLayout.ActiveDocument.1">
                  <p:embed/>
                </p:oleObj>
              </mc:Choice>
              <mc:Fallback>
                <p:oleObj name="think-cell Slide" r:id="rId5" imgW="270" imgH="270"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defRPr/>
            </a:pPr>
            <a:endParaRPr lang="en-US" sz="2031" b="1" dirty="0">
              <a:solidFill>
                <a:srgbClr val="FFFFFF"/>
              </a:solidFill>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Systems analysis </a:t>
            </a:r>
            <a:r>
              <a:rPr lang="en-US" sz="1100" i="1" dirty="0"/>
              <a:t>(4 of 4)</a:t>
            </a:r>
          </a:p>
        </p:txBody>
      </p:sp>
      <p:sp>
        <p:nvSpPr>
          <p:cNvPr id="3" name="TextBox 2"/>
          <p:cNvSpPr txBox="1"/>
          <p:nvPr/>
        </p:nvSpPr>
        <p:spPr>
          <a:xfrm>
            <a:off x="44074" y="870101"/>
            <a:ext cx="3384222" cy="276999"/>
          </a:xfrm>
          <a:prstGeom prst="rect">
            <a:avLst/>
          </a:prstGeom>
          <a:noFill/>
        </p:spPr>
        <p:txBody>
          <a:bodyPr wrap="square" rtlCol="0">
            <a:spAutoFit/>
          </a:bodyPr>
          <a:lstStyle/>
          <a:p>
            <a:pPr>
              <a:defRPr/>
            </a:pPr>
            <a:r>
              <a:rPr lang="en-US" sz="1200" b="1" dirty="0"/>
              <a:t>Output Markets</a:t>
            </a:r>
          </a:p>
        </p:txBody>
      </p:sp>
      <p:sp>
        <p:nvSpPr>
          <p:cNvPr id="13" name="TextBox 12"/>
          <p:cNvSpPr txBox="1"/>
          <p:nvPr/>
        </p:nvSpPr>
        <p:spPr>
          <a:xfrm>
            <a:off x="4751793" y="870100"/>
            <a:ext cx="3384222" cy="276999"/>
          </a:xfrm>
          <a:prstGeom prst="rect">
            <a:avLst/>
          </a:prstGeom>
          <a:noFill/>
        </p:spPr>
        <p:txBody>
          <a:bodyPr wrap="square" rtlCol="0">
            <a:spAutoFit/>
          </a:bodyPr>
          <a:lstStyle/>
          <a:p>
            <a:pPr>
              <a:defRPr/>
            </a:pPr>
            <a:r>
              <a:rPr lang="en-US" sz="1200" b="1" dirty="0"/>
              <a:t>Access to Finance</a:t>
            </a:r>
          </a:p>
        </p:txBody>
      </p:sp>
      <p:graphicFrame>
        <p:nvGraphicFramePr>
          <p:cNvPr id="14" name="Table 13"/>
          <p:cNvGraphicFramePr>
            <a:graphicFrameLocks noGrp="1"/>
          </p:cNvGraphicFramePr>
          <p:nvPr>
            <p:extLst>
              <p:ext uri="{D42A27DB-BD31-4B8C-83A1-F6EECF244321}">
                <p14:modId xmlns:p14="http://schemas.microsoft.com/office/powerpoint/2010/main" val="1823755608"/>
              </p:ext>
            </p:extLst>
          </p:nvPr>
        </p:nvGraphicFramePr>
        <p:xfrm>
          <a:off x="95398" y="1210237"/>
          <a:ext cx="4537562" cy="5804530"/>
        </p:xfrm>
        <a:graphic>
          <a:graphicData uri="http://schemas.openxmlformats.org/drawingml/2006/table">
            <a:tbl>
              <a:tblPr firstRow="1" bandRow="1">
                <a:tableStyleId>{2D5ABB26-0587-4C30-8999-92F81FD0307C}</a:tableStyleId>
              </a:tblPr>
              <a:tblGrid>
                <a:gridCol w="1243208">
                  <a:extLst>
                    <a:ext uri="{9D8B030D-6E8A-4147-A177-3AD203B41FA5}">
                      <a16:colId xmlns="" xmlns:a16="http://schemas.microsoft.com/office/drawing/2014/main" val="20000"/>
                    </a:ext>
                  </a:extLst>
                </a:gridCol>
                <a:gridCol w="3294354">
                  <a:extLst>
                    <a:ext uri="{9D8B030D-6E8A-4147-A177-3AD203B41FA5}">
                      <a16:colId xmlns="" xmlns:a16="http://schemas.microsoft.com/office/drawing/2014/main" val="20001"/>
                    </a:ext>
                  </a:extLst>
                </a:gridCol>
              </a:tblGrid>
              <a:tr h="1331628">
                <a:tc>
                  <a:txBody>
                    <a:bodyPr/>
                    <a:lstStyle/>
                    <a:p>
                      <a:r>
                        <a:rPr lang="en-US" sz="1200" dirty="0">
                          <a:solidFill>
                            <a:schemeClr val="tx1"/>
                          </a:solidFill>
                        </a:rPr>
                        <a:t>Current state of play</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171450" indent="-171450" algn="just">
                        <a:buFont typeface="Arial" panose="020B0604020202020204" pitchFamily="34" charset="0"/>
                        <a:buChar char="•"/>
                      </a:pPr>
                      <a:r>
                        <a:rPr lang="en-US" sz="1050" dirty="0">
                          <a:solidFill>
                            <a:schemeClr val="tx1"/>
                          </a:solidFill>
                        </a:rPr>
                        <a:t>Millet and sorghum are</a:t>
                      </a:r>
                      <a:r>
                        <a:rPr lang="en-US" sz="1050" baseline="0" dirty="0">
                          <a:solidFill>
                            <a:schemeClr val="tx1"/>
                          </a:solidFill>
                        </a:rPr>
                        <a:t> leading food security crops particularly among low income households</a:t>
                      </a:r>
                      <a:r>
                        <a:rPr lang="en-US" sz="1050" dirty="0">
                          <a:solidFill>
                            <a:schemeClr val="tx1"/>
                          </a:solidFill>
                        </a:rPr>
                        <a:t>.  </a:t>
                      </a:r>
                      <a:r>
                        <a:rPr lang="en-US" sz="1050" baseline="0" dirty="0">
                          <a:solidFill>
                            <a:schemeClr val="tx1"/>
                          </a:solidFill>
                        </a:rPr>
                        <a:t>However, t</a:t>
                      </a:r>
                      <a:r>
                        <a:rPr lang="en-US" sz="1050" dirty="0">
                          <a:solidFill>
                            <a:schemeClr val="tx1"/>
                          </a:solidFill>
                        </a:rPr>
                        <a:t>heir low commercial value creates a disincentive for investment consigning</a:t>
                      </a:r>
                      <a:r>
                        <a:rPr lang="en-US" sz="1050" baseline="0" dirty="0">
                          <a:solidFill>
                            <a:schemeClr val="tx1"/>
                          </a:solidFill>
                        </a:rPr>
                        <a:t> them to subsistence crops.</a:t>
                      </a:r>
                      <a:endParaRPr lang="en-US" sz="1050" dirty="0">
                        <a:solidFill>
                          <a:schemeClr val="tx1"/>
                        </a:solidFill>
                      </a:endParaRPr>
                    </a:p>
                    <a:p>
                      <a:pPr marL="171450" indent="-171450" algn="just">
                        <a:buFont typeface="Arial" panose="020B0604020202020204" pitchFamily="34" charset="0"/>
                        <a:buChar char="•"/>
                      </a:pPr>
                      <a:r>
                        <a:rPr lang="en-US" sz="1050" dirty="0">
                          <a:solidFill>
                            <a:schemeClr val="tx1"/>
                          </a:solidFill>
                        </a:rPr>
                        <a:t>The total production of maize, sorghum and millet presently</a:t>
                      </a:r>
                      <a:r>
                        <a:rPr lang="en-US" sz="1050" baseline="0" dirty="0">
                          <a:solidFill>
                            <a:schemeClr val="tx1"/>
                          </a:solidFill>
                        </a:rPr>
                        <a:t> satisfies</a:t>
                      </a:r>
                      <a:r>
                        <a:rPr lang="en-US" sz="1050" dirty="0">
                          <a:solidFill>
                            <a:schemeClr val="tx1"/>
                          </a:solidFill>
                        </a:rPr>
                        <a:t> the total demand</a:t>
                      </a:r>
                      <a:r>
                        <a:rPr lang="en-US" sz="1050" baseline="0" dirty="0">
                          <a:solidFill>
                            <a:schemeClr val="tx1"/>
                          </a:solidFill>
                        </a:rPr>
                        <a:t> despite current high levels of post harvest losses.</a:t>
                      </a:r>
                      <a:endParaRPr lang="en-US" sz="1050"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 xmlns:a16="http://schemas.microsoft.com/office/drawing/2014/main" val="10000"/>
                  </a:ext>
                </a:extLst>
              </a:tr>
              <a:tr h="1642341">
                <a:tc>
                  <a:txBody>
                    <a:bodyPr/>
                    <a:lstStyle/>
                    <a:p>
                      <a:r>
                        <a:rPr lang="en-US" sz="1200" dirty="0">
                          <a:solidFill>
                            <a:schemeClr val="tx1"/>
                          </a:solidFill>
                        </a:rPr>
                        <a:t>Opportunities</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171450" marR="0" lvl="0" indent="-171450" algn="just"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050" dirty="0">
                          <a:solidFill>
                            <a:schemeClr val="tx1"/>
                          </a:solidFill>
                        </a:rPr>
                        <a:t>Rapid urbanization (over 4.5% growth rate per year) is increasing demand for the cereal crop food staples produced by Malian farmers. This</a:t>
                      </a:r>
                      <a:r>
                        <a:rPr lang="en-US" sz="1050" baseline="0" dirty="0">
                          <a:solidFill>
                            <a:schemeClr val="tx1"/>
                          </a:solidFill>
                        </a:rPr>
                        <a:t> is an opportunity for private sector work with farmers to produce and market more food.</a:t>
                      </a:r>
                    </a:p>
                    <a:p>
                      <a:pPr marL="171450" marR="0" lvl="0" indent="-171450" algn="just"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050" baseline="0" dirty="0">
                          <a:solidFill>
                            <a:schemeClr val="tx1"/>
                          </a:solidFill>
                        </a:rPr>
                        <a:t>Opportunity to support the government to operationalize the agro pole strategy in upgrading crop value chains.</a:t>
                      </a:r>
                    </a:p>
                    <a:p>
                      <a:pPr marL="171450" marR="0" lvl="0" indent="-171450" algn="just"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050" baseline="0" dirty="0">
                          <a:solidFill>
                            <a:schemeClr val="tx1"/>
                          </a:solidFill>
                        </a:rPr>
                        <a:t>Export market to the neighboring countries (Mauritania, Niger, Burkina Faso, Senegal</a:t>
                      </a:r>
                      <a:r>
                        <a:rPr lang="en-US" sz="1050" baseline="0" dirty="0" smtClean="0">
                          <a:solidFill>
                            <a:schemeClr val="tx1"/>
                          </a:solidFill>
                        </a:rPr>
                        <a:t>,…).</a:t>
                      </a: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050" b="0" i="0" u="none" strike="noStrike" kern="0" cap="none" spc="0" normalizeH="0" baseline="0" noProof="0" dirty="0" smtClean="0">
                          <a:ln>
                            <a:noFill/>
                          </a:ln>
                          <a:solidFill>
                            <a:schemeClr val="tx1"/>
                          </a:solidFill>
                          <a:effectLst/>
                          <a:uLnTx/>
                          <a:uFillTx/>
                          <a:latin typeface="+mn-lt"/>
                          <a:ea typeface="+mn-ea"/>
                          <a:cs typeface="+mn-cs"/>
                          <a:sym typeface="Arial"/>
                        </a:rPr>
                        <a:t>Implementation of new private processing plants</a:t>
                      </a:r>
                    </a:p>
                    <a:p>
                      <a:pPr marL="171450" marR="0" lvl="0" indent="-171450" algn="just"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050" baseline="0" dirty="0" smtClean="0">
                          <a:solidFill>
                            <a:schemeClr val="tx1"/>
                          </a:solidFill>
                        </a:rPr>
                        <a:t>PNISA oriented to improving competitiveness of agriculture and agro-industry products</a:t>
                      </a:r>
                      <a:endParaRPr lang="en-US" sz="1050" baseline="0"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 xmlns:a16="http://schemas.microsoft.com/office/drawing/2014/main" val="10001"/>
                  </a:ext>
                </a:extLst>
              </a:tr>
              <a:tr h="1486985">
                <a:tc>
                  <a:txBody>
                    <a:bodyPr/>
                    <a:lstStyle/>
                    <a:p>
                      <a:r>
                        <a:rPr lang="en-US" sz="1200" dirty="0">
                          <a:solidFill>
                            <a:schemeClr val="tx1"/>
                          </a:solidFill>
                        </a:rPr>
                        <a:t/>
                      </a:r>
                      <a:br>
                        <a:rPr lang="en-US" sz="1200" dirty="0">
                          <a:solidFill>
                            <a:schemeClr val="tx1"/>
                          </a:solidFill>
                        </a:rPr>
                      </a:br>
                      <a:r>
                        <a:rPr lang="en-US" sz="1200" dirty="0">
                          <a:solidFill>
                            <a:schemeClr val="tx1"/>
                          </a:solidFill>
                        </a:rPr>
                        <a:t>Enablers</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171450" indent="-171450">
                        <a:buFont typeface="Arial" panose="020B0604020202020204" pitchFamily="34" charset="0"/>
                        <a:buChar char="•"/>
                      </a:pPr>
                      <a:r>
                        <a:rPr lang="en-US" sz="1050" dirty="0">
                          <a:solidFill>
                            <a:schemeClr val="tx1"/>
                          </a:solidFill>
                        </a:rPr>
                        <a:t>Improving inclusive</a:t>
                      </a:r>
                      <a:r>
                        <a:rPr lang="en-US" sz="1050" baseline="0" dirty="0">
                          <a:solidFill>
                            <a:schemeClr val="tx1"/>
                          </a:solidFill>
                        </a:rPr>
                        <a:t> financial services and MIS [digital platform linking value chain actors] will strengthen competitiveness of Malian commodities.</a:t>
                      </a:r>
                    </a:p>
                    <a:p>
                      <a:pPr marL="171450" indent="-171450">
                        <a:buFont typeface="Arial" panose="020B0604020202020204" pitchFamily="34" charset="0"/>
                        <a:buChar char="•"/>
                      </a:pPr>
                      <a:r>
                        <a:rPr lang="en-US" sz="1050" baseline="0" dirty="0">
                          <a:solidFill>
                            <a:schemeClr val="tx1"/>
                          </a:solidFill>
                        </a:rPr>
                        <a:t>Improved road infrastructure will reduce long average times to access markets (average 5 to 24 hours) north of Mopti.</a:t>
                      </a:r>
                    </a:p>
                    <a:p>
                      <a:pPr marL="171450" indent="-171450">
                        <a:buFont typeface="Arial" panose="020B0604020202020204" pitchFamily="34" charset="0"/>
                        <a:buChar char="•"/>
                      </a:pPr>
                      <a:r>
                        <a:rPr lang="en-US" sz="1050" baseline="0" dirty="0">
                          <a:solidFill>
                            <a:schemeClr val="tx1"/>
                          </a:solidFill>
                        </a:rPr>
                        <a:t>Enforcement of regulation on local taxes will reduce cost of local food </a:t>
                      </a:r>
                      <a:r>
                        <a:rPr lang="en-US" sz="1050" baseline="0" dirty="0" smtClean="0">
                          <a:solidFill>
                            <a:schemeClr val="tx1"/>
                          </a:solidFill>
                        </a:rPr>
                        <a:t>trade</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 xmlns:a16="http://schemas.microsoft.com/office/drawing/2014/main" val="10002"/>
                  </a:ext>
                </a:extLst>
              </a:tr>
              <a:tr h="729610">
                <a:tc>
                  <a:txBody>
                    <a:bodyPr/>
                    <a:lstStyle/>
                    <a:p>
                      <a:r>
                        <a:rPr lang="en-US" sz="1200" dirty="0">
                          <a:solidFill>
                            <a:schemeClr val="tx1"/>
                          </a:solidFill>
                        </a:rPr>
                        <a:t>Key partners</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r>
                        <a:rPr lang="en-US" sz="1050" baseline="0" dirty="0" smtClean="0">
                          <a:solidFill>
                            <a:schemeClr val="tx1"/>
                          </a:solidFill>
                        </a:rPr>
                        <a:t>Grands </a:t>
                      </a:r>
                      <a:r>
                        <a:rPr lang="en-US" sz="1050" baseline="0" dirty="0">
                          <a:solidFill>
                            <a:schemeClr val="tx1"/>
                          </a:solidFill>
                        </a:rPr>
                        <a:t>Moulins du Mali, Off takers, M3, Bara Muso, Danaya Cereales, OPAM and WFP.</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 xmlns:a16="http://schemas.microsoft.com/office/drawing/2014/main" val="10003"/>
                  </a:ext>
                </a:extLst>
              </a:tr>
            </a:tbl>
          </a:graphicData>
        </a:graphic>
      </p:graphicFrame>
      <p:graphicFrame>
        <p:nvGraphicFramePr>
          <p:cNvPr id="15" name="Table 14"/>
          <p:cNvGraphicFramePr>
            <a:graphicFrameLocks noGrp="1"/>
          </p:cNvGraphicFramePr>
          <p:nvPr>
            <p:extLst>
              <p:ext uri="{D42A27DB-BD31-4B8C-83A1-F6EECF244321}">
                <p14:modId xmlns:p14="http://schemas.microsoft.com/office/powerpoint/2010/main" val="2958922534"/>
              </p:ext>
            </p:extLst>
          </p:nvPr>
        </p:nvGraphicFramePr>
        <p:xfrm>
          <a:off x="4907955" y="1210237"/>
          <a:ext cx="4688729" cy="4955781"/>
        </p:xfrm>
        <a:graphic>
          <a:graphicData uri="http://schemas.openxmlformats.org/drawingml/2006/table">
            <a:tbl>
              <a:tblPr firstRow="1" bandRow="1">
                <a:tableStyleId>{2D5ABB26-0587-4C30-8999-92F81FD0307C}</a:tableStyleId>
              </a:tblPr>
              <a:tblGrid>
                <a:gridCol w="1198271">
                  <a:extLst>
                    <a:ext uri="{9D8B030D-6E8A-4147-A177-3AD203B41FA5}">
                      <a16:colId xmlns="" xmlns:a16="http://schemas.microsoft.com/office/drawing/2014/main" val="20000"/>
                    </a:ext>
                  </a:extLst>
                </a:gridCol>
                <a:gridCol w="3490458">
                  <a:extLst>
                    <a:ext uri="{9D8B030D-6E8A-4147-A177-3AD203B41FA5}">
                      <a16:colId xmlns="" xmlns:a16="http://schemas.microsoft.com/office/drawing/2014/main" val="20001"/>
                    </a:ext>
                  </a:extLst>
                </a:gridCol>
              </a:tblGrid>
              <a:tr h="1268772">
                <a:tc>
                  <a:txBody>
                    <a:bodyPr/>
                    <a:lstStyle/>
                    <a:p>
                      <a:r>
                        <a:rPr lang="en-US" sz="1100" dirty="0">
                          <a:solidFill>
                            <a:schemeClr val="tx1"/>
                          </a:solidFill>
                        </a:rPr>
                        <a:t>Current state of play</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171450" indent="-171450">
                        <a:buFont typeface="Arial" panose="020B0604020202020204" pitchFamily="34" charset="0"/>
                        <a:buChar char="•"/>
                      </a:pPr>
                      <a:r>
                        <a:rPr lang="en-US" sz="1100" dirty="0">
                          <a:solidFill>
                            <a:schemeClr val="tx1"/>
                          </a:solidFill>
                        </a:rPr>
                        <a:t>5% lending</a:t>
                      </a:r>
                      <a:r>
                        <a:rPr lang="en-US" sz="1100" baseline="0" dirty="0">
                          <a:solidFill>
                            <a:schemeClr val="tx1"/>
                          </a:solidFill>
                        </a:rPr>
                        <a:t> to agriculture sector mainly</a:t>
                      </a:r>
                    </a:p>
                    <a:p>
                      <a:pPr marL="171450" indent="-171450">
                        <a:buFont typeface="Arial" panose="020B0604020202020204" pitchFamily="34" charset="0"/>
                        <a:buChar char="•"/>
                      </a:pPr>
                      <a:r>
                        <a:rPr lang="en-US" sz="1100" baseline="0" dirty="0">
                          <a:solidFill>
                            <a:schemeClr val="tx1"/>
                          </a:solidFill>
                        </a:rPr>
                        <a:t> small holders farmers in cotton </a:t>
                      </a:r>
                    </a:p>
                    <a:p>
                      <a:pPr marL="171450" indent="-171450">
                        <a:buFont typeface="Arial" panose="020B0604020202020204" pitchFamily="34" charset="0"/>
                        <a:buChar char="•"/>
                      </a:pPr>
                      <a:r>
                        <a:rPr lang="en-US" sz="1100" baseline="0" dirty="0">
                          <a:solidFill>
                            <a:schemeClr val="tx1"/>
                          </a:solidFill>
                        </a:rPr>
                        <a:t>Interest rates 8%-24%</a:t>
                      </a:r>
                    </a:p>
                    <a:p>
                      <a:pPr marL="171450" indent="-171450">
                        <a:buFont typeface="Arial" panose="020B0604020202020204" pitchFamily="34" charset="0"/>
                        <a:buChar char="•"/>
                      </a:pPr>
                      <a:r>
                        <a:rPr lang="en-US" sz="1100" baseline="0" dirty="0">
                          <a:solidFill>
                            <a:schemeClr val="tx1"/>
                          </a:solidFill>
                        </a:rPr>
                        <a:t>Financial products available: Short term production and trade credit. Equipment finance (Mali tractor)</a:t>
                      </a:r>
                      <a:endParaRPr lang="en-US" sz="1100"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 xmlns:a16="http://schemas.microsoft.com/office/drawing/2014/main" val="10000"/>
                  </a:ext>
                </a:extLst>
              </a:tr>
              <a:tr h="2173674">
                <a:tc>
                  <a:txBody>
                    <a:bodyPr/>
                    <a:lstStyle/>
                    <a:p>
                      <a:r>
                        <a:rPr lang="en-US" sz="1100" dirty="0">
                          <a:solidFill>
                            <a:schemeClr val="tx1"/>
                          </a:solidFill>
                        </a:rPr>
                        <a:t>Opportunities</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171450" indent="-171450">
                        <a:buFont typeface="Arial" panose="020B0604020202020204" pitchFamily="34" charset="0"/>
                        <a:buChar char="•"/>
                      </a:pPr>
                      <a:r>
                        <a:rPr lang="en-US" sz="1100" dirty="0">
                          <a:solidFill>
                            <a:schemeClr val="tx1"/>
                          </a:solidFill>
                        </a:rPr>
                        <a:t>Opportunity to support</a:t>
                      </a:r>
                      <a:r>
                        <a:rPr lang="en-US" sz="1100" baseline="0" dirty="0">
                          <a:solidFill>
                            <a:schemeClr val="tx1"/>
                          </a:solidFill>
                        </a:rPr>
                        <a:t> the government and operationalize the National Fund of Agriculture Development</a:t>
                      </a:r>
                    </a:p>
                    <a:p>
                      <a:pPr marL="171450" indent="-171450">
                        <a:buFont typeface="Arial" panose="020B0604020202020204" pitchFamily="34" charset="0"/>
                        <a:buChar char="•"/>
                      </a:pPr>
                      <a:r>
                        <a:rPr lang="en-US" sz="1100" dirty="0">
                          <a:solidFill>
                            <a:schemeClr val="tx1"/>
                          </a:solidFill>
                        </a:rPr>
                        <a:t>Opportunity to leverage public-</a:t>
                      </a:r>
                      <a:r>
                        <a:rPr lang="en-US" sz="1100" baseline="0" dirty="0">
                          <a:solidFill>
                            <a:schemeClr val="tx1"/>
                          </a:solidFill>
                        </a:rPr>
                        <a:t>private fund for bank capacity development. The government and Canadian cooperation has started this initiatives with FARM project</a:t>
                      </a:r>
                    </a:p>
                    <a:p>
                      <a:pPr marL="171450" indent="-171450">
                        <a:buFont typeface="Arial" panose="020B0604020202020204" pitchFamily="34" charset="0"/>
                        <a:buChar char="•"/>
                      </a:pPr>
                      <a:r>
                        <a:rPr lang="en-US" sz="1100" baseline="0" dirty="0">
                          <a:solidFill>
                            <a:schemeClr val="tx1"/>
                          </a:solidFill>
                        </a:rPr>
                        <a:t>Possibility to set up a multi stakeholder task force to develop agri-finance strategy (WB IFAD,EU… )</a:t>
                      </a: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100" baseline="0" dirty="0">
                          <a:solidFill>
                            <a:schemeClr val="tx1"/>
                          </a:solidFill>
                        </a:rPr>
                        <a:t>Scaling risk sharing facilities to access input and equipment</a:t>
                      </a: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100" baseline="0" dirty="0">
                          <a:solidFill>
                            <a:schemeClr val="tx1"/>
                          </a:solidFill>
                        </a:rPr>
                        <a:t>Scaling digital access to input through existing lay-away platform </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 xmlns:a16="http://schemas.microsoft.com/office/drawing/2014/main" val="10001"/>
                  </a:ext>
                </a:extLst>
              </a:tr>
              <a:tr h="779947">
                <a:tc>
                  <a:txBody>
                    <a:bodyPr/>
                    <a:lstStyle/>
                    <a:p>
                      <a:r>
                        <a:rPr lang="en-US" sz="1100" dirty="0">
                          <a:solidFill>
                            <a:schemeClr val="tx1"/>
                          </a:solidFill>
                        </a:rPr>
                        <a:t/>
                      </a:r>
                      <a:br>
                        <a:rPr lang="en-US" sz="1100" dirty="0">
                          <a:solidFill>
                            <a:schemeClr val="tx1"/>
                          </a:solidFill>
                        </a:rPr>
                      </a:br>
                      <a:r>
                        <a:rPr lang="en-US" sz="1100" dirty="0">
                          <a:solidFill>
                            <a:schemeClr val="tx1"/>
                          </a:solidFill>
                        </a:rPr>
                        <a:t>Enablers</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100" baseline="0" dirty="0">
                          <a:solidFill>
                            <a:schemeClr val="tx1"/>
                          </a:solidFill>
                        </a:rPr>
                        <a:t>A supportive regulatory environment for WRS and equipment finance</a:t>
                      </a: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100" baseline="0" dirty="0">
                          <a:solidFill>
                            <a:schemeClr val="tx1"/>
                          </a:solidFill>
                        </a:rPr>
                        <a:t>Important donors fund from AFD and KfW as credit line for agriculture finance</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 xmlns:a16="http://schemas.microsoft.com/office/drawing/2014/main" val="10002"/>
                  </a:ext>
                </a:extLst>
              </a:tr>
              <a:tr h="636302">
                <a:tc>
                  <a:txBody>
                    <a:bodyPr/>
                    <a:lstStyle/>
                    <a:p>
                      <a:r>
                        <a:rPr lang="en-US" sz="1100" dirty="0">
                          <a:solidFill>
                            <a:schemeClr val="tx1"/>
                          </a:solidFill>
                        </a:rPr>
                        <a:t>Key partners</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r>
                        <a:rPr lang="en-US" sz="1100" dirty="0">
                          <a:solidFill>
                            <a:schemeClr val="tx1"/>
                          </a:solidFill>
                        </a:rPr>
                        <a:t>BNDA, BMS, Orabank, Kafo jiginew, Soroyiriwasso,</a:t>
                      </a:r>
                      <a:r>
                        <a:rPr lang="en-US" sz="1100" baseline="0" dirty="0">
                          <a:solidFill>
                            <a:schemeClr val="tx1"/>
                          </a:solidFill>
                        </a:rPr>
                        <a:t> FGSP, ABC fund, FARM project, Agriprofocus</a:t>
                      </a:r>
                      <a:endParaRPr lang="en-US" sz="1100"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 xmlns:a16="http://schemas.microsoft.com/office/drawing/2014/main" val="10003"/>
                  </a:ext>
                </a:extLst>
              </a:tr>
            </a:tbl>
          </a:graphicData>
        </a:graphic>
      </p:graphicFrame>
    </p:spTree>
    <p:extLst>
      <p:ext uri="{BB962C8B-B14F-4D97-AF65-F5344CB8AC3E}">
        <p14:creationId xmlns:p14="http://schemas.microsoft.com/office/powerpoint/2010/main" val="39074510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595295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206"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4400"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AGRA 2017 – 2021 Strategy</a:t>
            </a:r>
          </a:p>
        </p:txBody>
      </p:sp>
    </p:spTree>
    <p:extLst>
      <p:ext uri="{BB962C8B-B14F-4D97-AF65-F5344CB8AC3E}">
        <p14:creationId xmlns:p14="http://schemas.microsoft.com/office/powerpoint/2010/main" val="35446176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153760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230"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031" b="1" dirty="0">
              <a:latin typeface="Arial" panose="020B0604020202020204" pitchFamily="34" charset="0"/>
              <a:cs typeface="Arial" panose="020B0604020202020204" pitchFamily="34" charset="0"/>
              <a:sym typeface="Arial" panose="020B0604020202020204" pitchFamily="34" charset="0"/>
            </a:endParaRPr>
          </a:p>
        </p:txBody>
      </p:sp>
      <p:sp>
        <p:nvSpPr>
          <p:cNvPr id="4" name="Title 3"/>
          <p:cNvSpPr>
            <a:spLocks noGrp="1"/>
          </p:cNvSpPr>
          <p:nvPr>
            <p:ph type="title"/>
          </p:nvPr>
        </p:nvSpPr>
        <p:spPr/>
        <p:txBody>
          <a:bodyPr/>
          <a:lstStyle/>
          <a:p>
            <a:r>
              <a:rPr lang="en-US" dirty="0"/>
              <a:t>AGRA’s Vision and Headline goals 2017 - 2021</a:t>
            </a:r>
          </a:p>
        </p:txBody>
      </p:sp>
      <p:sp>
        <p:nvSpPr>
          <p:cNvPr id="6" name="Rectangle 2"/>
          <p:cNvSpPr>
            <a:spLocks noChangeArrowheads="1"/>
          </p:cNvSpPr>
          <p:nvPr/>
        </p:nvSpPr>
        <p:spPr bwMode="auto">
          <a:xfrm>
            <a:off x="777522" y="3204775"/>
            <a:ext cx="8046720" cy="314953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square">
            <a:noAutofit/>
          </a:bodyPr>
          <a:lstStyle>
            <a:lvl1pPr>
              <a:defRPr sz="4200">
                <a:solidFill>
                  <a:srgbClr val="000000"/>
                </a:solidFill>
                <a:latin typeface="Gill Sans"/>
                <a:ea typeface="ヒラギノ角ゴ ProN W3"/>
                <a:cs typeface="ヒラギノ角ゴ ProN W3"/>
                <a:sym typeface="Gill Sans"/>
              </a:defRPr>
            </a:lvl1pPr>
            <a:lvl2pPr marL="742950" indent="-285750">
              <a:defRPr sz="4200">
                <a:solidFill>
                  <a:srgbClr val="000000"/>
                </a:solidFill>
                <a:latin typeface="Gill Sans"/>
                <a:ea typeface="ヒラギノ角ゴ ProN W3"/>
                <a:cs typeface="ヒラギノ角ゴ ProN W3"/>
                <a:sym typeface="Gill Sans"/>
              </a:defRPr>
            </a:lvl2pPr>
            <a:lvl3pPr marL="1143000" indent="-228600">
              <a:defRPr sz="4200">
                <a:solidFill>
                  <a:srgbClr val="000000"/>
                </a:solidFill>
                <a:latin typeface="Gill Sans"/>
                <a:ea typeface="ヒラギノ角ゴ ProN W3"/>
                <a:cs typeface="ヒラギノ角ゴ ProN W3"/>
                <a:sym typeface="Gill Sans"/>
              </a:defRPr>
            </a:lvl3pPr>
            <a:lvl4pPr marL="1600200" indent="-228600">
              <a:defRPr sz="4200">
                <a:solidFill>
                  <a:srgbClr val="000000"/>
                </a:solidFill>
                <a:latin typeface="Gill Sans"/>
                <a:ea typeface="ヒラギノ角ゴ ProN W3"/>
                <a:cs typeface="ヒラギノ角ゴ ProN W3"/>
                <a:sym typeface="Gill Sans"/>
              </a:defRPr>
            </a:lvl4pPr>
            <a:lvl5pPr marL="2057400" indent="-228600">
              <a:defRPr sz="4200">
                <a:solidFill>
                  <a:srgbClr val="000000"/>
                </a:solidFill>
                <a:latin typeface="Gill Sans"/>
                <a:ea typeface="ヒラギノ角ゴ ProN W3"/>
                <a:cs typeface="ヒラギノ角ゴ ProN W3"/>
                <a:sym typeface="Gill Sans"/>
              </a:defRPr>
            </a:lvl5pPr>
            <a:lvl6pPr marL="2514600" indent="-228600" eaLnBrk="0" fontAlgn="base" hangingPunct="0">
              <a:spcBef>
                <a:spcPct val="0"/>
              </a:spcBef>
              <a:spcAft>
                <a:spcPct val="0"/>
              </a:spcAft>
              <a:defRPr sz="4200">
                <a:solidFill>
                  <a:srgbClr val="000000"/>
                </a:solidFill>
                <a:latin typeface="Gill Sans"/>
                <a:ea typeface="ヒラギノ角ゴ ProN W3"/>
                <a:cs typeface="ヒラギノ角ゴ ProN W3"/>
                <a:sym typeface="Gill Sans"/>
              </a:defRPr>
            </a:lvl6pPr>
            <a:lvl7pPr marL="2971800" indent="-228600" eaLnBrk="0" fontAlgn="base" hangingPunct="0">
              <a:spcBef>
                <a:spcPct val="0"/>
              </a:spcBef>
              <a:spcAft>
                <a:spcPct val="0"/>
              </a:spcAft>
              <a:defRPr sz="4200">
                <a:solidFill>
                  <a:srgbClr val="000000"/>
                </a:solidFill>
                <a:latin typeface="Gill Sans"/>
                <a:ea typeface="ヒラギノ角ゴ ProN W3"/>
                <a:cs typeface="ヒラギノ角ゴ ProN W3"/>
                <a:sym typeface="Gill Sans"/>
              </a:defRPr>
            </a:lvl7pPr>
            <a:lvl8pPr marL="3429000" indent="-228600" eaLnBrk="0" fontAlgn="base" hangingPunct="0">
              <a:spcBef>
                <a:spcPct val="0"/>
              </a:spcBef>
              <a:spcAft>
                <a:spcPct val="0"/>
              </a:spcAft>
              <a:defRPr sz="4200">
                <a:solidFill>
                  <a:srgbClr val="000000"/>
                </a:solidFill>
                <a:latin typeface="Gill Sans"/>
                <a:ea typeface="ヒラギノ角ゴ ProN W3"/>
                <a:cs typeface="ヒラギノ角ゴ ProN W3"/>
                <a:sym typeface="Gill Sans"/>
              </a:defRPr>
            </a:lvl8pPr>
            <a:lvl9pPr marL="3886200" indent="-228600" eaLnBrk="0" fontAlgn="base" hangingPunct="0">
              <a:spcBef>
                <a:spcPct val="0"/>
              </a:spcBef>
              <a:spcAft>
                <a:spcPct val="0"/>
              </a:spcAft>
              <a:defRPr sz="4200">
                <a:solidFill>
                  <a:srgbClr val="000000"/>
                </a:solidFill>
                <a:latin typeface="Gill Sans"/>
                <a:ea typeface="ヒラギノ角ゴ ProN W3"/>
                <a:cs typeface="ヒラギノ角ゴ ProN W3"/>
                <a:sym typeface="Gill Sans"/>
              </a:defRPr>
            </a:lvl9pPr>
          </a:lstStyle>
          <a:p>
            <a:pPr defTabSz="843984" fontAlgn="auto">
              <a:spcBef>
                <a:spcPts val="0"/>
              </a:spcBef>
              <a:spcAft>
                <a:spcPts val="0"/>
              </a:spcAft>
              <a:defRPr/>
            </a:pPr>
            <a:endParaRPr lang="en-US" sz="1600" dirty="0">
              <a:latin typeface="Arial" panose="020B0604020202020204" pitchFamily="34" charset="0"/>
              <a:cs typeface="Arial" panose="020B0604020202020204" pitchFamily="34" charset="0"/>
            </a:endParaRPr>
          </a:p>
          <a:p>
            <a:pPr marL="422041" indent="-422041" defTabSz="843984" fontAlgn="auto">
              <a:spcBef>
                <a:spcPts val="0"/>
              </a:spcBef>
              <a:spcAft>
                <a:spcPts val="923"/>
              </a:spcAft>
              <a:buFont typeface="+mj-lt"/>
              <a:buAutoNum type="arabicPeriod"/>
              <a:defRPr/>
            </a:pPr>
            <a:r>
              <a:rPr lang="en-US" sz="1600" dirty="0">
                <a:latin typeface="Arial" panose="020B0604020202020204" pitchFamily="34" charset="0"/>
                <a:cs typeface="Arial" panose="020B0604020202020204" pitchFamily="34" charset="0"/>
              </a:rPr>
              <a:t>Increase the incomes and improve food security for 9 million farm households through the direct result of activities of AGRA, grantees, and partners to increase productivity and access to markets and finance</a:t>
            </a:r>
          </a:p>
          <a:p>
            <a:pPr marL="422041" indent="-422041" defTabSz="843984" fontAlgn="auto">
              <a:spcBef>
                <a:spcPts val="0"/>
              </a:spcBef>
              <a:spcAft>
                <a:spcPts val="923"/>
              </a:spcAft>
              <a:buFont typeface="+mj-lt"/>
              <a:buAutoNum type="arabicPeriod"/>
              <a:defRPr/>
            </a:pPr>
            <a:r>
              <a:rPr lang="en-US" sz="1600" dirty="0">
                <a:latin typeface="Arial" panose="020B0604020202020204" pitchFamily="34" charset="0"/>
                <a:cs typeface="Arial" panose="020B0604020202020204" pitchFamily="34" charset="0"/>
              </a:rPr>
              <a:t>Contribute to increasing the incomes and improving food security of another 21 million farm households through support to strengthening capacities of governments and private sector and through the contributions of AGRA, grantees, and partners to policies, programs, and partnerships that increase productivity and access to markets and finance</a:t>
            </a:r>
          </a:p>
          <a:p>
            <a:pPr marL="422041" indent="-422041" defTabSz="843984" fontAlgn="auto">
              <a:spcBef>
                <a:spcPts val="0"/>
              </a:spcBef>
              <a:spcAft>
                <a:spcPts val="923"/>
              </a:spcAft>
              <a:buFont typeface="+mj-lt"/>
              <a:buAutoNum type="arabicPeriod"/>
              <a:defRPr/>
            </a:pPr>
            <a:r>
              <a:rPr lang="en-US" sz="1600" dirty="0">
                <a:latin typeface="Arial" panose="020B0604020202020204" pitchFamily="34" charset="0"/>
                <a:cs typeface="Arial" panose="020B0604020202020204" pitchFamily="34" charset="0"/>
              </a:rPr>
              <a:t>Support 11 focus countries on a pathway to attain and sustain an agricultural transformation</a:t>
            </a:r>
          </a:p>
        </p:txBody>
      </p:sp>
      <p:sp>
        <p:nvSpPr>
          <p:cNvPr id="7" name="Rectangle 2"/>
          <p:cNvSpPr>
            <a:spLocks noChangeArrowheads="1"/>
          </p:cNvSpPr>
          <p:nvPr/>
        </p:nvSpPr>
        <p:spPr bwMode="auto">
          <a:xfrm>
            <a:off x="777520" y="1155087"/>
            <a:ext cx="8046720" cy="1611046"/>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square">
            <a:noAutofit/>
          </a:bodyPr>
          <a:lstStyle>
            <a:lvl1pPr>
              <a:defRPr sz="4200">
                <a:solidFill>
                  <a:srgbClr val="000000"/>
                </a:solidFill>
                <a:latin typeface="Gill Sans"/>
                <a:ea typeface="ヒラギノ角ゴ ProN W3"/>
                <a:cs typeface="ヒラギノ角ゴ ProN W3"/>
                <a:sym typeface="Gill Sans"/>
              </a:defRPr>
            </a:lvl1pPr>
            <a:lvl2pPr marL="742950" indent="-285750">
              <a:defRPr sz="4200">
                <a:solidFill>
                  <a:srgbClr val="000000"/>
                </a:solidFill>
                <a:latin typeface="Gill Sans"/>
                <a:ea typeface="ヒラギノ角ゴ ProN W3"/>
                <a:cs typeface="ヒラギノ角ゴ ProN W3"/>
                <a:sym typeface="Gill Sans"/>
              </a:defRPr>
            </a:lvl2pPr>
            <a:lvl3pPr marL="1143000" indent="-228600">
              <a:defRPr sz="4200">
                <a:solidFill>
                  <a:srgbClr val="000000"/>
                </a:solidFill>
                <a:latin typeface="Gill Sans"/>
                <a:ea typeface="ヒラギノ角ゴ ProN W3"/>
                <a:cs typeface="ヒラギノ角ゴ ProN W3"/>
                <a:sym typeface="Gill Sans"/>
              </a:defRPr>
            </a:lvl3pPr>
            <a:lvl4pPr marL="1600200" indent="-228600">
              <a:defRPr sz="4200">
                <a:solidFill>
                  <a:srgbClr val="000000"/>
                </a:solidFill>
                <a:latin typeface="Gill Sans"/>
                <a:ea typeface="ヒラギノ角ゴ ProN W3"/>
                <a:cs typeface="ヒラギノ角ゴ ProN W3"/>
                <a:sym typeface="Gill Sans"/>
              </a:defRPr>
            </a:lvl4pPr>
            <a:lvl5pPr marL="2057400" indent="-228600">
              <a:defRPr sz="4200">
                <a:solidFill>
                  <a:srgbClr val="000000"/>
                </a:solidFill>
                <a:latin typeface="Gill Sans"/>
                <a:ea typeface="ヒラギノ角ゴ ProN W3"/>
                <a:cs typeface="ヒラギノ角ゴ ProN W3"/>
                <a:sym typeface="Gill Sans"/>
              </a:defRPr>
            </a:lvl5pPr>
            <a:lvl6pPr marL="2514600" indent="-228600" eaLnBrk="0" fontAlgn="base" hangingPunct="0">
              <a:spcBef>
                <a:spcPct val="0"/>
              </a:spcBef>
              <a:spcAft>
                <a:spcPct val="0"/>
              </a:spcAft>
              <a:defRPr sz="4200">
                <a:solidFill>
                  <a:srgbClr val="000000"/>
                </a:solidFill>
                <a:latin typeface="Gill Sans"/>
                <a:ea typeface="ヒラギノ角ゴ ProN W3"/>
                <a:cs typeface="ヒラギノ角ゴ ProN W3"/>
                <a:sym typeface="Gill Sans"/>
              </a:defRPr>
            </a:lvl6pPr>
            <a:lvl7pPr marL="2971800" indent="-228600" eaLnBrk="0" fontAlgn="base" hangingPunct="0">
              <a:spcBef>
                <a:spcPct val="0"/>
              </a:spcBef>
              <a:spcAft>
                <a:spcPct val="0"/>
              </a:spcAft>
              <a:defRPr sz="4200">
                <a:solidFill>
                  <a:srgbClr val="000000"/>
                </a:solidFill>
                <a:latin typeface="Gill Sans"/>
                <a:ea typeface="ヒラギノ角ゴ ProN W3"/>
                <a:cs typeface="ヒラギノ角ゴ ProN W3"/>
                <a:sym typeface="Gill Sans"/>
              </a:defRPr>
            </a:lvl7pPr>
            <a:lvl8pPr marL="3429000" indent="-228600" eaLnBrk="0" fontAlgn="base" hangingPunct="0">
              <a:spcBef>
                <a:spcPct val="0"/>
              </a:spcBef>
              <a:spcAft>
                <a:spcPct val="0"/>
              </a:spcAft>
              <a:defRPr sz="4200">
                <a:solidFill>
                  <a:srgbClr val="000000"/>
                </a:solidFill>
                <a:latin typeface="Gill Sans"/>
                <a:ea typeface="ヒラギノ角ゴ ProN W3"/>
                <a:cs typeface="ヒラギノ角ゴ ProN W3"/>
                <a:sym typeface="Gill Sans"/>
              </a:defRPr>
            </a:lvl8pPr>
            <a:lvl9pPr marL="3886200" indent="-228600" eaLnBrk="0" fontAlgn="base" hangingPunct="0">
              <a:spcBef>
                <a:spcPct val="0"/>
              </a:spcBef>
              <a:spcAft>
                <a:spcPct val="0"/>
              </a:spcAft>
              <a:defRPr sz="4200">
                <a:solidFill>
                  <a:srgbClr val="000000"/>
                </a:solidFill>
                <a:latin typeface="Gill Sans"/>
                <a:ea typeface="ヒラギノ角ゴ ProN W3"/>
                <a:cs typeface="ヒラギノ角ゴ ProN W3"/>
                <a:sym typeface="Gill Sans"/>
              </a:defRPr>
            </a:lvl9pPr>
          </a:lstStyle>
          <a:p>
            <a:pPr defTabSz="843984" fontAlgn="auto">
              <a:lnSpc>
                <a:spcPct val="107000"/>
              </a:lnSpc>
              <a:spcBef>
                <a:spcPts val="0"/>
              </a:spcBef>
              <a:spcAft>
                <a:spcPts val="0"/>
              </a:spcAft>
              <a:defRPr/>
            </a:pPr>
            <a:endParaRPr lang="en-US" altLang="en-US" sz="1600" dirty="0">
              <a:latin typeface="Arial" panose="020B0604020202020204" pitchFamily="34" charset="0"/>
              <a:ea typeface="Calibri" panose="020F0502020204030204" pitchFamily="34" charset="0"/>
              <a:cs typeface="Arial" panose="020B0604020202020204" pitchFamily="34" charset="0"/>
            </a:endParaRPr>
          </a:p>
          <a:p>
            <a:pPr defTabSz="843984" fontAlgn="auto">
              <a:spcBef>
                <a:spcPts val="0"/>
              </a:spcBef>
              <a:spcAft>
                <a:spcPts val="0"/>
              </a:spcAft>
            </a:pPr>
            <a:r>
              <a:rPr lang="en-US" sz="1600" dirty="0">
                <a:latin typeface="Arial" panose="020B0604020202020204" pitchFamily="34" charset="0"/>
                <a:cs typeface="Arial" panose="020B0604020202020204" pitchFamily="34" charset="0"/>
              </a:rPr>
              <a:t>To catalyze and sustain inclusive agriculture transformation in Africa by increasing incomes and improving food security for 30 million smallholder households in Africa and to support countries on a pathway to attain and sustain an agriculture transformation.</a:t>
            </a:r>
          </a:p>
        </p:txBody>
      </p:sp>
      <p:sp>
        <p:nvSpPr>
          <p:cNvPr id="8" name="Rectangle 7"/>
          <p:cNvSpPr/>
          <p:nvPr/>
        </p:nvSpPr>
        <p:spPr>
          <a:xfrm>
            <a:off x="450742" y="1000683"/>
            <a:ext cx="3988777" cy="398585"/>
          </a:xfrm>
          <a:prstGeom prst="rect">
            <a:avLst/>
          </a:prstGeom>
          <a:solidFill>
            <a:srgbClr val="3F5F1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2203" rIns="42203" anchor="ctr"/>
          <a:lstStyle/>
          <a:p>
            <a:pPr defTabSz="843984" fontAlgn="auto">
              <a:lnSpc>
                <a:spcPct val="107000"/>
              </a:lnSpc>
              <a:spcBef>
                <a:spcPts val="0"/>
              </a:spcBef>
              <a:spcAft>
                <a:spcPts val="0"/>
              </a:spcAft>
              <a:defRPr/>
            </a:pPr>
            <a:r>
              <a:rPr lang="en-US" altLang="en-US" sz="1600" b="1" dirty="0">
                <a:solidFill>
                  <a:srgbClr val="FFFFFF"/>
                </a:solidFill>
                <a:latin typeface="Arial" panose="020B0604020202020204" pitchFamily="34" charset="0"/>
                <a:ea typeface="Calibri" panose="020F0502020204030204" pitchFamily="34" charset="0"/>
                <a:cs typeface="Arial" panose="020B0604020202020204" pitchFamily="34" charset="0"/>
              </a:rPr>
              <a:t> AGRA’s vision </a:t>
            </a:r>
            <a:endParaRPr lang="en-US" altLang="en-US" sz="1600" dirty="0">
              <a:solidFill>
                <a:srgbClr val="FFFFFF"/>
              </a:solidFill>
              <a:latin typeface="Arial" panose="020B0604020202020204" pitchFamily="34" charset="0"/>
              <a:ea typeface="Calibri" panose="020F0502020204030204" pitchFamily="34" charset="0"/>
              <a:cs typeface="Arial" panose="020B0604020202020204" pitchFamily="34" charset="0"/>
            </a:endParaRPr>
          </a:p>
        </p:txBody>
      </p:sp>
      <p:sp>
        <p:nvSpPr>
          <p:cNvPr id="9" name="Rectangle 8"/>
          <p:cNvSpPr/>
          <p:nvPr/>
        </p:nvSpPr>
        <p:spPr>
          <a:xfrm>
            <a:off x="450741" y="3004750"/>
            <a:ext cx="3988777" cy="400050"/>
          </a:xfrm>
          <a:prstGeom prst="rect">
            <a:avLst/>
          </a:prstGeom>
          <a:solidFill>
            <a:srgbClr val="3F5F1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2203" rIns="42203" anchor="ctr"/>
          <a:lstStyle/>
          <a:p>
            <a:pPr defTabSz="843984" fontAlgn="auto">
              <a:lnSpc>
                <a:spcPct val="107000"/>
              </a:lnSpc>
              <a:spcBef>
                <a:spcPts val="0"/>
              </a:spcBef>
              <a:spcAft>
                <a:spcPts val="0"/>
              </a:spcAft>
              <a:defRPr/>
            </a:pPr>
            <a:r>
              <a:rPr lang="en-US" altLang="en-US" sz="1600" b="1" dirty="0">
                <a:solidFill>
                  <a:srgbClr val="FFFFFF"/>
                </a:solidFill>
                <a:latin typeface="Arial" panose="020B0604020202020204" pitchFamily="34" charset="0"/>
                <a:ea typeface="Calibri" panose="020F0502020204030204" pitchFamily="34" charset="0"/>
                <a:cs typeface="Arial" panose="020B0604020202020204" pitchFamily="34" charset="0"/>
              </a:rPr>
              <a:t> AGRA’s headline goals</a:t>
            </a:r>
            <a:endParaRPr lang="en-US" altLang="en-US" sz="1600" dirty="0">
              <a:solidFill>
                <a:srgbClr val="FFFFFF"/>
              </a:solidFill>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3059720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p:cNvGraphicFramePr>
            <a:graphicFrameLocks noChangeAspect="1"/>
          </p:cNvGraphicFramePr>
          <p:nvPr>
            <p:custDataLst>
              <p:tags r:id="rId2"/>
            </p:custDataLst>
            <p:extLst>
              <p:ext uri="{D42A27DB-BD31-4B8C-83A1-F6EECF244321}">
                <p14:modId xmlns:p14="http://schemas.microsoft.com/office/powerpoint/2010/main" val="1397200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254" name="think-cell Slide" r:id="rId5" imgW="470" imgH="469" progId="TCLayout.ActiveDocument.1">
                  <p:embed/>
                </p:oleObj>
              </mc:Choice>
              <mc:Fallback>
                <p:oleObj name="think-cell Slide" r:id="rId5" imgW="470" imgH="469" progId="TCLayout.ActiveDocument.1">
                  <p:embed/>
                  <p:pic>
                    <p:nvPicPr>
                      <p:cNvPr id="42" name="Object 4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9" name="Rectangle 68"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031" b="1" dirty="0">
              <a:latin typeface="Arial" panose="020B0604020202020204" pitchFamily="34" charset="0"/>
              <a:cs typeface="Arial" panose="020B0604020202020204" pitchFamily="34" charset="0"/>
              <a:sym typeface="Arial" panose="020B0604020202020204" pitchFamily="34" charset="0"/>
            </a:endParaRPr>
          </a:p>
        </p:txBody>
      </p:sp>
      <p:sp>
        <p:nvSpPr>
          <p:cNvPr id="41" name="TextBox 40"/>
          <p:cNvSpPr txBox="1"/>
          <p:nvPr/>
        </p:nvSpPr>
        <p:spPr>
          <a:xfrm>
            <a:off x="4648200" y="6627168"/>
            <a:ext cx="4562904" cy="230832"/>
          </a:xfrm>
          <a:prstGeom prst="rect">
            <a:avLst/>
          </a:prstGeom>
          <a:noFill/>
        </p:spPr>
        <p:txBody>
          <a:bodyPr wrap="square" rtlCol="0">
            <a:spAutoFit/>
          </a:bodyPr>
          <a:lstStyle/>
          <a:p>
            <a:r>
              <a:rPr lang="en-US" sz="900" dirty="0">
                <a:latin typeface="Arial" panose="020B0604020202020204" pitchFamily="34" charset="0"/>
                <a:cs typeface="Arial" panose="020B0604020202020204" pitchFamily="34" charset="0"/>
              </a:rPr>
              <a:t>*Source: AGRA Strategy and Business Plan  2017- 2021 </a:t>
            </a:r>
          </a:p>
        </p:txBody>
      </p:sp>
      <p:grpSp>
        <p:nvGrpSpPr>
          <p:cNvPr id="43" name="Group 42"/>
          <p:cNvGrpSpPr/>
          <p:nvPr/>
        </p:nvGrpSpPr>
        <p:grpSpPr>
          <a:xfrm>
            <a:off x="196516" y="3645568"/>
            <a:ext cx="5951686" cy="2903326"/>
            <a:chOff x="314813" y="2825094"/>
            <a:chExt cx="5212757" cy="1889394"/>
          </a:xfrm>
        </p:grpSpPr>
        <p:sp>
          <p:nvSpPr>
            <p:cNvPr id="44" name="Rectangle 43"/>
            <p:cNvSpPr/>
            <p:nvPr/>
          </p:nvSpPr>
          <p:spPr>
            <a:xfrm>
              <a:off x="314813" y="2825094"/>
              <a:ext cx="5212757" cy="1889394"/>
            </a:xfrm>
            <a:prstGeom prst="rect">
              <a:avLst/>
            </a:prstGeom>
            <a:solidFill>
              <a:schemeClr val="accent6">
                <a:lumMod val="40000"/>
                <a:lumOff val="6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200" b="1" dirty="0">
                  <a:solidFill>
                    <a:schemeClr val="tx1"/>
                  </a:solidFill>
                  <a:latin typeface="Arial" panose="020B0604020202020204" pitchFamily="34" charset="0"/>
                  <a:cs typeface="Arial" panose="020B0604020202020204" pitchFamily="34" charset="0"/>
                </a:rPr>
                <a:t>Outcomes </a:t>
              </a:r>
            </a:p>
          </p:txBody>
        </p:sp>
        <p:sp>
          <p:nvSpPr>
            <p:cNvPr id="45" name="Rectangle 44"/>
            <p:cNvSpPr/>
            <p:nvPr/>
          </p:nvSpPr>
          <p:spPr>
            <a:xfrm>
              <a:off x="409025" y="3034311"/>
              <a:ext cx="1234416" cy="433015"/>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chemeClr val="tx1"/>
                  </a:solidFill>
                  <a:latin typeface="Arial" panose="020B0604020202020204" pitchFamily="34" charset="0"/>
                  <a:cs typeface="Arial" panose="020B0604020202020204" pitchFamily="34" charset="0"/>
                </a:rPr>
                <a:t>Improved Input Markets</a:t>
              </a:r>
            </a:p>
          </p:txBody>
        </p:sp>
        <p:sp>
          <p:nvSpPr>
            <p:cNvPr id="46" name="Rectangle 45"/>
            <p:cNvSpPr/>
            <p:nvPr/>
          </p:nvSpPr>
          <p:spPr>
            <a:xfrm>
              <a:off x="1673953" y="3034311"/>
              <a:ext cx="1234416" cy="433015"/>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chemeClr val="tx1"/>
                  </a:solidFill>
                  <a:latin typeface="Arial" panose="020B0604020202020204" pitchFamily="34" charset="0"/>
                  <a:cs typeface="Arial" panose="020B0604020202020204" pitchFamily="34" charset="0"/>
                </a:rPr>
                <a:t>Increased tech  adoption</a:t>
              </a:r>
            </a:p>
          </p:txBody>
        </p:sp>
        <p:sp>
          <p:nvSpPr>
            <p:cNvPr id="47" name="Rectangle 46"/>
            <p:cNvSpPr/>
            <p:nvPr/>
          </p:nvSpPr>
          <p:spPr>
            <a:xfrm>
              <a:off x="2938881" y="3034311"/>
              <a:ext cx="1234416" cy="433015"/>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chemeClr val="tx1"/>
                  </a:solidFill>
                  <a:latin typeface="Arial" panose="020B0604020202020204" pitchFamily="34" charset="0"/>
                  <a:cs typeface="Arial" panose="020B0604020202020204" pitchFamily="34" charset="0"/>
                </a:rPr>
                <a:t>Reduced Post Harvest losses</a:t>
              </a:r>
            </a:p>
          </p:txBody>
        </p:sp>
        <p:sp>
          <p:nvSpPr>
            <p:cNvPr id="48" name="Rectangle 47"/>
            <p:cNvSpPr/>
            <p:nvPr/>
          </p:nvSpPr>
          <p:spPr>
            <a:xfrm>
              <a:off x="4203809" y="3034311"/>
              <a:ext cx="1234416" cy="433015"/>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chemeClr val="tx1"/>
                  </a:solidFill>
                  <a:latin typeface="Arial" panose="020B0604020202020204" pitchFamily="34" charset="0"/>
                  <a:cs typeface="Arial" panose="020B0604020202020204" pitchFamily="34" charset="0"/>
                </a:rPr>
                <a:t>Increased Employment</a:t>
              </a:r>
            </a:p>
          </p:txBody>
        </p:sp>
        <p:sp>
          <p:nvSpPr>
            <p:cNvPr id="49" name="Rectangle 48"/>
            <p:cNvSpPr/>
            <p:nvPr/>
          </p:nvSpPr>
          <p:spPr>
            <a:xfrm>
              <a:off x="409025" y="3507251"/>
              <a:ext cx="1234416" cy="433015"/>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chemeClr val="tx1"/>
                  </a:solidFill>
                  <a:latin typeface="Arial" panose="020B0604020202020204" pitchFamily="34" charset="0"/>
                  <a:cs typeface="Arial" panose="020B0604020202020204" pitchFamily="34" charset="0"/>
                </a:rPr>
                <a:t>Increase Market access</a:t>
              </a:r>
            </a:p>
          </p:txBody>
        </p:sp>
        <p:sp>
          <p:nvSpPr>
            <p:cNvPr id="50" name="Rectangle 49"/>
            <p:cNvSpPr/>
            <p:nvPr/>
          </p:nvSpPr>
          <p:spPr>
            <a:xfrm>
              <a:off x="1673953" y="3507251"/>
              <a:ext cx="1234416" cy="433015"/>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chemeClr val="tx1"/>
                  </a:solidFill>
                  <a:latin typeface="Arial" panose="020B0604020202020204" pitchFamily="34" charset="0"/>
                  <a:cs typeface="Arial" panose="020B0604020202020204" pitchFamily="34" charset="0"/>
                </a:rPr>
                <a:t>Increase access to Finance + BDS</a:t>
              </a:r>
            </a:p>
          </p:txBody>
        </p:sp>
        <p:sp>
          <p:nvSpPr>
            <p:cNvPr id="51" name="Rectangle 50"/>
            <p:cNvSpPr/>
            <p:nvPr/>
          </p:nvSpPr>
          <p:spPr>
            <a:xfrm>
              <a:off x="2938881" y="3507251"/>
              <a:ext cx="1234416" cy="433015"/>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chemeClr val="tx1"/>
                  </a:solidFill>
                  <a:latin typeface="Arial" panose="020B0604020202020204" pitchFamily="34" charset="0"/>
                  <a:cs typeface="Arial" panose="020B0604020202020204" pitchFamily="34" charset="0"/>
                </a:rPr>
                <a:t>Reduced Volatility</a:t>
              </a:r>
            </a:p>
          </p:txBody>
        </p:sp>
        <p:sp>
          <p:nvSpPr>
            <p:cNvPr id="52" name="Rectangle 51"/>
            <p:cNvSpPr/>
            <p:nvPr/>
          </p:nvSpPr>
          <p:spPr>
            <a:xfrm>
              <a:off x="4203809" y="3507251"/>
              <a:ext cx="1234416" cy="433015"/>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chemeClr val="tx1"/>
                  </a:solidFill>
                  <a:latin typeface="Arial" panose="020B0604020202020204" pitchFamily="34" charset="0"/>
                  <a:cs typeface="Arial" panose="020B0604020202020204" pitchFamily="34" charset="0"/>
                </a:rPr>
                <a:t>Improve Institutional  capacity</a:t>
              </a:r>
            </a:p>
          </p:txBody>
        </p:sp>
        <p:sp>
          <p:nvSpPr>
            <p:cNvPr id="53" name="Rectangle 52"/>
            <p:cNvSpPr/>
            <p:nvPr/>
          </p:nvSpPr>
          <p:spPr>
            <a:xfrm>
              <a:off x="404159" y="3985373"/>
              <a:ext cx="5034066" cy="662827"/>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tx1"/>
                  </a:solidFill>
                  <a:latin typeface="Arial" panose="020B0604020202020204" pitchFamily="34" charset="0"/>
                  <a:cs typeface="Arial" panose="020B0604020202020204" pitchFamily="34" charset="0"/>
                </a:rPr>
                <a:t>Cross Cutting Outcomes</a:t>
              </a:r>
            </a:p>
            <a:p>
              <a:pPr algn="ctr"/>
              <a:r>
                <a:rPr lang="en-US" sz="1200" dirty="0">
                  <a:solidFill>
                    <a:schemeClr val="tx1"/>
                  </a:solidFill>
                  <a:latin typeface="Arial" panose="020B0604020202020204" pitchFamily="34" charset="0"/>
                  <a:cs typeface="Arial" panose="020B0604020202020204" pitchFamily="34" charset="0"/>
                </a:rPr>
                <a:t>Enabling policy environment </a:t>
              </a:r>
            </a:p>
            <a:p>
              <a:pPr algn="ctr"/>
              <a:r>
                <a:rPr lang="en-US" sz="1200" dirty="0">
                  <a:solidFill>
                    <a:schemeClr val="tx1"/>
                  </a:solidFill>
                  <a:latin typeface="Arial" panose="020B0604020202020204" pitchFamily="34" charset="0"/>
                  <a:cs typeface="Arial" panose="020B0604020202020204" pitchFamily="34" charset="0"/>
                </a:rPr>
                <a:t>Gender and Youth empowerment</a:t>
              </a:r>
            </a:p>
            <a:p>
              <a:pPr algn="ctr"/>
              <a:r>
                <a:rPr lang="en-US" sz="1200" dirty="0">
                  <a:solidFill>
                    <a:schemeClr val="tx1"/>
                  </a:solidFill>
                  <a:latin typeface="Arial" panose="020B0604020202020204" pitchFamily="34" charset="0"/>
                  <a:cs typeface="Arial" panose="020B0604020202020204" pitchFamily="34" charset="0"/>
                </a:rPr>
                <a:t>Capacity development (SME’s ,SHF’s, Govt’s)</a:t>
              </a:r>
            </a:p>
            <a:p>
              <a:pPr algn="ctr"/>
              <a:r>
                <a:rPr lang="en-US" sz="1200" dirty="0">
                  <a:solidFill>
                    <a:schemeClr val="tx1"/>
                  </a:solidFill>
                  <a:latin typeface="Arial" panose="020B0604020202020204" pitchFamily="34" charset="0"/>
                  <a:cs typeface="Arial" panose="020B0604020202020204" pitchFamily="34" charset="0"/>
                </a:rPr>
                <a:t>Strengthened public private partnerships</a:t>
              </a:r>
            </a:p>
          </p:txBody>
        </p:sp>
      </p:grpSp>
      <p:grpSp>
        <p:nvGrpSpPr>
          <p:cNvPr id="55" name="Group 54"/>
          <p:cNvGrpSpPr/>
          <p:nvPr/>
        </p:nvGrpSpPr>
        <p:grpSpPr>
          <a:xfrm>
            <a:off x="196516" y="1498457"/>
            <a:ext cx="5951621" cy="2074926"/>
            <a:chOff x="314813" y="1316707"/>
            <a:chExt cx="5113471" cy="1407748"/>
          </a:xfrm>
        </p:grpSpPr>
        <p:sp>
          <p:nvSpPr>
            <p:cNvPr id="57" name="Rectangle 56"/>
            <p:cNvSpPr/>
            <p:nvPr/>
          </p:nvSpPr>
          <p:spPr>
            <a:xfrm>
              <a:off x="314813" y="1316707"/>
              <a:ext cx="5113471" cy="1407748"/>
            </a:xfrm>
            <a:prstGeom prst="rect">
              <a:avLst/>
            </a:prstGeom>
            <a:solidFill>
              <a:schemeClr val="accent1">
                <a:lumMod val="20000"/>
                <a:lumOff val="8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Aft>
                  <a:spcPts val="600"/>
                </a:spcAft>
              </a:pPr>
              <a:r>
                <a:rPr lang="en-US" sz="1200" b="1" dirty="0">
                  <a:solidFill>
                    <a:schemeClr val="tx1"/>
                  </a:solidFill>
                  <a:latin typeface="Arial" panose="020B0604020202020204" pitchFamily="34" charset="0"/>
                  <a:cs typeface="Arial" panose="020B0604020202020204" pitchFamily="34" charset="0"/>
                </a:rPr>
                <a:t>Headlines goals and objectives</a:t>
              </a:r>
            </a:p>
            <a:p>
              <a:pPr algn="ctr">
                <a:spcAft>
                  <a:spcPts val="600"/>
                </a:spcAft>
              </a:pPr>
              <a:r>
                <a:rPr lang="en-US" sz="1200" dirty="0">
                  <a:solidFill>
                    <a:schemeClr val="tx1"/>
                  </a:solidFill>
                  <a:latin typeface="Arial" panose="020B0604020202020204" pitchFamily="34" charset="0"/>
                  <a:cs typeface="Arial" panose="020B0604020202020204" pitchFamily="34" charset="0"/>
                </a:rPr>
                <a:t>Increase the incomes and food security for 9M households reached directly and for 21M  reached indirectly through AGRA activities; support 11 countries on a path to sustained agriculture transformation</a:t>
              </a:r>
            </a:p>
            <a:p>
              <a:pPr algn="ctr">
                <a:spcAft>
                  <a:spcPts val="600"/>
                </a:spcAft>
              </a:pPr>
              <a:endParaRPr lang="en-US" sz="1200" b="1" dirty="0">
                <a:solidFill>
                  <a:schemeClr val="tx1"/>
                </a:solidFill>
                <a:latin typeface="Arial" panose="020B0604020202020204" pitchFamily="34" charset="0"/>
                <a:cs typeface="Arial" panose="020B0604020202020204" pitchFamily="34" charset="0"/>
              </a:endParaRPr>
            </a:p>
            <a:p>
              <a:pPr algn="ctr"/>
              <a:endParaRPr lang="en-US" sz="1200" b="1" dirty="0">
                <a:solidFill>
                  <a:schemeClr val="tx1"/>
                </a:solidFill>
                <a:latin typeface="Arial" panose="020B0604020202020204" pitchFamily="34" charset="0"/>
                <a:cs typeface="Arial" panose="020B0604020202020204" pitchFamily="34" charset="0"/>
              </a:endParaRPr>
            </a:p>
            <a:p>
              <a:pPr algn="ctr"/>
              <a:endParaRPr lang="en-US" sz="1200" b="1" dirty="0">
                <a:solidFill>
                  <a:schemeClr val="tx1"/>
                </a:solidFill>
                <a:latin typeface="Arial" panose="020B0604020202020204" pitchFamily="34" charset="0"/>
                <a:cs typeface="Arial" panose="020B0604020202020204" pitchFamily="34" charset="0"/>
              </a:endParaRPr>
            </a:p>
            <a:p>
              <a:pPr algn="ctr"/>
              <a:endParaRPr lang="en-US" sz="1200" b="1" dirty="0">
                <a:solidFill>
                  <a:schemeClr val="tx1"/>
                </a:solidFill>
                <a:latin typeface="Arial" panose="020B0604020202020204" pitchFamily="34" charset="0"/>
                <a:cs typeface="Arial" panose="020B0604020202020204" pitchFamily="34" charset="0"/>
              </a:endParaRPr>
            </a:p>
            <a:p>
              <a:pPr algn="ctr"/>
              <a:endParaRPr lang="en-US" sz="1200" b="1" dirty="0">
                <a:solidFill>
                  <a:schemeClr val="tx1"/>
                </a:solidFill>
                <a:latin typeface="Arial" panose="020B0604020202020204" pitchFamily="34" charset="0"/>
                <a:cs typeface="Arial" panose="020B0604020202020204" pitchFamily="34" charset="0"/>
              </a:endParaRPr>
            </a:p>
            <a:p>
              <a:pPr algn="ctr"/>
              <a:endParaRPr lang="en-US" sz="1200" b="1" dirty="0">
                <a:solidFill>
                  <a:schemeClr val="tx1"/>
                </a:solidFill>
                <a:latin typeface="Arial" panose="020B0604020202020204" pitchFamily="34" charset="0"/>
                <a:cs typeface="Arial" panose="020B0604020202020204" pitchFamily="34" charset="0"/>
              </a:endParaRPr>
            </a:p>
            <a:p>
              <a:pPr algn="ctr"/>
              <a:endParaRPr lang="en-US" sz="1200" b="1" dirty="0">
                <a:solidFill>
                  <a:schemeClr val="tx1"/>
                </a:solidFill>
                <a:latin typeface="Arial" panose="020B0604020202020204" pitchFamily="34" charset="0"/>
                <a:cs typeface="Arial" panose="020B0604020202020204" pitchFamily="34" charset="0"/>
              </a:endParaRPr>
            </a:p>
            <a:p>
              <a:pPr algn="ctr"/>
              <a:endParaRPr lang="en-US" sz="1200" dirty="0">
                <a:solidFill>
                  <a:schemeClr val="accent6">
                    <a:lumMod val="50000"/>
                  </a:schemeClr>
                </a:solidFill>
                <a:latin typeface="Arial" panose="020B0604020202020204" pitchFamily="34" charset="0"/>
                <a:cs typeface="Arial" panose="020B0604020202020204" pitchFamily="34" charset="0"/>
              </a:endParaRPr>
            </a:p>
          </p:txBody>
        </p:sp>
        <p:sp>
          <p:nvSpPr>
            <p:cNvPr id="58" name="Rectangle 57"/>
            <p:cNvSpPr/>
            <p:nvPr/>
          </p:nvSpPr>
          <p:spPr>
            <a:xfrm>
              <a:off x="407930" y="2007054"/>
              <a:ext cx="1099879" cy="539571"/>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chemeClr val="tx1"/>
                  </a:solidFill>
                  <a:latin typeface="Arial" panose="020B0604020202020204" pitchFamily="34" charset="0"/>
                  <a:cs typeface="Arial" panose="020B0604020202020204" pitchFamily="34" charset="0"/>
                </a:rPr>
                <a:t>Increased staple crop productivity</a:t>
              </a:r>
            </a:p>
          </p:txBody>
        </p:sp>
        <p:sp>
          <p:nvSpPr>
            <p:cNvPr id="59" name="Rectangle 58"/>
            <p:cNvSpPr/>
            <p:nvPr/>
          </p:nvSpPr>
          <p:spPr>
            <a:xfrm>
              <a:off x="1572255" y="2007054"/>
              <a:ext cx="1099879" cy="539571"/>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chemeClr val="tx1"/>
                  </a:solidFill>
                  <a:latin typeface="Arial" panose="020B0604020202020204" pitchFamily="34" charset="0"/>
                  <a:cs typeface="Arial" panose="020B0604020202020204" pitchFamily="34" charset="0"/>
                </a:rPr>
                <a:t>Expanded  access to markets</a:t>
              </a:r>
            </a:p>
          </p:txBody>
        </p:sp>
        <p:sp>
          <p:nvSpPr>
            <p:cNvPr id="60" name="Rectangle 59"/>
            <p:cNvSpPr/>
            <p:nvPr/>
          </p:nvSpPr>
          <p:spPr>
            <a:xfrm>
              <a:off x="2736579" y="2007054"/>
              <a:ext cx="1338554" cy="539571"/>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chemeClr val="tx1"/>
                  </a:solidFill>
                  <a:latin typeface="Arial" panose="020B0604020202020204" pitchFamily="34" charset="0"/>
                  <a:cs typeface="Arial" panose="020B0604020202020204" pitchFamily="34" charset="0"/>
                </a:rPr>
                <a:t>Increased resilience (capacity to respond to shocks and stresses)</a:t>
              </a:r>
            </a:p>
          </p:txBody>
        </p:sp>
        <p:sp>
          <p:nvSpPr>
            <p:cNvPr id="61" name="Rectangle 60"/>
            <p:cNvSpPr/>
            <p:nvPr/>
          </p:nvSpPr>
          <p:spPr>
            <a:xfrm>
              <a:off x="4139579" y="2007054"/>
              <a:ext cx="1178441" cy="539571"/>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chemeClr val="tx1"/>
                  </a:solidFill>
                  <a:latin typeface="Arial" panose="020B0604020202020204" pitchFamily="34" charset="0"/>
                  <a:cs typeface="Arial" panose="020B0604020202020204" pitchFamily="34" charset="0"/>
                </a:rPr>
                <a:t>Improved govt coordination and mutual accountability</a:t>
              </a:r>
            </a:p>
          </p:txBody>
        </p:sp>
      </p:grpSp>
      <p:graphicFrame>
        <p:nvGraphicFramePr>
          <p:cNvPr id="62" name="Table 61"/>
          <p:cNvGraphicFramePr>
            <a:graphicFrameLocks noGrp="1"/>
          </p:cNvGraphicFramePr>
          <p:nvPr>
            <p:extLst>
              <p:ext uri="{D42A27DB-BD31-4B8C-83A1-F6EECF244321}">
                <p14:modId xmlns:p14="http://schemas.microsoft.com/office/powerpoint/2010/main" val="1688890364"/>
              </p:ext>
            </p:extLst>
          </p:nvPr>
        </p:nvGraphicFramePr>
        <p:xfrm>
          <a:off x="6455597" y="1746823"/>
          <a:ext cx="3257845" cy="4297680"/>
        </p:xfrm>
        <a:graphic>
          <a:graphicData uri="http://schemas.openxmlformats.org/drawingml/2006/table">
            <a:tbl>
              <a:tblPr firstRow="1" bandRow="1">
                <a:tableStyleId>{2D5ABB26-0587-4C30-8999-92F81FD0307C}</a:tableStyleId>
              </a:tblPr>
              <a:tblGrid>
                <a:gridCol w="1280708">
                  <a:extLst>
                    <a:ext uri="{9D8B030D-6E8A-4147-A177-3AD203B41FA5}">
                      <a16:colId xmlns="" xmlns:a16="http://schemas.microsoft.com/office/drawing/2014/main" val="20000"/>
                    </a:ext>
                  </a:extLst>
                </a:gridCol>
                <a:gridCol w="1977137">
                  <a:extLst>
                    <a:ext uri="{9D8B030D-6E8A-4147-A177-3AD203B41FA5}">
                      <a16:colId xmlns="" xmlns:a16="http://schemas.microsoft.com/office/drawing/2014/main" val="20001"/>
                    </a:ext>
                  </a:extLst>
                </a:gridCol>
              </a:tblGrid>
              <a:tr h="1280166">
                <a:tc>
                  <a:txBody>
                    <a:bodyPr/>
                    <a:lstStyle/>
                    <a:p>
                      <a:r>
                        <a:rPr lang="en-US" sz="1200" dirty="0"/>
                        <a:t>Policy</a:t>
                      </a:r>
                      <a:r>
                        <a:rPr lang="en-US" sz="1200" baseline="0" dirty="0"/>
                        <a:t> and State Capability</a:t>
                      </a:r>
                      <a:endParaRPr lang="en-US" sz="1200" b="1" dirty="0">
                        <a:latin typeface="Arial" panose="020B0604020202020204" pitchFamily="34" charset="0"/>
                        <a:cs typeface="Arial" panose="020B0604020202020204" pitchFamily="34" charset="0"/>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r>
                        <a:rPr lang="en-US" sz="1200" kern="1200" dirty="0">
                          <a:effectLst/>
                        </a:rPr>
                        <a:t>Working with government to strengthen execution capacity while enhancing accountability systems and enabling environment for increased public and private sector investment</a:t>
                      </a:r>
                      <a:endParaRPr lang="en-US" sz="1200" dirty="0">
                        <a:latin typeface="Arial" panose="020B0604020202020204" pitchFamily="34" charset="0"/>
                        <a:cs typeface="Arial" panose="020B0604020202020204" pitchFamily="34" charset="0"/>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 xmlns:a16="http://schemas.microsoft.com/office/drawing/2014/main" val="10000"/>
                  </a:ext>
                </a:extLst>
              </a:tr>
              <a:tr h="1474130">
                <a:tc>
                  <a:txBody>
                    <a:bodyPr/>
                    <a:lstStyle/>
                    <a:p>
                      <a:r>
                        <a:rPr lang="en-US" sz="1200" dirty="0"/>
                        <a:t>Systems Development</a:t>
                      </a:r>
                      <a:endParaRPr lang="en-US" sz="1200" b="1" dirty="0">
                        <a:latin typeface="Arial" panose="020B0604020202020204" pitchFamily="34" charset="0"/>
                        <a:cs typeface="Arial" panose="020B0604020202020204" pitchFamily="34" charset="0"/>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kern="1200" dirty="0">
                          <a:effectLst/>
                        </a:rPr>
                        <a:t>Building</a:t>
                      </a:r>
                      <a:r>
                        <a:rPr lang="en-US" sz="1200" kern="1200" baseline="0" dirty="0">
                          <a:effectLst/>
                        </a:rPr>
                        <a:t> </a:t>
                      </a:r>
                      <a:r>
                        <a:rPr lang="en-US" sz="1200" kern="1200" dirty="0">
                          <a:effectLst/>
                        </a:rPr>
                        <a:t>downstream delivery systems for smallholder farmers while providing support to local private sector to scale technologies and services to farmers</a:t>
                      </a:r>
                      <a:endParaRPr lang="en-US" sz="1200" dirty="0"/>
                    </a:p>
                    <a:p>
                      <a:endParaRPr lang="en-US" sz="1200" dirty="0">
                        <a:latin typeface="Arial" panose="020B0604020202020204" pitchFamily="34" charset="0"/>
                        <a:cs typeface="Arial" panose="020B0604020202020204" pitchFamily="34" charset="0"/>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 xmlns:a16="http://schemas.microsoft.com/office/drawing/2014/main" val="10001"/>
                  </a:ext>
                </a:extLst>
              </a:tr>
              <a:tr h="1280166">
                <a:tc>
                  <a:txBody>
                    <a:bodyPr/>
                    <a:lstStyle/>
                    <a:p>
                      <a:r>
                        <a:rPr lang="en-US" sz="1200" dirty="0"/>
                        <a:t>Partnerships</a:t>
                      </a:r>
                      <a:endParaRPr lang="en-US" sz="1200" b="1" dirty="0">
                        <a:latin typeface="Arial" panose="020B0604020202020204" pitchFamily="34" charset="0"/>
                        <a:cs typeface="Arial" panose="020B0604020202020204" pitchFamily="34" charset="0"/>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kern="1200" dirty="0">
                          <a:effectLst/>
                        </a:rPr>
                        <a:t>Facilitating linkages between private sector</a:t>
                      </a:r>
                      <a:r>
                        <a:rPr lang="en-US" sz="1200" kern="1200" baseline="0" dirty="0">
                          <a:effectLst/>
                        </a:rPr>
                        <a:t> and smallholder farmers resulting in increased incomes and sustainable sector investments</a:t>
                      </a:r>
                      <a:endParaRPr lang="en-US" sz="1200" dirty="0"/>
                    </a:p>
                    <a:p>
                      <a:endParaRPr lang="en-US" sz="1200" dirty="0">
                        <a:latin typeface="Arial" panose="020B0604020202020204" pitchFamily="34" charset="0"/>
                        <a:cs typeface="Arial" panose="020B0604020202020204" pitchFamily="34" charset="0"/>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 xmlns:a16="http://schemas.microsoft.com/office/drawing/2014/main" val="10002"/>
                  </a:ext>
                </a:extLst>
              </a:tr>
            </a:tbl>
          </a:graphicData>
        </a:graphic>
      </p:graphicFrame>
      <p:sp>
        <p:nvSpPr>
          <p:cNvPr id="63" name="TextBox 62"/>
          <p:cNvSpPr txBox="1"/>
          <p:nvPr/>
        </p:nvSpPr>
        <p:spPr>
          <a:xfrm>
            <a:off x="142075" y="866950"/>
            <a:ext cx="6126480" cy="523220"/>
          </a:xfrm>
          <a:prstGeom prst="rect">
            <a:avLst/>
          </a:prstGeom>
          <a:noFill/>
        </p:spPr>
        <p:txBody>
          <a:bodyPr wrap="square" rtlCol="0">
            <a:spAutoFit/>
          </a:bodyPr>
          <a:lstStyle/>
          <a:p>
            <a:r>
              <a:rPr lang="en-US" dirty="0"/>
              <a:t>Results Framework: AGRA is executing a 5 year strategy to catalyze agriculture transformation to increase incomes and improve food security…</a:t>
            </a:r>
          </a:p>
        </p:txBody>
      </p:sp>
      <p:sp>
        <p:nvSpPr>
          <p:cNvPr id="64" name="TextBox 63"/>
          <p:cNvSpPr txBox="1"/>
          <p:nvPr/>
        </p:nvSpPr>
        <p:spPr>
          <a:xfrm>
            <a:off x="6364634" y="1082393"/>
            <a:ext cx="3291840" cy="307777"/>
          </a:xfrm>
          <a:prstGeom prst="rect">
            <a:avLst/>
          </a:prstGeom>
          <a:noFill/>
        </p:spPr>
        <p:txBody>
          <a:bodyPr wrap="square" rtlCol="0">
            <a:spAutoFit/>
          </a:bodyPr>
          <a:lstStyle/>
          <a:p>
            <a:r>
              <a:rPr lang="en-US" dirty="0"/>
              <a:t>…through three main bodies of work</a:t>
            </a:r>
          </a:p>
        </p:txBody>
      </p:sp>
      <p:sp>
        <p:nvSpPr>
          <p:cNvPr id="65" name="Isosceles Triangle 32">
            <a:extLst>
              <a:ext uri="{FF2B5EF4-FFF2-40B4-BE49-F238E27FC236}">
                <a16:creationId xmlns="" xmlns:a16="http://schemas.microsoft.com/office/drawing/2014/main" id="{3515A01F-68F0-EB46-92DF-90FAD1177975}"/>
              </a:ext>
            </a:extLst>
          </p:cNvPr>
          <p:cNvSpPr/>
          <p:nvPr/>
        </p:nvSpPr>
        <p:spPr>
          <a:xfrm rot="16200000">
            <a:off x="5098478" y="3579612"/>
            <a:ext cx="2413173" cy="182880"/>
          </a:xfrm>
          <a:prstGeom prst="triangle">
            <a:avLst/>
          </a:prstGeom>
          <a:solidFill>
            <a:schemeClr val="bg2">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200" dirty="0">
              <a:solidFill>
                <a:schemeClr val="accent6">
                  <a:lumMod val="50000"/>
                </a:schemeClr>
              </a:solidFill>
              <a:latin typeface="Arial" panose="020B0604020202020204" pitchFamily="34" charset="0"/>
              <a:cs typeface="Arial" panose="020B0604020202020204" pitchFamily="34" charset="0"/>
            </a:endParaRPr>
          </a:p>
        </p:txBody>
      </p:sp>
      <p:sp>
        <p:nvSpPr>
          <p:cNvPr id="68" name="Title 67"/>
          <p:cNvSpPr>
            <a:spLocks noGrp="1"/>
          </p:cNvSpPr>
          <p:nvPr>
            <p:ph type="title"/>
          </p:nvPr>
        </p:nvSpPr>
        <p:spPr/>
        <p:txBody>
          <a:bodyPr/>
          <a:lstStyle/>
          <a:p>
            <a:r>
              <a:rPr lang="en-US" dirty="0"/>
              <a:t>AGRA’s 2017 – 2021 Strategy </a:t>
            </a:r>
          </a:p>
        </p:txBody>
      </p:sp>
    </p:spTree>
    <p:extLst>
      <p:ext uri="{BB962C8B-B14F-4D97-AF65-F5344CB8AC3E}">
        <p14:creationId xmlns:p14="http://schemas.microsoft.com/office/powerpoint/2010/main" val="13111687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304559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27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4400" dirty="0">
              <a:latin typeface="Arial" panose="020B0604020202020204" pitchFamily="34" charset="0"/>
              <a:cs typeface="Arial" panose="020B0604020202020204" pitchFamily="34" charset="0"/>
              <a:sym typeface="Arial" panose="020B0604020202020204" pitchFamily="34" charset="0"/>
            </a:endParaRPr>
          </a:p>
        </p:txBody>
      </p:sp>
      <p:sp>
        <p:nvSpPr>
          <p:cNvPr id="4" name="Title 3"/>
          <p:cNvSpPr>
            <a:spLocks noGrp="1"/>
          </p:cNvSpPr>
          <p:nvPr>
            <p:ph type="title"/>
          </p:nvPr>
        </p:nvSpPr>
        <p:spPr/>
        <p:txBody>
          <a:bodyPr/>
          <a:lstStyle/>
          <a:p>
            <a:r>
              <a:rPr lang="en-US" dirty="0"/>
              <a:t>AGRA Mali Strategy</a:t>
            </a:r>
          </a:p>
        </p:txBody>
      </p:sp>
    </p:spTree>
    <p:extLst>
      <p:ext uri="{BB962C8B-B14F-4D97-AF65-F5344CB8AC3E}">
        <p14:creationId xmlns:p14="http://schemas.microsoft.com/office/powerpoint/2010/main" val="5724121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65"/>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7697203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26" name="think-cell Slide" r:id="rId5" imgW="470" imgH="469" progId="TCLayout.ActiveDocument.1">
                  <p:embed/>
                </p:oleObj>
              </mc:Choice>
              <mc:Fallback>
                <p:oleObj name="think-cell Slide" r:id="rId5" imgW="470" imgH="469"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66" name="Google Shape;166;p26"/>
          <p:cNvPicPr preferRelativeResize="0"/>
          <p:nvPr/>
        </p:nvPicPr>
        <p:blipFill rotWithShape="1">
          <a:blip r:embed="rId7">
            <a:alphaModFix/>
          </a:blip>
          <a:srcRect/>
          <a:stretch/>
        </p:blipFill>
        <p:spPr>
          <a:xfrm>
            <a:off x="1588" y="1588"/>
            <a:ext cx="1588" cy="1588"/>
          </a:xfrm>
          <a:prstGeom prst="rect">
            <a:avLst/>
          </a:prstGeom>
          <a:noFill/>
          <a:ln>
            <a:noFill/>
          </a:ln>
        </p:spPr>
      </p:pic>
      <p:sp>
        <p:nvSpPr>
          <p:cNvPr id="167" name="Google Shape;167;p26"/>
          <p:cNvSpPr txBox="1">
            <a:spLocks noGrp="1"/>
          </p:cNvSpPr>
          <p:nvPr>
            <p:ph type="title"/>
          </p:nvPr>
        </p:nvSpPr>
        <p:spPr>
          <a:xfrm>
            <a:off x="450741" y="134054"/>
            <a:ext cx="6788259" cy="582389"/>
          </a:xfrm>
          <a:prstGeom prst="rect">
            <a:avLst/>
          </a:prstGeom>
          <a:noFill/>
          <a:ln>
            <a:noFill/>
          </a:ln>
        </p:spPr>
        <p:txBody>
          <a:bodyPr spcFirstLastPara="1" wrap="square" lIns="0" tIns="0" rIns="0" bIns="0" anchor="b" anchorCtr="0">
            <a:noAutofit/>
          </a:bodyPr>
          <a:lstStyle/>
          <a:p>
            <a:pPr marL="0" marR="0" lvl="0" indent="0" algn="l" rtl="0">
              <a:lnSpc>
                <a:spcPct val="90000"/>
              </a:lnSpc>
              <a:spcBef>
                <a:spcPts val="0"/>
              </a:spcBef>
              <a:spcAft>
                <a:spcPts val="0"/>
              </a:spcAft>
              <a:buClr>
                <a:schemeClr val="dk1"/>
              </a:buClr>
              <a:buSzPts val="2200"/>
              <a:buFont typeface="Arial"/>
              <a:buNone/>
            </a:pPr>
            <a:r>
              <a:rPr lang="en-US" b="1" i="0" u="none" strike="noStrike" cap="none" dirty="0">
                <a:solidFill>
                  <a:schemeClr val="dk1"/>
                </a:solidFill>
                <a:latin typeface="Arial"/>
                <a:ea typeface="Arial"/>
                <a:cs typeface="Arial"/>
                <a:sym typeface="Arial"/>
              </a:rPr>
              <a:t>Table of contents</a:t>
            </a:r>
            <a:endParaRPr b="1" i="0" u="none" strike="noStrike" cap="none" dirty="0">
              <a:solidFill>
                <a:schemeClr val="dk1"/>
              </a:solidFill>
              <a:latin typeface="Arial"/>
              <a:ea typeface="Arial"/>
              <a:cs typeface="Arial"/>
              <a:sym typeface="Arial"/>
            </a:endParaRPr>
          </a:p>
        </p:txBody>
      </p:sp>
      <p:graphicFrame>
        <p:nvGraphicFramePr>
          <p:cNvPr id="6" name="Google Shape;168;p26"/>
          <p:cNvGraphicFramePr/>
          <p:nvPr>
            <p:extLst>
              <p:ext uri="{D42A27DB-BD31-4B8C-83A1-F6EECF244321}">
                <p14:modId xmlns:p14="http://schemas.microsoft.com/office/powerpoint/2010/main" val="1585953812"/>
              </p:ext>
            </p:extLst>
          </p:nvPr>
        </p:nvGraphicFramePr>
        <p:xfrm>
          <a:off x="568506" y="1145312"/>
          <a:ext cx="8940765" cy="3056482"/>
        </p:xfrm>
        <a:graphic>
          <a:graphicData uri="http://schemas.openxmlformats.org/drawingml/2006/table">
            <a:tbl>
              <a:tblPr firstRow="1" bandRow="1">
                <a:tableStyleId>{318E6629-4EBB-4D30-9DD3-6ACEAB857B28}</a:tableStyleId>
              </a:tblPr>
              <a:tblGrid>
                <a:gridCol w="580108">
                  <a:extLst>
                    <a:ext uri="{9D8B030D-6E8A-4147-A177-3AD203B41FA5}">
                      <a16:colId xmlns="" xmlns:a16="http://schemas.microsoft.com/office/drawing/2014/main" val="20000"/>
                    </a:ext>
                  </a:extLst>
                </a:gridCol>
                <a:gridCol w="6404966">
                  <a:extLst>
                    <a:ext uri="{9D8B030D-6E8A-4147-A177-3AD203B41FA5}">
                      <a16:colId xmlns="" xmlns:a16="http://schemas.microsoft.com/office/drawing/2014/main" val="20001"/>
                    </a:ext>
                  </a:extLst>
                </a:gridCol>
                <a:gridCol w="1955691">
                  <a:extLst>
                    <a:ext uri="{9D8B030D-6E8A-4147-A177-3AD203B41FA5}">
                      <a16:colId xmlns="" xmlns:a16="http://schemas.microsoft.com/office/drawing/2014/main" val="20002"/>
                    </a:ext>
                  </a:extLst>
                </a:gridCol>
              </a:tblGrid>
              <a:tr h="124547">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0" marR="0" lvl="0" indent="0" algn="l" rtl="0">
                        <a:spcBef>
                          <a:spcPts val="0"/>
                        </a:spcBef>
                        <a:spcAft>
                          <a:spcPts val="0"/>
                        </a:spcAft>
                        <a:buNone/>
                      </a:pPr>
                      <a:endParaRPr sz="1600" dirty="0">
                        <a:latin typeface="Arial" panose="020B0604020202020204" pitchFamily="34" charset="0"/>
                        <a:cs typeface="Arial" panose="020B0604020202020204" pitchFamily="34" charset="0"/>
                      </a:endParaRPr>
                    </a:p>
                  </a:txBody>
                  <a:tcPr marL="91450" marR="91450" marT="45725" marB="45725"/>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0" marR="0" lvl="0" indent="0" algn="l" rtl="0">
                        <a:spcBef>
                          <a:spcPts val="0"/>
                        </a:spcBef>
                        <a:spcAft>
                          <a:spcPts val="0"/>
                        </a:spcAft>
                        <a:buNone/>
                      </a:pPr>
                      <a:r>
                        <a:rPr lang="en-US" sz="1600" dirty="0">
                          <a:latin typeface="Arial" panose="020B0604020202020204" pitchFamily="34" charset="0"/>
                          <a:cs typeface="Arial" panose="020B0604020202020204" pitchFamily="34" charset="0"/>
                        </a:rPr>
                        <a:t>Section</a:t>
                      </a:r>
                      <a:endParaRPr sz="1600" dirty="0">
                        <a:latin typeface="Arial" panose="020B0604020202020204" pitchFamily="34" charset="0"/>
                        <a:cs typeface="Arial" panose="020B0604020202020204" pitchFamily="34" charset="0"/>
                      </a:endParaRPr>
                    </a:p>
                  </a:txBody>
                  <a:tcPr marL="91450" marR="91450" marT="45725" marB="45725"/>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0" marR="0" lvl="0" indent="0" algn="l" rtl="0">
                        <a:spcBef>
                          <a:spcPts val="0"/>
                        </a:spcBef>
                        <a:spcAft>
                          <a:spcPts val="0"/>
                        </a:spcAft>
                        <a:buNone/>
                      </a:pPr>
                      <a:r>
                        <a:rPr lang="en-US" sz="1600" dirty="0">
                          <a:latin typeface="Arial" panose="020B0604020202020204" pitchFamily="34" charset="0"/>
                          <a:cs typeface="Arial" panose="020B0604020202020204" pitchFamily="34" charset="0"/>
                        </a:rPr>
                        <a:t>Page Number</a:t>
                      </a:r>
                      <a:endParaRPr sz="1600" dirty="0">
                        <a:latin typeface="Arial" panose="020B0604020202020204" pitchFamily="34" charset="0"/>
                        <a:cs typeface="Arial" panose="020B0604020202020204" pitchFamily="34" charset="0"/>
                      </a:endParaRPr>
                    </a:p>
                  </a:txBody>
                  <a:tcPr marL="91450" marR="91450" marT="45725" marB="45725"/>
                </a:tc>
                <a:extLst>
                  <a:ext uri="{0D108BD9-81ED-4DB2-BD59-A6C34878D82A}">
                    <a16:rowId xmlns="" xmlns:a16="http://schemas.microsoft.com/office/drawing/2014/main" val="10000"/>
                  </a:ext>
                </a:extLst>
              </a:tr>
              <a:tr h="374162">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0" marR="0" lvl="0" indent="0" algn="l" rtl="0">
                        <a:spcBef>
                          <a:spcPts val="0"/>
                        </a:spcBef>
                        <a:spcAft>
                          <a:spcPts val="0"/>
                        </a:spcAft>
                        <a:buNone/>
                      </a:pPr>
                      <a:r>
                        <a:rPr lang="en-US" sz="1600" dirty="0">
                          <a:latin typeface="Arial" panose="020B0604020202020204" pitchFamily="34" charset="0"/>
                          <a:cs typeface="Arial" panose="020B0604020202020204" pitchFamily="34" charset="0"/>
                        </a:rPr>
                        <a:t>1</a:t>
                      </a:r>
                      <a:endParaRPr sz="1600" dirty="0">
                        <a:solidFill>
                          <a:schemeClr val="tx1"/>
                        </a:solidFill>
                        <a:latin typeface="Arial" panose="020B0604020202020204" pitchFamily="34" charset="0"/>
                        <a:cs typeface="Arial" panose="020B0604020202020204" pitchFamily="34" charset="0"/>
                      </a:endParaRPr>
                    </a:p>
                  </a:txBody>
                  <a:tcPr marL="91450" marR="91450" marT="45725" marB="45725"/>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0" marR="0" lvl="0" indent="0" algn="l" rtl="0">
                        <a:spcBef>
                          <a:spcPts val="0"/>
                        </a:spcBef>
                        <a:spcAft>
                          <a:spcPts val="0"/>
                        </a:spcAft>
                        <a:buNone/>
                      </a:pPr>
                      <a:r>
                        <a:rPr lang="en-ZA" sz="1600" dirty="0">
                          <a:latin typeface="Arial" panose="020B0604020202020204" pitchFamily="34" charset="0"/>
                          <a:cs typeface="Arial" panose="020B0604020202020204" pitchFamily="34" charset="0"/>
                        </a:rPr>
                        <a:t>Executive Summary</a:t>
                      </a:r>
                      <a:endParaRPr sz="1600" dirty="0">
                        <a:solidFill>
                          <a:schemeClr val="tx1"/>
                        </a:solidFill>
                        <a:latin typeface="Arial" panose="020B0604020202020204" pitchFamily="34" charset="0"/>
                        <a:cs typeface="Arial" panose="020B0604020202020204" pitchFamily="34" charset="0"/>
                      </a:endParaRPr>
                    </a:p>
                  </a:txBody>
                  <a:tcPr marL="91450" marR="91450" marT="45725" marB="45725"/>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0" marR="0" lvl="0" indent="0" algn="l" rtl="0">
                        <a:spcBef>
                          <a:spcPts val="0"/>
                        </a:spcBef>
                        <a:spcAft>
                          <a:spcPts val="0"/>
                        </a:spcAft>
                        <a:buNone/>
                      </a:pPr>
                      <a:r>
                        <a:rPr lang="en-ZA" sz="1600" dirty="0">
                          <a:latin typeface="Arial" panose="020B0604020202020204" pitchFamily="34" charset="0"/>
                          <a:cs typeface="Arial" panose="020B0604020202020204" pitchFamily="34" charset="0"/>
                        </a:rPr>
                        <a:t>3</a:t>
                      </a:r>
                      <a:endParaRPr sz="1600" dirty="0">
                        <a:solidFill>
                          <a:schemeClr val="tx1"/>
                        </a:solidFill>
                        <a:latin typeface="Arial" panose="020B0604020202020204" pitchFamily="34" charset="0"/>
                        <a:cs typeface="Arial" panose="020B0604020202020204" pitchFamily="34" charset="0"/>
                      </a:endParaRPr>
                    </a:p>
                  </a:txBody>
                  <a:tcPr marL="91450" marR="91450" marT="45725" marB="45725"/>
                </a:tc>
                <a:extLst>
                  <a:ext uri="{0D108BD9-81ED-4DB2-BD59-A6C34878D82A}">
                    <a16:rowId xmlns="" xmlns:a16="http://schemas.microsoft.com/office/drawing/2014/main" val="10002"/>
                  </a:ext>
                </a:extLst>
              </a:tr>
              <a:tr h="124547">
                <a:tc>
                  <a:txBody>
                    <a:bodyPr/>
                    <a:lstStyle/>
                    <a:p>
                      <a:pPr marL="0" marR="0" lvl="0" indent="0" algn="l" rtl="0">
                        <a:spcBef>
                          <a:spcPts val="0"/>
                        </a:spcBef>
                        <a:spcAft>
                          <a:spcPts val="0"/>
                        </a:spcAft>
                        <a:buNone/>
                      </a:pPr>
                      <a:r>
                        <a:rPr lang="en-US" sz="1600" dirty="0">
                          <a:solidFill>
                            <a:schemeClr val="tx1"/>
                          </a:solidFill>
                          <a:latin typeface="Arial" panose="020B0604020202020204" pitchFamily="34" charset="0"/>
                          <a:cs typeface="Arial" panose="020B0604020202020204" pitchFamily="34" charset="0"/>
                        </a:rPr>
                        <a:t>2</a:t>
                      </a:r>
                      <a:endParaRPr sz="1600" dirty="0">
                        <a:solidFill>
                          <a:schemeClr val="tx1"/>
                        </a:solidFill>
                        <a:latin typeface="Arial" panose="020B0604020202020204" pitchFamily="34" charset="0"/>
                        <a:cs typeface="Arial" panose="020B0604020202020204" pitchFamily="34" charset="0"/>
                      </a:endParaRPr>
                    </a:p>
                  </a:txBody>
                  <a:tcPr marL="91450" marR="91450" marT="45725" marB="45725"/>
                </a:tc>
                <a:tc>
                  <a:txBody>
                    <a:bodyPr/>
                    <a:lstStyle/>
                    <a:p>
                      <a:pPr marL="0" marR="0" lvl="0" indent="0" algn="l" defTabSz="914400" rtl="0" eaLnBrk="1" fontAlgn="auto" latinLnBrk="0" hangingPunct="1">
                        <a:lnSpc>
                          <a:spcPct val="100000"/>
                        </a:lnSpc>
                        <a:spcBef>
                          <a:spcPts val="0"/>
                        </a:spcBef>
                        <a:spcAft>
                          <a:spcPts val="0"/>
                        </a:spcAft>
                        <a:buClr>
                          <a:schemeClr val="dk1"/>
                        </a:buClr>
                        <a:buSzPts val="1800"/>
                        <a:buFont typeface="Calibri"/>
                        <a:buNone/>
                        <a:tabLst/>
                        <a:defRPr/>
                      </a:pPr>
                      <a:r>
                        <a:rPr lang="en-US" sz="1600" dirty="0">
                          <a:latin typeface="Arial" panose="020B0604020202020204" pitchFamily="34" charset="0"/>
                          <a:cs typeface="Arial" panose="020B0604020202020204" pitchFamily="34" charset="0"/>
                        </a:rPr>
                        <a:t>Mali Agricultural Context</a:t>
                      </a:r>
                      <a:endParaRPr lang="en-US" sz="1600" dirty="0">
                        <a:solidFill>
                          <a:schemeClr val="tx1"/>
                        </a:solidFill>
                        <a:latin typeface="Arial" panose="020B0604020202020204" pitchFamily="34" charset="0"/>
                        <a:cs typeface="Arial" panose="020B0604020202020204" pitchFamily="34" charset="0"/>
                      </a:endParaRPr>
                    </a:p>
                  </a:txBody>
                  <a:tcPr marL="91450" marR="91450" marT="45725" marB="45725"/>
                </a:tc>
                <a:tc>
                  <a:txBody>
                    <a:bodyPr/>
                    <a:lstStyle/>
                    <a:p>
                      <a:pPr marL="0" marR="0" lvl="0" indent="0" algn="l" rtl="0">
                        <a:spcBef>
                          <a:spcPts val="0"/>
                        </a:spcBef>
                        <a:spcAft>
                          <a:spcPts val="0"/>
                        </a:spcAft>
                        <a:buNone/>
                      </a:pPr>
                      <a:r>
                        <a:rPr lang="en-ZA" sz="1600" dirty="0">
                          <a:solidFill>
                            <a:schemeClr val="tx1"/>
                          </a:solidFill>
                          <a:latin typeface="Arial" panose="020B0604020202020204" pitchFamily="34" charset="0"/>
                          <a:cs typeface="Arial" panose="020B0604020202020204" pitchFamily="34" charset="0"/>
                        </a:rPr>
                        <a:t>6</a:t>
                      </a:r>
                    </a:p>
                  </a:txBody>
                  <a:tcPr marL="91450" marR="91450" marT="45725" marB="45725"/>
                </a:tc>
                <a:extLst>
                  <a:ext uri="{0D108BD9-81ED-4DB2-BD59-A6C34878D82A}">
                    <a16:rowId xmlns="" xmlns:a16="http://schemas.microsoft.com/office/drawing/2014/main" val="10004"/>
                  </a:ext>
                </a:extLst>
              </a:tr>
              <a:tr h="124547">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0" marR="0" lvl="0" indent="0" algn="l" rtl="0">
                        <a:spcBef>
                          <a:spcPts val="0"/>
                        </a:spcBef>
                        <a:spcAft>
                          <a:spcPts val="0"/>
                        </a:spcAft>
                        <a:buNone/>
                      </a:pPr>
                      <a:r>
                        <a:rPr lang="en-US" sz="1600" dirty="0">
                          <a:latin typeface="Arial" panose="020B0604020202020204" pitchFamily="34" charset="0"/>
                          <a:cs typeface="Arial" panose="020B0604020202020204" pitchFamily="34" charset="0"/>
                        </a:rPr>
                        <a:t>2</a:t>
                      </a:r>
                      <a:endParaRPr sz="1600" dirty="0">
                        <a:solidFill>
                          <a:schemeClr val="tx1"/>
                        </a:solidFill>
                        <a:latin typeface="Arial" panose="020B0604020202020204" pitchFamily="34" charset="0"/>
                        <a:cs typeface="Arial" panose="020B0604020202020204" pitchFamily="34" charset="0"/>
                      </a:endParaRPr>
                    </a:p>
                  </a:txBody>
                  <a:tcPr marL="91450" marR="91450" marT="45725" marB="45725"/>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0" marR="0" lvl="0" indent="0" algn="l" rtl="0">
                        <a:lnSpc>
                          <a:spcPct val="100000"/>
                        </a:lnSpc>
                        <a:spcBef>
                          <a:spcPts val="0"/>
                        </a:spcBef>
                        <a:spcAft>
                          <a:spcPts val="0"/>
                        </a:spcAft>
                        <a:buClr>
                          <a:schemeClr val="dk1"/>
                        </a:buClr>
                        <a:buSzPts val="1800"/>
                        <a:buFont typeface="Calibri"/>
                        <a:buNone/>
                      </a:pPr>
                      <a:r>
                        <a:rPr lang="en-US" sz="1600" dirty="0">
                          <a:latin typeface="Arial" panose="020B0604020202020204" pitchFamily="34" charset="0"/>
                          <a:cs typeface="Arial" panose="020B0604020202020204" pitchFamily="34" charset="0"/>
                        </a:rPr>
                        <a:t>AGRA 2017 – 2021</a:t>
                      </a:r>
                      <a:endParaRPr lang="en-US" sz="1600" dirty="0">
                        <a:solidFill>
                          <a:schemeClr val="tx1"/>
                        </a:solidFill>
                        <a:latin typeface="Arial" panose="020B0604020202020204" pitchFamily="34" charset="0"/>
                        <a:cs typeface="Arial" panose="020B0604020202020204" pitchFamily="34" charset="0"/>
                      </a:endParaRPr>
                    </a:p>
                  </a:txBody>
                  <a:tcPr marL="91450" marR="91450" marT="45725" marB="45725"/>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0" marR="0" lvl="0" indent="0" algn="l" rtl="0">
                        <a:spcBef>
                          <a:spcPts val="0"/>
                        </a:spcBef>
                        <a:spcAft>
                          <a:spcPts val="0"/>
                        </a:spcAft>
                        <a:buNone/>
                      </a:pPr>
                      <a:r>
                        <a:rPr lang="en-ZA" sz="1600" dirty="0">
                          <a:latin typeface="Arial" panose="020B0604020202020204" pitchFamily="34" charset="0"/>
                          <a:cs typeface="Arial" panose="020B0604020202020204" pitchFamily="34" charset="0"/>
                        </a:rPr>
                        <a:t>19</a:t>
                      </a:r>
                      <a:endParaRPr lang="en-ZA" sz="1600" dirty="0">
                        <a:solidFill>
                          <a:schemeClr val="tx1"/>
                        </a:solidFill>
                        <a:latin typeface="Arial" panose="020B0604020202020204" pitchFamily="34" charset="0"/>
                        <a:cs typeface="Arial" panose="020B0604020202020204" pitchFamily="34" charset="0"/>
                      </a:endParaRPr>
                    </a:p>
                  </a:txBody>
                  <a:tcPr marL="91450" marR="91450" marT="45725" marB="45725"/>
                </a:tc>
                <a:extLst>
                  <a:ext uri="{0D108BD9-81ED-4DB2-BD59-A6C34878D82A}">
                    <a16:rowId xmlns="" xmlns:a16="http://schemas.microsoft.com/office/drawing/2014/main" val="10003"/>
                  </a:ext>
                </a:extLst>
              </a:tr>
              <a:tr h="124547">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0" marR="0" lvl="0" indent="0" algn="l" rtl="0">
                        <a:spcBef>
                          <a:spcPts val="0"/>
                        </a:spcBef>
                        <a:spcAft>
                          <a:spcPts val="0"/>
                        </a:spcAft>
                        <a:buNone/>
                      </a:pPr>
                      <a:r>
                        <a:rPr lang="en-US" sz="1600" dirty="0">
                          <a:latin typeface="Arial" panose="020B0604020202020204" pitchFamily="34" charset="0"/>
                          <a:cs typeface="Arial" panose="020B0604020202020204" pitchFamily="34" charset="0"/>
                        </a:rPr>
                        <a:t>4</a:t>
                      </a:r>
                      <a:endParaRPr sz="1600" dirty="0">
                        <a:solidFill>
                          <a:schemeClr val="tx1"/>
                        </a:solidFill>
                        <a:latin typeface="Arial" panose="020B0604020202020204" pitchFamily="34" charset="0"/>
                        <a:cs typeface="Arial" panose="020B0604020202020204" pitchFamily="34" charset="0"/>
                      </a:endParaRPr>
                    </a:p>
                  </a:txBody>
                  <a:tcPr marL="91450" marR="91450" marT="45725" marB="45725"/>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0" marR="0" lvl="0" indent="0" algn="l" rtl="0">
                        <a:spcBef>
                          <a:spcPts val="0"/>
                        </a:spcBef>
                        <a:spcAft>
                          <a:spcPts val="0"/>
                        </a:spcAft>
                        <a:buNone/>
                      </a:pPr>
                      <a:r>
                        <a:rPr lang="en-ZA" sz="1600" dirty="0">
                          <a:latin typeface="Arial" panose="020B0604020202020204" pitchFamily="34" charset="0"/>
                          <a:cs typeface="Arial" panose="020B0604020202020204" pitchFamily="34" charset="0"/>
                        </a:rPr>
                        <a:t>AGRA Mali strategy </a:t>
                      </a:r>
                      <a:endParaRPr lang="en-ZA" sz="1600" dirty="0">
                        <a:solidFill>
                          <a:schemeClr val="tx1"/>
                        </a:solidFill>
                        <a:latin typeface="Arial" panose="020B0604020202020204" pitchFamily="34" charset="0"/>
                        <a:cs typeface="Arial" panose="020B0604020202020204" pitchFamily="34" charset="0"/>
                      </a:endParaRPr>
                    </a:p>
                  </a:txBody>
                  <a:tcPr marL="91450" marR="91450" marT="45725" marB="45725"/>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0" marR="0" lvl="0" indent="0" algn="l" rtl="0">
                        <a:spcBef>
                          <a:spcPts val="0"/>
                        </a:spcBef>
                        <a:spcAft>
                          <a:spcPts val="0"/>
                        </a:spcAft>
                        <a:buNone/>
                      </a:pPr>
                      <a:r>
                        <a:rPr lang="en-ZA" sz="1600" dirty="0">
                          <a:latin typeface="Arial" panose="020B0604020202020204" pitchFamily="34" charset="0"/>
                          <a:cs typeface="Arial" panose="020B0604020202020204" pitchFamily="34" charset="0"/>
                        </a:rPr>
                        <a:t>22</a:t>
                      </a:r>
                      <a:endParaRPr lang="en-ZA" sz="1600" dirty="0">
                        <a:solidFill>
                          <a:schemeClr val="tx1"/>
                        </a:solidFill>
                        <a:latin typeface="Arial" panose="020B0604020202020204" pitchFamily="34" charset="0"/>
                        <a:cs typeface="Arial" panose="020B0604020202020204" pitchFamily="34" charset="0"/>
                      </a:endParaRPr>
                    </a:p>
                  </a:txBody>
                  <a:tcPr marL="91450" marR="91450" marT="45725" marB="45725"/>
                </a:tc>
                <a:extLst>
                  <a:ext uri="{0D108BD9-81ED-4DB2-BD59-A6C34878D82A}">
                    <a16:rowId xmlns="" xmlns:a16="http://schemas.microsoft.com/office/drawing/2014/main" val="10005"/>
                  </a:ext>
                </a:extLst>
              </a:tr>
              <a:tr h="124547">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0" marR="0" lvl="0" indent="0" algn="l" rtl="0">
                        <a:spcBef>
                          <a:spcPts val="0"/>
                        </a:spcBef>
                        <a:spcAft>
                          <a:spcPts val="0"/>
                        </a:spcAft>
                        <a:buNone/>
                      </a:pPr>
                      <a:r>
                        <a:rPr lang="en-ZA" sz="1600" dirty="0">
                          <a:latin typeface="Arial" panose="020B0604020202020204" pitchFamily="34" charset="0"/>
                          <a:cs typeface="Arial" panose="020B0604020202020204" pitchFamily="34" charset="0"/>
                        </a:rPr>
                        <a:t>5</a:t>
                      </a:r>
                      <a:endParaRPr sz="1600" dirty="0">
                        <a:solidFill>
                          <a:schemeClr val="tx1"/>
                        </a:solidFill>
                        <a:latin typeface="Arial" panose="020B0604020202020204" pitchFamily="34" charset="0"/>
                        <a:cs typeface="Arial" panose="020B0604020202020204" pitchFamily="34" charset="0"/>
                      </a:endParaRPr>
                    </a:p>
                  </a:txBody>
                  <a:tcPr marL="91450" marR="91450" marT="45725" marB="45725"/>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r>
                        <a:rPr lang="en-US" sz="1600" dirty="0">
                          <a:latin typeface="Arial" panose="020B0604020202020204" pitchFamily="34" charset="0"/>
                          <a:cs typeface="Arial" panose="020B0604020202020204" pitchFamily="34" charset="0"/>
                        </a:rPr>
                        <a:t>Results</a:t>
                      </a:r>
                      <a:r>
                        <a:rPr lang="en-US" sz="1600" baseline="0" dirty="0">
                          <a:latin typeface="Arial" panose="020B0604020202020204" pitchFamily="34" charset="0"/>
                          <a:cs typeface="Arial" panose="020B0604020202020204" pitchFamily="34" charset="0"/>
                        </a:rPr>
                        <a:t> Framework and Targets</a:t>
                      </a:r>
                      <a:endParaRPr lang="en-US" sz="1600" dirty="0">
                        <a:solidFill>
                          <a:schemeClr val="tx1"/>
                        </a:solidFill>
                        <a:latin typeface="Arial" panose="020B0604020202020204" pitchFamily="34" charset="0"/>
                        <a:cs typeface="Arial" panose="020B0604020202020204" pitchFamily="34" charset="0"/>
                      </a:endParaRPr>
                    </a:p>
                  </a:txBody>
                  <a:tcPr marL="91450" marR="91450" marT="45725" marB="45725"/>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0" marR="0" lvl="0" indent="0" algn="l" rtl="0">
                        <a:spcBef>
                          <a:spcPts val="0"/>
                        </a:spcBef>
                        <a:spcAft>
                          <a:spcPts val="0"/>
                        </a:spcAft>
                        <a:buNone/>
                      </a:pPr>
                      <a:r>
                        <a:rPr lang="en-ZA" sz="1600" dirty="0">
                          <a:latin typeface="Arial" panose="020B0604020202020204" pitchFamily="34" charset="0"/>
                          <a:cs typeface="Arial" panose="020B0604020202020204" pitchFamily="34" charset="0"/>
                        </a:rPr>
                        <a:t>31</a:t>
                      </a:r>
                      <a:endParaRPr lang="en-ZA" sz="1600" dirty="0">
                        <a:solidFill>
                          <a:schemeClr val="tx1"/>
                        </a:solidFill>
                        <a:latin typeface="Arial" panose="020B0604020202020204" pitchFamily="34" charset="0"/>
                        <a:cs typeface="Arial" panose="020B0604020202020204" pitchFamily="34" charset="0"/>
                      </a:endParaRPr>
                    </a:p>
                  </a:txBody>
                  <a:tcPr marL="91450" marR="91450" marT="45725" marB="45725"/>
                </a:tc>
                <a:extLst>
                  <a:ext uri="{0D108BD9-81ED-4DB2-BD59-A6C34878D82A}">
                    <a16:rowId xmlns="" xmlns:a16="http://schemas.microsoft.com/office/drawing/2014/main" val="10006"/>
                  </a:ext>
                </a:extLst>
              </a:tr>
              <a:tr h="124547">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0" marR="0" lvl="0" indent="0" algn="l" rtl="0">
                        <a:spcBef>
                          <a:spcPts val="0"/>
                        </a:spcBef>
                        <a:spcAft>
                          <a:spcPts val="0"/>
                        </a:spcAft>
                        <a:buNone/>
                      </a:pPr>
                      <a:r>
                        <a:rPr lang="en-ZA" sz="1600" dirty="0">
                          <a:latin typeface="Arial" panose="020B0604020202020204" pitchFamily="34" charset="0"/>
                          <a:cs typeface="Arial" panose="020B0604020202020204" pitchFamily="34" charset="0"/>
                        </a:rPr>
                        <a:t>6</a:t>
                      </a:r>
                      <a:endParaRPr sz="1600" dirty="0">
                        <a:solidFill>
                          <a:schemeClr val="tx1"/>
                        </a:solidFill>
                        <a:latin typeface="Arial" panose="020B0604020202020204" pitchFamily="34" charset="0"/>
                        <a:cs typeface="Arial" panose="020B0604020202020204" pitchFamily="34" charset="0"/>
                      </a:endParaRPr>
                    </a:p>
                  </a:txBody>
                  <a:tcPr marL="91450" marR="91450" marT="45725" marB="45725"/>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0" marR="0" lvl="0" indent="0" algn="l" rtl="0">
                        <a:lnSpc>
                          <a:spcPct val="90000"/>
                        </a:lnSpc>
                        <a:spcBef>
                          <a:spcPts val="0"/>
                        </a:spcBef>
                        <a:spcAft>
                          <a:spcPts val="0"/>
                        </a:spcAft>
                        <a:buClr>
                          <a:srgbClr val="385623"/>
                        </a:buClr>
                        <a:buSzPts val="4400"/>
                        <a:buFont typeface="Arial"/>
                        <a:buNone/>
                      </a:pPr>
                      <a:r>
                        <a:rPr lang="en-US" sz="1600" u="none" strike="noStrike" cap="none" dirty="0">
                          <a:latin typeface="Arial" panose="020B0604020202020204" pitchFamily="34" charset="0"/>
                          <a:cs typeface="Arial" panose="020B0604020202020204" pitchFamily="34" charset="0"/>
                          <a:sym typeface="Arial"/>
                        </a:rPr>
                        <a:t>Portfolio</a:t>
                      </a:r>
                      <a:r>
                        <a:rPr lang="en-US" sz="1600" u="none" strike="noStrike" cap="none" baseline="0" dirty="0">
                          <a:latin typeface="Arial" panose="020B0604020202020204" pitchFamily="34" charset="0"/>
                          <a:cs typeface="Arial" panose="020B0604020202020204" pitchFamily="34" charset="0"/>
                          <a:sym typeface="Arial"/>
                        </a:rPr>
                        <a:t> to date, lessons and opportunities</a:t>
                      </a:r>
                      <a:endParaRPr lang="en-US" sz="1600" b="0" i="0" u="none" strike="noStrike" cap="none" dirty="0">
                        <a:solidFill>
                          <a:schemeClr val="tx1"/>
                        </a:solidFill>
                        <a:latin typeface="Arial" panose="020B0604020202020204" pitchFamily="34" charset="0"/>
                        <a:ea typeface="Arial"/>
                        <a:cs typeface="Arial" panose="020B0604020202020204" pitchFamily="34" charset="0"/>
                        <a:sym typeface="Arial"/>
                      </a:endParaRPr>
                    </a:p>
                  </a:txBody>
                  <a:tcPr marL="91450" marR="91450" marT="45725" marB="45725"/>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0" marR="0" lvl="0" indent="0" algn="l" rtl="0">
                        <a:spcBef>
                          <a:spcPts val="0"/>
                        </a:spcBef>
                        <a:spcAft>
                          <a:spcPts val="0"/>
                        </a:spcAft>
                        <a:buNone/>
                      </a:pPr>
                      <a:r>
                        <a:rPr lang="en-ZA" sz="1600" dirty="0">
                          <a:latin typeface="Arial" panose="020B0604020202020204" pitchFamily="34" charset="0"/>
                          <a:cs typeface="Arial" panose="020B0604020202020204" pitchFamily="34" charset="0"/>
                        </a:rPr>
                        <a:t>35</a:t>
                      </a:r>
                      <a:endParaRPr lang="en-ZA" sz="1600" dirty="0">
                        <a:solidFill>
                          <a:schemeClr val="tx1"/>
                        </a:solidFill>
                        <a:latin typeface="Arial" panose="020B0604020202020204" pitchFamily="34" charset="0"/>
                        <a:cs typeface="Arial" panose="020B0604020202020204" pitchFamily="34" charset="0"/>
                      </a:endParaRPr>
                    </a:p>
                  </a:txBody>
                  <a:tcPr marL="91450" marR="91450" marT="45725" marB="45725"/>
                </a:tc>
                <a:extLst>
                  <a:ext uri="{0D108BD9-81ED-4DB2-BD59-A6C34878D82A}">
                    <a16:rowId xmlns="" xmlns:a16="http://schemas.microsoft.com/office/drawing/2014/main" val="10007"/>
                  </a:ext>
                </a:extLst>
              </a:tr>
              <a:tr h="124547">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0" marR="0" lvl="0" indent="0" algn="l" rtl="0">
                        <a:spcBef>
                          <a:spcPts val="0"/>
                        </a:spcBef>
                        <a:spcAft>
                          <a:spcPts val="0"/>
                        </a:spcAft>
                        <a:buNone/>
                      </a:pPr>
                      <a:r>
                        <a:rPr lang="en-ZA" sz="1600" dirty="0">
                          <a:latin typeface="Arial" panose="020B0604020202020204" pitchFamily="34" charset="0"/>
                          <a:cs typeface="Arial" panose="020B0604020202020204" pitchFamily="34" charset="0"/>
                        </a:rPr>
                        <a:t>7</a:t>
                      </a:r>
                      <a:endParaRPr sz="1600" dirty="0">
                        <a:latin typeface="Arial" panose="020B0604020202020204" pitchFamily="34" charset="0"/>
                        <a:cs typeface="Arial" panose="020B0604020202020204" pitchFamily="34" charset="0"/>
                      </a:endParaRPr>
                    </a:p>
                  </a:txBody>
                  <a:tcPr marL="91450" marR="91450" marT="45725" marB="45725"/>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0" marR="0" lvl="0" indent="0" algn="l" rtl="0">
                        <a:spcBef>
                          <a:spcPts val="0"/>
                        </a:spcBef>
                        <a:spcAft>
                          <a:spcPts val="0"/>
                        </a:spcAft>
                        <a:buNone/>
                      </a:pPr>
                      <a:r>
                        <a:rPr lang="en-US" sz="1600" dirty="0">
                          <a:latin typeface="Arial" panose="020B0604020202020204" pitchFamily="34" charset="0"/>
                          <a:cs typeface="Arial" panose="020B0604020202020204" pitchFamily="34" charset="0"/>
                        </a:rPr>
                        <a:t>The Team </a:t>
                      </a:r>
                    </a:p>
                  </a:txBody>
                  <a:tcPr marL="91450" marR="91450" marT="45725" marB="45725"/>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0" marR="0" lvl="0" indent="0" algn="l" rtl="0">
                        <a:spcBef>
                          <a:spcPts val="0"/>
                        </a:spcBef>
                        <a:spcAft>
                          <a:spcPts val="0"/>
                        </a:spcAft>
                        <a:buNone/>
                      </a:pPr>
                      <a:r>
                        <a:rPr lang="en-US" sz="1600" dirty="0">
                          <a:latin typeface="Arial" panose="020B0604020202020204" pitchFamily="34" charset="0"/>
                          <a:cs typeface="Arial" panose="020B0604020202020204" pitchFamily="34" charset="0"/>
                        </a:rPr>
                        <a:t>41</a:t>
                      </a:r>
                    </a:p>
                  </a:txBody>
                  <a:tcPr marL="91450" marR="91450" marT="45725" marB="45725"/>
                </a:tc>
                <a:extLst>
                  <a:ext uri="{0D108BD9-81ED-4DB2-BD59-A6C34878D82A}">
                    <a16:rowId xmlns="" xmlns:a16="http://schemas.microsoft.com/office/drawing/2014/main" val="10008"/>
                  </a:ext>
                </a:extLst>
              </a:tr>
              <a:tr h="124547">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0" marR="0" lvl="0" indent="0" algn="l" rtl="0">
                        <a:spcBef>
                          <a:spcPts val="0"/>
                        </a:spcBef>
                        <a:spcAft>
                          <a:spcPts val="0"/>
                        </a:spcAft>
                        <a:buNone/>
                      </a:pPr>
                      <a:r>
                        <a:rPr lang="en-ZA" sz="1600" dirty="0">
                          <a:latin typeface="Arial" panose="020B0604020202020204" pitchFamily="34" charset="0"/>
                          <a:cs typeface="Arial" panose="020B0604020202020204" pitchFamily="34" charset="0"/>
                        </a:rPr>
                        <a:t>8</a:t>
                      </a:r>
                      <a:endParaRPr sz="1600" dirty="0">
                        <a:latin typeface="Arial" panose="020B0604020202020204" pitchFamily="34" charset="0"/>
                        <a:cs typeface="Arial" panose="020B0604020202020204" pitchFamily="34" charset="0"/>
                      </a:endParaRPr>
                    </a:p>
                  </a:txBody>
                  <a:tcPr marL="91450" marR="91450" marT="45725" marB="45725"/>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0" marR="0" lvl="0" indent="0" algn="l" rtl="0">
                        <a:spcBef>
                          <a:spcPts val="0"/>
                        </a:spcBef>
                        <a:spcAft>
                          <a:spcPts val="0"/>
                        </a:spcAft>
                        <a:buNone/>
                      </a:pPr>
                      <a:r>
                        <a:rPr lang="en-US" sz="1600" dirty="0">
                          <a:latin typeface="Arial" panose="020B0604020202020204" pitchFamily="34" charset="0"/>
                          <a:cs typeface="Arial" panose="020B0604020202020204" pitchFamily="34" charset="0"/>
                        </a:rPr>
                        <a:t>Annexes</a:t>
                      </a:r>
                    </a:p>
                  </a:txBody>
                  <a:tcPr marL="91450" marR="91450" marT="45725" marB="45725"/>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r>
                        <a:rPr lang="en-US" sz="1600" dirty="0">
                          <a:latin typeface="Arial" panose="020B0604020202020204" pitchFamily="34" charset="0"/>
                          <a:cs typeface="Arial" panose="020B0604020202020204" pitchFamily="34" charset="0"/>
                        </a:rPr>
                        <a:t>43</a:t>
                      </a:r>
                    </a:p>
                  </a:txBody>
                  <a:tcPr marL="91450" marR="91450" marT="45725" marB="45725"/>
                </a:tc>
                <a:extLst>
                  <a:ext uri="{0D108BD9-81ED-4DB2-BD59-A6C34878D82A}">
                    <a16:rowId xmlns="" xmlns:a16="http://schemas.microsoft.com/office/drawing/2014/main" val="10009"/>
                  </a:ext>
                </a:extLst>
              </a:tr>
            </a:tbl>
          </a:graphicData>
        </a:graphic>
      </p:graphicFrame>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0" tIns="0" rIns="0" bIns="0" anchor="b"/>
          <a:lstStyle/>
          <a:p>
            <a:pPr defTabSz="914395">
              <a:spcBef>
                <a:spcPct val="0"/>
              </a:spcBef>
              <a:buClrTx/>
              <a:buSzTx/>
              <a:buFontTx/>
            </a:pPr>
            <a:r>
              <a:rPr lang="en-US" dirty="0">
                <a:solidFill>
                  <a:schemeClr val="tx1"/>
                </a:solidFill>
                <a:latin typeface="Arial" panose="020B0604020202020204" pitchFamily="34" charset="0"/>
                <a:cs typeface="Arial" panose="020B0604020202020204" pitchFamily="34" charset="0"/>
              </a:rPr>
              <a:t>AGRA’s Strategy for Mali  </a:t>
            </a:r>
          </a:p>
        </p:txBody>
      </p:sp>
      <p:sp>
        <p:nvSpPr>
          <p:cNvPr id="5" name="Rectangle 4"/>
          <p:cNvSpPr>
            <a:spLocks/>
          </p:cNvSpPr>
          <p:nvPr/>
        </p:nvSpPr>
        <p:spPr>
          <a:xfrm>
            <a:off x="55829" y="863688"/>
            <a:ext cx="9444931" cy="822533"/>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vert="horz" wrap="square" lIns="72009" tIns="72009" rIns="72009" bIns="72009" numCol="1" anchor="ctr" anchorCtr="0" compatLnSpc="1">
            <a:prstTxWarp prst="textNoShape">
              <a:avLst/>
            </a:prstTxWarp>
            <a:spAutoFit/>
          </a:bodyPr>
          <a:lstStyle/>
          <a:p>
            <a:pPr marL="0" marR="0" lvl="0" indent="0" algn="just"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ysClr val="windowText" lastClr="000000"/>
                </a:solidFill>
                <a:effectLst/>
                <a:uLnTx/>
                <a:uFillTx/>
                <a:latin typeface="Arial" charset="0"/>
                <a:sym typeface="Arial"/>
              </a:rPr>
              <a:t>AGRA’s strategy and business plan for Mali seeks to help catalyze and sustain an inclusive agricultural transformation by contributing to the government’s need for a strong agriculture sector with effective coordination and implementation capabilities, and strengthening the agriculture sector delivery systems for improved productivity and marketing of produce to impact incomes and improve food security for at least </a:t>
            </a:r>
            <a:r>
              <a:rPr lang="en-US" sz="1100" kern="1200" dirty="0">
                <a:solidFill>
                  <a:sysClr val="windowText" lastClr="000000"/>
                </a:solidFill>
                <a:latin typeface="Arial" charset="0"/>
              </a:rPr>
              <a:t>72</a:t>
            </a:r>
            <a:r>
              <a:rPr kumimoji="0" lang="en-US" sz="1100" b="0" i="0" u="none" strike="noStrike" kern="1200" cap="none" spc="0" normalizeH="0" baseline="0" noProof="0" dirty="0">
                <a:ln>
                  <a:noFill/>
                </a:ln>
                <a:solidFill>
                  <a:sysClr val="windowText" lastClr="000000"/>
                </a:solidFill>
                <a:effectLst/>
                <a:uLnTx/>
                <a:uFillTx/>
                <a:latin typeface="Arial" charset="0"/>
                <a:sym typeface="Arial"/>
              </a:rPr>
              <a:t>0,000 farmers directly </a:t>
            </a:r>
            <a:r>
              <a:rPr kumimoji="0" lang="en-US" sz="1100" b="0" i="0" u="none" strike="noStrike" kern="1200" cap="none" spc="0" normalizeH="0" baseline="0" noProof="0" dirty="0">
                <a:ln>
                  <a:noFill/>
                </a:ln>
                <a:solidFill>
                  <a:schemeClr val="tx1"/>
                </a:solidFill>
                <a:effectLst/>
                <a:uLnTx/>
                <a:uFillTx/>
                <a:latin typeface="Arial" charset="0"/>
                <a:sym typeface="Arial"/>
              </a:rPr>
              <a:t>and about 700,000 smallholder h</a:t>
            </a:r>
            <a:r>
              <a:rPr kumimoji="0" lang="en-US" sz="1100" b="0" i="0" u="none" strike="noStrike" kern="1200" cap="none" spc="0" normalizeH="0" baseline="0" noProof="0" dirty="0">
                <a:ln>
                  <a:noFill/>
                </a:ln>
                <a:solidFill>
                  <a:sysClr val="windowText" lastClr="000000"/>
                </a:solidFill>
                <a:effectLst/>
                <a:uLnTx/>
                <a:uFillTx/>
                <a:latin typeface="Arial" charset="0"/>
                <a:sym typeface="Arial"/>
              </a:rPr>
              <a:t>ouseholds indirectly through the three areas of work.</a:t>
            </a:r>
          </a:p>
        </p:txBody>
      </p:sp>
      <p:grpSp>
        <p:nvGrpSpPr>
          <p:cNvPr id="7" name="Group 6"/>
          <p:cNvGrpSpPr/>
          <p:nvPr/>
        </p:nvGrpSpPr>
        <p:grpSpPr>
          <a:xfrm>
            <a:off x="0" y="1936477"/>
            <a:ext cx="9414932" cy="3402258"/>
            <a:chOff x="20027" y="1936477"/>
            <a:chExt cx="9395457" cy="3402258"/>
          </a:xfrm>
        </p:grpSpPr>
        <p:grpSp>
          <p:nvGrpSpPr>
            <p:cNvPr id="8" name="Group 7"/>
            <p:cNvGrpSpPr/>
            <p:nvPr/>
          </p:nvGrpSpPr>
          <p:grpSpPr>
            <a:xfrm>
              <a:off x="20027" y="1962775"/>
              <a:ext cx="2917340" cy="3375960"/>
              <a:chOff x="291121" y="2056192"/>
              <a:chExt cx="2812142" cy="3375960"/>
            </a:xfrm>
          </p:grpSpPr>
          <p:sp>
            <p:nvSpPr>
              <p:cNvPr id="21" name="TextBox 20"/>
              <p:cNvSpPr txBox="1"/>
              <p:nvPr/>
            </p:nvSpPr>
            <p:spPr>
              <a:xfrm>
                <a:off x="291121" y="3339271"/>
                <a:ext cx="2812142" cy="2092881"/>
              </a:xfrm>
              <a:prstGeom prst="rect">
                <a:avLst/>
              </a:prstGeom>
              <a:noFill/>
              <a:ln>
                <a:noFill/>
              </a:ln>
            </p:spPr>
            <p:txBody>
              <a:bodyPr wrap="square" rtlCol="0">
                <a:spAutoFit/>
              </a:bodyPr>
              <a:lstStyle/>
              <a:p>
                <a:pPr marL="0" marR="0" lvl="0" indent="0" algn="just" defTabSz="914400" rtl="0" eaLnBrk="1" fontAlgn="base" latinLnBrk="0" hangingPunct="1">
                  <a:lnSpc>
                    <a:spcPts val="1200"/>
                  </a:lnSpc>
                  <a:spcBef>
                    <a:spcPct val="0"/>
                  </a:spcBef>
                  <a:spcAft>
                    <a:spcPct val="0"/>
                  </a:spcAft>
                  <a:buClr>
                    <a:srgbClr val="000000"/>
                  </a:buClr>
                  <a:buSzTx/>
                  <a:buFont typeface="Arial"/>
                  <a:buNone/>
                  <a:tabLst/>
                  <a:defRPr/>
                </a:pPr>
                <a:r>
                  <a:rPr kumimoji="0" lang="en-US" sz="1100" b="0" i="0" u="none" strike="noStrike" kern="1200" cap="none" spc="0" normalizeH="0" baseline="0" noProof="0" dirty="0">
                    <a:ln>
                      <a:noFill/>
                    </a:ln>
                    <a:solidFill>
                      <a:sysClr val="windowText" lastClr="000000"/>
                    </a:solidFill>
                    <a:effectLst/>
                    <a:uLnTx/>
                    <a:uFillTx/>
                    <a:sym typeface="Arial"/>
                  </a:rPr>
                  <a:t>AGRA’s plans in Mali, in relation to policy and building of state capacity include: </a:t>
                </a:r>
              </a:p>
              <a:p>
                <a:pPr marL="171450" marR="0" lvl="0" indent="-171450" algn="just" defTabSz="914400" rtl="0" eaLnBrk="1" fontAlgn="base" latinLnBrk="0" hangingPunct="1">
                  <a:lnSpc>
                    <a:spcPts val="1200"/>
                  </a:lnSpc>
                  <a:spcBef>
                    <a:spcPct val="0"/>
                  </a:spcBef>
                  <a:spcAft>
                    <a:spcPct val="0"/>
                  </a:spcAft>
                  <a:buClr>
                    <a:srgbClr val="000000"/>
                  </a:buClr>
                  <a:buSzTx/>
                  <a:buFont typeface="Arial" panose="020B0604020202020204" pitchFamily="34" charset="0"/>
                  <a:buChar char="•"/>
                  <a:tabLst/>
                  <a:defRPr/>
                </a:pPr>
                <a:r>
                  <a:rPr kumimoji="0" lang="en-US" sz="1100" b="0" i="0" u="none" strike="noStrike" kern="1200" cap="none" spc="0" normalizeH="0" baseline="0" noProof="0" dirty="0">
                    <a:ln>
                      <a:noFill/>
                    </a:ln>
                    <a:solidFill>
                      <a:sysClr val="windowText" lastClr="000000"/>
                    </a:solidFill>
                    <a:effectLst/>
                    <a:uLnTx/>
                    <a:uFillTx/>
                    <a:sym typeface="Arial"/>
                  </a:rPr>
                  <a:t>National Agricultural Investment Plan (NAIP)/Flagship development</a:t>
                </a:r>
              </a:p>
              <a:p>
                <a:pPr marL="171450" indent="-171450" algn="just" fontAlgn="base">
                  <a:lnSpc>
                    <a:spcPts val="1200"/>
                  </a:lnSpc>
                  <a:spcBef>
                    <a:spcPct val="0"/>
                  </a:spcBef>
                  <a:spcAft>
                    <a:spcPct val="0"/>
                  </a:spcAft>
                  <a:buFont typeface="Arial" panose="020B0604020202020204" pitchFamily="34" charset="0"/>
                  <a:buChar char="•"/>
                  <a:defRPr/>
                </a:pPr>
                <a:r>
                  <a:rPr lang="en-US" sz="1100" kern="1200" dirty="0">
                    <a:solidFill>
                      <a:prstClr val="black"/>
                    </a:solidFill>
                    <a:latin typeface="Arial" panose="020B0604020202020204" pitchFamily="34" charset="0"/>
                    <a:ea typeface="+mn-ea"/>
                    <a:cs typeface="Arial" panose="020B0604020202020204" pitchFamily="34" charset="0"/>
                  </a:rPr>
                  <a:t>Rationalize and roll out of the existing Input Subsidy Program</a:t>
                </a:r>
              </a:p>
              <a:p>
                <a:pPr marL="171450" lvl="0" indent="-171450" algn="just" fontAlgn="base">
                  <a:lnSpc>
                    <a:spcPts val="1200"/>
                  </a:lnSpc>
                  <a:spcBef>
                    <a:spcPct val="0"/>
                  </a:spcBef>
                  <a:spcAft>
                    <a:spcPct val="0"/>
                  </a:spcAft>
                  <a:buFont typeface="Arial" panose="020B0604020202020204" pitchFamily="34" charset="0"/>
                  <a:buChar char="•"/>
                  <a:defRPr/>
                </a:pPr>
                <a:r>
                  <a:rPr lang="en-US" sz="1100" kern="1200" dirty="0">
                    <a:solidFill>
                      <a:prstClr val="black"/>
                    </a:solidFill>
                    <a:latin typeface="Arial" panose="020B0604020202020204" pitchFamily="34" charset="0"/>
                    <a:ea typeface="+mn-ea"/>
                    <a:cs typeface="Arial" panose="020B0604020202020204" pitchFamily="34" charset="0"/>
                  </a:rPr>
                  <a:t>Domesticate the ECOWAS seed and fertilizer regulation </a:t>
                </a:r>
              </a:p>
              <a:p>
                <a:pPr marL="171450" lvl="0" indent="-171450" algn="just" fontAlgn="base">
                  <a:lnSpc>
                    <a:spcPts val="1200"/>
                  </a:lnSpc>
                  <a:spcBef>
                    <a:spcPct val="0"/>
                  </a:spcBef>
                  <a:spcAft>
                    <a:spcPct val="0"/>
                  </a:spcAft>
                  <a:buFont typeface="Arial" panose="020B0604020202020204" pitchFamily="34" charset="0"/>
                  <a:buChar char="•"/>
                  <a:defRPr/>
                </a:pPr>
                <a:r>
                  <a:rPr kumimoji="0" lang="en-US" sz="1100" b="0" i="0" u="none" strike="noStrike" kern="1200" cap="none" spc="0" normalizeH="0" baseline="0" noProof="0" dirty="0">
                    <a:ln>
                      <a:noFill/>
                    </a:ln>
                    <a:solidFill>
                      <a:sysClr val="windowText" lastClr="000000"/>
                    </a:solidFill>
                    <a:effectLst/>
                    <a:uLnTx/>
                    <a:uFillTx/>
                    <a:sym typeface="Arial"/>
                  </a:rPr>
                  <a:t>Improve planning, implementation, coordination capacity of the Ministry of Ag. for efficient service delivery </a:t>
                </a:r>
              </a:p>
              <a:p>
                <a:pPr marL="171450" marR="0" lvl="0" indent="-171450" algn="just" defTabSz="914400" rtl="0" eaLnBrk="1" fontAlgn="base" latinLnBrk="0" hangingPunct="1">
                  <a:lnSpc>
                    <a:spcPts val="1200"/>
                  </a:lnSpc>
                  <a:spcBef>
                    <a:spcPct val="0"/>
                  </a:spcBef>
                  <a:spcAft>
                    <a:spcPct val="0"/>
                  </a:spcAft>
                  <a:buClr>
                    <a:srgbClr val="000000"/>
                  </a:buClr>
                  <a:buSzTx/>
                  <a:buFont typeface="Arial" panose="020B0604020202020204" pitchFamily="34" charset="0"/>
                  <a:buChar char="•"/>
                  <a:tabLst/>
                  <a:defRPr/>
                </a:pPr>
                <a:r>
                  <a:rPr kumimoji="0" lang="en-US" sz="1100" b="0" i="0" u="none" strike="noStrike" kern="1200" cap="none" spc="0" normalizeH="0" baseline="0" noProof="0" dirty="0">
                    <a:ln>
                      <a:noFill/>
                    </a:ln>
                    <a:solidFill>
                      <a:sysClr val="windowText" lastClr="000000"/>
                    </a:solidFill>
                    <a:effectLst/>
                    <a:uLnTx/>
                    <a:uFillTx/>
                    <a:sym typeface="Arial"/>
                  </a:rPr>
                  <a:t>Support MoA to prepare for the next BR review </a:t>
                </a:r>
              </a:p>
            </p:txBody>
          </p:sp>
          <p:pic>
            <p:nvPicPr>
              <p:cNvPr id="4" name="Picture 3"/>
              <p:cNvPicPr>
                <a:picLocks noChangeAspect="1"/>
              </p:cNvPicPr>
              <p:nvPr/>
            </p:nvPicPr>
            <p:blipFill rotWithShape="1">
              <a:blip r:embed="rId2"/>
              <a:srcRect l="9102" t="9100" r="8017" b="9000"/>
              <a:stretch/>
            </p:blipFill>
            <p:spPr>
              <a:xfrm>
                <a:off x="1358858" y="2056192"/>
                <a:ext cx="1127715" cy="674435"/>
              </a:xfrm>
              <a:prstGeom prst="rect">
                <a:avLst/>
              </a:prstGeom>
            </p:spPr>
          </p:pic>
          <p:sp>
            <p:nvSpPr>
              <p:cNvPr id="11" name="TextBox 10"/>
              <p:cNvSpPr txBox="1"/>
              <p:nvPr/>
            </p:nvSpPr>
            <p:spPr>
              <a:xfrm>
                <a:off x="481774" y="2832526"/>
                <a:ext cx="2312277" cy="276999"/>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0070C0"/>
                    </a:solidFill>
                    <a:effectLst/>
                    <a:uLnTx/>
                    <a:uFillTx/>
                    <a:latin typeface="Arial"/>
                    <a:cs typeface="Arial"/>
                    <a:sym typeface="Arial"/>
                  </a:rPr>
                  <a:t>Policy and State Capability</a:t>
                </a:r>
              </a:p>
            </p:txBody>
          </p:sp>
        </p:grpSp>
        <p:sp>
          <p:nvSpPr>
            <p:cNvPr id="23" name="TextBox 22"/>
            <p:cNvSpPr txBox="1"/>
            <p:nvPr/>
          </p:nvSpPr>
          <p:spPr>
            <a:xfrm>
              <a:off x="6304917" y="3245854"/>
              <a:ext cx="3110567" cy="1477328"/>
            </a:xfrm>
            <a:prstGeom prst="rect">
              <a:avLst/>
            </a:prstGeom>
            <a:noFill/>
            <a:ln>
              <a:noFill/>
            </a:ln>
          </p:spPr>
          <p:txBody>
            <a:bodyPr wrap="square" rtlCol="0">
              <a:spAutoFit/>
            </a:bodyPr>
            <a:lstStyle/>
            <a:p>
              <a:pPr marL="0" marR="0" lvl="0" indent="0" algn="just" defTabSz="914400" rtl="0" eaLnBrk="1" fontAlgn="base" latinLnBrk="0" hangingPunct="1">
                <a:lnSpc>
                  <a:spcPts val="1200"/>
                </a:lnSpc>
                <a:spcBef>
                  <a:spcPct val="0"/>
                </a:spcBef>
                <a:spcAft>
                  <a:spcPct val="0"/>
                </a:spcAft>
                <a:buClr>
                  <a:srgbClr val="000000"/>
                </a:buClr>
                <a:buSzTx/>
                <a:buFont typeface="Arial"/>
                <a:buNone/>
                <a:tabLst/>
                <a:defRPr/>
              </a:pPr>
              <a:r>
                <a:rPr kumimoji="0" lang="en-US" sz="1100" b="0" i="0" u="none" strike="noStrike" kern="1200" cap="none" spc="0" normalizeH="0" baseline="0" noProof="0" dirty="0">
                  <a:ln>
                    <a:noFill/>
                  </a:ln>
                  <a:solidFill>
                    <a:schemeClr val="tx1"/>
                  </a:solidFill>
                  <a:effectLst/>
                  <a:uLnTx/>
                  <a:uFillTx/>
                  <a:sym typeface="Arial"/>
                </a:rPr>
                <a:t>Partnership development plans for Mali include:</a:t>
              </a:r>
            </a:p>
            <a:p>
              <a:pPr marL="171450" lvl="0" indent="-171450" algn="just" fontAlgn="base">
                <a:lnSpc>
                  <a:spcPts val="1200"/>
                </a:lnSpc>
                <a:spcBef>
                  <a:spcPct val="0"/>
                </a:spcBef>
                <a:spcAft>
                  <a:spcPct val="0"/>
                </a:spcAft>
                <a:buFont typeface="Wingdings" panose="05000000000000000000" pitchFamily="2" charset="2"/>
                <a:buChar char="§"/>
                <a:defRPr/>
              </a:pPr>
              <a:r>
                <a:rPr lang="en-US" sz="1100" kern="1200" dirty="0">
                  <a:solidFill>
                    <a:schemeClr val="tx1"/>
                  </a:solidFill>
                </a:rPr>
                <a:t>Developing synergies with World Bank for policy enabling environment, Input </a:t>
              </a:r>
              <a:r>
                <a:rPr kumimoji="0" lang="en-US" sz="1100" b="0" i="0" u="none" strike="noStrike" kern="1200" cap="none" spc="0" normalizeH="0" baseline="0" noProof="0" dirty="0">
                  <a:ln>
                    <a:noFill/>
                  </a:ln>
                  <a:solidFill>
                    <a:schemeClr val="tx1"/>
                  </a:solidFill>
                  <a:effectLst/>
                  <a:uLnTx/>
                  <a:uFillTx/>
                  <a:sym typeface="Arial"/>
                </a:rPr>
                <a:t>Subsidy program reform and technology transfer.</a:t>
              </a:r>
            </a:p>
            <a:p>
              <a:pPr marL="171450" marR="0" lvl="0" indent="-171450" algn="just" defTabSz="914400" rtl="0" eaLnBrk="1" fontAlgn="base" latinLnBrk="0" hangingPunct="1">
                <a:lnSpc>
                  <a:spcPts val="1200"/>
                </a:lnSpc>
                <a:spcBef>
                  <a:spcPct val="0"/>
                </a:spcBef>
                <a:spcAft>
                  <a:spcPct val="0"/>
                </a:spcAft>
                <a:buClr>
                  <a:srgbClr val="000000"/>
                </a:buClr>
                <a:buSzTx/>
                <a:buFont typeface="Wingdings" panose="05000000000000000000" pitchFamily="2" charset="2"/>
                <a:buChar char="§"/>
                <a:tabLst/>
                <a:defRPr/>
              </a:pPr>
              <a:r>
                <a:rPr kumimoji="0" lang="en-US" sz="1100" b="0" i="0" u="none" strike="noStrike" kern="1200" cap="none" spc="0" normalizeH="0" baseline="0" noProof="0" dirty="0">
                  <a:ln>
                    <a:noFill/>
                  </a:ln>
                  <a:solidFill>
                    <a:schemeClr val="tx1"/>
                  </a:solidFill>
                  <a:effectLst/>
                  <a:uLnTx/>
                  <a:uFillTx/>
                  <a:sym typeface="Arial"/>
                </a:rPr>
                <a:t>Systems development / USAID, </a:t>
              </a:r>
            </a:p>
            <a:p>
              <a:pPr marL="171450" marR="0" lvl="0" indent="-171450" algn="just" defTabSz="914400" rtl="0" eaLnBrk="1" fontAlgn="base" latinLnBrk="0" hangingPunct="1">
                <a:lnSpc>
                  <a:spcPts val="1200"/>
                </a:lnSpc>
                <a:spcBef>
                  <a:spcPct val="0"/>
                </a:spcBef>
                <a:spcAft>
                  <a:spcPct val="0"/>
                </a:spcAft>
                <a:buClr>
                  <a:srgbClr val="000000"/>
                </a:buClr>
                <a:buSzTx/>
                <a:buFont typeface="Wingdings" panose="05000000000000000000" pitchFamily="2" charset="2"/>
                <a:buChar char="§"/>
                <a:tabLst/>
                <a:defRPr/>
              </a:pPr>
              <a:r>
                <a:rPr kumimoji="0" lang="en-US" sz="1100" b="0" i="0" u="none" strike="noStrike" kern="1200" cap="none" spc="0" normalizeH="0" baseline="0" noProof="0" dirty="0">
                  <a:ln>
                    <a:noFill/>
                  </a:ln>
                  <a:solidFill>
                    <a:schemeClr val="tx1"/>
                  </a:solidFill>
                  <a:effectLst/>
                  <a:uLnTx/>
                  <a:uFillTx/>
                  <a:sym typeface="Arial"/>
                </a:rPr>
                <a:t>New fertilizers blending / TOGUNA AGRO-INDUSTRIES-IER </a:t>
              </a:r>
            </a:p>
            <a:p>
              <a:pPr marL="171450" marR="0" lvl="0" indent="-171450" algn="just" defTabSz="914400" rtl="0" eaLnBrk="1" fontAlgn="base" latinLnBrk="0" hangingPunct="1">
                <a:lnSpc>
                  <a:spcPts val="1200"/>
                </a:lnSpc>
                <a:spcBef>
                  <a:spcPct val="0"/>
                </a:spcBef>
                <a:spcAft>
                  <a:spcPct val="0"/>
                </a:spcAft>
                <a:buClr>
                  <a:srgbClr val="000000"/>
                </a:buClr>
                <a:buSzTx/>
                <a:buFont typeface="Wingdings" panose="05000000000000000000" pitchFamily="2" charset="2"/>
                <a:buChar char="§"/>
                <a:tabLst/>
                <a:defRPr/>
              </a:pPr>
              <a:r>
                <a:rPr kumimoji="0" lang="en-US" sz="1100" b="0" i="0" u="none" strike="noStrike" kern="1200" cap="none" spc="0" normalizeH="0" baseline="0" noProof="0" dirty="0">
                  <a:ln>
                    <a:noFill/>
                  </a:ln>
                  <a:solidFill>
                    <a:schemeClr val="tx1"/>
                  </a:solidFill>
                  <a:effectLst/>
                  <a:uLnTx/>
                  <a:uFillTx/>
                  <a:sym typeface="Arial"/>
                </a:rPr>
                <a:t>M&amp;E and statistics / EU</a:t>
              </a:r>
            </a:p>
          </p:txBody>
        </p:sp>
        <p:pic>
          <p:nvPicPr>
            <p:cNvPr id="6" name="Picture 5"/>
            <p:cNvPicPr>
              <a:picLocks noChangeAspect="1"/>
            </p:cNvPicPr>
            <p:nvPr/>
          </p:nvPicPr>
          <p:blipFill>
            <a:blip r:embed="rId3"/>
            <a:stretch>
              <a:fillRect/>
            </a:stretch>
          </p:blipFill>
          <p:spPr>
            <a:xfrm>
              <a:off x="7514415" y="1936477"/>
              <a:ext cx="1257044" cy="727029"/>
            </a:xfrm>
            <a:prstGeom prst="rect">
              <a:avLst/>
            </a:prstGeom>
          </p:spPr>
        </p:pic>
        <p:grpSp>
          <p:nvGrpSpPr>
            <p:cNvPr id="9" name="Group 8"/>
            <p:cNvGrpSpPr/>
            <p:nvPr/>
          </p:nvGrpSpPr>
          <p:grpSpPr>
            <a:xfrm>
              <a:off x="3205600" y="1950393"/>
              <a:ext cx="2807694" cy="2742011"/>
              <a:chOff x="3494501" y="2168591"/>
              <a:chExt cx="2797987" cy="2742011"/>
            </a:xfrm>
          </p:grpSpPr>
          <p:sp>
            <p:nvSpPr>
              <p:cNvPr id="22" name="TextBox 21"/>
              <p:cNvSpPr txBox="1"/>
              <p:nvPr/>
            </p:nvSpPr>
            <p:spPr>
              <a:xfrm>
                <a:off x="3494501" y="3464052"/>
                <a:ext cx="2797987" cy="1446550"/>
              </a:xfrm>
              <a:prstGeom prst="rect">
                <a:avLst/>
              </a:prstGeom>
              <a:noFill/>
              <a:ln>
                <a:noFill/>
              </a:ln>
            </p:spPr>
            <p:txBody>
              <a:bodyPr wrap="square" rtlCol="0">
                <a:spAutoFit/>
              </a:bodyPr>
              <a:lstStyle/>
              <a:p>
                <a:pPr marL="0" marR="0" lvl="0" indent="0" algn="just" defTabSz="914400" rtl="0" eaLnBrk="1" fontAlgn="base" latinLnBrk="0" hangingPunct="1">
                  <a:lnSpc>
                    <a:spcPct val="100000"/>
                  </a:lnSpc>
                  <a:spcBef>
                    <a:spcPct val="0"/>
                  </a:spcBef>
                  <a:spcAft>
                    <a:spcPct val="0"/>
                  </a:spcAft>
                  <a:buClr>
                    <a:srgbClr val="000000"/>
                  </a:buClr>
                  <a:buSzTx/>
                  <a:buFont typeface="Arial"/>
                  <a:buNone/>
                  <a:tabLst/>
                  <a:defRPr/>
                </a:pPr>
                <a:r>
                  <a:rPr kumimoji="0" lang="en-US" sz="1100" b="0" i="0" u="none" strike="noStrike" kern="1200" cap="none" spc="0" normalizeH="0" baseline="0" noProof="0" dirty="0">
                    <a:ln>
                      <a:noFill/>
                    </a:ln>
                    <a:solidFill>
                      <a:sysClr val="windowText" lastClr="000000"/>
                    </a:solidFill>
                    <a:effectLst/>
                    <a:uLnTx/>
                    <a:uFillTx/>
                    <a:sym typeface="Arial"/>
                  </a:rPr>
                  <a:t>The interventions planned to drive key system level change in Mali include: </a:t>
                </a:r>
              </a:p>
              <a:p>
                <a:pPr marL="171450" marR="0" lvl="0" indent="-171450" algn="just" defTabSz="914400" rtl="0" eaLnBrk="1" fontAlgn="base" latinLnBrk="0" hangingPunct="1">
                  <a:lnSpc>
                    <a:spcPct val="100000"/>
                  </a:lnSpc>
                  <a:spcBef>
                    <a:spcPct val="0"/>
                  </a:spcBef>
                  <a:spcAft>
                    <a:spcPct val="0"/>
                  </a:spcAft>
                  <a:buClr>
                    <a:srgbClr val="000000"/>
                  </a:buClr>
                  <a:buSzTx/>
                  <a:buFont typeface="Arial" panose="020B0604020202020204" pitchFamily="34" charset="0"/>
                  <a:buChar char="•"/>
                  <a:tabLst/>
                  <a:defRPr/>
                </a:pPr>
                <a:r>
                  <a:rPr kumimoji="0" lang="en-US" sz="1100" b="0" i="0" u="none" strike="noStrike" kern="1200" cap="none" spc="0" normalizeH="0" baseline="0" noProof="0" dirty="0">
                    <a:ln>
                      <a:noFill/>
                    </a:ln>
                    <a:solidFill>
                      <a:sysClr val="windowText" lastClr="000000"/>
                    </a:solidFill>
                    <a:effectLst/>
                    <a:uLnTx/>
                    <a:uFillTx/>
                    <a:sym typeface="Arial"/>
                  </a:rPr>
                  <a:t>Extension services </a:t>
                </a:r>
              </a:p>
              <a:p>
                <a:pPr marL="171450" marR="0" lvl="0" indent="-171450" algn="just" defTabSz="914400" rtl="0" eaLnBrk="1" fontAlgn="base" latinLnBrk="0" hangingPunct="1">
                  <a:lnSpc>
                    <a:spcPct val="100000"/>
                  </a:lnSpc>
                  <a:spcBef>
                    <a:spcPct val="0"/>
                  </a:spcBef>
                  <a:spcAft>
                    <a:spcPct val="0"/>
                  </a:spcAft>
                  <a:buClr>
                    <a:srgbClr val="000000"/>
                  </a:buClr>
                  <a:buSzTx/>
                  <a:buFont typeface="Arial" panose="020B0604020202020204" pitchFamily="34" charset="0"/>
                  <a:buChar char="•"/>
                  <a:tabLst/>
                  <a:defRPr/>
                </a:pPr>
                <a:r>
                  <a:rPr kumimoji="0" lang="en-US" sz="1100" b="0" i="0" u="none" strike="noStrike" kern="1200" cap="none" spc="0" normalizeH="0" baseline="0" noProof="0" dirty="0">
                    <a:ln>
                      <a:noFill/>
                    </a:ln>
                    <a:solidFill>
                      <a:sysClr val="windowText" lastClr="000000"/>
                    </a:solidFill>
                    <a:effectLst/>
                    <a:uLnTx/>
                    <a:uFillTx/>
                    <a:sym typeface="Arial"/>
                  </a:rPr>
                  <a:t>Market systems </a:t>
                </a:r>
              </a:p>
              <a:p>
                <a:pPr marL="171450" marR="0" lvl="0" indent="-171450" algn="just" defTabSz="914400" rtl="0" eaLnBrk="1" fontAlgn="base" latinLnBrk="0" hangingPunct="1">
                  <a:lnSpc>
                    <a:spcPct val="100000"/>
                  </a:lnSpc>
                  <a:spcBef>
                    <a:spcPct val="0"/>
                  </a:spcBef>
                  <a:spcAft>
                    <a:spcPct val="0"/>
                  </a:spcAft>
                  <a:buClr>
                    <a:srgbClr val="000000"/>
                  </a:buClr>
                  <a:buSzTx/>
                  <a:buFont typeface="Arial" panose="020B0604020202020204" pitchFamily="34" charset="0"/>
                  <a:buChar char="•"/>
                  <a:tabLst/>
                  <a:defRPr/>
                </a:pPr>
                <a:r>
                  <a:rPr lang="en-US" sz="1100" kern="1200" dirty="0">
                    <a:solidFill>
                      <a:sysClr val="windowText" lastClr="000000"/>
                    </a:solidFill>
                  </a:rPr>
                  <a:t>Fertilizer systems</a:t>
                </a:r>
              </a:p>
              <a:p>
                <a:pPr marL="171450" marR="0" lvl="0" indent="-171450" algn="just" defTabSz="914400" rtl="0" eaLnBrk="1" fontAlgn="base" latinLnBrk="0" hangingPunct="1">
                  <a:lnSpc>
                    <a:spcPct val="100000"/>
                  </a:lnSpc>
                  <a:spcBef>
                    <a:spcPct val="0"/>
                  </a:spcBef>
                  <a:spcAft>
                    <a:spcPct val="0"/>
                  </a:spcAft>
                  <a:buClr>
                    <a:srgbClr val="000000"/>
                  </a:buClr>
                  <a:buSzTx/>
                  <a:buFont typeface="Arial" panose="020B0604020202020204" pitchFamily="34" charset="0"/>
                  <a:buChar char="•"/>
                  <a:tabLst/>
                  <a:defRPr/>
                </a:pPr>
                <a:r>
                  <a:rPr kumimoji="0" lang="en-US" sz="1100" b="0" i="0" u="none" strike="noStrike" kern="1200" cap="none" spc="0" normalizeH="0" baseline="0" noProof="0" dirty="0">
                    <a:ln>
                      <a:noFill/>
                    </a:ln>
                    <a:solidFill>
                      <a:sysClr val="windowText" lastClr="000000"/>
                    </a:solidFill>
                    <a:effectLst/>
                    <a:uLnTx/>
                    <a:uFillTx/>
                    <a:sym typeface="Arial"/>
                  </a:rPr>
                  <a:t>Resilience</a:t>
                </a:r>
              </a:p>
              <a:p>
                <a:pPr marL="171450" marR="0" lvl="0" indent="-171450" algn="just" defTabSz="914400" rtl="0" eaLnBrk="1" fontAlgn="base" latinLnBrk="0" hangingPunct="1">
                  <a:lnSpc>
                    <a:spcPct val="100000"/>
                  </a:lnSpc>
                  <a:spcBef>
                    <a:spcPct val="0"/>
                  </a:spcBef>
                  <a:spcAft>
                    <a:spcPct val="0"/>
                  </a:spcAft>
                  <a:buClr>
                    <a:srgbClr val="000000"/>
                  </a:buClr>
                  <a:buSzTx/>
                  <a:buFont typeface="Arial" panose="020B0604020202020204" pitchFamily="34" charset="0"/>
                  <a:buChar char="•"/>
                  <a:tabLst/>
                  <a:defRPr/>
                </a:pPr>
                <a:r>
                  <a:rPr kumimoji="0" lang="en-US" sz="1100" b="0" i="0" u="none" strike="noStrike" kern="1200" cap="none" spc="0" normalizeH="0" baseline="0" noProof="0" dirty="0">
                    <a:ln>
                      <a:noFill/>
                    </a:ln>
                    <a:solidFill>
                      <a:sysClr val="windowText" lastClr="000000"/>
                    </a:solidFill>
                    <a:effectLst/>
                    <a:uLnTx/>
                    <a:uFillTx/>
                    <a:sym typeface="Arial"/>
                  </a:rPr>
                  <a:t>Inclusive finance </a:t>
                </a:r>
              </a:p>
              <a:p>
                <a:pPr marL="171450" marR="0" lvl="0" indent="-171450" algn="just" defTabSz="914400" rtl="0" eaLnBrk="1" fontAlgn="base" latinLnBrk="0" hangingPunct="1">
                  <a:lnSpc>
                    <a:spcPct val="100000"/>
                  </a:lnSpc>
                  <a:spcBef>
                    <a:spcPct val="0"/>
                  </a:spcBef>
                  <a:spcAft>
                    <a:spcPct val="0"/>
                  </a:spcAft>
                  <a:buClr>
                    <a:srgbClr val="000000"/>
                  </a:buClr>
                  <a:buSzTx/>
                  <a:buFont typeface="Arial" panose="020B0604020202020204" pitchFamily="34" charset="0"/>
                  <a:buChar char="•"/>
                  <a:tabLst/>
                  <a:defRPr/>
                </a:pPr>
                <a:r>
                  <a:rPr kumimoji="0" lang="en-US" sz="1100" b="0" i="0" u="none" strike="noStrike" kern="1200" cap="none" spc="0" normalizeH="0" baseline="0" noProof="0" dirty="0">
                    <a:ln>
                      <a:noFill/>
                    </a:ln>
                    <a:solidFill>
                      <a:sysClr val="windowText" lastClr="000000"/>
                    </a:solidFill>
                    <a:effectLst/>
                    <a:uLnTx/>
                    <a:uFillTx/>
                    <a:sym typeface="Arial"/>
                  </a:rPr>
                  <a:t>Women Economic Empowerment</a:t>
                </a:r>
              </a:p>
            </p:txBody>
          </p:sp>
          <p:pic>
            <p:nvPicPr>
              <p:cNvPr id="24" name="Picture 23"/>
              <p:cNvPicPr>
                <a:picLocks noChangeAspect="1"/>
              </p:cNvPicPr>
              <p:nvPr/>
            </p:nvPicPr>
            <p:blipFill rotWithShape="1">
              <a:blip r:embed="rId4"/>
              <a:srcRect t="4925"/>
              <a:stretch/>
            </p:blipFill>
            <p:spPr>
              <a:xfrm>
                <a:off x="4447000" y="2168591"/>
                <a:ext cx="946684" cy="848328"/>
              </a:xfrm>
              <a:prstGeom prst="rect">
                <a:avLst/>
              </a:prstGeom>
            </p:spPr>
          </p:pic>
          <p:sp>
            <p:nvSpPr>
              <p:cNvPr id="12" name="TextBox 11"/>
              <p:cNvSpPr txBox="1"/>
              <p:nvPr/>
            </p:nvSpPr>
            <p:spPr>
              <a:xfrm>
                <a:off x="4104139" y="2957307"/>
                <a:ext cx="1954924" cy="276999"/>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0070C0"/>
                    </a:solidFill>
                    <a:effectLst/>
                    <a:uLnTx/>
                    <a:uFillTx/>
                    <a:latin typeface="Arial"/>
                    <a:cs typeface="Arial"/>
                    <a:sym typeface="Arial"/>
                  </a:rPr>
                  <a:t>Systems Development</a:t>
                </a:r>
              </a:p>
            </p:txBody>
          </p:sp>
        </p:grpSp>
        <p:sp>
          <p:nvSpPr>
            <p:cNvPr id="13" name="TextBox 12"/>
            <p:cNvSpPr txBox="1"/>
            <p:nvPr/>
          </p:nvSpPr>
          <p:spPr>
            <a:xfrm>
              <a:off x="7411184" y="2739109"/>
              <a:ext cx="1631257" cy="276999"/>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0070C0"/>
                  </a:solidFill>
                  <a:effectLst/>
                  <a:uLnTx/>
                  <a:uFillTx/>
                  <a:latin typeface="Arial"/>
                  <a:cs typeface="Arial"/>
                  <a:sym typeface="Arial"/>
                </a:rPr>
                <a:t>Partnerships</a:t>
              </a:r>
              <a:endParaRPr kumimoji="0" lang="en-US" sz="1200" b="0" i="0" u="none" strike="noStrike" kern="0" cap="none" spc="0" normalizeH="0" baseline="0" noProof="0" dirty="0">
                <a:ln>
                  <a:noFill/>
                </a:ln>
                <a:solidFill>
                  <a:srgbClr val="0070C0"/>
                </a:solidFill>
                <a:effectLst/>
                <a:uLnTx/>
                <a:uFillTx/>
                <a:latin typeface="Arial"/>
                <a:cs typeface="Arial"/>
                <a:sym typeface="Arial"/>
              </a:endParaRPr>
            </a:p>
          </p:txBody>
        </p:sp>
      </p:grpSp>
      <p:sp>
        <p:nvSpPr>
          <p:cNvPr id="15" name="Rectangle 14"/>
          <p:cNvSpPr/>
          <p:nvPr/>
        </p:nvSpPr>
        <p:spPr>
          <a:xfrm>
            <a:off x="198195" y="6072606"/>
            <a:ext cx="9594889" cy="364293"/>
          </a:xfrm>
          <a:prstGeom prst="rect">
            <a:avLst/>
          </a:prstGeom>
          <a:solidFill>
            <a:srgbClr val="00B05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sym typeface="Arial"/>
              </a:rPr>
              <a:t>The overarching principles of the Mali strategy will include approach to scale and sustainability, partnerships,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sym typeface="Arial"/>
              </a:rPr>
              <a:t>government and private sector engagement</a:t>
            </a:r>
            <a:r>
              <a:rPr kumimoji="0" lang="en-US" sz="1400" b="0" i="0" u="none" strike="noStrike" kern="1200" cap="none" spc="0" normalizeH="0" baseline="0" noProof="0" dirty="0">
                <a:ln>
                  <a:noFill/>
                </a:ln>
                <a:solidFill>
                  <a:sysClr val="windowText" lastClr="000000"/>
                </a:solidFill>
                <a:effectLst/>
                <a:uLnTx/>
                <a:uFillTx/>
                <a:latin typeface="Arial"/>
                <a:ea typeface="+mn-ea"/>
                <a:cs typeface="+mn-cs"/>
                <a:sym typeface="Arial"/>
              </a:rPr>
              <a:t>. </a:t>
            </a:r>
          </a:p>
        </p:txBody>
      </p:sp>
      <p:sp>
        <p:nvSpPr>
          <p:cNvPr id="19" name="Isosceles Triangle 18"/>
          <p:cNvSpPr/>
          <p:nvPr/>
        </p:nvSpPr>
        <p:spPr>
          <a:xfrm flipH="1" flipV="1">
            <a:off x="450738" y="5588000"/>
            <a:ext cx="9231142" cy="430854"/>
          </a:xfrm>
          <a:prstGeom prst="triangle">
            <a:avLst/>
          </a:prstGeom>
          <a:solidFill>
            <a:srgbClr val="00B05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sym typeface="Arial"/>
            </a:endParaRPr>
          </a:p>
        </p:txBody>
      </p:sp>
    </p:spTree>
    <p:extLst>
      <p:ext uri="{BB962C8B-B14F-4D97-AF65-F5344CB8AC3E}">
        <p14:creationId xmlns:p14="http://schemas.microsoft.com/office/powerpoint/2010/main" val="40549906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328" name="think-cell Slide" r:id="rId5" imgW="470" imgH="469" progId="TCLayout.ActiveDocument.1">
                  <p:embed/>
                </p:oleObj>
              </mc:Choice>
              <mc:Fallback>
                <p:oleObj name="think-cell Slide" r:id="rId5" imgW="470" imgH="469"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200" b="1" dirty="0">
              <a:solidFill>
                <a:srgbClr val="FFFFFF"/>
              </a:solidFill>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450741" y="134054"/>
            <a:ext cx="7852431" cy="582389"/>
          </a:xfrm>
          <a:noFill/>
          <a:ln>
            <a:noFill/>
          </a:ln>
        </p:spPr>
        <p:txBody>
          <a:bodyPr spcFirstLastPara="1" wrap="square" lIns="0" tIns="0" rIns="0" bIns="0" anchor="b" anchorCtr="0"/>
          <a:lstStyle/>
          <a:p>
            <a:pPr>
              <a:spcBef>
                <a:spcPts val="0"/>
              </a:spcBef>
              <a:buClr>
                <a:schemeClr val="dk1"/>
              </a:buClr>
              <a:buSzPts val="2200"/>
              <a:buFont typeface="Arial"/>
            </a:pPr>
            <a:r>
              <a:rPr lang="en-US" dirty="0">
                <a:solidFill>
                  <a:schemeClr val="dk1"/>
                </a:solidFill>
                <a:latin typeface="Arial"/>
                <a:cs typeface="Arial"/>
              </a:rPr>
              <a:t>AGRA’s Approach in Mali is Aligned to the National Agriculture Strategy…</a:t>
            </a:r>
          </a:p>
        </p:txBody>
      </p:sp>
      <p:sp>
        <p:nvSpPr>
          <p:cNvPr id="13" name="TextBox 12"/>
          <p:cNvSpPr txBox="1">
            <a:spLocks/>
          </p:cNvSpPr>
          <p:nvPr/>
        </p:nvSpPr>
        <p:spPr>
          <a:xfrm>
            <a:off x="450274" y="862519"/>
            <a:ext cx="8669287" cy="1057568"/>
          </a:xfrm>
          <a:prstGeom prst="rect">
            <a:avLst/>
          </a:prstGeom>
          <a:solidFill>
            <a:schemeClr val="bg1"/>
          </a:solidFill>
          <a:ln w="9525">
            <a:noFill/>
            <a:miter lim="800000"/>
            <a:headEnd/>
            <a:tailEnd/>
          </a:ln>
          <a:effectLst/>
        </p:spPr>
        <p:txBody>
          <a:bodyPr vert="horz" wrap="square" lIns="66470" tIns="66470" rIns="66470" bIns="66470" numCol="1" anchor="ctr"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defTabSz="843186" fontAlgn="base">
              <a:spcBef>
                <a:spcPct val="0"/>
              </a:spcBef>
              <a:spcAft>
                <a:spcPct val="0"/>
              </a:spcAft>
              <a:buClr>
                <a:srgbClr val="000000"/>
              </a:buClr>
              <a:defRPr/>
            </a:pPr>
            <a:r>
              <a:rPr lang="en-US" sz="1200" dirty="0"/>
              <a:t>AGRA’s strategy in Mali is built on past successes and learnings where AGRA invested US$ ~20M in Input and Output Markets Systems Development, Innovative Finance, Research, Capacity Building and Policy &amp; Advocacy. The current strategy has renewed emphasis on policy and state capability with additional investments in enhancing systems and farmer level development. Mali and AGRA’s vision for Agriculture are in alignment in addition to AGRA’s overall strategy to work more closely with governments</a:t>
            </a:r>
            <a:endParaRPr lang="en-US" sz="1200" dirty="0">
              <a:cs typeface="Times New Roman" panose="02020603050405020304" pitchFamily="18" charset="0"/>
            </a:endParaRPr>
          </a:p>
        </p:txBody>
      </p:sp>
      <p:grpSp>
        <p:nvGrpSpPr>
          <p:cNvPr id="12" name="Group 11"/>
          <p:cNvGrpSpPr/>
          <p:nvPr/>
        </p:nvGrpSpPr>
        <p:grpSpPr>
          <a:xfrm>
            <a:off x="551327" y="1880899"/>
            <a:ext cx="8709338" cy="3644402"/>
            <a:chOff x="494473" y="1827754"/>
            <a:chExt cx="8766192" cy="3363452"/>
          </a:xfrm>
        </p:grpSpPr>
        <p:sp>
          <p:nvSpPr>
            <p:cNvPr id="3" name="Rounded Rectangle 2"/>
            <p:cNvSpPr/>
            <p:nvPr/>
          </p:nvSpPr>
          <p:spPr>
            <a:xfrm>
              <a:off x="494473" y="1827754"/>
              <a:ext cx="3337301" cy="3363452"/>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defTabSz="779082">
                <a:lnSpc>
                  <a:spcPct val="107000"/>
                </a:lnSpc>
                <a:defRPr/>
              </a:pPr>
              <a:r>
                <a:rPr lang="en-US" altLang="en-US" sz="1200" b="1" dirty="0">
                  <a:solidFill>
                    <a:srgbClr val="000000"/>
                  </a:solidFill>
                  <a:ea typeface="Calibri" panose="020F0502020204030204" pitchFamily="34" charset="0"/>
                  <a:cs typeface="Arial" panose="020B0604020202020204" pitchFamily="34" charset="0"/>
                </a:rPr>
                <a:t>Mali’s Vision for Agriculture Development</a:t>
              </a:r>
            </a:p>
            <a:p>
              <a:r>
                <a:rPr lang="en-ZA" sz="1000" dirty="0">
                  <a:solidFill>
                    <a:schemeClr val="tx1"/>
                  </a:solidFill>
                  <a:cs typeface="Arial" panose="020B0604020202020204" pitchFamily="34" charset="0"/>
                </a:rPr>
                <a:t>The Government of Mali through its</a:t>
              </a:r>
              <a:r>
                <a:rPr lang="en-ZA" sz="1200" dirty="0">
                  <a:solidFill>
                    <a:schemeClr val="tx1"/>
                  </a:solidFill>
                  <a:cs typeface="Arial" panose="020B0604020202020204" pitchFamily="34" charset="0"/>
                </a:rPr>
                <a:t>  </a:t>
              </a:r>
              <a:r>
                <a:rPr lang="en-ZA" sz="1000" dirty="0">
                  <a:solidFill>
                    <a:schemeClr val="tx1"/>
                  </a:solidFill>
                  <a:cs typeface="Arial" panose="020B0604020202020204" pitchFamily="34" charset="0"/>
                </a:rPr>
                <a:t>Agriculture Development Policy (PDA) aims to </a:t>
              </a:r>
              <a:r>
                <a:rPr lang="en-US" sz="1000" dirty="0">
                  <a:solidFill>
                    <a:schemeClr val="tx1"/>
                  </a:solidFill>
                  <a:cs typeface="Times New Roman" panose="02020603050405020304" pitchFamily="18" charset="0"/>
                </a:rPr>
                <a:t>p</a:t>
              </a:r>
              <a:r>
                <a:rPr lang="en-US" sz="1000" dirty="0">
                  <a:solidFill>
                    <a:schemeClr val="tx1"/>
                  </a:solidFill>
                  <a:ea typeface="Calibri" panose="020F0502020204030204" pitchFamily="34" charset="0"/>
                  <a:cs typeface="Times New Roman" panose="02020603050405020304" pitchFamily="18" charset="0"/>
                </a:rPr>
                <a:t>romote sustainable, modern and competitive agriculture. </a:t>
              </a:r>
              <a:r>
                <a:rPr lang="en-ZA" sz="1000" dirty="0" smtClean="0">
                  <a:solidFill>
                    <a:schemeClr val="tx1"/>
                  </a:solidFill>
                  <a:ea typeface="Calibri" panose="020F0502020204030204" pitchFamily="34" charset="0"/>
                  <a:cs typeface="Times New Roman" panose="02020603050405020304" pitchFamily="18" charset="0"/>
                </a:rPr>
                <a:t>PNISA </a:t>
              </a:r>
              <a:r>
                <a:rPr lang="en-ZA" sz="1000" dirty="0">
                  <a:solidFill>
                    <a:schemeClr val="tx1"/>
                  </a:solidFill>
                  <a:ea typeface="Calibri" panose="020F0502020204030204" pitchFamily="34" charset="0"/>
                  <a:cs typeface="Times New Roman" panose="02020603050405020304" pitchFamily="18" charset="0"/>
                </a:rPr>
                <a:t>(NAIP) strives to promote a competitive and sustainable agriculture that ensures food and nutritional security and incomes. </a:t>
              </a:r>
              <a:r>
                <a:rPr lang="en-GB" sz="1000" dirty="0">
                  <a:solidFill>
                    <a:schemeClr val="tx1"/>
                  </a:solidFill>
                  <a:ea typeface="Calibri" panose="020F0502020204030204" pitchFamily="34" charset="0"/>
                </a:rPr>
                <a:t>PNISA is structured in five components, including four structural components and a cyclical component.</a:t>
              </a:r>
              <a:endParaRPr lang="en-US" sz="1000" dirty="0">
                <a:solidFill>
                  <a:schemeClr val="tx1"/>
                </a:solidFill>
                <a:ea typeface="Calibri" panose="020F0502020204030204" pitchFamily="34" charset="0"/>
              </a:endParaRPr>
            </a:p>
            <a:p>
              <a:pPr marL="342900" indent="-342900">
                <a:buFont typeface="Arial" panose="020B0604020202020204" pitchFamily="34" charset="0"/>
                <a:buChar char="•"/>
              </a:pPr>
              <a:r>
                <a:rPr lang="en-GB" sz="1000" dirty="0">
                  <a:solidFill>
                    <a:schemeClr val="tx1"/>
                  </a:solidFill>
                  <a:ea typeface="Calibri" panose="020F0502020204030204" pitchFamily="34" charset="0"/>
                </a:rPr>
                <a:t>Enabling institutional development and capacity building of actors</a:t>
              </a:r>
              <a:endParaRPr lang="en-US" sz="1000" dirty="0">
                <a:solidFill>
                  <a:schemeClr val="tx1"/>
                </a:solidFill>
                <a:ea typeface="Calibri" panose="020F0502020204030204" pitchFamily="34" charset="0"/>
              </a:endParaRPr>
            </a:p>
            <a:p>
              <a:pPr marL="342900" indent="-342900">
                <a:buFont typeface="Arial" panose="020B0604020202020204" pitchFamily="34" charset="0"/>
                <a:buChar char="•"/>
              </a:pPr>
              <a:r>
                <a:rPr lang="en-GB" sz="1000" dirty="0">
                  <a:solidFill>
                    <a:schemeClr val="tx1"/>
                  </a:solidFill>
                  <a:ea typeface="Calibri" panose="020F0502020204030204" pitchFamily="34" charset="0"/>
                </a:rPr>
                <a:t>Development of investments in the agricultural sector</a:t>
              </a:r>
              <a:endParaRPr lang="en-US" sz="1000" dirty="0">
                <a:solidFill>
                  <a:schemeClr val="tx1"/>
                </a:solidFill>
                <a:ea typeface="Calibri" panose="020F0502020204030204" pitchFamily="34" charset="0"/>
              </a:endParaRPr>
            </a:p>
            <a:p>
              <a:pPr marL="342900" indent="-342900">
                <a:buFont typeface="Arial" panose="020B0604020202020204" pitchFamily="34" charset="0"/>
                <a:buChar char="•"/>
              </a:pPr>
              <a:r>
                <a:rPr lang="en-GB" sz="1000" dirty="0">
                  <a:solidFill>
                    <a:schemeClr val="tx1"/>
                  </a:solidFill>
                  <a:ea typeface="Calibri" panose="020F0502020204030204" pitchFamily="34" charset="0"/>
                </a:rPr>
                <a:t>Improving the competitiveness of agricultural and agro-industrial products</a:t>
              </a:r>
              <a:endParaRPr lang="en-US" sz="1000" dirty="0">
                <a:solidFill>
                  <a:schemeClr val="tx1"/>
                </a:solidFill>
                <a:ea typeface="Calibri" panose="020F0502020204030204" pitchFamily="34" charset="0"/>
              </a:endParaRPr>
            </a:p>
            <a:p>
              <a:pPr marL="342900" indent="-342900">
                <a:buFont typeface="Arial" panose="020B0604020202020204" pitchFamily="34" charset="0"/>
                <a:buChar char="•"/>
              </a:pPr>
              <a:r>
                <a:rPr lang="en-GB" sz="1000" dirty="0">
                  <a:solidFill>
                    <a:schemeClr val="tx1"/>
                  </a:solidFill>
                  <a:ea typeface="Calibri" panose="020F0502020204030204" pitchFamily="34" charset="0"/>
                </a:rPr>
                <a:t>Developing an agricultural research and advisory system</a:t>
              </a:r>
              <a:endParaRPr lang="en-US" sz="1000" dirty="0">
                <a:solidFill>
                  <a:schemeClr val="tx1"/>
                </a:solidFill>
                <a:ea typeface="Calibri" panose="020F0502020204030204" pitchFamily="34" charset="0"/>
              </a:endParaRPr>
            </a:p>
            <a:p>
              <a:pPr marL="342900" indent="-342900">
                <a:buFont typeface="Arial" panose="020B0604020202020204" pitchFamily="34" charset="0"/>
                <a:buChar char="•"/>
              </a:pPr>
              <a:r>
                <a:rPr lang="en-GB" sz="1000" dirty="0">
                  <a:solidFill>
                    <a:schemeClr val="tx1"/>
                  </a:solidFill>
                  <a:ea typeface="Calibri" panose="020F0502020204030204" pitchFamily="34" charset="0"/>
                </a:rPr>
                <a:t>Contribute to assure food and nutritional security of the populations</a:t>
              </a:r>
              <a:endParaRPr lang="en-US" sz="1000" dirty="0">
                <a:solidFill>
                  <a:schemeClr val="tx1"/>
                </a:solidFill>
                <a:ea typeface="Calibri" panose="020F0502020204030204" pitchFamily="34" charset="0"/>
              </a:endParaRPr>
            </a:p>
          </p:txBody>
        </p:sp>
        <p:sp>
          <p:nvSpPr>
            <p:cNvPr id="8" name="Rounded Rectangle 7"/>
            <p:cNvSpPr/>
            <p:nvPr/>
          </p:nvSpPr>
          <p:spPr>
            <a:xfrm>
              <a:off x="5414192" y="1910932"/>
              <a:ext cx="3846473" cy="3280274"/>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algn="just" defTabSz="844083" fontAlgn="base">
                <a:defRPr/>
              </a:pPr>
              <a:r>
                <a:rPr lang="en-US" altLang="en-US" sz="1200" b="1" dirty="0">
                  <a:solidFill>
                    <a:srgbClr val="000000"/>
                  </a:solidFill>
                  <a:ea typeface="Calibri" panose="020F0502020204030204" pitchFamily="34" charset="0"/>
                  <a:cs typeface="Arial" panose="020B0604020202020204" pitchFamily="34" charset="0"/>
                </a:rPr>
                <a:t>AGRA’s goals in Mali</a:t>
              </a:r>
            </a:p>
            <a:p>
              <a:pPr algn="just" defTabSz="844083" fontAlgn="base">
                <a:defRPr/>
              </a:pPr>
              <a:r>
                <a:rPr lang="en-US" sz="1000" dirty="0">
                  <a:solidFill>
                    <a:schemeClr val="tx1"/>
                  </a:solidFill>
                  <a:cs typeface="Arial" panose="020B0604020202020204" pitchFamily="34" charset="0"/>
                </a:rPr>
                <a:t>AGRA’s objective in </a:t>
              </a:r>
              <a:r>
                <a:rPr lang="en-US" sz="1000" dirty="0" smtClean="0">
                  <a:solidFill>
                    <a:schemeClr val="tx1"/>
                  </a:solidFill>
                  <a:cs typeface="Arial" panose="020B0604020202020204" pitchFamily="34" charset="0"/>
                </a:rPr>
                <a:t>Mali </a:t>
              </a:r>
              <a:r>
                <a:rPr lang="en-US" sz="1000" dirty="0" smtClean="0">
                  <a:solidFill>
                    <a:schemeClr val="tx1"/>
                  </a:solidFill>
                  <a:cs typeface="Arial" panose="020B0604020202020204" pitchFamily="34" charset="0"/>
                </a:rPr>
                <a:t>is </a:t>
              </a:r>
              <a:r>
                <a:rPr lang="en-US" sz="1000" dirty="0">
                  <a:solidFill>
                    <a:schemeClr val="tx1"/>
                  </a:solidFill>
                  <a:cs typeface="Arial" panose="020B0604020202020204" pitchFamily="34" charset="0"/>
                </a:rPr>
                <a:t>to increase incomes, improve food security and reduce shocks and stresses for at least 720K smallholder households directly and 700K indirectly in four value chains namely cowpea, maize, millet and sorghum</a:t>
              </a:r>
            </a:p>
            <a:p>
              <a:pPr algn="just" defTabSz="844083" fontAlgn="base">
                <a:defRPr/>
              </a:pPr>
              <a:r>
                <a:rPr lang="en-US" sz="1000" dirty="0">
                  <a:solidFill>
                    <a:schemeClr val="tx1"/>
                  </a:solidFill>
                  <a:cs typeface="Arial" panose="020B0604020202020204" pitchFamily="34" charset="0"/>
                </a:rPr>
                <a:t>AGRA Mali focus areas:</a:t>
              </a:r>
            </a:p>
            <a:p>
              <a:pPr marL="171450" indent="-171450">
                <a:buFont typeface="Arial" panose="020B0604020202020204" pitchFamily="34" charset="0"/>
                <a:buChar char="•"/>
              </a:pPr>
              <a:r>
                <a:rPr lang="en-US" sz="1000" dirty="0">
                  <a:solidFill>
                    <a:schemeClr val="tx1"/>
                  </a:solidFill>
                </a:rPr>
                <a:t>Flagship development</a:t>
              </a:r>
            </a:p>
            <a:p>
              <a:pPr marL="171450" indent="-171450">
                <a:buFont typeface="Arial" panose="020B0604020202020204" pitchFamily="34" charset="0"/>
                <a:buChar char="•"/>
              </a:pPr>
              <a:r>
                <a:rPr lang="en-US" sz="1000" dirty="0">
                  <a:solidFill>
                    <a:schemeClr val="tx1"/>
                  </a:solidFill>
                  <a:cs typeface="Arial" panose="020B0604020202020204" pitchFamily="34" charset="0"/>
                </a:rPr>
                <a:t>Enabling policy environment</a:t>
              </a:r>
            </a:p>
            <a:p>
              <a:pPr marL="171450" indent="-171450">
                <a:buFont typeface="Arial" panose="020B0604020202020204" pitchFamily="34" charset="0"/>
                <a:buChar char="•"/>
              </a:pPr>
              <a:r>
                <a:rPr lang="en-US" sz="1000" dirty="0">
                  <a:solidFill>
                    <a:schemeClr val="tx1"/>
                  </a:solidFill>
                  <a:cs typeface="Arial" panose="020B0604020202020204" pitchFamily="34" charset="0"/>
                </a:rPr>
                <a:t>Extension systems</a:t>
              </a:r>
            </a:p>
            <a:p>
              <a:pPr marL="171450" indent="-171450">
                <a:buFont typeface="Arial" panose="020B0604020202020204" pitchFamily="34" charset="0"/>
                <a:buChar char="•"/>
              </a:pPr>
              <a:r>
                <a:rPr lang="en-US" sz="1000" dirty="0">
                  <a:solidFill>
                    <a:schemeClr val="tx1"/>
                  </a:solidFill>
                  <a:cs typeface="Arial" panose="020B0604020202020204" pitchFamily="34" charset="0"/>
                </a:rPr>
                <a:t>Inclusive Finance</a:t>
              </a:r>
            </a:p>
            <a:p>
              <a:pPr marL="171450" indent="-171450">
                <a:buFont typeface="Arial" panose="020B0604020202020204" pitchFamily="34" charset="0"/>
                <a:buChar char="•"/>
              </a:pPr>
              <a:r>
                <a:rPr lang="en-US" sz="1000" dirty="0">
                  <a:solidFill>
                    <a:schemeClr val="tx1"/>
                  </a:solidFill>
                  <a:cs typeface="Arial" panose="020B0604020202020204" pitchFamily="34" charset="0"/>
                </a:rPr>
                <a:t>Fertilizer systems</a:t>
              </a:r>
            </a:p>
            <a:p>
              <a:pPr marL="171450" indent="-171450">
                <a:buFont typeface="Arial" panose="020B0604020202020204" pitchFamily="34" charset="0"/>
                <a:buChar char="•"/>
              </a:pPr>
              <a:r>
                <a:rPr lang="en-US" sz="1000" dirty="0">
                  <a:solidFill>
                    <a:schemeClr val="tx1"/>
                  </a:solidFill>
                  <a:cs typeface="Arial" panose="020B0604020202020204" pitchFamily="34" charset="0"/>
                </a:rPr>
                <a:t>Resilience</a:t>
              </a:r>
            </a:p>
            <a:p>
              <a:pPr marL="171450" indent="-171450">
                <a:buFont typeface="Arial" panose="020B0604020202020204" pitchFamily="34" charset="0"/>
                <a:buChar char="•"/>
              </a:pPr>
              <a:r>
                <a:rPr lang="en-US" sz="1000" dirty="0">
                  <a:solidFill>
                    <a:schemeClr val="tx1"/>
                  </a:solidFill>
                  <a:cs typeface="Arial" panose="020B0604020202020204" pitchFamily="34" charset="0"/>
                </a:rPr>
                <a:t>Women’s Economic Empowerment</a:t>
              </a:r>
            </a:p>
            <a:p>
              <a:pPr algn="just" defTabSz="844083" fontAlgn="base">
                <a:defRPr/>
              </a:pPr>
              <a:r>
                <a:rPr lang="en-US" sz="1000" dirty="0">
                  <a:solidFill>
                    <a:schemeClr val="tx1"/>
                  </a:solidFill>
                  <a:cs typeface="Arial" panose="020B0604020202020204" pitchFamily="34" charset="0"/>
                </a:rPr>
                <a:t>Delivery Areas of work:</a:t>
              </a:r>
            </a:p>
            <a:p>
              <a:pPr marL="171450" indent="-171450" algn="just" defTabSz="844083" fontAlgn="base">
                <a:buFont typeface="Arial" panose="020B0604020202020204" pitchFamily="34" charset="0"/>
                <a:buChar char="•"/>
                <a:defRPr/>
              </a:pPr>
              <a:r>
                <a:rPr lang="en-US" sz="1000" dirty="0">
                  <a:solidFill>
                    <a:schemeClr val="tx1"/>
                  </a:solidFill>
                  <a:cs typeface="Arial" panose="020B0604020202020204" pitchFamily="34" charset="0"/>
                </a:rPr>
                <a:t>Policy and State Capability</a:t>
              </a:r>
            </a:p>
            <a:p>
              <a:pPr marL="171450" indent="-171450" algn="just" defTabSz="844083" fontAlgn="base">
                <a:buFont typeface="Arial" panose="020B0604020202020204" pitchFamily="34" charset="0"/>
                <a:buChar char="•"/>
                <a:defRPr/>
              </a:pPr>
              <a:r>
                <a:rPr lang="en-US" sz="1000" dirty="0">
                  <a:solidFill>
                    <a:schemeClr val="tx1"/>
                  </a:solidFill>
                  <a:cs typeface="Arial" panose="020B0604020202020204" pitchFamily="34" charset="0"/>
                </a:rPr>
                <a:t>Partnerships</a:t>
              </a:r>
            </a:p>
            <a:p>
              <a:pPr marL="171450" indent="-171450" algn="just" defTabSz="844083" fontAlgn="base">
                <a:buFont typeface="Arial" panose="020B0604020202020204" pitchFamily="34" charset="0"/>
                <a:buChar char="•"/>
                <a:defRPr/>
              </a:pPr>
              <a:r>
                <a:rPr lang="en-US" sz="1000" dirty="0">
                  <a:solidFill>
                    <a:schemeClr val="tx1"/>
                  </a:solidFill>
                  <a:cs typeface="Arial" panose="020B0604020202020204" pitchFamily="34" charset="0"/>
                </a:rPr>
                <a:t>Systems Development.</a:t>
              </a:r>
            </a:p>
          </p:txBody>
        </p:sp>
        <p:grpSp>
          <p:nvGrpSpPr>
            <p:cNvPr id="6" name="Group 5"/>
            <p:cNvGrpSpPr/>
            <p:nvPr/>
          </p:nvGrpSpPr>
          <p:grpSpPr>
            <a:xfrm>
              <a:off x="4298730" y="1827754"/>
              <a:ext cx="451947" cy="3122792"/>
              <a:chOff x="4650824" y="1827753"/>
              <a:chExt cx="451947" cy="3042746"/>
            </a:xfrm>
          </p:grpSpPr>
          <p:sp>
            <p:nvSpPr>
              <p:cNvPr id="5" name="Isosceles Triangle 4"/>
              <p:cNvSpPr/>
              <p:nvPr/>
            </p:nvSpPr>
            <p:spPr>
              <a:xfrm rot="16200000">
                <a:off x="4461531" y="2017048"/>
                <a:ext cx="830536" cy="451945"/>
              </a:xfrm>
              <a:prstGeom prst="triangle">
                <a:avLst>
                  <a:gd name="adj" fmla="val 47534"/>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solidFill>
                    <a:srgbClr val="FFFFFF"/>
                  </a:solidFill>
                </a:endParaRPr>
              </a:p>
            </p:txBody>
          </p:sp>
          <p:sp>
            <p:nvSpPr>
              <p:cNvPr id="11" name="Isosceles Triangle 10"/>
              <p:cNvSpPr/>
              <p:nvPr/>
            </p:nvSpPr>
            <p:spPr>
              <a:xfrm rot="5400000" flipH="1">
                <a:off x="4405629" y="4173359"/>
                <a:ext cx="942335" cy="451945"/>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sp>
        <p:nvSpPr>
          <p:cNvPr id="14" name="Isosceles Triangle 13"/>
          <p:cNvSpPr/>
          <p:nvPr/>
        </p:nvSpPr>
        <p:spPr>
          <a:xfrm rot="10800000" flipH="1">
            <a:off x="2390286" y="5565461"/>
            <a:ext cx="4330262" cy="394687"/>
          </a:xfrm>
          <a:prstGeom prst="triangle">
            <a:avLst/>
          </a:prstGeom>
          <a:solidFill>
            <a:srgbClr val="00B050"/>
          </a:solidFill>
          <a:ln w="3175">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solidFill>
                <a:srgbClr val="FFFFFF"/>
              </a:solidFill>
            </a:endParaRPr>
          </a:p>
        </p:txBody>
      </p:sp>
      <p:sp>
        <p:nvSpPr>
          <p:cNvPr id="9" name="Rounded Rectangle 8"/>
          <p:cNvSpPr/>
          <p:nvPr/>
        </p:nvSpPr>
        <p:spPr>
          <a:xfrm>
            <a:off x="367863" y="5818415"/>
            <a:ext cx="8892802" cy="654339"/>
          </a:xfrm>
          <a:prstGeom prst="roundRect">
            <a:avLst/>
          </a:prstGeom>
          <a:solidFill>
            <a:srgbClr val="00B050"/>
          </a:solidFill>
        </p:spPr>
        <p:style>
          <a:lnRef idx="3">
            <a:schemeClr val="lt1"/>
          </a:lnRef>
          <a:fillRef idx="1">
            <a:schemeClr val="accent6"/>
          </a:fillRef>
          <a:effectRef idx="1">
            <a:schemeClr val="accent6"/>
          </a:effectRef>
          <a:fontRef idx="minor">
            <a:schemeClr val="lt1"/>
          </a:fontRef>
        </p:style>
        <p:txBody>
          <a:bodyPr rtlCol="0" anchor="ctr"/>
          <a:lstStyle/>
          <a:p>
            <a:pPr algn="ctr"/>
            <a:r>
              <a:rPr lang="en-US" sz="1200" dirty="0">
                <a:solidFill>
                  <a:srgbClr val="FFFFFF"/>
                </a:solidFill>
              </a:rPr>
              <a:t>Mali/AGRA Collaboration </a:t>
            </a:r>
          </a:p>
          <a:p>
            <a:pPr algn="ctr"/>
            <a:r>
              <a:rPr lang="en-US" sz="1200" dirty="0">
                <a:solidFill>
                  <a:srgbClr val="FFFFFF"/>
                </a:solidFill>
              </a:rPr>
              <a:t>Mali agriculture Transformation</a:t>
            </a:r>
          </a:p>
          <a:p>
            <a:pPr algn="ctr"/>
            <a:r>
              <a:rPr lang="en-US" sz="1200" dirty="0">
                <a:solidFill>
                  <a:srgbClr val="FFFFFF"/>
                </a:solidFill>
              </a:rPr>
              <a:t>Improved Livelihoods for SHF’s</a:t>
            </a:r>
          </a:p>
        </p:txBody>
      </p:sp>
      <p:sp>
        <p:nvSpPr>
          <p:cNvPr id="10" name="TextBox 9"/>
          <p:cNvSpPr txBox="1"/>
          <p:nvPr/>
        </p:nvSpPr>
        <p:spPr>
          <a:xfrm>
            <a:off x="4194788" y="2753964"/>
            <a:ext cx="1461761" cy="1169551"/>
          </a:xfrm>
          <a:prstGeom prst="rect">
            <a:avLst/>
          </a:prstGeom>
          <a:noFill/>
        </p:spPr>
        <p:txBody>
          <a:bodyPr wrap="square" rtlCol="0">
            <a:spAutoFit/>
          </a:bodyPr>
          <a:lstStyle/>
          <a:p>
            <a:r>
              <a:rPr lang="en-US" dirty="0"/>
              <a:t>Mali  Government Vison and AGRA Goal Alignment </a:t>
            </a:r>
          </a:p>
        </p:txBody>
      </p:sp>
    </p:spTree>
    <p:extLst>
      <p:ext uri="{BB962C8B-B14F-4D97-AF65-F5344CB8AC3E}">
        <p14:creationId xmlns:p14="http://schemas.microsoft.com/office/powerpoint/2010/main" val="14324812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p:cNvGraphicFramePr>
            <a:graphicFrameLocks noChangeAspect="1"/>
          </p:cNvGraphicFramePr>
          <p:nvPr>
            <p:custDataLst>
              <p:tags r:id="rId2"/>
            </p:custDataLst>
          </p:nvPr>
        </p:nvGraphicFramePr>
        <p:xfrm>
          <a:off x="1684295" y="1166373"/>
          <a:ext cx="1048" cy="1048"/>
        </p:xfrm>
        <a:graphic>
          <a:graphicData uri="http://schemas.openxmlformats.org/presentationml/2006/ole">
            <mc:AlternateContent xmlns:mc="http://schemas.openxmlformats.org/markup-compatibility/2006">
              <mc:Choice xmlns:v="urn:schemas-microsoft-com:vml" Requires="v">
                <p:oleObj spid="_x0000_s142353" name="think-cell Slide" r:id="rId5" imgW="470" imgH="469" progId="TCLayout.ActiveDocument.1">
                  <p:embed/>
                </p:oleObj>
              </mc:Choice>
              <mc:Fallback>
                <p:oleObj name="think-cell Slide" r:id="rId5" imgW="470" imgH="469" progId="TCLayout.ActiveDocument.1">
                  <p:embed/>
                  <p:pic>
                    <p:nvPicPr>
                      <p:cNvPr id="42" name="Object 41" hidden="1"/>
                      <p:cNvPicPr/>
                      <p:nvPr/>
                    </p:nvPicPr>
                    <p:blipFill>
                      <a:blip r:embed="rId6"/>
                      <a:stretch>
                        <a:fillRect/>
                      </a:stretch>
                    </p:blipFill>
                    <p:spPr>
                      <a:xfrm>
                        <a:off x="1684295" y="1166373"/>
                        <a:ext cx="1048" cy="1048"/>
                      </a:xfrm>
                      <a:prstGeom prst="rect">
                        <a:avLst/>
                      </a:prstGeom>
                    </p:spPr>
                  </p:pic>
                </p:oleObj>
              </mc:Fallback>
            </mc:AlternateContent>
          </a:graphicData>
        </a:graphic>
      </p:graphicFrame>
      <p:sp>
        <p:nvSpPr>
          <p:cNvPr id="4" name="Rectangle 3" hidden="1"/>
          <p:cNvSpPr/>
          <p:nvPr>
            <p:custDataLst>
              <p:tags r:id="rId3"/>
            </p:custDataLst>
          </p:nvPr>
        </p:nvSpPr>
        <p:spPr>
          <a:xfrm>
            <a:off x="928688" y="642938"/>
            <a:ext cx="128984" cy="1289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742950">
              <a:lnSpc>
                <a:spcPct val="90000"/>
              </a:lnSpc>
              <a:spcBef>
                <a:spcPct val="0"/>
              </a:spcBef>
              <a:spcAft>
                <a:spcPct val="0"/>
              </a:spcAft>
              <a:buClrTx/>
            </a:pPr>
            <a:endParaRPr lang="en-US" sz="1650" b="1" kern="12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6" name="Rectangle 5"/>
          <p:cNvSpPr/>
          <p:nvPr/>
        </p:nvSpPr>
        <p:spPr>
          <a:xfrm>
            <a:off x="1968232" y="2032313"/>
            <a:ext cx="3346626" cy="1207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365" tIns="30183" rIns="60365" bIns="30183" numCol="1" spcCol="0" rtlCol="0" fromWordArt="0" anchor="ctr" anchorCtr="0" forceAA="0" compatLnSpc="1">
            <a:prstTxWarp prst="textNoShape">
              <a:avLst/>
            </a:prstTxWarp>
            <a:noAutofit/>
          </a:bodyPr>
          <a:lstStyle/>
          <a:p>
            <a:pPr defTabSz="742950">
              <a:buClrTx/>
            </a:pPr>
            <a:endParaRPr lang="en-US" sz="792" b="1" kern="1200" dirty="0">
              <a:solidFill>
                <a:srgbClr val="70AD47">
                  <a:lumMod val="50000"/>
                </a:srgbClr>
              </a:solidFill>
              <a:latin typeface="Arial" panose="020B0604020202020204" pitchFamily="34" charset="0"/>
              <a:cs typeface="Arial" panose="020B0604020202020204" pitchFamily="34" charset="0"/>
            </a:endParaRPr>
          </a:p>
        </p:txBody>
      </p:sp>
      <p:grpSp>
        <p:nvGrpSpPr>
          <p:cNvPr id="7" name="Group 6"/>
          <p:cNvGrpSpPr/>
          <p:nvPr/>
        </p:nvGrpSpPr>
        <p:grpSpPr>
          <a:xfrm>
            <a:off x="1458975" y="2138639"/>
            <a:ext cx="5335677" cy="2205894"/>
            <a:chOff x="314812" y="2552146"/>
            <a:chExt cx="5680818" cy="2201031"/>
          </a:xfrm>
        </p:grpSpPr>
        <p:sp>
          <p:nvSpPr>
            <p:cNvPr id="8" name="Rectangle 7"/>
            <p:cNvSpPr/>
            <p:nvPr/>
          </p:nvSpPr>
          <p:spPr>
            <a:xfrm>
              <a:off x="314812" y="2552146"/>
              <a:ext cx="5680818" cy="2201031"/>
            </a:xfrm>
            <a:prstGeom prst="rect">
              <a:avLst/>
            </a:prstGeom>
            <a:solidFill>
              <a:schemeClr val="tx2">
                <a:lumMod val="40000"/>
                <a:lumOff val="6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365" tIns="30183" rIns="60365" bIns="30183" numCol="1" spcCol="0" rtlCol="0" fromWordArt="0" anchor="t" anchorCtr="0" forceAA="0" compatLnSpc="1">
              <a:prstTxWarp prst="textNoShape">
                <a:avLst/>
              </a:prstTxWarp>
              <a:noAutofit/>
            </a:bodyPr>
            <a:lstStyle/>
            <a:p>
              <a:pPr algn="ctr" defTabSz="742950">
                <a:buClrTx/>
              </a:pPr>
              <a:r>
                <a:rPr lang="en-US" sz="693" b="1" kern="1200" dirty="0">
                  <a:solidFill>
                    <a:prstClr val="black"/>
                  </a:solidFill>
                  <a:latin typeface="Arial" panose="020B0604020202020204" pitchFamily="34" charset="0"/>
                  <a:cs typeface="Arial" panose="020B0604020202020204" pitchFamily="34" charset="0"/>
                </a:rPr>
                <a:t>Outcomes </a:t>
              </a:r>
            </a:p>
          </p:txBody>
        </p:sp>
        <p:sp>
          <p:nvSpPr>
            <p:cNvPr id="9" name="Rectangle 8"/>
            <p:cNvSpPr/>
            <p:nvPr/>
          </p:nvSpPr>
          <p:spPr>
            <a:xfrm>
              <a:off x="364928" y="2788667"/>
              <a:ext cx="2734828" cy="1223532"/>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60365" tIns="30183" rIns="60365" bIns="30183" numCol="1" spcCol="0" rtlCol="0" fromWordArt="0" anchor="ctr" anchorCtr="0" forceAA="0" compatLnSpc="1">
              <a:prstTxWarp prst="textNoShape">
                <a:avLst/>
              </a:prstTxWarp>
              <a:noAutofit/>
            </a:bodyPr>
            <a:lstStyle/>
            <a:p>
              <a:pPr defTabSz="742950">
                <a:buClrTx/>
              </a:pPr>
              <a:r>
                <a:rPr lang="en-US" sz="813" b="1" kern="1200" dirty="0">
                  <a:solidFill>
                    <a:prstClr val="black"/>
                  </a:solidFill>
                  <a:latin typeface="Arial" panose="020B0604020202020204" pitchFamily="34" charset="0"/>
                  <a:cs typeface="Arial" panose="020B0604020202020204" pitchFamily="34" charset="0"/>
                </a:rPr>
                <a:t>Farmers using</a:t>
              </a:r>
            </a:p>
            <a:p>
              <a:pPr marL="113184" indent="-113184" defTabSz="742950">
                <a:buClrTx/>
                <a:buFont typeface="Arial" panose="020B0604020202020204" pitchFamily="34" charset="0"/>
                <a:buChar char="•"/>
              </a:pPr>
              <a:r>
                <a:rPr lang="en-US" sz="813" kern="1200" dirty="0">
                  <a:solidFill>
                    <a:prstClr val="black"/>
                  </a:solidFill>
                  <a:latin typeface="Arial" panose="020B0604020202020204" pitchFamily="34" charset="0"/>
                  <a:cs typeface="Arial" panose="020B0604020202020204" pitchFamily="34" charset="0"/>
                </a:rPr>
                <a:t> Improved production,  management  technologies and practices</a:t>
              </a:r>
            </a:p>
            <a:p>
              <a:pPr marL="113184" indent="-113184" defTabSz="742950">
                <a:buClrTx/>
                <a:buFont typeface="Arial" panose="020B0604020202020204" pitchFamily="34" charset="0"/>
                <a:buChar char="•"/>
              </a:pPr>
              <a:r>
                <a:rPr lang="en-US" sz="813" kern="1200" dirty="0">
                  <a:solidFill>
                    <a:prstClr val="black"/>
                  </a:solidFill>
                  <a:latin typeface="Arial" panose="020B0604020202020204" pitchFamily="34" charset="0"/>
                  <a:cs typeface="Arial" panose="020B0604020202020204" pitchFamily="34" charset="0"/>
                </a:rPr>
                <a:t>Agricultural credit and financial services </a:t>
              </a:r>
            </a:p>
            <a:p>
              <a:pPr marL="113184" indent="-113184" defTabSz="742950">
                <a:buClrTx/>
                <a:buFont typeface="Arial" panose="020B0604020202020204" pitchFamily="34" charset="0"/>
                <a:buChar char="•"/>
              </a:pPr>
              <a:r>
                <a:rPr lang="en-US" sz="813" kern="1200" dirty="0">
                  <a:solidFill>
                    <a:prstClr val="black"/>
                  </a:solidFill>
                  <a:latin typeface="Arial" panose="020B0604020202020204" pitchFamily="34" charset="0"/>
                  <a:cs typeface="Arial" panose="020B0604020202020204" pitchFamily="34" charset="0"/>
                </a:rPr>
                <a:t>Improved post harvest management technologies and practices</a:t>
              </a:r>
            </a:p>
            <a:p>
              <a:pPr marL="113184" indent="-113184" defTabSz="742950">
                <a:buClrTx/>
                <a:buFont typeface="Arial" panose="020B0604020202020204" pitchFamily="34" charset="0"/>
                <a:buChar char="•"/>
              </a:pPr>
              <a:r>
                <a:rPr lang="en-US" sz="813" kern="1200" dirty="0">
                  <a:solidFill>
                    <a:prstClr val="black"/>
                  </a:solidFill>
                  <a:latin typeface="Arial" panose="020B0604020202020204" pitchFamily="34" charset="0"/>
                  <a:cs typeface="Arial" panose="020B0604020202020204" pitchFamily="34" charset="0"/>
                </a:rPr>
                <a:t>Early warning weather and market intelligence information</a:t>
              </a:r>
            </a:p>
            <a:p>
              <a:pPr defTabSz="742950">
                <a:buClrTx/>
              </a:pPr>
              <a:endParaRPr lang="en-US" sz="594" kern="1200" dirty="0">
                <a:solidFill>
                  <a:prstClr val="black"/>
                </a:solidFill>
                <a:latin typeface="Arial" panose="020B0604020202020204" pitchFamily="34" charset="0"/>
                <a:cs typeface="Arial" panose="020B0604020202020204" pitchFamily="34" charset="0"/>
              </a:endParaRPr>
            </a:p>
          </p:txBody>
        </p:sp>
        <p:sp>
          <p:nvSpPr>
            <p:cNvPr id="17" name="Rectangle 16"/>
            <p:cNvSpPr/>
            <p:nvPr/>
          </p:nvSpPr>
          <p:spPr>
            <a:xfrm>
              <a:off x="364927" y="4129032"/>
              <a:ext cx="5565893" cy="519168"/>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60365" tIns="30183" rIns="60365" bIns="30183" numCol="1" spcCol="0" rtlCol="0" fromWordArt="0" anchor="ctr" anchorCtr="0" forceAA="0" compatLnSpc="1">
              <a:prstTxWarp prst="textNoShape">
                <a:avLst/>
              </a:prstTxWarp>
              <a:noAutofit/>
            </a:bodyPr>
            <a:lstStyle/>
            <a:p>
              <a:pPr algn="ctr" defTabSz="742950">
                <a:buClrTx/>
              </a:pPr>
              <a:r>
                <a:rPr lang="en-US" sz="813" b="1" kern="1200" dirty="0">
                  <a:solidFill>
                    <a:prstClr val="black"/>
                  </a:solidFill>
                  <a:latin typeface="Arial" panose="020B0604020202020204" pitchFamily="34" charset="0"/>
                  <a:cs typeface="Arial" panose="020B0604020202020204" pitchFamily="34" charset="0"/>
                </a:rPr>
                <a:t>Farmers and other value chain actors have improved access to </a:t>
              </a:r>
            </a:p>
            <a:p>
              <a:pPr defTabSz="742950">
                <a:buClrTx/>
              </a:pPr>
              <a:r>
                <a:rPr lang="en-US" sz="813" kern="1200" dirty="0">
                  <a:solidFill>
                    <a:prstClr val="black"/>
                  </a:solidFill>
                  <a:latin typeface="Arial" panose="020B0604020202020204" pitchFamily="34" charset="0"/>
                  <a:cs typeface="Arial" panose="020B0604020202020204" pitchFamily="34" charset="0"/>
                </a:rPr>
                <a:t>Inputs (fertilizer, seeds); Extension services (knowledge and information); Credit and financial services, stable and remunerative markets, early warning and market intelligence information</a:t>
              </a:r>
            </a:p>
          </p:txBody>
        </p:sp>
      </p:grpSp>
      <p:grpSp>
        <p:nvGrpSpPr>
          <p:cNvPr id="19" name="Group 18"/>
          <p:cNvGrpSpPr/>
          <p:nvPr/>
        </p:nvGrpSpPr>
        <p:grpSpPr>
          <a:xfrm>
            <a:off x="1432973" y="1523065"/>
            <a:ext cx="5361679" cy="527213"/>
            <a:chOff x="314813" y="1316709"/>
            <a:chExt cx="5113471" cy="693334"/>
          </a:xfrm>
        </p:grpSpPr>
        <p:sp>
          <p:nvSpPr>
            <p:cNvPr id="21" name="Rectangle 20"/>
            <p:cNvSpPr/>
            <p:nvPr/>
          </p:nvSpPr>
          <p:spPr>
            <a:xfrm>
              <a:off x="314813" y="1316709"/>
              <a:ext cx="5113471" cy="693334"/>
            </a:xfrm>
            <a:prstGeom prst="rect">
              <a:avLst/>
            </a:prstGeom>
            <a:solidFill>
              <a:schemeClr val="accent2">
                <a:lumMod val="20000"/>
                <a:lumOff val="8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365" tIns="30183" rIns="60365" bIns="30183" numCol="1" spcCol="0" rtlCol="0" fromWordArt="0" anchor="t" anchorCtr="0" forceAA="0" compatLnSpc="1">
              <a:prstTxWarp prst="textNoShape">
                <a:avLst/>
              </a:prstTxWarp>
              <a:noAutofit/>
            </a:bodyPr>
            <a:lstStyle/>
            <a:p>
              <a:pPr algn="ctr" defTabSz="742950">
                <a:buClrTx/>
              </a:pPr>
              <a:endParaRPr lang="en-US" sz="528" b="1" kern="1200" dirty="0">
                <a:solidFill>
                  <a:prstClr val="black"/>
                </a:solidFill>
                <a:latin typeface="Arial" panose="020B0604020202020204" pitchFamily="34" charset="0"/>
                <a:cs typeface="Arial" panose="020B0604020202020204" pitchFamily="34" charset="0"/>
              </a:endParaRPr>
            </a:p>
            <a:p>
              <a:pPr algn="ctr" defTabSz="742950">
                <a:buClrTx/>
              </a:pPr>
              <a:endParaRPr lang="en-US" sz="528" b="1" kern="1200" dirty="0">
                <a:solidFill>
                  <a:prstClr val="black"/>
                </a:solidFill>
                <a:latin typeface="Arial" panose="020B0604020202020204" pitchFamily="34" charset="0"/>
                <a:cs typeface="Arial" panose="020B0604020202020204" pitchFamily="34" charset="0"/>
              </a:endParaRPr>
            </a:p>
            <a:p>
              <a:pPr algn="ctr" defTabSz="742950">
                <a:buClrTx/>
              </a:pPr>
              <a:endParaRPr lang="en-US" sz="528" b="1" kern="1200" dirty="0">
                <a:solidFill>
                  <a:prstClr val="black"/>
                </a:solidFill>
                <a:latin typeface="Arial" panose="020B0604020202020204" pitchFamily="34" charset="0"/>
                <a:cs typeface="Arial" panose="020B0604020202020204" pitchFamily="34" charset="0"/>
              </a:endParaRPr>
            </a:p>
            <a:p>
              <a:pPr algn="ctr" defTabSz="742950">
                <a:buClrTx/>
              </a:pPr>
              <a:endParaRPr lang="en-US" sz="528" b="1" kern="1200" dirty="0">
                <a:solidFill>
                  <a:prstClr val="black"/>
                </a:solidFill>
                <a:latin typeface="Arial" panose="020B0604020202020204" pitchFamily="34" charset="0"/>
                <a:cs typeface="Arial" panose="020B0604020202020204" pitchFamily="34" charset="0"/>
              </a:endParaRPr>
            </a:p>
            <a:p>
              <a:pPr algn="ctr" defTabSz="742950">
                <a:buClrTx/>
              </a:pPr>
              <a:endParaRPr lang="en-US" sz="528" b="1" kern="1200" dirty="0">
                <a:solidFill>
                  <a:prstClr val="black"/>
                </a:solidFill>
                <a:latin typeface="Arial" panose="020B0604020202020204" pitchFamily="34" charset="0"/>
                <a:cs typeface="Arial" panose="020B0604020202020204" pitchFamily="34" charset="0"/>
              </a:endParaRPr>
            </a:p>
            <a:p>
              <a:pPr algn="ctr" defTabSz="742950">
                <a:buClrTx/>
              </a:pPr>
              <a:endParaRPr lang="en-US" sz="528" b="1" kern="1200" dirty="0">
                <a:solidFill>
                  <a:prstClr val="black"/>
                </a:solidFill>
                <a:latin typeface="Arial" panose="020B0604020202020204" pitchFamily="34" charset="0"/>
                <a:cs typeface="Arial" panose="020B0604020202020204" pitchFamily="34" charset="0"/>
              </a:endParaRPr>
            </a:p>
            <a:p>
              <a:pPr algn="ctr" defTabSz="742950">
                <a:buClrTx/>
              </a:pPr>
              <a:endParaRPr lang="en-US" sz="792" kern="1200" dirty="0">
                <a:solidFill>
                  <a:srgbClr val="70AD47">
                    <a:lumMod val="50000"/>
                  </a:srgbClr>
                </a:solidFill>
                <a:latin typeface="Arial" panose="020B0604020202020204" pitchFamily="34" charset="0"/>
                <a:cs typeface="Arial" panose="020B0604020202020204" pitchFamily="34" charset="0"/>
              </a:endParaRPr>
            </a:p>
          </p:txBody>
        </p:sp>
        <p:sp>
          <p:nvSpPr>
            <p:cNvPr id="24" name="Rectangle 23"/>
            <p:cNvSpPr/>
            <p:nvPr/>
          </p:nvSpPr>
          <p:spPr>
            <a:xfrm>
              <a:off x="873083" y="1584527"/>
              <a:ext cx="4085069" cy="285689"/>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60365" tIns="30183" rIns="60365" bIns="30183" numCol="1" spcCol="0" rtlCol="0" fromWordArt="0" anchor="ctr" anchorCtr="0" forceAA="0" compatLnSpc="1">
              <a:prstTxWarp prst="textNoShape">
                <a:avLst/>
              </a:prstTxWarp>
              <a:noAutofit/>
            </a:bodyPr>
            <a:lstStyle/>
            <a:p>
              <a:pPr algn="ctr" defTabSz="742950">
                <a:buClrTx/>
              </a:pPr>
              <a:r>
                <a:rPr lang="en-US" sz="813" b="1" kern="1200" dirty="0">
                  <a:solidFill>
                    <a:prstClr val="black"/>
                  </a:solidFill>
                  <a:latin typeface="Arial" panose="020B0604020202020204" pitchFamily="34" charset="0"/>
                  <a:cs typeface="Arial" panose="020B0604020202020204" pitchFamily="34" charset="0"/>
                </a:rPr>
                <a:t>Country Goal: Increased resilience, productivity, incomes and food security</a:t>
              </a:r>
            </a:p>
          </p:txBody>
        </p:sp>
      </p:grpSp>
      <p:grpSp>
        <p:nvGrpSpPr>
          <p:cNvPr id="26" name="Group 25"/>
          <p:cNvGrpSpPr/>
          <p:nvPr/>
        </p:nvGrpSpPr>
        <p:grpSpPr>
          <a:xfrm>
            <a:off x="7089104" y="2282749"/>
            <a:ext cx="2422360" cy="3154194"/>
            <a:chOff x="5484914" y="1413196"/>
            <a:chExt cx="3758375" cy="2577919"/>
          </a:xfrm>
        </p:grpSpPr>
        <p:sp>
          <p:nvSpPr>
            <p:cNvPr id="28" name="Rectangle 27"/>
            <p:cNvSpPr/>
            <p:nvPr/>
          </p:nvSpPr>
          <p:spPr>
            <a:xfrm>
              <a:off x="5484914" y="2894048"/>
              <a:ext cx="3758374" cy="1097067"/>
            </a:xfrm>
            <a:prstGeom prst="rect">
              <a:avLst/>
            </a:prstGeom>
            <a:ln>
              <a:solidFill>
                <a:schemeClr val="tx1"/>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60365" tIns="30183" rIns="60365" bIns="30183" numCol="1" spcCol="0" rtlCol="0" fromWordArt="0" anchor="ctr" anchorCtr="0" forceAA="0" compatLnSpc="1">
              <a:prstTxWarp prst="textNoShape">
                <a:avLst/>
              </a:prstTxWarp>
              <a:noAutofit/>
            </a:bodyPr>
            <a:lstStyle/>
            <a:p>
              <a:pPr defTabSz="742950">
                <a:buClrTx/>
              </a:pPr>
              <a:r>
                <a:rPr lang="en-GB" sz="853" b="1" kern="1200" dirty="0">
                  <a:solidFill>
                    <a:prstClr val="black"/>
                  </a:solidFill>
                  <a:latin typeface="Arial" panose="020B0604020202020204" pitchFamily="34" charset="0"/>
                  <a:cs typeface="Arial" panose="020B0604020202020204" pitchFamily="34" charset="0"/>
                </a:rPr>
                <a:t>Partnerships</a:t>
              </a:r>
            </a:p>
            <a:p>
              <a:pPr defTabSz="742950">
                <a:buClrTx/>
              </a:pPr>
              <a:r>
                <a:rPr lang="en-GB" sz="813" kern="1200" dirty="0">
                  <a:solidFill>
                    <a:prstClr val="black"/>
                  </a:solidFill>
                  <a:latin typeface="Arial" panose="020B0604020202020204" pitchFamily="34" charset="0"/>
                  <a:cs typeface="Arial" panose="020B0604020202020204" pitchFamily="34" charset="0"/>
                </a:rPr>
                <a:t>Work with partners at all levels to:</a:t>
              </a:r>
            </a:p>
            <a:p>
              <a:pPr marL="188640" indent="-188640" defTabSz="742950">
                <a:buClrTx/>
                <a:buFont typeface="Arial" panose="020B0604020202020204" pitchFamily="34" charset="0"/>
                <a:buChar char="•"/>
              </a:pPr>
              <a:r>
                <a:rPr lang="en-GB" sz="813" kern="1200" dirty="0">
                  <a:solidFill>
                    <a:prstClr val="black"/>
                  </a:solidFill>
                  <a:latin typeface="Arial" panose="020B0604020202020204" pitchFamily="34" charset="0"/>
                  <a:cs typeface="Arial" panose="020B0604020202020204" pitchFamily="34" charset="0"/>
                </a:rPr>
                <a:t>Crowd in private and public investment to develop two flagship programs (ISP &amp; NAIP) </a:t>
              </a:r>
            </a:p>
            <a:p>
              <a:pPr marL="188640" indent="-188640" defTabSz="742950">
                <a:buClrTx/>
                <a:buFont typeface="Arial" panose="020B0604020202020204" pitchFamily="34" charset="0"/>
                <a:buChar char="•"/>
              </a:pPr>
              <a:r>
                <a:rPr lang="en-GB" sz="813" kern="1200" dirty="0">
                  <a:solidFill>
                    <a:prstClr val="black"/>
                  </a:solidFill>
                  <a:latin typeface="Arial" panose="020B0604020202020204" pitchFamily="34" charset="0"/>
                  <a:cs typeface="Arial" panose="020B0604020202020204" pitchFamily="34" charset="0"/>
                </a:rPr>
                <a:t>Derive synergies to reduce duplication of effort </a:t>
              </a:r>
            </a:p>
            <a:p>
              <a:pPr marL="188640" indent="-188640" defTabSz="742950">
                <a:buClrTx/>
                <a:buFont typeface="Arial" panose="020B0604020202020204" pitchFamily="34" charset="0"/>
                <a:buChar char="•"/>
              </a:pPr>
              <a:r>
                <a:rPr lang="en-GB" sz="813" kern="1200" dirty="0">
                  <a:solidFill>
                    <a:prstClr val="black"/>
                  </a:solidFill>
                  <a:latin typeface="Arial" panose="020B0604020202020204" pitchFamily="34" charset="0"/>
                  <a:cs typeface="Arial" panose="020B0604020202020204" pitchFamily="34" charset="0"/>
                </a:rPr>
                <a:t>increase the reach of AGRA’s investments (impact at scale)</a:t>
              </a:r>
            </a:p>
          </p:txBody>
        </p:sp>
        <p:sp>
          <p:nvSpPr>
            <p:cNvPr id="29" name="Rectangle 28"/>
            <p:cNvSpPr/>
            <p:nvPr/>
          </p:nvSpPr>
          <p:spPr>
            <a:xfrm>
              <a:off x="5493255" y="1413196"/>
              <a:ext cx="3750034" cy="1429718"/>
            </a:xfrm>
            <a:prstGeom prst="rect">
              <a:avLst/>
            </a:prstGeom>
            <a:ln>
              <a:solidFill>
                <a:schemeClr val="tx1"/>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60365" tIns="30183" rIns="60365" bIns="30183" numCol="1" spcCol="0" rtlCol="0" fromWordArt="0" anchor="ctr" anchorCtr="0" forceAA="0" compatLnSpc="1">
              <a:prstTxWarp prst="textNoShape">
                <a:avLst/>
              </a:prstTxWarp>
              <a:noAutofit/>
            </a:bodyPr>
            <a:lstStyle/>
            <a:p>
              <a:pPr defTabSz="742950">
                <a:buClrTx/>
              </a:pPr>
              <a:r>
                <a:rPr lang="en-US" sz="853" b="1" kern="1200" dirty="0">
                  <a:solidFill>
                    <a:prstClr val="black"/>
                  </a:solidFill>
                  <a:latin typeface="Arial" panose="020B0604020202020204" pitchFamily="34" charset="0"/>
                  <a:cs typeface="Arial" panose="020B0604020202020204" pitchFamily="34" charset="0"/>
                </a:rPr>
                <a:t>State capacity and policy </a:t>
              </a:r>
            </a:p>
            <a:p>
              <a:pPr defTabSz="742950">
                <a:buClrTx/>
              </a:pPr>
              <a:r>
                <a:rPr lang="en-US" sz="813" kern="1200" dirty="0">
                  <a:solidFill>
                    <a:prstClr val="black"/>
                  </a:solidFill>
                  <a:latin typeface="Arial" panose="020B0604020202020204" pitchFamily="34" charset="0"/>
                  <a:cs typeface="Arial" panose="020B0604020202020204" pitchFamily="34" charset="0"/>
                </a:rPr>
                <a:t>Develop state capability to:</a:t>
              </a:r>
            </a:p>
            <a:p>
              <a:pPr marL="188640" indent="-188640" defTabSz="742950">
                <a:buClrTx/>
                <a:buFont typeface="Arial" panose="020B0604020202020204" pitchFamily="34" charset="0"/>
                <a:buChar char="•"/>
              </a:pPr>
              <a:r>
                <a:rPr lang="en-US" sz="813" kern="1200" dirty="0">
                  <a:solidFill>
                    <a:prstClr val="black"/>
                  </a:solidFill>
                  <a:latin typeface="Arial" panose="020B0604020202020204" pitchFamily="34" charset="0"/>
                  <a:cs typeface="Arial" panose="020B0604020202020204" pitchFamily="34" charset="0"/>
                </a:rPr>
                <a:t>Rationalize and roll out of the existing Input Subsidy Program</a:t>
              </a:r>
            </a:p>
            <a:p>
              <a:pPr marL="188640" indent="-188640" defTabSz="742950">
                <a:buClrTx/>
                <a:buFont typeface="Arial" panose="020B0604020202020204" pitchFamily="34" charset="0"/>
                <a:buChar char="•"/>
              </a:pPr>
              <a:r>
                <a:rPr lang="en-US" sz="813" kern="1200" dirty="0">
                  <a:solidFill>
                    <a:prstClr val="black"/>
                  </a:solidFill>
                  <a:latin typeface="Arial" panose="020B0604020202020204" pitchFamily="34" charset="0"/>
                  <a:cs typeface="Arial" panose="020B0604020202020204" pitchFamily="34" charset="0"/>
                </a:rPr>
                <a:t>Domesticate the ECOWAS seed and fertilizer regulation.</a:t>
              </a:r>
            </a:p>
            <a:p>
              <a:pPr marL="188640" indent="-188640" defTabSz="742950">
                <a:buClrTx/>
                <a:buFont typeface="Arial" panose="020B0604020202020204" pitchFamily="34" charset="0"/>
                <a:buChar char="•"/>
              </a:pPr>
              <a:r>
                <a:rPr lang="en-US" sz="813" kern="1200" dirty="0">
                  <a:solidFill>
                    <a:prstClr val="black"/>
                  </a:solidFill>
                  <a:latin typeface="Arial" panose="020B0604020202020204" pitchFamily="34" charset="0"/>
                  <a:cs typeface="Arial" panose="020B0604020202020204" pitchFamily="34" charset="0"/>
                </a:rPr>
                <a:t>Cascade the PNISA (NAIP) to the subnational level and develop regional investment plans</a:t>
              </a:r>
            </a:p>
            <a:p>
              <a:pPr marL="188640" indent="-188640" defTabSz="742950">
                <a:buClrTx/>
                <a:buFont typeface="Arial" panose="020B0604020202020204" pitchFamily="34" charset="0"/>
                <a:buChar char="•"/>
              </a:pPr>
              <a:r>
                <a:rPr lang="en-US" sz="813" kern="1200" dirty="0">
                  <a:solidFill>
                    <a:prstClr val="black"/>
                  </a:solidFill>
                  <a:latin typeface="Arial" panose="020B0604020202020204" pitchFamily="34" charset="0"/>
                  <a:cs typeface="Arial" panose="020B0604020202020204" pitchFamily="34" charset="0"/>
                </a:rPr>
                <a:t>Strengthen the M&amp;E system of the Ministry of Agriculture through the CPS/SDR</a:t>
              </a:r>
            </a:p>
          </p:txBody>
        </p:sp>
      </p:grpSp>
      <p:sp>
        <p:nvSpPr>
          <p:cNvPr id="33" name="Isosceles Triangle 32"/>
          <p:cNvSpPr/>
          <p:nvPr/>
        </p:nvSpPr>
        <p:spPr>
          <a:xfrm rot="16200000">
            <a:off x="5500021" y="3850047"/>
            <a:ext cx="2876814" cy="75734"/>
          </a:xfrm>
          <a:prstGeom prst="triangle">
            <a:avLst/>
          </a:prstGeom>
          <a:solidFill>
            <a:schemeClr val="bg2">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365" tIns="30183" rIns="60365" bIns="30183" numCol="1" spcCol="0" rtlCol="0" fromWordArt="0" anchor="ctr" anchorCtr="0" forceAA="0" compatLnSpc="1">
            <a:prstTxWarp prst="textNoShape">
              <a:avLst/>
            </a:prstTxWarp>
            <a:noAutofit/>
          </a:bodyPr>
          <a:lstStyle/>
          <a:p>
            <a:pPr algn="ctr" defTabSz="742950">
              <a:buClrTx/>
            </a:pPr>
            <a:endParaRPr lang="en-US" sz="925" kern="1200" dirty="0">
              <a:solidFill>
                <a:srgbClr val="70AD47">
                  <a:lumMod val="50000"/>
                </a:srgbClr>
              </a:solidFill>
              <a:latin typeface="Arial" panose="020B0604020202020204" pitchFamily="34" charset="0"/>
              <a:cs typeface="Arial" panose="020B0604020202020204" pitchFamily="34" charset="0"/>
            </a:endParaRPr>
          </a:p>
        </p:txBody>
      </p:sp>
      <p:sp>
        <p:nvSpPr>
          <p:cNvPr id="34" name="Up Arrow 33"/>
          <p:cNvSpPr/>
          <p:nvPr/>
        </p:nvSpPr>
        <p:spPr>
          <a:xfrm>
            <a:off x="766572" y="1442094"/>
            <a:ext cx="156670" cy="3941617"/>
          </a:xfrm>
          <a:prstGeom prst="upArrow">
            <a:avLst/>
          </a:prstGeom>
          <a:solidFill>
            <a:schemeClr val="tx1">
              <a:lumMod val="65000"/>
              <a:lumOff val="3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365" tIns="30183" rIns="60365" bIns="30183" numCol="1" spcCol="0" rtlCol="0" fromWordArt="0" anchor="ctr" anchorCtr="0" forceAA="0" compatLnSpc="1">
            <a:prstTxWarp prst="textNoShape">
              <a:avLst/>
            </a:prstTxWarp>
            <a:noAutofit/>
          </a:bodyPr>
          <a:lstStyle/>
          <a:p>
            <a:pPr algn="ctr" defTabSz="742950">
              <a:buClrTx/>
            </a:pPr>
            <a:endParaRPr lang="en-US" sz="925" kern="1200" dirty="0">
              <a:solidFill>
                <a:srgbClr val="70AD47">
                  <a:lumMod val="50000"/>
                </a:srgbClr>
              </a:solidFill>
              <a:latin typeface="Arial" panose="020B0604020202020204" pitchFamily="34" charset="0"/>
              <a:cs typeface="Arial" panose="020B0604020202020204" pitchFamily="34" charset="0"/>
            </a:endParaRPr>
          </a:p>
        </p:txBody>
      </p:sp>
      <p:grpSp>
        <p:nvGrpSpPr>
          <p:cNvPr id="36" name="Group 35"/>
          <p:cNvGrpSpPr/>
          <p:nvPr/>
        </p:nvGrpSpPr>
        <p:grpSpPr>
          <a:xfrm>
            <a:off x="1044298" y="1410970"/>
            <a:ext cx="397416" cy="3704027"/>
            <a:chOff x="9020551" y="-200635"/>
            <a:chExt cx="546991" cy="5610832"/>
          </a:xfrm>
        </p:grpSpPr>
        <p:sp>
          <p:nvSpPr>
            <p:cNvPr id="37" name="TextBox 36"/>
            <p:cNvSpPr txBox="1"/>
            <p:nvPr/>
          </p:nvSpPr>
          <p:spPr>
            <a:xfrm rot="16200000" flipH="1">
              <a:off x="8504340" y="4489951"/>
              <a:ext cx="1545638" cy="294854"/>
            </a:xfrm>
            <a:prstGeom prst="rect">
              <a:avLst/>
            </a:prstGeom>
            <a:noFill/>
          </p:spPr>
          <p:txBody>
            <a:bodyPr wrap="square" rtlCol="0">
              <a:spAutoFit/>
            </a:bodyPr>
            <a:lstStyle/>
            <a:p>
              <a:pPr algn="ctr" defTabSz="742950">
                <a:buClrTx/>
              </a:pPr>
              <a:r>
                <a:rPr lang="en-US" sz="661" b="1" kern="1200" dirty="0">
                  <a:solidFill>
                    <a:prstClr val="black"/>
                  </a:solidFill>
                  <a:latin typeface="Arial" panose="020B0604020202020204" pitchFamily="34" charset="0"/>
                  <a:ea typeface="+mn-ea"/>
                  <a:cs typeface="Arial" panose="020B0604020202020204" pitchFamily="34" charset="0"/>
                </a:rPr>
                <a:t>What AGRA </a:t>
              </a:r>
              <a:r>
                <a:rPr lang="en-US" sz="792" b="1" kern="1200" dirty="0">
                  <a:solidFill>
                    <a:prstClr val="black"/>
                  </a:solidFill>
                  <a:latin typeface="Arial" panose="020B0604020202020204" pitchFamily="34" charset="0"/>
                  <a:ea typeface="+mn-ea"/>
                  <a:cs typeface="Arial" panose="020B0604020202020204" pitchFamily="34" charset="0"/>
                </a:rPr>
                <a:t>does</a:t>
              </a:r>
            </a:p>
          </p:txBody>
        </p:sp>
        <p:sp>
          <p:nvSpPr>
            <p:cNvPr id="38" name="TextBox 37"/>
            <p:cNvSpPr txBox="1"/>
            <p:nvPr/>
          </p:nvSpPr>
          <p:spPr>
            <a:xfrm rot="16200000" flipH="1">
              <a:off x="8535229" y="342808"/>
              <a:ext cx="1493908" cy="407022"/>
            </a:xfrm>
            <a:prstGeom prst="rect">
              <a:avLst/>
            </a:prstGeom>
            <a:noFill/>
          </p:spPr>
          <p:txBody>
            <a:bodyPr wrap="square" rtlCol="0">
              <a:spAutoFit/>
            </a:bodyPr>
            <a:lstStyle/>
            <a:p>
              <a:pPr algn="ctr" defTabSz="742950">
                <a:buClrTx/>
              </a:pPr>
              <a:r>
                <a:rPr lang="en-US" sz="661" b="1" kern="1200" dirty="0">
                  <a:solidFill>
                    <a:prstClr val="black"/>
                  </a:solidFill>
                  <a:latin typeface="Arial" panose="020B0604020202020204" pitchFamily="34" charset="0"/>
                  <a:ea typeface="+mn-ea"/>
                  <a:cs typeface="Arial" panose="020B0604020202020204" pitchFamily="34" charset="0"/>
                </a:rPr>
                <a:t>AGRA’s Strategic Country Goals</a:t>
              </a:r>
            </a:p>
          </p:txBody>
        </p:sp>
        <p:sp>
          <p:nvSpPr>
            <p:cNvPr id="39" name="TextBox 38"/>
            <p:cNvSpPr txBox="1"/>
            <p:nvPr/>
          </p:nvSpPr>
          <p:spPr>
            <a:xfrm rot="16200000" flipH="1">
              <a:off x="8296672" y="2398503"/>
              <a:ext cx="1994750" cy="546991"/>
            </a:xfrm>
            <a:prstGeom prst="rect">
              <a:avLst/>
            </a:prstGeom>
            <a:noFill/>
          </p:spPr>
          <p:txBody>
            <a:bodyPr wrap="square" rtlCol="0">
              <a:spAutoFit/>
            </a:bodyPr>
            <a:lstStyle/>
            <a:p>
              <a:pPr algn="ctr" defTabSz="742950">
                <a:buClrTx/>
              </a:pPr>
              <a:r>
                <a:rPr lang="en-US" sz="661" b="1" kern="1200" dirty="0">
                  <a:solidFill>
                    <a:prstClr val="black"/>
                  </a:solidFill>
                  <a:latin typeface="Arial" panose="020B0604020202020204" pitchFamily="34" charset="0"/>
                  <a:ea typeface="+mn-ea"/>
                  <a:cs typeface="Arial" panose="020B0604020202020204" pitchFamily="34" charset="0"/>
                </a:rPr>
                <a:t>So that the target population, institution or resource change </a:t>
              </a:r>
            </a:p>
          </p:txBody>
        </p:sp>
      </p:grpSp>
      <p:sp>
        <p:nvSpPr>
          <p:cNvPr id="40" name="Rectangle 39"/>
          <p:cNvSpPr/>
          <p:nvPr/>
        </p:nvSpPr>
        <p:spPr>
          <a:xfrm>
            <a:off x="1452074" y="4379783"/>
            <a:ext cx="5335677" cy="1150160"/>
          </a:xfrm>
          <a:prstGeom prst="rect">
            <a:avLst/>
          </a:prstGeom>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60365" tIns="30183" rIns="60365" bIns="30183" numCol="1" spcCol="0" rtlCol="0" fromWordArt="0" anchor="ctr" anchorCtr="0" forceAA="0" compatLnSpc="1">
            <a:prstTxWarp prst="textNoShape">
              <a:avLst/>
            </a:prstTxWarp>
            <a:noAutofit/>
          </a:bodyPr>
          <a:lstStyle/>
          <a:p>
            <a:pPr algn="ctr" defTabSz="742950">
              <a:buClrTx/>
            </a:pPr>
            <a:r>
              <a:rPr lang="en-GB" sz="661" b="1" kern="1200" dirty="0">
                <a:solidFill>
                  <a:prstClr val="black"/>
                </a:solidFill>
                <a:latin typeface="Arial" panose="020B0604020202020204" pitchFamily="34" charset="0"/>
                <a:cs typeface="Arial" panose="020B0604020202020204" pitchFamily="34" charset="0"/>
              </a:rPr>
              <a:t>Country Investment areas </a:t>
            </a:r>
          </a:p>
          <a:p>
            <a:pPr marL="113184" indent="-113184" defTabSz="742950">
              <a:buClrTx/>
              <a:buFont typeface="Arial" panose="020B0604020202020204" pitchFamily="34" charset="0"/>
              <a:buChar char="•"/>
            </a:pPr>
            <a:r>
              <a:rPr lang="en-US" sz="813" kern="1200" dirty="0">
                <a:solidFill>
                  <a:schemeClr val="tx1"/>
                </a:solidFill>
                <a:latin typeface="Arial" panose="020B0604020202020204" pitchFamily="34" charset="0"/>
                <a:cs typeface="Arial" panose="020B0604020202020204" pitchFamily="34" charset="0"/>
              </a:rPr>
              <a:t>Developing and strengthening input systems (seed and fertilizer)</a:t>
            </a:r>
          </a:p>
          <a:p>
            <a:pPr marL="113184" indent="-113184" defTabSz="742950">
              <a:buClrTx/>
              <a:buFont typeface="Arial" panose="020B0604020202020204" pitchFamily="34" charset="0"/>
              <a:buChar char="•"/>
            </a:pPr>
            <a:r>
              <a:rPr lang="en-US" sz="813" kern="1200" dirty="0">
                <a:solidFill>
                  <a:schemeClr val="tx1"/>
                </a:solidFill>
                <a:latin typeface="Arial" panose="020B0604020202020204" pitchFamily="34" charset="0"/>
                <a:cs typeface="Arial" panose="020B0604020202020204" pitchFamily="34" charset="0"/>
              </a:rPr>
              <a:t>Developing and strengthening extension and advisory services (VBAs, E-extension…)</a:t>
            </a:r>
          </a:p>
          <a:p>
            <a:pPr marL="113184" indent="-113184" defTabSz="742950">
              <a:buClrTx/>
              <a:buFont typeface="Arial" panose="020B0604020202020204" pitchFamily="34" charset="0"/>
              <a:buChar char="•"/>
            </a:pPr>
            <a:r>
              <a:rPr lang="en-US" sz="813" kern="1200" dirty="0" smtClean="0">
                <a:solidFill>
                  <a:schemeClr val="tx1"/>
                </a:solidFill>
                <a:latin typeface="Arial" panose="020B0604020202020204" pitchFamily="34" charset="0"/>
                <a:cs typeface="Arial" panose="020B0604020202020204" pitchFamily="34" charset="0"/>
              </a:rPr>
              <a:t>Developing </a:t>
            </a:r>
            <a:r>
              <a:rPr lang="en-US" sz="813" kern="1200" dirty="0">
                <a:solidFill>
                  <a:schemeClr val="tx1"/>
                </a:solidFill>
                <a:latin typeface="Arial" panose="020B0604020202020204" pitchFamily="34" charset="0"/>
                <a:cs typeface="Arial" panose="020B0604020202020204" pitchFamily="34" charset="0"/>
              </a:rPr>
              <a:t>and strengthening responsive agricultural finance and credit systems based on risk sharing mechanism between value chain actors</a:t>
            </a:r>
          </a:p>
          <a:p>
            <a:pPr marL="113184" indent="-113184" defTabSz="742950">
              <a:buClrTx/>
              <a:buFont typeface="Arial" panose="020B0604020202020204" pitchFamily="34" charset="0"/>
              <a:buChar char="•"/>
            </a:pPr>
            <a:r>
              <a:rPr lang="en-US" sz="813" kern="1200" dirty="0">
                <a:solidFill>
                  <a:schemeClr val="tx1"/>
                </a:solidFill>
                <a:latin typeface="Arial" panose="020B0604020202020204" pitchFamily="34" charset="0"/>
                <a:cs typeface="Arial" panose="020B0604020202020204" pitchFamily="34" charset="0"/>
              </a:rPr>
              <a:t>Developing and strengthening stable reliable and remunerative output markets</a:t>
            </a:r>
          </a:p>
          <a:p>
            <a:pPr marL="113184" indent="-113184" defTabSz="742950">
              <a:buClrTx/>
              <a:buFont typeface="Arial" panose="020B0604020202020204" pitchFamily="34" charset="0"/>
              <a:buChar char="•"/>
            </a:pPr>
            <a:r>
              <a:rPr lang="en-US" sz="813" kern="1200" dirty="0">
                <a:solidFill>
                  <a:schemeClr val="tx1"/>
                </a:solidFill>
                <a:latin typeface="Arial" panose="020B0604020202020204" pitchFamily="34" charset="0"/>
                <a:cs typeface="Arial" panose="020B0604020202020204" pitchFamily="34" charset="0"/>
              </a:rPr>
              <a:t>Building the capacity of various value chain actors, farmer level, private and public </a:t>
            </a:r>
            <a:r>
              <a:rPr lang="en-US" sz="813" kern="1200" dirty="0" smtClean="0">
                <a:solidFill>
                  <a:schemeClr val="tx1"/>
                </a:solidFill>
                <a:latin typeface="Arial" panose="020B0604020202020204" pitchFamily="34" charset="0"/>
                <a:cs typeface="Arial" panose="020B0604020202020204" pitchFamily="34" charset="0"/>
              </a:rPr>
              <a:t>sector</a:t>
            </a:r>
          </a:p>
          <a:p>
            <a:pPr marL="113184" indent="-113184" defTabSz="742950">
              <a:buClrTx/>
              <a:buFont typeface="Arial" panose="020B0604020202020204" pitchFamily="34" charset="0"/>
              <a:buChar char="•"/>
            </a:pPr>
            <a:r>
              <a:rPr lang="en-US" sz="813" kern="1200" dirty="0" smtClean="0">
                <a:solidFill>
                  <a:schemeClr val="tx1"/>
                </a:solidFill>
                <a:latin typeface="Arial" panose="020B0604020202020204" pitchFamily="34" charset="0"/>
                <a:cs typeface="Arial" panose="020B0604020202020204" pitchFamily="34" charset="0"/>
              </a:rPr>
              <a:t>Developing and strengthening systems for climate smart agriculture practices at farmer and systems level</a:t>
            </a:r>
            <a:endParaRPr lang="en-US" sz="813" kern="1200" dirty="0">
              <a:solidFill>
                <a:schemeClr val="tx1"/>
              </a:solidFill>
              <a:latin typeface="Arial" panose="020B0604020202020204" pitchFamily="34" charset="0"/>
              <a:cs typeface="Arial" panose="020B0604020202020204" pitchFamily="34" charset="0"/>
            </a:endParaRPr>
          </a:p>
        </p:txBody>
      </p:sp>
      <p:sp>
        <p:nvSpPr>
          <p:cNvPr id="3" name="TextBox 2"/>
          <p:cNvSpPr txBox="1"/>
          <p:nvPr/>
        </p:nvSpPr>
        <p:spPr>
          <a:xfrm>
            <a:off x="7462501" y="1991068"/>
            <a:ext cx="1228221" cy="223587"/>
          </a:xfrm>
          <a:prstGeom prst="rect">
            <a:avLst/>
          </a:prstGeom>
          <a:noFill/>
        </p:spPr>
        <p:txBody>
          <a:bodyPr wrap="none" rtlCol="0">
            <a:spAutoFit/>
          </a:bodyPr>
          <a:lstStyle/>
          <a:p>
            <a:pPr defTabSz="742950">
              <a:buClrTx/>
            </a:pPr>
            <a:r>
              <a:rPr lang="en-US" sz="853" b="1" kern="1200" dirty="0">
                <a:solidFill>
                  <a:prstClr val="black"/>
                </a:solidFill>
                <a:latin typeface="Arial" panose="020B0604020202020204" pitchFamily="34" charset="0"/>
                <a:ea typeface="+mn-ea"/>
                <a:cs typeface="Arial" panose="020B0604020202020204" pitchFamily="34" charset="0"/>
              </a:rPr>
              <a:t>Cross Cutting areas</a:t>
            </a:r>
          </a:p>
        </p:txBody>
      </p:sp>
      <p:sp>
        <p:nvSpPr>
          <p:cNvPr id="30" name="Rectangle 29"/>
          <p:cNvSpPr/>
          <p:nvPr/>
        </p:nvSpPr>
        <p:spPr>
          <a:xfrm>
            <a:off x="4100720" y="2375682"/>
            <a:ext cx="2633059" cy="1254966"/>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60365" tIns="30183" rIns="60365" bIns="30183" numCol="1" spcCol="0" rtlCol="0" fromWordArt="0" anchor="ctr" anchorCtr="0" forceAA="0" compatLnSpc="1">
            <a:prstTxWarp prst="textNoShape">
              <a:avLst/>
            </a:prstTxWarp>
            <a:noAutofit/>
          </a:bodyPr>
          <a:lstStyle/>
          <a:p>
            <a:pPr defTabSz="742950">
              <a:buClrTx/>
            </a:pPr>
            <a:r>
              <a:rPr lang="en-US" sz="813" b="1" kern="1200" dirty="0">
                <a:solidFill>
                  <a:prstClr val="black"/>
                </a:solidFill>
                <a:latin typeface="Arial" panose="020B0604020202020204" pitchFamily="34" charset="0"/>
                <a:cs typeface="Arial" panose="020B0604020202020204" pitchFamily="34" charset="0"/>
              </a:rPr>
              <a:t>Other value chain actors</a:t>
            </a:r>
          </a:p>
          <a:p>
            <a:pPr marL="113184" indent="-113184" defTabSz="742950">
              <a:buClrTx/>
              <a:buFont typeface="Arial" panose="020B0604020202020204" pitchFamily="34" charset="0"/>
              <a:buChar char="•"/>
            </a:pPr>
            <a:r>
              <a:rPr lang="en-US" sz="813" kern="1200" dirty="0">
                <a:solidFill>
                  <a:prstClr val="black"/>
                </a:solidFill>
                <a:latin typeface="Arial" panose="020B0604020202020204" pitchFamily="34" charset="0"/>
                <a:cs typeface="Arial" panose="020B0604020202020204" pitchFamily="34" charset="0"/>
              </a:rPr>
              <a:t>SMEs  becoming more efficient in producing and  delivering inputs, extension, services to farmers</a:t>
            </a:r>
          </a:p>
          <a:p>
            <a:pPr marL="113184" indent="-113184" defTabSz="742950">
              <a:buClrTx/>
              <a:buFont typeface="Arial" panose="020B0604020202020204" pitchFamily="34" charset="0"/>
              <a:buChar char="•"/>
            </a:pPr>
            <a:r>
              <a:rPr lang="en-US" sz="813" kern="1200" dirty="0">
                <a:solidFill>
                  <a:prstClr val="black"/>
                </a:solidFill>
                <a:latin typeface="Arial" panose="020B0604020202020204" pitchFamily="34" charset="0"/>
                <a:cs typeface="Arial" panose="020B0604020202020204" pitchFamily="34" charset="0"/>
              </a:rPr>
              <a:t>Bank and non-bank institutions providing financial  services to MSMEs and farmers </a:t>
            </a:r>
          </a:p>
          <a:p>
            <a:pPr marL="113184" indent="-113184" defTabSz="742950">
              <a:buClrTx/>
              <a:buFont typeface="Arial" panose="020B0604020202020204" pitchFamily="34" charset="0"/>
              <a:buChar char="•"/>
            </a:pPr>
            <a:r>
              <a:rPr lang="en-US" sz="813" kern="1200" dirty="0">
                <a:solidFill>
                  <a:prstClr val="black"/>
                </a:solidFill>
                <a:latin typeface="Arial" panose="020B0604020202020204" pitchFamily="34" charset="0"/>
                <a:cs typeface="Arial" panose="020B0604020202020204" pitchFamily="34" charset="0"/>
              </a:rPr>
              <a:t>Large, MSMEs providing off-taking,  warehousing and processing services</a:t>
            </a:r>
          </a:p>
          <a:p>
            <a:pPr marL="113184" indent="-113184" defTabSz="742950">
              <a:buClrTx/>
              <a:buFont typeface="Arial" panose="020B0604020202020204" pitchFamily="34" charset="0"/>
              <a:buChar char="•"/>
            </a:pPr>
            <a:r>
              <a:rPr lang="en-US" sz="813" kern="1200" dirty="0">
                <a:solidFill>
                  <a:prstClr val="black"/>
                </a:solidFill>
                <a:latin typeface="Arial" panose="020B0604020202020204" pitchFamily="34" charset="0"/>
                <a:cs typeface="Arial" panose="020B0604020202020204" pitchFamily="34" charset="0"/>
              </a:rPr>
              <a:t>Better coordination of business among value chain actors. </a:t>
            </a:r>
          </a:p>
          <a:p>
            <a:pPr defTabSz="742950">
              <a:buClrTx/>
            </a:pPr>
            <a:endParaRPr lang="en-US" sz="594" kern="1200" dirty="0">
              <a:solidFill>
                <a:prstClr val="black"/>
              </a:solidFill>
              <a:latin typeface="Arial" panose="020B0604020202020204" pitchFamily="34" charset="0"/>
              <a:cs typeface="Arial" panose="020B0604020202020204" pitchFamily="34" charset="0"/>
            </a:endParaRPr>
          </a:p>
        </p:txBody>
      </p:sp>
      <p:sp>
        <p:nvSpPr>
          <p:cNvPr id="27" name="Title 1"/>
          <p:cNvSpPr>
            <a:spLocks noGrp="1"/>
          </p:cNvSpPr>
          <p:nvPr>
            <p:ph type="title"/>
          </p:nvPr>
        </p:nvSpPr>
        <p:spPr/>
        <p:txBody>
          <a:bodyPr/>
          <a:lstStyle/>
          <a:p>
            <a:r>
              <a:rPr lang="en-US" dirty="0"/>
              <a:t>Mali Theory of Change</a:t>
            </a:r>
          </a:p>
        </p:txBody>
      </p:sp>
    </p:spTree>
    <p:extLst>
      <p:ext uri="{BB962C8B-B14F-4D97-AF65-F5344CB8AC3E}">
        <p14:creationId xmlns:p14="http://schemas.microsoft.com/office/powerpoint/2010/main" val="33734135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76" name="think-cell Slide" r:id="rId5" imgW="360" imgH="360" progId="TCLayout.ActiveDocument.1">
                  <p:embed/>
                </p:oleObj>
              </mc:Choice>
              <mc:Fallback>
                <p:oleObj name="think-cell Slide" r:id="rId5" imgW="360" imgH="36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031" b="1" dirty="0">
              <a:solidFill>
                <a:srgbClr val="FFFFFF"/>
              </a:solidFill>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AGRA’s Strategy continues to build off of past work done in Mali to drive for scale and sustainability</a:t>
            </a:r>
          </a:p>
        </p:txBody>
      </p:sp>
      <p:sp>
        <p:nvSpPr>
          <p:cNvPr id="7" name="TextBox 6"/>
          <p:cNvSpPr txBox="1"/>
          <p:nvPr/>
        </p:nvSpPr>
        <p:spPr>
          <a:xfrm>
            <a:off x="186044" y="899397"/>
            <a:ext cx="5427347" cy="600164"/>
          </a:xfrm>
          <a:prstGeom prst="rect">
            <a:avLst/>
          </a:prstGeom>
          <a:noFill/>
        </p:spPr>
        <p:txBody>
          <a:bodyPr wrap="square" rtlCol="0">
            <a:spAutoFit/>
          </a:bodyPr>
          <a:lstStyle/>
          <a:p>
            <a:pPr algn="just">
              <a:spcAft>
                <a:spcPts val="600"/>
              </a:spcAft>
            </a:pPr>
            <a:r>
              <a:rPr lang="en-US" sz="1100" dirty="0"/>
              <a:t>Over the last decade, AGRA has invested </a:t>
            </a:r>
            <a:r>
              <a:rPr lang="en-US" sz="1100" b="1" dirty="0" smtClean="0"/>
              <a:t>$</a:t>
            </a:r>
            <a:r>
              <a:rPr lang="en-US" sz="1100" b="1" dirty="0"/>
              <a:t>20.24million </a:t>
            </a:r>
            <a:r>
              <a:rPr lang="en-US" sz="1100" dirty="0"/>
              <a:t>in Mali and contributed to sector development. Through these investments, AGRA made progress that we continue to build off of in the new strategy:</a:t>
            </a:r>
          </a:p>
        </p:txBody>
      </p:sp>
      <p:sp>
        <p:nvSpPr>
          <p:cNvPr id="17" name="Rectangle 16"/>
          <p:cNvSpPr/>
          <p:nvPr/>
        </p:nvSpPr>
        <p:spPr>
          <a:xfrm>
            <a:off x="968188" y="1601459"/>
            <a:ext cx="2777630" cy="261610"/>
          </a:xfrm>
          <a:prstGeom prst="rect">
            <a:avLst/>
          </a:prstGeom>
        </p:spPr>
        <p:txBody>
          <a:bodyPr wrap="square">
            <a:spAutoFit/>
          </a:bodyPr>
          <a:lstStyle/>
          <a:p>
            <a:pPr algn="just">
              <a:spcAft>
                <a:spcPts val="600"/>
              </a:spcAft>
            </a:pPr>
            <a:r>
              <a:rPr lang="en-US" sz="1100" b="1" dirty="0"/>
              <a:t>7</a:t>
            </a:r>
            <a:r>
              <a:rPr lang="en-US" sz="1100" dirty="0"/>
              <a:t> PhDs and </a:t>
            </a:r>
            <a:r>
              <a:rPr lang="en-US" sz="1100" b="1" dirty="0"/>
              <a:t>33</a:t>
            </a:r>
            <a:r>
              <a:rPr lang="en-US" sz="1100" dirty="0"/>
              <a:t> MScs trained</a:t>
            </a:r>
          </a:p>
        </p:txBody>
      </p:sp>
      <p:grpSp>
        <p:nvGrpSpPr>
          <p:cNvPr id="18" name="Group 17"/>
          <p:cNvGrpSpPr>
            <a:grpSpLocks noChangeAspect="1"/>
          </p:cNvGrpSpPr>
          <p:nvPr/>
        </p:nvGrpSpPr>
        <p:grpSpPr>
          <a:xfrm>
            <a:off x="295836" y="1607110"/>
            <a:ext cx="411480" cy="409379"/>
            <a:chOff x="4179888" y="2610485"/>
            <a:chExt cx="311151" cy="309563"/>
          </a:xfrm>
          <a:solidFill>
            <a:schemeClr val="accent6">
              <a:lumMod val="75000"/>
            </a:schemeClr>
          </a:solidFill>
        </p:grpSpPr>
        <p:sp>
          <p:nvSpPr>
            <p:cNvPr id="19" name="Freeform 142"/>
            <p:cNvSpPr>
              <a:spLocks/>
            </p:cNvSpPr>
            <p:nvPr/>
          </p:nvSpPr>
          <p:spPr bwMode="auto">
            <a:xfrm>
              <a:off x="4179888" y="2661285"/>
              <a:ext cx="90488" cy="88900"/>
            </a:xfrm>
            <a:custGeom>
              <a:avLst/>
              <a:gdLst>
                <a:gd name="T0" fmla="*/ 45 w 114"/>
                <a:gd name="T1" fmla="*/ 87 h 113"/>
                <a:gd name="T2" fmla="*/ 45 w 114"/>
                <a:gd name="T3" fmla="*/ 87 h 113"/>
                <a:gd name="T4" fmla="*/ 53 w 114"/>
                <a:gd name="T5" fmla="*/ 87 h 113"/>
                <a:gd name="T6" fmla="*/ 59 w 114"/>
                <a:gd name="T7" fmla="*/ 85 h 113"/>
                <a:gd name="T8" fmla="*/ 66 w 114"/>
                <a:gd name="T9" fmla="*/ 82 h 113"/>
                <a:gd name="T10" fmla="*/ 71 w 114"/>
                <a:gd name="T11" fmla="*/ 79 h 113"/>
                <a:gd name="T12" fmla="*/ 104 w 114"/>
                <a:gd name="T13" fmla="*/ 111 h 113"/>
                <a:gd name="T14" fmla="*/ 104 w 114"/>
                <a:gd name="T15" fmla="*/ 111 h 113"/>
                <a:gd name="T16" fmla="*/ 105 w 114"/>
                <a:gd name="T17" fmla="*/ 113 h 113"/>
                <a:gd name="T18" fmla="*/ 108 w 114"/>
                <a:gd name="T19" fmla="*/ 113 h 113"/>
                <a:gd name="T20" fmla="*/ 108 w 114"/>
                <a:gd name="T21" fmla="*/ 113 h 113"/>
                <a:gd name="T22" fmla="*/ 110 w 114"/>
                <a:gd name="T23" fmla="*/ 113 h 113"/>
                <a:gd name="T24" fmla="*/ 112 w 114"/>
                <a:gd name="T25" fmla="*/ 111 h 113"/>
                <a:gd name="T26" fmla="*/ 112 w 114"/>
                <a:gd name="T27" fmla="*/ 111 h 113"/>
                <a:gd name="T28" fmla="*/ 113 w 114"/>
                <a:gd name="T29" fmla="*/ 109 h 113"/>
                <a:gd name="T30" fmla="*/ 114 w 114"/>
                <a:gd name="T31" fmla="*/ 106 h 113"/>
                <a:gd name="T32" fmla="*/ 113 w 114"/>
                <a:gd name="T33" fmla="*/ 103 h 113"/>
                <a:gd name="T34" fmla="*/ 112 w 114"/>
                <a:gd name="T35" fmla="*/ 102 h 113"/>
                <a:gd name="T36" fmla="*/ 79 w 114"/>
                <a:gd name="T37" fmla="*/ 70 h 113"/>
                <a:gd name="T38" fmla="*/ 79 w 114"/>
                <a:gd name="T39" fmla="*/ 70 h 113"/>
                <a:gd name="T40" fmla="*/ 84 w 114"/>
                <a:gd name="T41" fmla="*/ 64 h 113"/>
                <a:gd name="T42" fmla="*/ 86 w 114"/>
                <a:gd name="T43" fmla="*/ 58 h 113"/>
                <a:gd name="T44" fmla="*/ 89 w 114"/>
                <a:gd name="T45" fmla="*/ 51 h 113"/>
                <a:gd name="T46" fmla="*/ 89 w 114"/>
                <a:gd name="T47" fmla="*/ 43 h 113"/>
                <a:gd name="T48" fmla="*/ 89 w 114"/>
                <a:gd name="T49" fmla="*/ 43 h 113"/>
                <a:gd name="T50" fmla="*/ 88 w 114"/>
                <a:gd name="T51" fmla="*/ 35 h 113"/>
                <a:gd name="T52" fmla="*/ 85 w 114"/>
                <a:gd name="T53" fmla="*/ 27 h 113"/>
                <a:gd name="T54" fmla="*/ 81 w 114"/>
                <a:gd name="T55" fmla="*/ 19 h 113"/>
                <a:gd name="T56" fmla="*/ 75 w 114"/>
                <a:gd name="T57" fmla="*/ 12 h 113"/>
                <a:gd name="T58" fmla="*/ 70 w 114"/>
                <a:gd name="T59" fmla="*/ 7 h 113"/>
                <a:gd name="T60" fmla="*/ 62 w 114"/>
                <a:gd name="T61" fmla="*/ 3 h 113"/>
                <a:gd name="T62" fmla="*/ 54 w 114"/>
                <a:gd name="T63" fmla="*/ 0 h 113"/>
                <a:gd name="T64" fmla="*/ 45 w 114"/>
                <a:gd name="T65" fmla="*/ 0 h 113"/>
                <a:gd name="T66" fmla="*/ 45 w 114"/>
                <a:gd name="T67" fmla="*/ 0 h 113"/>
                <a:gd name="T68" fmla="*/ 36 w 114"/>
                <a:gd name="T69" fmla="*/ 0 h 113"/>
                <a:gd name="T70" fmla="*/ 27 w 114"/>
                <a:gd name="T71" fmla="*/ 3 h 113"/>
                <a:gd name="T72" fmla="*/ 20 w 114"/>
                <a:gd name="T73" fmla="*/ 7 h 113"/>
                <a:gd name="T74" fmla="*/ 14 w 114"/>
                <a:gd name="T75" fmla="*/ 12 h 113"/>
                <a:gd name="T76" fmla="*/ 8 w 114"/>
                <a:gd name="T77" fmla="*/ 19 h 113"/>
                <a:gd name="T78" fmla="*/ 4 w 114"/>
                <a:gd name="T79" fmla="*/ 27 h 113"/>
                <a:gd name="T80" fmla="*/ 2 w 114"/>
                <a:gd name="T81" fmla="*/ 35 h 113"/>
                <a:gd name="T82" fmla="*/ 0 w 114"/>
                <a:gd name="T83" fmla="*/ 43 h 113"/>
                <a:gd name="T84" fmla="*/ 0 w 114"/>
                <a:gd name="T85" fmla="*/ 43 h 113"/>
                <a:gd name="T86" fmla="*/ 2 w 114"/>
                <a:gd name="T87" fmla="*/ 52 h 113"/>
                <a:gd name="T88" fmla="*/ 4 w 114"/>
                <a:gd name="T89" fmla="*/ 60 h 113"/>
                <a:gd name="T90" fmla="*/ 8 w 114"/>
                <a:gd name="T91" fmla="*/ 68 h 113"/>
                <a:gd name="T92" fmla="*/ 14 w 114"/>
                <a:gd name="T93" fmla="*/ 75 h 113"/>
                <a:gd name="T94" fmla="*/ 20 w 114"/>
                <a:gd name="T95" fmla="*/ 80 h 113"/>
                <a:gd name="T96" fmla="*/ 27 w 114"/>
                <a:gd name="T97" fmla="*/ 85 h 113"/>
                <a:gd name="T98" fmla="*/ 36 w 114"/>
                <a:gd name="T99" fmla="*/ 86 h 113"/>
                <a:gd name="T100" fmla="*/ 45 w 114"/>
                <a:gd name="T101" fmla="*/ 87 h 113"/>
                <a:gd name="T102" fmla="*/ 45 w 114"/>
                <a:gd name="T103" fmla="*/ 87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4" h="113">
                  <a:moveTo>
                    <a:pt x="45" y="87"/>
                  </a:moveTo>
                  <a:lnTo>
                    <a:pt x="45" y="87"/>
                  </a:lnTo>
                  <a:lnTo>
                    <a:pt x="53" y="87"/>
                  </a:lnTo>
                  <a:lnTo>
                    <a:pt x="59" y="85"/>
                  </a:lnTo>
                  <a:lnTo>
                    <a:pt x="66" y="82"/>
                  </a:lnTo>
                  <a:lnTo>
                    <a:pt x="71" y="79"/>
                  </a:lnTo>
                  <a:lnTo>
                    <a:pt x="104" y="111"/>
                  </a:lnTo>
                  <a:lnTo>
                    <a:pt x="104" y="111"/>
                  </a:lnTo>
                  <a:lnTo>
                    <a:pt x="105" y="113"/>
                  </a:lnTo>
                  <a:lnTo>
                    <a:pt x="108" y="113"/>
                  </a:lnTo>
                  <a:lnTo>
                    <a:pt x="108" y="113"/>
                  </a:lnTo>
                  <a:lnTo>
                    <a:pt x="110" y="113"/>
                  </a:lnTo>
                  <a:lnTo>
                    <a:pt x="112" y="111"/>
                  </a:lnTo>
                  <a:lnTo>
                    <a:pt x="112" y="111"/>
                  </a:lnTo>
                  <a:lnTo>
                    <a:pt x="113" y="109"/>
                  </a:lnTo>
                  <a:lnTo>
                    <a:pt x="114" y="106"/>
                  </a:lnTo>
                  <a:lnTo>
                    <a:pt x="113" y="103"/>
                  </a:lnTo>
                  <a:lnTo>
                    <a:pt x="112" y="102"/>
                  </a:lnTo>
                  <a:lnTo>
                    <a:pt x="79" y="70"/>
                  </a:lnTo>
                  <a:lnTo>
                    <a:pt x="79" y="70"/>
                  </a:lnTo>
                  <a:lnTo>
                    <a:pt x="84" y="64"/>
                  </a:lnTo>
                  <a:lnTo>
                    <a:pt x="86" y="58"/>
                  </a:lnTo>
                  <a:lnTo>
                    <a:pt x="89" y="51"/>
                  </a:lnTo>
                  <a:lnTo>
                    <a:pt x="89" y="43"/>
                  </a:lnTo>
                  <a:lnTo>
                    <a:pt x="89" y="43"/>
                  </a:lnTo>
                  <a:lnTo>
                    <a:pt x="88" y="35"/>
                  </a:lnTo>
                  <a:lnTo>
                    <a:pt x="85" y="27"/>
                  </a:lnTo>
                  <a:lnTo>
                    <a:pt x="81" y="19"/>
                  </a:lnTo>
                  <a:lnTo>
                    <a:pt x="75" y="12"/>
                  </a:lnTo>
                  <a:lnTo>
                    <a:pt x="70" y="7"/>
                  </a:lnTo>
                  <a:lnTo>
                    <a:pt x="62" y="3"/>
                  </a:lnTo>
                  <a:lnTo>
                    <a:pt x="54" y="0"/>
                  </a:lnTo>
                  <a:lnTo>
                    <a:pt x="45" y="0"/>
                  </a:lnTo>
                  <a:lnTo>
                    <a:pt x="45" y="0"/>
                  </a:lnTo>
                  <a:lnTo>
                    <a:pt x="36" y="0"/>
                  </a:lnTo>
                  <a:lnTo>
                    <a:pt x="27" y="3"/>
                  </a:lnTo>
                  <a:lnTo>
                    <a:pt x="20" y="7"/>
                  </a:lnTo>
                  <a:lnTo>
                    <a:pt x="14" y="12"/>
                  </a:lnTo>
                  <a:lnTo>
                    <a:pt x="8" y="19"/>
                  </a:lnTo>
                  <a:lnTo>
                    <a:pt x="4" y="27"/>
                  </a:lnTo>
                  <a:lnTo>
                    <a:pt x="2" y="35"/>
                  </a:lnTo>
                  <a:lnTo>
                    <a:pt x="0" y="43"/>
                  </a:lnTo>
                  <a:lnTo>
                    <a:pt x="0" y="43"/>
                  </a:lnTo>
                  <a:lnTo>
                    <a:pt x="2" y="52"/>
                  </a:lnTo>
                  <a:lnTo>
                    <a:pt x="4" y="60"/>
                  </a:lnTo>
                  <a:lnTo>
                    <a:pt x="8" y="68"/>
                  </a:lnTo>
                  <a:lnTo>
                    <a:pt x="14" y="75"/>
                  </a:lnTo>
                  <a:lnTo>
                    <a:pt x="20" y="80"/>
                  </a:lnTo>
                  <a:lnTo>
                    <a:pt x="27" y="85"/>
                  </a:lnTo>
                  <a:lnTo>
                    <a:pt x="36" y="86"/>
                  </a:lnTo>
                  <a:lnTo>
                    <a:pt x="45" y="87"/>
                  </a:lnTo>
                  <a:lnTo>
                    <a:pt x="45"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buClrTx/>
                <a:buFontTx/>
                <a:buNone/>
                <a:defRPr/>
              </a:pPr>
              <a:endParaRPr lang="en-US" sz="2400" kern="1200" dirty="0">
                <a:solidFill>
                  <a:prstClr val="black"/>
                </a:solidFill>
                <a:latin typeface="Calibri"/>
                <a:ea typeface="+mn-ea"/>
              </a:endParaRPr>
            </a:p>
          </p:txBody>
        </p:sp>
        <p:sp>
          <p:nvSpPr>
            <p:cNvPr id="20" name="Freeform 143"/>
            <p:cNvSpPr>
              <a:spLocks/>
            </p:cNvSpPr>
            <p:nvPr/>
          </p:nvSpPr>
          <p:spPr bwMode="auto">
            <a:xfrm>
              <a:off x="4300538" y="2610485"/>
              <a:ext cx="69850" cy="111125"/>
            </a:xfrm>
            <a:custGeom>
              <a:avLst/>
              <a:gdLst>
                <a:gd name="T0" fmla="*/ 44 w 89"/>
                <a:gd name="T1" fmla="*/ 138 h 138"/>
                <a:gd name="T2" fmla="*/ 44 w 89"/>
                <a:gd name="T3" fmla="*/ 138 h 138"/>
                <a:gd name="T4" fmla="*/ 47 w 89"/>
                <a:gd name="T5" fmla="*/ 137 h 138"/>
                <a:gd name="T6" fmla="*/ 48 w 89"/>
                <a:gd name="T7" fmla="*/ 135 h 138"/>
                <a:gd name="T8" fmla="*/ 50 w 89"/>
                <a:gd name="T9" fmla="*/ 134 h 138"/>
                <a:gd name="T10" fmla="*/ 50 w 89"/>
                <a:gd name="T11" fmla="*/ 131 h 138"/>
                <a:gd name="T12" fmla="*/ 50 w 89"/>
                <a:gd name="T13" fmla="*/ 87 h 138"/>
                <a:gd name="T14" fmla="*/ 50 w 89"/>
                <a:gd name="T15" fmla="*/ 87 h 138"/>
                <a:gd name="T16" fmla="*/ 58 w 89"/>
                <a:gd name="T17" fmla="*/ 86 h 138"/>
                <a:gd name="T18" fmla="*/ 66 w 89"/>
                <a:gd name="T19" fmla="*/ 82 h 138"/>
                <a:gd name="T20" fmla="*/ 71 w 89"/>
                <a:gd name="T21" fmla="*/ 78 h 138"/>
                <a:gd name="T22" fmla="*/ 77 w 89"/>
                <a:gd name="T23" fmla="*/ 72 h 138"/>
                <a:gd name="T24" fmla="*/ 82 w 89"/>
                <a:gd name="T25" fmla="*/ 66 h 138"/>
                <a:gd name="T26" fmla="*/ 85 w 89"/>
                <a:gd name="T27" fmla="*/ 59 h 138"/>
                <a:gd name="T28" fmla="*/ 87 w 89"/>
                <a:gd name="T29" fmla="*/ 51 h 138"/>
                <a:gd name="T30" fmla="*/ 89 w 89"/>
                <a:gd name="T31" fmla="*/ 43 h 138"/>
                <a:gd name="T32" fmla="*/ 89 w 89"/>
                <a:gd name="T33" fmla="*/ 43 h 138"/>
                <a:gd name="T34" fmla="*/ 87 w 89"/>
                <a:gd name="T35" fmla="*/ 35 h 138"/>
                <a:gd name="T36" fmla="*/ 85 w 89"/>
                <a:gd name="T37" fmla="*/ 27 h 138"/>
                <a:gd name="T38" fmla="*/ 81 w 89"/>
                <a:gd name="T39" fmla="*/ 18 h 138"/>
                <a:gd name="T40" fmla="*/ 75 w 89"/>
                <a:gd name="T41" fmla="*/ 12 h 138"/>
                <a:gd name="T42" fmla="*/ 69 w 89"/>
                <a:gd name="T43" fmla="*/ 6 h 138"/>
                <a:gd name="T44" fmla="*/ 62 w 89"/>
                <a:gd name="T45" fmla="*/ 2 h 138"/>
                <a:gd name="T46" fmla="*/ 52 w 89"/>
                <a:gd name="T47" fmla="*/ 0 h 138"/>
                <a:gd name="T48" fmla="*/ 44 w 89"/>
                <a:gd name="T49" fmla="*/ 0 h 138"/>
                <a:gd name="T50" fmla="*/ 44 w 89"/>
                <a:gd name="T51" fmla="*/ 0 h 138"/>
                <a:gd name="T52" fmla="*/ 35 w 89"/>
                <a:gd name="T53" fmla="*/ 0 h 138"/>
                <a:gd name="T54" fmla="*/ 27 w 89"/>
                <a:gd name="T55" fmla="*/ 2 h 138"/>
                <a:gd name="T56" fmla="*/ 19 w 89"/>
                <a:gd name="T57" fmla="*/ 6 h 138"/>
                <a:gd name="T58" fmla="*/ 14 w 89"/>
                <a:gd name="T59" fmla="*/ 12 h 138"/>
                <a:gd name="T60" fmla="*/ 8 w 89"/>
                <a:gd name="T61" fmla="*/ 18 h 138"/>
                <a:gd name="T62" fmla="*/ 4 w 89"/>
                <a:gd name="T63" fmla="*/ 27 h 138"/>
                <a:gd name="T64" fmla="*/ 1 w 89"/>
                <a:gd name="T65" fmla="*/ 35 h 138"/>
                <a:gd name="T66" fmla="*/ 0 w 89"/>
                <a:gd name="T67" fmla="*/ 43 h 138"/>
                <a:gd name="T68" fmla="*/ 0 w 89"/>
                <a:gd name="T69" fmla="*/ 43 h 138"/>
                <a:gd name="T70" fmla="*/ 0 w 89"/>
                <a:gd name="T71" fmla="*/ 51 h 138"/>
                <a:gd name="T72" fmla="*/ 3 w 89"/>
                <a:gd name="T73" fmla="*/ 59 h 138"/>
                <a:gd name="T74" fmla="*/ 7 w 89"/>
                <a:gd name="T75" fmla="*/ 66 h 138"/>
                <a:gd name="T76" fmla="*/ 11 w 89"/>
                <a:gd name="T77" fmla="*/ 72 h 138"/>
                <a:gd name="T78" fmla="*/ 16 w 89"/>
                <a:gd name="T79" fmla="*/ 78 h 138"/>
                <a:gd name="T80" fmla="*/ 23 w 89"/>
                <a:gd name="T81" fmla="*/ 82 h 138"/>
                <a:gd name="T82" fmla="*/ 30 w 89"/>
                <a:gd name="T83" fmla="*/ 86 h 138"/>
                <a:gd name="T84" fmla="*/ 38 w 89"/>
                <a:gd name="T85" fmla="*/ 87 h 138"/>
                <a:gd name="T86" fmla="*/ 38 w 89"/>
                <a:gd name="T87" fmla="*/ 131 h 138"/>
                <a:gd name="T88" fmla="*/ 38 w 89"/>
                <a:gd name="T89" fmla="*/ 131 h 138"/>
                <a:gd name="T90" fmla="*/ 38 w 89"/>
                <a:gd name="T91" fmla="*/ 134 h 138"/>
                <a:gd name="T92" fmla="*/ 39 w 89"/>
                <a:gd name="T93" fmla="*/ 135 h 138"/>
                <a:gd name="T94" fmla="*/ 42 w 89"/>
                <a:gd name="T95" fmla="*/ 137 h 138"/>
                <a:gd name="T96" fmla="*/ 44 w 89"/>
                <a:gd name="T97" fmla="*/ 138 h 138"/>
                <a:gd name="T98" fmla="*/ 44 w 89"/>
                <a:gd name="T9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9" h="138">
                  <a:moveTo>
                    <a:pt x="44" y="138"/>
                  </a:moveTo>
                  <a:lnTo>
                    <a:pt x="44" y="138"/>
                  </a:lnTo>
                  <a:lnTo>
                    <a:pt x="47" y="137"/>
                  </a:lnTo>
                  <a:lnTo>
                    <a:pt x="48" y="135"/>
                  </a:lnTo>
                  <a:lnTo>
                    <a:pt x="50" y="134"/>
                  </a:lnTo>
                  <a:lnTo>
                    <a:pt x="50" y="131"/>
                  </a:lnTo>
                  <a:lnTo>
                    <a:pt x="50" y="87"/>
                  </a:lnTo>
                  <a:lnTo>
                    <a:pt x="50" y="87"/>
                  </a:lnTo>
                  <a:lnTo>
                    <a:pt x="58" y="86"/>
                  </a:lnTo>
                  <a:lnTo>
                    <a:pt x="66" y="82"/>
                  </a:lnTo>
                  <a:lnTo>
                    <a:pt x="71" y="78"/>
                  </a:lnTo>
                  <a:lnTo>
                    <a:pt x="77" y="72"/>
                  </a:lnTo>
                  <a:lnTo>
                    <a:pt x="82" y="66"/>
                  </a:lnTo>
                  <a:lnTo>
                    <a:pt x="85" y="59"/>
                  </a:lnTo>
                  <a:lnTo>
                    <a:pt x="87" y="51"/>
                  </a:lnTo>
                  <a:lnTo>
                    <a:pt x="89" y="43"/>
                  </a:lnTo>
                  <a:lnTo>
                    <a:pt x="89" y="43"/>
                  </a:lnTo>
                  <a:lnTo>
                    <a:pt x="87" y="35"/>
                  </a:lnTo>
                  <a:lnTo>
                    <a:pt x="85" y="27"/>
                  </a:lnTo>
                  <a:lnTo>
                    <a:pt x="81" y="18"/>
                  </a:lnTo>
                  <a:lnTo>
                    <a:pt x="75" y="12"/>
                  </a:lnTo>
                  <a:lnTo>
                    <a:pt x="69" y="6"/>
                  </a:lnTo>
                  <a:lnTo>
                    <a:pt x="62" y="2"/>
                  </a:lnTo>
                  <a:lnTo>
                    <a:pt x="52" y="0"/>
                  </a:lnTo>
                  <a:lnTo>
                    <a:pt x="44" y="0"/>
                  </a:lnTo>
                  <a:lnTo>
                    <a:pt x="44" y="0"/>
                  </a:lnTo>
                  <a:lnTo>
                    <a:pt x="35" y="0"/>
                  </a:lnTo>
                  <a:lnTo>
                    <a:pt x="27" y="2"/>
                  </a:lnTo>
                  <a:lnTo>
                    <a:pt x="19" y="6"/>
                  </a:lnTo>
                  <a:lnTo>
                    <a:pt x="14" y="12"/>
                  </a:lnTo>
                  <a:lnTo>
                    <a:pt x="8" y="18"/>
                  </a:lnTo>
                  <a:lnTo>
                    <a:pt x="4" y="27"/>
                  </a:lnTo>
                  <a:lnTo>
                    <a:pt x="1" y="35"/>
                  </a:lnTo>
                  <a:lnTo>
                    <a:pt x="0" y="43"/>
                  </a:lnTo>
                  <a:lnTo>
                    <a:pt x="0" y="43"/>
                  </a:lnTo>
                  <a:lnTo>
                    <a:pt x="0" y="51"/>
                  </a:lnTo>
                  <a:lnTo>
                    <a:pt x="3" y="59"/>
                  </a:lnTo>
                  <a:lnTo>
                    <a:pt x="7" y="66"/>
                  </a:lnTo>
                  <a:lnTo>
                    <a:pt x="11" y="72"/>
                  </a:lnTo>
                  <a:lnTo>
                    <a:pt x="16" y="78"/>
                  </a:lnTo>
                  <a:lnTo>
                    <a:pt x="23" y="82"/>
                  </a:lnTo>
                  <a:lnTo>
                    <a:pt x="30" y="86"/>
                  </a:lnTo>
                  <a:lnTo>
                    <a:pt x="38" y="87"/>
                  </a:lnTo>
                  <a:lnTo>
                    <a:pt x="38" y="131"/>
                  </a:lnTo>
                  <a:lnTo>
                    <a:pt x="38" y="131"/>
                  </a:lnTo>
                  <a:lnTo>
                    <a:pt x="38" y="134"/>
                  </a:lnTo>
                  <a:lnTo>
                    <a:pt x="39" y="135"/>
                  </a:lnTo>
                  <a:lnTo>
                    <a:pt x="42" y="137"/>
                  </a:lnTo>
                  <a:lnTo>
                    <a:pt x="44" y="138"/>
                  </a:lnTo>
                  <a:lnTo>
                    <a:pt x="44" y="1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buClrTx/>
                <a:buFontTx/>
                <a:buNone/>
                <a:defRPr/>
              </a:pPr>
              <a:endParaRPr lang="en-US" sz="2400" kern="1200" dirty="0">
                <a:solidFill>
                  <a:prstClr val="black"/>
                </a:solidFill>
                <a:latin typeface="Calibri"/>
                <a:ea typeface="+mn-ea"/>
              </a:endParaRPr>
            </a:p>
          </p:txBody>
        </p:sp>
        <p:sp>
          <p:nvSpPr>
            <p:cNvPr id="21" name="Freeform 144"/>
            <p:cNvSpPr>
              <a:spLocks/>
            </p:cNvSpPr>
            <p:nvPr/>
          </p:nvSpPr>
          <p:spPr bwMode="auto">
            <a:xfrm>
              <a:off x="4400551" y="2661285"/>
              <a:ext cx="90488" cy="88900"/>
            </a:xfrm>
            <a:custGeom>
              <a:avLst/>
              <a:gdLst>
                <a:gd name="T0" fmla="*/ 69 w 113"/>
                <a:gd name="T1" fmla="*/ 0 h 113"/>
                <a:gd name="T2" fmla="*/ 69 w 113"/>
                <a:gd name="T3" fmla="*/ 0 h 113"/>
                <a:gd name="T4" fmla="*/ 61 w 113"/>
                <a:gd name="T5" fmla="*/ 0 h 113"/>
                <a:gd name="T6" fmla="*/ 53 w 113"/>
                <a:gd name="T7" fmla="*/ 3 h 113"/>
                <a:gd name="T8" fmla="*/ 45 w 113"/>
                <a:gd name="T9" fmla="*/ 7 h 113"/>
                <a:gd name="T10" fmla="*/ 38 w 113"/>
                <a:gd name="T11" fmla="*/ 12 h 113"/>
                <a:gd name="T12" fmla="*/ 33 w 113"/>
                <a:gd name="T13" fmla="*/ 19 h 113"/>
                <a:gd name="T14" fmla="*/ 29 w 113"/>
                <a:gd name="T15" fmla="*/ 27 h 113"/>
                <a:gd name="T16" fmla="*/ 26 w 113"/>
                <a:gd name="T17" fmla="*/ 35 h 113"/>
                <a:gd name="T18" fmla="*/ 25 w 113"/>
                <a:gd name="T19" fmla="*/ 43 h 113"/>
                <a:gd name="T20" fmla="*/ 25 w 113"/>
                <a:gd name="T21" fmla="*/ 43 h 113"/>
                <a:gd name="T22" fmla="*/ 26 w 113"/>
                <a:gd name="T23" fmla="*/ 51 h 113"/>
                <a:gd name="T24" fmla="*/ 27 w 113"/>
                <a:gd name="T25" fmla="*/ 58 h 113"/>
                <a:gd name="T26" fmla="*/ 30 w 113"/>
                <a:gd name="T27" fmla="*/ 64 h 113"/>
                <a:gd name="T28" fmla="*/ 34 w 113"/>
                <a:gd name="T29" fmla="*/ 70 h 113"/>
                <a:gd name="T30" fmla="*/ 2 w 113"/>
                <a:gd name="T31" fmla="*/ 102 h 113"/>
                <a:gd name="T32" fmla="*/ 2 w 113"/>
                <a:gd name="T33" fmla="*/ 102 h 113"/>
                <a:gd name="T34" fmla="*/ 0 w 113"/>
                <a:gd name="T35" fmla="*/ 103 h 113"/>
                <a:gd name="T36" fmla="*/ 0 w 113"/>
                <a:gd name="T37" fmla="*/ 106 h 113"/>
                <a:gd name="T38" fmla="*/ 0 w 113"/>
                <a:gd name="T39" fmla="*/ 109 h 113"/>
                <a:gd name="T40" fmla="*/ 2 w 113"/>
                <a:gd name="T41" fmla="*/ 111 h 113"/>
                <a:gd name="T42" fmla="*/ 2 w 113"/>
                <a:gd name="T43" fmla="*/ 111 h 113"/>
                <a:gd name="T44" fmla="*/ 4 w 113"/>
                <a:gd name="T45" fmla="*/ 113 h 113"/>
                <a:gd name="T46" fmla="*/ 6 w 113"/>
                <a:gd name="T47" fmla="*/ 113 h 113"/>
                <a:gd name="T48" fmla="*/ 6 w 113"/>
                <a:gd name="T49" fmla="*/ 113 h 113"/>
                <a:gd name="T50" fmla="*/ 8 w 113"/>
                <a:gd name="T51" fmla="*/ 113 h 113"/>
                <a:gd name="T52" fmla="*/ 11 w 113"/>
                <a:gd name="T53" fmla="*/ 111 h 113"/>
                <a:gd name="T54" fmla="*/ 43 w 113"/>
                <a:gd name="T55" fmla="*/ 79 h 113"/>
                <a:gd name="T56" fmla="*/ 43 w 113"/>
                <a:gd name="T57" fmla="*/ 79 h 113"/>
                <a:gd name="T58" fmla="*/ 49 w 113"/>
                <a:gd name="T59" fmla="*/ 82 h 113"/>
                <a:gd name="T60" fmla="*/ 56 w 113"/>
                <a:gd name="T61" fmla="*/ 85 h 113"/>
                <a:gd name="T62" fmla="*/ 62 w 113"/>
                <a:gd name="T63" fmla="*/ 87 h 113"/>
                <a:gd name="T64" fmla="*/ 69 w 113"/>
                <a:gd name="T65" fmla="*/ 87 h 113"/>
                <a:gd name="T66" fmla="*/ 69 w 113"/>
                <a:gd name="T67" fmla="*/ 87 h 113"/>
                <a:gd name="T68" fmla="*/ 78 w 113"/>
                <a:gd name="T69" fmla="*/ 86 h 113"/>
                <a:gd name="T70" fmla="*/ 86 w 113"/>
                <a:gd name="T71" fmla="*/ 85 h 113"/>
                <a:gd name="T72" fmla="*/ 94 w 113"/>
                <a:gd name="T73" fmla="*/ 80 h 113"/>
                <a:gd name="T74" fmla="*/ 100 w 113"/>
                <a:gd name="T75" fmla="*/ 75 h 113"/>
                <a:gd name="T76" fmla="*/ 107 w 113"/>
                <a:gd name="T77" fmla="*/ 68 h 113"/>
                <a:gd name="T78" fmla="*/ 111 w 113"/>
                <a:gd name="T79" fmla="*/ 60 h 113"/>
                <a:gd name="T80" fmla="*/ 112 w 113"/>
                <a:gd name="T81" fmla="*/ 52 h 113"/>
                <a:gd name="T82" fmla="*/ 113 w 113"/>
                <a:gd name="T83" fmla="*/ 43 h 113"/>
                <a:gd name="T84" fmla="*/ 113 w 113"/>
                <a:gd name="T85" fmla="*/ 43 h 113"/>
                <a:gd name="T86" fmla="*/ 112 w 113"/>
                <a:gd name="T87" fmla="*/ 35 h 113"/>
                <a:gd name="T88" fmla="*/ 111 w 113"/>
                <a:gd name="T89" fmla="*/ 27 h 113"/>
                <a:gd name="T90" fmla="*/ 107 w 113"/>
                <a:gd name="T91" fmla="*/ 19 h 113"/>
                <a:gd name="T92" fmla="*/ 100 w 113"/>
                <a:gd name="T93" fmla="*/ 12 h 113"/>
                <a:gd name="T94" fmla="*/ 94 w 113"/>
                <a:gd name="T95" fmla="*/ 7 h 113"/>
                <a:gd name="T96" fmla="*/ 86 w 113"/>
                <a:gd name="T97" fmla="*/ 3 h 113"/>
                <a:gd name="T98" fmla="*/ 78 w 113"/>
                <a:gd name="T99" fmla="*/ 0 h 113"/>
                <a:gd name="T100" fmla="*/ 69 w 113"/>
                <a:gd name="T101" fmla="*/ 0 h 113"/>
                <a:gd name="T102" fmla="*/ 69 w 113"/>
                <a:gd name="T103"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3" h="113">
                  <a:moveTo>
                    <a:pt x="69" y="0"/>
                  </a:moveTo>
                  <a:lnTo>
                    <a:pt x="69" y="0"/>
                  </a:lnTo>
                  <a:lnTo>
                    <a:pt x="61" y="0"/>
                  </a:lnTo>
                  <a:lnTo>
                    <a:pt x="53" y="3"/>
                  </a:lnTo>
                  <a:lnTo>
                    <a:pt x="45" y="7"/>
                  </a:lnTo>
                  <a:lnTo>
                    <a:pt x="38" y="12"/>
                  </a:lnTo>
                  <a:lnTo>
                    <a:pt x="33" y="19"/>
                  </a:lnTo>
                  <a:lnTo>
                    <a:pt x="29" y="27"/>
                  </a:lnTo>
                  <a:lnTo>
                    <a:pt x="26" y="35"/>
                  </a:lnTo>
                  <a:lnTo>
                    <a:pt x="25" y="43"/>
                  </a:lnTo>
                  <a:lnTo>
                    <a:pt x="25" y="43"/>
                  </a:lnTo>
                  <a:lnTo>
                    <a:pt x="26" y="51"/>
                  </a:lnTo>
                  <a:lnTo>
                    <a:pt x="27" y="58"/>
                  </a:lnTo>
                  <a:lnTo>
                    <a:pt x="30" y="64"/>
                  </a:lnTo>
                  <a:lnTo>
                    <a:pt x="34" y="70"/>
                  </a:lnTo>
                  <a:lnTo>
                    <a:pt x="2" y="102"/>
                  </a:lnTo>
                  <a:lnTo>
                    <a:pt x="2" y="102"/>
                  </a:lnTo>
                  <a:lnTo>
                    <a:pt x="0" y="103"/>
                  </a:lnTo>
                  <a:lnTo>
                    <a:pt x="0" y="106"/>
                  </a:lnTo>
                  <a:lnTo>
                    <a:pt x="0" y="109"/>
                  </a:lnTo>
                  <a:lnTo>
                    <a:pt x="2" y="111"/>
                  </a:lnTo>
                  <a:lnTo>
                    <a:pt x="2" y="111"/>
                  </a:lnTo>
                  <a:lnTo>
                    <a:pt x="4" y="113"/>
                  </a:lnTo>
                  <a:lnTo>
                    <a:pt x="6" y="113"/>
                  </a:lnTo>
                  <a:lnTo>
                    <a:pt x="6" y="113"/>
                  </a:lnTo>
                  <a:lnTo>
                    <a:pt x="8" y="113"/>
                  </a:lnTo>
                  <a:lnTo>
                    <a:pt x="11" y="111"/>
                  </a:lnTo>
                  <a:lnTo>
                    <a:pt x="43" y="79"/>
                  </a:lnTo>
                  <a:lnTo>
                    <a:pt x="43" y="79"/>
                  </a:lnTo>
                  <a:lnTo>
                    <a:pt x="49" y="82"/>
                  </a:lnTo>
                  <a:lnTo>
                    <a:pt x="56" y="85"/>
                  </a:lnTo>
                  <a:lnTo>
                    <a:pt x="62" y="87"/>
                  </a:lnTo>
                  <a:lnTo>
                    <a:pt x="69" y="87"/>
                  </a:lnTo>
                  <a:lnTo>
                    <a:pt x="69" y="87"/>
                  </a:lnTo>
                  <a:lnTo>
                    <a:pt x="78" y="86"/>
                  </a:lnTo>
                  <a:lnTo>
                    <a:pt x="86" y="85"/>
                  </a:lnTo>
                  <a:lnTo>
                    <a:pt x="94" y="80"/>
                  </a:lnTo>
                  <a:lnTo>
                    <a:pt x="100" y="75"/>
                  </a:lnTo>
                  <a:lnTo>
                    <a:pt x="107" y="68"/>
                  </a:lnTo>
                  <a:lnTo>
                    <a:pt x="111" y="60"/>
                  </a:lnTo>
                  <a:lnTo>
                    <a:pt x="112" y="52"/>
                  </a:lnTo>
                  <a:lnTo>
                    <a:pt x="113" y="43"/>
                  </a:lnTo>
                  <a:lnTo>
                    <a:pt x="113" y="43"/>
                  </a:lnTo>
                  <a:lnTo>
                    <a:pt x="112" y="35"/>
                  </a:lnTo>
                  <a:lnTo>
                    <a:pt x="111" y="27"/>
                  </a:lnTo>
                  <a:lnTo>
                    <a:pt x="107" y="19"/>
                  </a:lnTo>
                  <a:lnTo>
                    <a:pt x="100" y="12"/>
                  </a:lnTo>
                  <a:lnTo>
                    <a:pt x="94" y="7"/>
                  </a:lnTo>
                  <a:lnTo>
                    <a:pt x="86" y="3"/>
                  </a:lnTo>
                  <a:lnTo>
                    <a:pt x="78" y="0"/>
                  </a:lnTo>
                  <a:lnTo>
                    <a:pt x="69" y="0"/>
                  </a:lnTo>
                  <a:lnTo>
                    <a:pt x="6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buClrTx/>
                <a:buFontTx/>
                <a:buNone/>
                <a:defRPr/>
              </a:pPr>
              <a:endParaRPr lang="en-US" sz="2400" kern="1200" dirty="0">
                <a:solidFill>
                  <a:prstClr val="black"/>
                </a:solidFill>
                <a:latin typeface="Calibri"/>
                <a:ea typeface="+mn-ea"/>
              </a:endParaRPr>
            </a:p>
          </p:txBody>
        </p:sp>
        <p:sp>
          <p:nvSpPr>
            <p:cNvPr id="22" name="Freeform 145"/>
            <p:cNvSpPr>
              <a:spLocks/>
            </p:cNvSpPr>
            <p:nvPr/>
          </p:nvSpPr>
          <p:spPr bwMode="auto">
            <a:xfrm>
              <a:off x="4279901" y="2750185"/>
              <a:ext cx="109538" cy="120650"/>
            </a:xfrm>
            <a:custGeom>
              <a:avLst/>
              <a:gdLst>
                <a:gd name="T0" fmla="*/ 69 w 138"/>
                <a:gd name="T1" fmla="*/ 0 h 150"/>
                <a:gd name="T2" fmla="*/ 69 w 138"/>
                <a:gd name="T3" fmla="*/ 0 h 150"/>
                <a:gd name="T4" fmla="*/ 55 w 138"/>
                <a:gd name="T5" fmla="*/ 1 h 150"/>
                <a:gd name="T6" fmla="*/ 43 w 138"/>
                <a:gd name="T7" fmla="*/ 5 h 150"/>
                <a:gd name="T8" fmla="*/ 30 w 138"/>
                <a:gd name="T9" fmla="*/ 12 h 150"/>
                <a:gd name="T10" fmla="*/ 20 w 138"/>
                <a:gd name="T11" fmla="*/ 20 h 150"/>
                <a:gd name="T12" fmla="*/ 12 w 138"/>
                <a:gd name="T13" fmla="*/ 31 h 150"/>
                <a:gd name="T14" fmla="*/ 5 w 138"/>
                <a:gd name="T15" fmla="*/ 41 h 150"/>
                <a:gd name="T16" fmla="*/ 1 w 138"/>
                <a:gd name="T17" fmla="*/ 55 h 150"/>
                <a:gd name="T18" fmla="*/ 0 w 138"/>
                <a:gd name="T19" fmla="*/ 68 h 150"/>
                <a:gd name="T20" fmla="*/ 0 w 138"/>
                <a:gd name="T21" fmla="*/ 82 h 150"/>
                <a:gd name="T22" fmla="*/ 0 w 138"/>
                <a:gd name="T23" fmla="*/ 82 h 150"/>
                <a:gd name="T24" fmla="*/ 1 w 138"/>
                <a:gd name="T25" fmla="*/ 95 h 150"/>
                <a:gd name="T26" fmla="*/ 5 w 138"/>
                <a:gd name="T27" fmla="*/ 109 h 150"/>
                <a:gd name="T28" fmla="*/ 12 w 138"/>
                <a:gd name="T29" fmla="*/ 121 h 150"/>
                <a:gd name="T30" fmla="*/ 20 w 138"/>
                <a:gd name="T31" fmla="*/ 130 h 150"/>
                <a:gd name="T32" fmla="*/ 30 w 138"/>
                <a:gd name="T33" fmla="*/ 140 h 150"/>
                <a:gd name="T34" fmla="*/ 43 w 138"/>
                <a:gd name="T35" fmla="*/ 145 h 150"/>
                <a:gd name="T36" fmla="*/ 55 w 138"/>
                <a:gd name="T37" fmla="*/ 149 h 150"/>
                <a:gd name="T38" fmla="*/ 69 w 138"/>
                <a:gd name="T39" fmla="*/ 150 h 150"/>
                <a:gd name="T40" fmla="*/ 69 w 138"/>
                <a:gd name="T41" fmla="*/ 150 h 150"/>
                <a:gd name="T42" fmla="*/ 83 w 138"/>
                <a:gd name="T43" fmla="*/ 149 h 150"/>
                <a:gd name="T44" fmla="*/ 96 w 138"/>
                <a:gd name="T45" fmla="*/ 145 h 150"/>
                <a:gd name="T46" fmla="*/ 108 w 138"/>
                <a:gd name="T47" fmla="*/ 140 h 150"/>
                <a:gd name="T48" fmla="*/ 118 w 138"/>
                <a:gd name="T49" fmla="*/ 130 h 150"/>
                <a:gd name="T50" fmla="*/ 127 w 138"/>
                <a:gd name="T51" fmla="*/ 121 h 150"/>
                <a:gd name="T52" fmla="*/ 133 w 138"/>
                <a:gd name="T53" fmla="*/ 109 h 150"/>
                <a:gd name="T54" fmla="*/ 137 w 138"/>
                <a:gd name="T55" fmla="*/ 95 h 150"/>
                <a:gd name="T56" fmla="*/ 138 w 138"/>
                <a:gd name="T57" fmla="*/ 82 h 150"/>
                <a:gd name="T58" fmla="*/ 138 w 138"/>
                <a:gd name="T59" fmla="*/ 68 h 150"/>
                <a:gd name="T60" fmla="*/ 138 w 138"/>
                <a:gd name="T61" fmla="*/ 68 h 150"/>
                <a:gd name="T62" fmla="*/ 137 w 138"/>
                <a:gd name="T63" fmla="*/ 55 h 150"/>
                <a:gd name="T64" fmla="*/ 133 w 138"/>
                <a:gd name="T65" fmla="*/ 41 h 150"/>
                <a:gd name="T66" fmla="*/ 127 w 138"/>
                <a:gd name="T67" fmla="*/ 31 h 150"/>
                <a:gd name="T68" fmla="*/ 118 w 138"/>
                <a:gd name="T69" fmla="*/ 20 h 150"/>
                <a:gd name="T70" fmla="*/ 108 w 138"/>
                <a:gd name="T71" fmla="*/ 12 h 150"/>
                <a:gd name="T72" fmla="*/ 96 w 138"/>
                <a:gd name="T73" fmla="*/ 5 h 150"/>
                <a:gd name="T74" fmla="*/ 83 w 138"/>
                <a:gd name="T75" fmla="*/ 1 h 150"/>
                <a:gd name="T76" fmla="*/ 69 w 138"/>
                <a:gd name="T77" fmla="*/ 0 h 150"/>
                <a:gd name="T78" fmla="*/ 69 w 138"/>
                <a:gd name="T7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8" h="150">
                  <a:moveTo>
                    <a:pt x="69" y="0"/>
                  </a:moveTo>
                  <a:lnTo>
                    <a:pt x="69" y="0"/>
                  </a:lnTo>
                  <a:lnTo>
                    <a:pt x="55" y="1"/>
                  </a:lnTo>
                  <a:lnTo>
                    <a:pt x="43" y="5"/>
                  </a:lnTo>
                  <a:lnTo>
                    <a:pt x="30" y="12"/>
                  </a:lnTo>
                  <a:lnTo>
                    <a:pt x="20" y="20"/>
                  </a:lnTo>
                  <a:lnTo>
                    <a:pt x="12" y="31"/>
                  </a:lnTo>
                  <a:lnTo>
                    <a:pt x="5" y="41"/>
                  </a:lnTo>
                  <a:lnTo>
                    <a:pt x="1" y="55"/>
                  </a:lnTo>
                  <a:lnTo>
                    <a:pt x="0" y="68"/>
                  </a:lnTo>
                  <a:lnTo>
                    <a:pt x="0" y="82"/>
                  </a:lnTo>
                  <a:lnTo>
                    <a:pt x="0" y="82"/>
                  </a:lnTo>
                  <a:lnTo>
                    <a:pt x="1" y="95"/>
                  </a:lnTo>
                  <a:lnTo>
                    <a:pt x="5" y="109"/>
                  </a:lnTo>
                  <a:lnTo>
                    <a:pt x="12" y="121"/>
                  </a:lnTo>
                  <a:lnTo>
                    <a:pt x="20" y="130"/>
                  </a:lnTo>
                  <a:lnTo>
                    <a:pt x="30" y="140"/>
                  </a:lnTo>
                  <a:lnTo>
                    <a:pt x="43" y="145"/>
                  </a:lnTo>
                  <a:lnTo>
                    <a:pt x="55" y="149"/>
                  </a:lnTo>
                  <a:lnTo>
                    <a:pt x="69" y="150"/>
                  </a:lnTo>
                  <a:lnTo>
                    <a:pt x="69" y="150"/>
                  </a:lnTo>
                  <a:lnTo>
                    <a:pt x="83" y="149"/>
                  </a:lnTo>
                  <a:lnTo>
                    <a:pt x="96" y="145"/>
                  </a:lnTo>
                  <a:lnTo>
                    <a:pt x="108" y="140"/>
                  </a:lnTo>
                  <a:lnTo>
                    <a:pt x="118" y="130"/>
                  </a:lnTo>
                  <a:lnTo>
                    <a:pt x="127" y="121"/>
                  </a:lnTo>
                  <a:lnTo>
                    <a:pt x="133" y="109"/>
                  </a:lnTo>
                  <a:lnTo>
                    <a:pt x="137" y="95"/>
                  </a:lnTo>
                  <a:lnTo>
                    <a:pt x="138" y="82"/>
                  </a:lnTo>
                  <a:lnTo>
                    <a:pt x="138" y="68"/>
                  </a:lnTo>
                  <a:lnTo>
                    <a:pt x="138" y="68"/>
                  </a:lnTo>
                  <a:lnTo>
                    <a:pt x="137" y="55"/>
                  </a:lnTo>
                  <a:lnTo>
                    <a:pt x="133" y="41"/>
                  </a:lnTo>
                  <a:lnTo>
                    <a:pt x="127" y="31"/>
                  </a:lnTo>
                  <a:lnTo>
                    <a:pt x="118" y="20"/>
                  </a:lnTo>
                  <a:lnTo>
                    <a:pt x="108" y="12"/>
                  </a:lnTo>
                  <a:lnTo>
                    <a:pt x="96" y="5"/>
                  </a:lnTo>
                  <a:lnTo>
                    <a:pt x="83" y="1"/>
                  </a:lnTo>
                  <a:lnTo>
                    <a:pt x="69" y="0"/>
                  </a:lnTo>
                  <a:lnTo>
                    <a:pt x="6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buClrTx/>
                <a:buFontTx/>
                <a:buNone/>
                <a:defRPr/>
              </a:pPr>
              <a:endParaRPr lang="en-US" sz="2400" kern="1200" dirty="0">
                <a:solidFill>
                  <a:prstClr val="black"/>
                </a:solidFill>
                <a:latin typeface="Calibri"/>
                <a:ea typeface="+mn-ea"/>
              </a:endParaRPr>
            </a:p>
          </p:txBody>
        </p:sp>
        <p:sp>
          <p:nvSpPr>
            <p:cNvPr id="23" name="Freeform 146"/>
            <p:cNvSpPr>
              <a:spLocks/>
            </p:cNvSpPr>
            <p:nvPr/>
          </p:nvSpPr>
          <p:spPr bwMode="auto">
            <a:xfrm>
              <a:off x="4240213" y="2858135"/>
              <a:ext cx="190500" cy="61913"/>
            </a:xfrm>
            <a:custGeom>
              <a:avLst/>
              <a:gdLst>
                <a:gd name="T0" fmla="*/ 119 w 239"/>
                <a:gd name="T1" fmla="*/ 28 h 77"/>
                <a:gd name="T2" fmla="*/ 119 w 239"/>
                <a:gd name="T3" fmla="*/ 28 h 77"/>
                <a:gd name="T4" fmla="*/ 110 w 239"/>
                <a:gd name="T5" fmla="*/ 26 h 77"/>
                <a:gd name="T6" fmla="*/ 101 w 239"/>
                <a:gd name="T7" fmla="*/ 25 h 77"/>
                <a:gd name="T8" fmla="*/ 93 w 239"/>
                <a:gd name="T9" fmla="*/ 24 h 77"/>
                <a:gd name="T10" fmla="*/ 84 w 239"/>
                <a:gd name="T11" fmla="*/ 20 h 77"/>
                <a:gd name="T12" fmla="*/ 76 w 239"/>
                <a:gd name="T13" fmla="*/ 16 h 77"/>
                <a:gd name="T14" fmla="*/ 70 w 239"/>
                <a:gd name="T15" fmla="*/ 10 h 77"/>
                <a:gd name="T16" fmla="*/ 63 w 239"/>
                <a:gd name="T17" fmla="*/ 5 h 77"/>
                <a:gd name="T18" fmla="*/ 58 w 239"/>
                <a:gd name="T19" fmla="*/ 0 h 77"/>
                <a:gd name="T20" fmla="*/ 2 w 239"/>
                <a:gd name="T21" fmla="*/ 28 h 77"/>
                <a:gd name="T22" fmla="*/ 2 w 239"/>
                <a:gd name="T23" fmla="*/ 28 h 77"/>
                <a:gd name="T24" fmla="*/ 0 w 239"/>
                <a:gd name="T25" fmla="*/ 30 h 77"/>
                <a:gd name="T26" fmla="*/ 0 w 239"/>
                <a:gd name="T27" fmla="*/ 34 h 77"/>
                <a:gd name="T28" fmla="*/ 0 w 239"/>
                <a:gd name="T29" fmla="*/ 72 h 77"/>
                <a:gd name="T30" fmla="*/ 0 w 239"/>
                <a:gd name="T31" fmla="*/ 72 h 77"/>
                <a:gd name="T32" fmla="*/ 0 w 239"/>
                <a:gd name="T33" fmla="*/ 73 h 77"/>
                <a:gd name="T34" fmla="*/ 1 w 239"/>
                <a:gd name="T35" fmla="*/ 76 h 77"/>
                <a:gd name="T36" fmla="*/ 4 w 239"/>
                <a:gd name="T37" fmla="*/ 77 h 77"/>
                <a:gd name="T38" fmla="*/ 5 w 239"/>
                <a:gd name="T39" fmla="*/ 77 h 77"/>
                <a:gd name="T40" fmla="*/ 232 w 239"/>
                <a:gd name="T41" fmla="*/ 77 h 77"/>
                <a:gd name="T42" fmla="*/ 232 w 239"/>
                <a:gd name="T43" fmla="*/ 77 h 77"/>
                <a:gd name="T44" fmla="*/ 235 w 239"/>
                <a:gd name="T45" fmla="*/ 77 h 77"/>
                <a:gd name="T46" fmla="*/ 236 w 239"/>
                <a:gd name="T47" fmla="*/ 76 h 77"/>
                <a:gd name="T48" fmla="*/ 238 w 239"/>
                <a:gd name="T49" fmla="*/ 73 h 77"/>
                <a:gd name="T50" fmla="*/ 239 w 239"/>
                <a:gd name="T51" fmla="*/ 72 h 77"/>
                <a:gd name="T52" fmla="*/ 239 w 239"/>
                <a:gd name="T53" fmla="*/ 34 h 77"/>
                <a:gd name="T54" fmla="*/ 239 w 239"/>
                <a:gd name="T55" fmla="*/ 34 h 77"/>
                <a:gd name="T56" fmla="*/ 238 w 239"/>
                <a:gd name="T57" fmla="*/ 30 h 77"/>
                <a:gd name="T58" fmla="*/ 235 w 239"/>
                <a:gd name="T59" fmla="*/ 28 h 77"/>
                <a:gd name="T60" fmla="*/ 181 w 239"/>
                <a:gd name="T61" fmla="*/ 0 h 77"/>
                <a:gd name="T62" fmla="*/ 181 w 239"/>
                <a:gd name="T63" fmla="*/ 0 h 77"/>
                <a:gd name="T64" fmla="*/ 175 w 239"/>
                <a:gd name="T65" fmla="*/ 5 h 77"/>
                <a:gd name="T66" fmla="*/ 168 w 239"/>
                <a:gd name="T67" fmla="*/ 10 h 77"/>
                <a:gd name="T68" fmla="*/ 161 w 239"/>
                <a:gd name="T69" fmla="*/ 16 h 77"/>
                <a:gd name="T70" fmla="*/ 153 w 239"/>
                <a:gd name="T71" fmla="*/ 20 h 77"/>
                <a:gd name="T72" fmla="*/ 145 w 239"/>
                <a:gd name="T73" fmla="*/ 24 h 77"/>
                <a:gd name="T74" fmla="*/ 137 w 239"/>
                <a:gd name="T75" fmla="*/ 25 h 77"/>
                <a:gd name="T76" fmla="*/ 129 w 239"/>
                <a:gd name="T77" fmla="*/ 26 h 77"/>
                <a:gd name="T78" fmla="*/ 119 w 239"/>
                <a:gd name="T79" fmla="*/ 28 h 77"/>
                <a:gd name="T80" fmla="*/ 119 w 239"/>
                <a:gd name="T81" fmla="*/ 2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9" h="77">
                  <a:moveTo>
                    <a:pt x="119" y="28"/>
                  </a:moveTo>
                  <a:lnTo>
                    <a:pt x="119" y="28"/>
                  </a:lnTo>
                  <a:lnTo>
                    <a:pt x="110" y="26"/>
                  </a:lnTo>
                  <a:lnTo>
                    <a:pt x="101" y="25"/>
                  </a:lnTo>
                  <a:lnTo>
                    <a:pt x="93" y="24"/>
                  </a:lnTo>
                  <a:lnTo>
                    <a:pt x="84" y="20"/>
                  </a:lnTo>
                  <a:lnTo>
                    <a:pt x="76" y="16"/>
                  </a:lnTo>
                  <a:lnTo>
                    <a:pt x="70" y="10"/>
                  </a:lnTo>
                  <a:lnTo>
                    <a:pt x="63" y="5"/>
                  </a:lnTo>
                  <a:lnTo>
                    <a:pt x="58" y="0"/>
                  </a:lnTo>
                  <a:lnTo>
                    <a:pt x="2" y="28"/>
                  </a:lnTo>
                  <a:lnTo>
                    <a:pt x="2" y="28"/>
                  </a:lnTo>
                  <a:lnTo>
                    <a:pt x="0" y="30"/>
                  </a:lnTo>
                  <a:lnTo>
                    <a:pt x="0" y="34"/>
                  </a:lnTo>
                  <a:lnTo>
                    <a:pt x="0" y="72"/>
                  </a:lnTo>
                  <a:lnTo>
                    <a:pt x="0" y="72"/>
                  </a:lnTo>
                  <a:lnTo>
                    <a:pt x="0" y="73"/>
                  </a:lnTo>
                  <a:lnTo>
                    <a:pt x="1" y="76"/>
                  </a:lnTo>
                  <a:lnTo>
                    <a:pt x="4" y="77"/>
                  </a:lnTo>
                  <a:lnTo>
                    <a:pt x="5" y="77"/>
                  </a:lnTo>
                  <a:lnTo>
                    <a:pt x="232" y="77"/>
                  </a:lnTo>
                  <a:lnTo>
                    <a:pt x="232" y="77"/>
                  </a:lnTo>
                  <a:lnTo>
                    <a:pt x="235" y="77"/>
                  </a:lnTo>
                  <a:lnTo>
                    <a:pt x="236" y="76"/>
                  </a:lnTo>
                  <a:lnTo>
                    <a:pt x="238" y="73"/>
                  </a:lnTo>
                  <a:lnTo>
                    <a:pt x="239" y="72"/>
                  </a:lnTo>
                  <a:lnTo>
                    <a:pt x="239" y="34"/>
                  </a:lnTo>
                  <a:lnTo>
                    <a:pt x="239" y="34"/>
                  </a:lnTo>
                  <a:lnTo>
                    <a:pt x="238" y="30"/>
                  </a:lnTo>
                  <a:lnTo>
                    <a:pt x="235" y="28"/>
                  </a:lnTo>
                  <a:lnTo>
                    <a:pt x="181" y="0"/>
                  </a:lnTo>
                  <a:lnTo>
                    <a:pt x="181" y="0"/>
                  </a:lnTo>
                  <a:lnTo>
                    <a:pt x="175" y="5"/>
                  </a:lnTo>
                  <a:lnTo>
                    <a:pt x="168" y="10"/>
                  </a:lnTo>
                  <a:lnTo>
                    <a:pt x="161" y="16"/>
                  </a:lnTo>
                  <a:lnTo>
                    <a:pt x="153" y="20"/>
                  </a:lnTo>
                  <a:lnTo>
                    <a:pt x="145" y="24"/>
                  </a:lnTo>
                  <a:lnTo>
                    <a:pt x="137" y="25"/>
                  </a:lnTo>
                  <a:lnTo>
                    <a:pt x="129" y="26"/>
                  </a:lnTo>
                  <a:lnTo>
                    <a:pt x="119" y="28"/>
                  </a:lnTo>
                  <a:lnTo>
                    <a:pt x="119"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buClrTx/>
                <a:buFontTx/>
                <a:buNone/>
                <a:defRPr/>
              </a:pPr>
              <a:endParaRPr lang="en-US" sz="2400" kern="1200" dirty="0">
                <a:solidFill>
                  <a:prstClr val="black"/>
                </a:solidFill>
                <a:latin typeface="Calibri"/>
                <a:ea typeface="+mn-ea"/>
              </a:endParaRPr>
            </a:p>
          </p:txBody>
        </p:sp>
      </p:grpSp>
      <p:sp>
        <p:nvSpPr>
          <p:cNvPr id="24" name="Rectangle 23"/>
          <p:cNvSpPr/>
          <p:nvPr/>
        </p:nvSpPr>
        <p:spPr>
          <a:xfrm>
            <a:off x="968188" y="2011231"/>
            <a:ext cx="4558430" cy="769441"/>
          </a:xfrm>
          <a:prstGeom prst="rect">
            <a:avLst/>
          </a:prstGeom>
        </p:spPr>
        <p:txBody>
          <a:bodyPr wrap="square">
            <a:spAutoFit/>
          </a:bodyPr>
          <a:lstStyle/>
          <a:p>
            <a:pPr algn="just">
              <a:spcAft>
                <a:spcPts val="600"/>
              </a:spcAft>
            </a:pPr>
            <a:r>
              <a:rPr lang="en-US" sz="1100" b="1" dirty="0"/>
              <a:t>7 </a:t>
            </a:r>
            <a:r>
              <a:rPr lang="en-US" sz="1100" dirty="0"/>
              <a:t>seed companies supported who increased their certified seed production from less than </a:t>
            </a:r>
            <a:r>
              <a:rPr lang="en-US" sz="1100" b="1" dirty="0"/>
              <a:t>100Mt to over 10,796 Mt cumulatively since 2007</a:t>
            </a:r>
            <a:r>
              <a:rPr lang="en-US" sz="1100" dirty="0"/>
              <a:t>). Supported the development and release of </a:t>
            </a:r>
            <a:r>
              <a:rPr lang="en-US" sz="1100" b="1" dirty="0" smtClean="0"/>
              <a:t>75</a:t>
            </a:r>
            <a:r>
              <a:rPr lang="en-US" sz="1100" dirty="0" smtClean="0"/>
              <a:t> </a:t>
            </a:r>
            <a:r>
              <a:rPr lang="en-US" sz="1100" dirty="0"/>
              <a:t>varieties out of which 28 were commercialized</a:t>
            </a:r>
          </a:p>
        </p:txBody>
      </p:sp>
      <p:sp>
        <p:nvSpPr>
          <p:cNvPr id="26" name="Rectangle 25"/>
          <p:cNvSpPr/>
          <p:nvPr/>
        </p:nvSpPr>
        <p:spPr>
          <a:xfrm>
            <a:off x="968188" y="2921678"/>
            <a:ext cx="4517187" cy="430887"/>
          </a:xfrm>
          <a:prstGeom prst="rect">
            <a:avLst/>
          </a:prstGeom>
        </p:spPr>
        <p:txBody>
          <a:bodyPr wrap="square">
            <a:spAutoFit/>
          </a:bodyPr>
          <a:lstStyle/>
          <a:p>
            <a:pPr algn="just">
              <a:spcAft>
                <a:spcPts val="600"/>
              </a:spcAft>
            </a:pPr>
            <a:r>
              <a:rPr lang="en-US" sz="1100" dirty="0"/>
              <a:t>AGRA supported </a:t>
            </a:r>
            <a:r>
              <a:rPr lang="en-US" sz="1100" b="1" dirty="0"/>
              <a:t>4,689 agro-dealers </a:t>
            </a:r>
            <a:r>
              <a:rPr lang="en-US" sz="1100" dirty="0"/>
              <a:t>through whom distances the farmer had to travel to access inputs reduced from about </a:t>
            </a:r>
            <a:r>
              <a:rPr lang="en-US" sz="1100" b="1" dirty="0"/>
              <a:t>26 to 20 km</a:t>
            </a:r>
          </a:p>
        </p:txBody>
      </p:sp>
      <p:sp>
        <p:nvSpPr>
          <p:cNvPr id="27" name="Rectangle 26"/>
          <p:cNvSpPr/>
          <p:nvPr/>
        </p:nvSpPr>
        <p:spPr>
          <a:xfrm>
            <a:off x="968188" y="3613483"/>
            <a:ext cx="4455904" cy="938719"/>
          </a:xfrm>
          <a:prstGeom prst="rect">
            <a:avLst/>
          </a:prstGeom>
        </p:spPr>
        <p:txBody>
          <a:bodyPr wrap="square">
            <a:spAutoFit/>
          </a:bodyPr>
          <a:lstStyle/>
          <a:p>
            <a:pPr algn="just">
              <a:spcAft>
                <a:spcPts val="600"/>
              </a:spcAft>
            </a:pPr>
            <a:r>
              <a:rPr lang="en-US" sz="1100" dirty="0"/>
              <a:t>AGRA trained thousands of farmers on ISFM (3,441 lead farmers), quality storage and structured trade (over 35,763 farmers) as well as farmer organizations on governance, group dynamics and leadership and assisted beneficiary farmers to aggregate 37,283 MT commodity valued at US$14.1 million</a:t>
            </a:r>
          </a:p>
        </p:txBody>
      </p:sp>
      <p:grpSp>
        <p:nvGrpSpPr>
          <p:cNvPr id="29" name="Group 28"/>
          <p:cNvGrpSpPr>
            <a:grpSpLocks noChangeAspect="1"/>
          </p:cNvGrpSpPr>
          <p:nvPr/>
        </p:nvGrpSpPr>
        <p:grpSpPr>
          <a:xfrm>
            <a:off x="295836" y="3854319"/>
            <a:ext cx="411480" cy="413805"/>
            <a:chOff x="2436813" y="3460750"/>
            <a:chExt cx="280988" cy="282576"/>
          </a:xfrm>
          <a:solidFill>
            <a:schemeClr val="accent6">
              <a:lumMod val="75000"/>
            </a:schemeClr>
          </a:solidFill>
        </p:grpSpPr>
        <p:sp>
          <p:nvSpPr>
            <p:cNvPr id="30" name="Freeform 275"/>
            <p:cNvSpPr>
              <a:spLocks/>
            </p:cNvSpPr>
            <p:nvPr/>
          </p:nvSpPr>
          <p:spPr bwMode="auto">
            <a:xfrm>
              <a:off x="2501901" y="3492500"/>
              <a:ext cx="215900" cy="215900"/>
            </a:xfrm>
            <a:custGeom>
              <a:avLst/>
              <a:gdLst>
                <a:gd name="T0" fmla="*/ 263 w 273"/>
                <a:gd name="T1" fmla="*/ 254 h 273"/>
                <a:gd name="T2" fmla="*/ 263 w 273"/>
                <a:gd name="T3" fmla="*/ 254 h 273"/>
                <a:gd name="T4" fmla="*/ 238 w 273"/>
                <a:gd name="T5" fmla="*/ 253 h 273"/>
                <a:gd name="T6" fmla="*/ 214 w 273"/>
                <a:gd name="T7" fmla="*/ 248 h 273"/>
                <a:gd name="T8" fmla="*/ 191 w 273"/>
                <a:gd name="T9" fmla="*/ 243 h 273"/>
                <a:gd name="T10" fmla="*/ 168 w 273"/>
                <a:gd name="T11" fmla="*/ 235 h 273"/>
                <a:gd name="T12" fmla="*/ 146 w 273"/>
                <a:gd name="T13" fmla="*/ 224 h 273"/>
                <a:gd name="T14" fmla="*/ 126 w 273"/>
                <a:gd name="T15" fmla="*/ 212 h 273"/>
                <a:gd name="T16" fmla="*/ 108 w 273"/>
                <a:gd name="T17" fmla="*/ 197 h 273"/>
                <a:gd name="T18" fmla="*/ 90 w 273"/>
                <a:gd name="T19" fmla="*/ 183 h 273"/>
                <a:gd name="T20" fmla="*/ 74 w 273"/>
                <a:gd name="T21" fmla="*/ 165 h 273"/>
                <a:gd name="T22" fmla="*/ 61 w 273"/>
                <a:gd name="T23" fmla="*/ 145 h 273"/>
                <a:gd name="T24" fmla="*/ 47 w 273"/>
                <a:gd name="T25" fmla="*/ 125 h 273"/>
                <a:gd name="T26" fmla="*/ 38 w 273"/>
                <a:gd name="T27" fmla="*/ 103 h 273"/>
                <a:gd name="T28" fmla="*/ 30 w 273"/>
                <a:gd name="T29" fmla="*/ 82 h 273"/>
                <a:gd name="T30" fmla="*/ 23 w 273"/>
                <a:gd name="T31" fmla="*/ 58 h 273"/>
                <a:gd name="T32" fmla="*/ 19 w 273"/>
                <a:gd name="T33" fmla="*/ 34 h 273"/>
                <a:gd name="T34" fmla="*/ 18 w 273"/>
                <a:gd name="T35" fmla="*/ 8 h 273"/>
                <a:gd name="T36" fmla="*/ 18 w 273"/>
                <a:gd name="T37" fmla="*/ 8 h 273"/>
                <a:gd name="T38" fmla="*/ 18 w 273"/>
                <a:gd name="T39" fmla="*/ 5 h 273"/>
                <a:gd name="T40" fmla="*/ 15 w 273"/>
                <a:gd name="T41" fmla="*/ 3 h 273"/>
                <a:gd name="T42" fmla="*/ 12 w 273"/>
                <a:gd name="T43" fmla="*/ 0 h 273"/>
                <a:gd name="T44" fmla="*/ 9 w 273"/>
                <a:gd name="T45" fmla="*/ 0 h 273"/>
                <a:gd name="T46" fmla="*/ 9 w 273"/>
                <a:gd name="T47" fmla="*/ 0 h 273"/>
                <a:gd name="T48" fmla="*/ 5 w 273"/>
                <a:gd name="T49" fmla="*/ 0 h 273"/>
                <a:gd name="T50" fmla="*/ 3 w 273"/>
                <a:gd name="T51" fmla="*/ 3 h 273"/>
                <a:gd name="T52" fmla="*/ 0 w 273"/>
                <a:gd name="T53" fmla="*/ 5 h 273"/>
                <a:gd name="T54" fmla="*/ 0 w 273"/>
                <a:gd name="T55" fmla="*/ 8 h 273"/>
                <a:gd name="T56" fmla="*/ 0 w 273"/>
                <a:gd name="T57" fmla="*/ 8 h 273"/>
                <a:gd name="T58" fmla="*/ 1 w 273"/>
                <a:gd name="T59" fmla="*/ 35 h 273"/>
                <a:gd name="T60" fmla="*/ 5 w 273"/>
                <a:gd name="T61" fmla="*/ 62 h 273"/>
                <a:gd name="T62" fmla="*/ 12 w 273"/>
                <a:gd name="T63" fmla="*/ 87 h 273"/>
                <a:gd name="T64" fmla="*/ 20 w 273"/>
                <a:gd name="T65" fmla="*/ 112 h 273"/>
                <a:gd name="T66" fmla="*/ 32 w 273"/>
                <a:gd name="T67" fmla="*/ 134 h 273"/>
                <a:gd name="T68" fmla="*/ 44 w 273"/>
                <a:gd name="T69" fmla="*/ 156 h 273"/>
                <a:gd name="T70" fmla="*/ 61 w 273"/>
                <a:gd name="T71" fmla="*/ 176 h 273"/>
                <a:gd name="T72" fmla="*/ 77 w 273"/>
                <a:gd name="T73" fmla="*/ 195 h 273"/>
                <a:gd name="T74" fmla="*/ 95 w 273"/>
                <a:gd name="T75" fmla="*/ 212 h 273"/>
                <a:gd name="T76" fmla="*/ 116 w 273"/>
                <a:gd name="T77" fmla="*/ 227 h 273"/>
                <a:gd name="T78" fmla="*/ 138 w 273"/>
                <a:gd name="T79" fmla="*/ 240 h 273"/>
                <a:gd name="T80" fmla="*/ 161 w 273"/>
                <a:gd name="T81" fmla="*/ 251 h 273"/>
                <a:gd name="T82" fmla="*/ 185 w 273"/>
                <a:gd name="T83" fmla="*/ 261 h 273"/>
                <a:gd name="T84" fmla="*/ 211 w 273"/>
                <a:gd name="T85" fmla="*/ 267 h 273"/>
                <a:gd name="T86" fmla="*/ 236 w 273"/>
                <a:gd name="T87" fmla="*/ 270 h 273"/>
                <a:gd name="T88" fmla="*/ 263 w 273"/>
                <a:gd name="T89" fmla="*/ 273 h 273"/>
                <a:gd name="T90" fmla="*/ 263 w 273"/>
                <a:gd name="T91" fmla="*/ 273 h 273"/>
                <a:gd name="T92" fmla="*/ 267 w 273"/>
                <a:gd name="T93" fmla="*/ 271 h 273"/>
                <a:gd name="T94" fmla="*/ 270 w 273"/>
                <a:gd name="T95" fmla="*/ 270 h 273"/>
                <a:gd name="T96" fmla="*/ 271 w 273"/>
                <a:gd name="T97" fmla="*/ 266 h 273"/>
                <a:gd name="T98" fmla="*/ 273 w 273"/>
                <a:gd name="T99" fmla="*/ 263 h 273"/>
                <a:gd name="T100" fmla="*/ 273 w 273"/>
                <a:gd name="T101" fmla="*/ 263 h 273"/>
                <a:gd name="T102" fmla="*/ 271 w 273"/>
                <a:gd name="T103" fmla="*/ 259 h 273"/>
                <a:gd name="T104" fmla="*/ 270 w 273"/>
                <a:gd name="T105" fmla="*/ 257 h 273"/>
                <a:gd name="T106" fmla="*/ 267 w 273"/>
                <a:gd name="T107" fmla="*/ 255 h 273"/>
                <a:gd name="T108" fmla="*/ 263 w 273"/>
                <a:gd name="T109" fmla="*/ 254 h 273"/>
                <a:gd name="T110" fmla="*/ 263 w 273"/>
                <a:gd name="T111" fmla="*/ 254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73" h="273">
                  <a:moveTo>
                    <a:pt x="263" y="254"/>
                  </a:moveTo>
                  <a:lnTo>
                    <a:pt x="263" y="254"/>
                  </a:lnTo>
                  <a:lnTo>
                    <a:pt x="238" y="253"/>
                  </a:lnTo>
                  <a:lnTo>
                    <a:pt x="214" y="248"/>
                  </a:lnTo>
                  <a:lnTo>
                    <a:pt x="191" y="243"/>
                  </a:lnTo>
                  <a:lnTo>
                    <a:pt x="168" y="235"/>
                  </a:lnTo>
                  <a:lnTo>
                    <a:pt x="146" y="224"/>
                  </a:lnTo>
                  <a:lnTo>
                    <a:pt x="126" y="212"/>
                  </a:lnTo>
                  <a:lnTo>
                    <a:pt x="108" y="197"/>
                  </a:lnTo>
                  <a:lnTo>
                    <a:pt x="90" y="183"/>
                  </a:lnTo>
                  <a:lnTo>
                    <a:pt x="74" y="165"/>
                  </a:lnTo>
                  <a:lnTo>
                    <a:pt x="61" y="145"/>
                  </a:lnTo>
                  <a:lnTo>
                    <a:pt x="47" y="125"/>
                  </a:lnTo>
                  <a:lnTo>
                    <a:pt x="38" y="103"/>
                  </a:lnTo>
                  <a:lnTo>
                    <a:pt x="30" y="82"/>
                  </a:lnTo>
                  <a:lnTo>
                    <a:pt x="23" y="58"/>
                  </a:lnTo>
                  <a:lnTo>
                    <a:pt x="19" y="34"/>
                  </a:lnTo>
                  <a:lnTo>
                    <a:pt x="18" y="8"/>
                  </a:lnTo>
                  <a:lnTo>
                    <a:pt x="18" y="8"/>
                  </a:lnTo>
                  <a:lnTo>
                    <a:pt x="18" y="5"/>
                  </a:lnTo>
                  <a:lnTo>
                    <a:pt x="15" y="3"/>
                  </a:lnTo>
                  <a:lnTo>
                    <a:pt x="12" y="0"/>
                  </a:lnTo>
                  <a:lnTo>
                    <a:pt x="9" y="0"/>
                  </a:lnTo>
                  <a:lnTo>
                    <a:pt x="9" y="0"/>
                  </a:lnTo>
                  <a:lnTo>
                    <a:pt x="5" y="0"/>
                  </a:lnTo>
                  <a:lnTo>
                    <a:pt x="3" y="3"/>
                  </a:lnTo>
                  <a:lnTo>
                    <a:pt x="0" y="5"/>
                  </a:lnTo>
                  <a:lnTo>
                    <a:pt x="0" y="8"/>
                  </a:lnTo>
                  <a:lnTo>
                    <a:pt x="0" y="8"/>
                  </a:lnTo>
                  <a:lnTo>
                    <a:pt x="1" y="35"/>
                  </a:lnTo>
                  <a:lnTo>
                    <a:pt x="5" y="62"/>
                  </a:lnTo>
                  <a:lnTo>
                    <a:pt x="12" y="87"/>
                  </a:lnTo>
                  <a:lnTo>
                    <a:pt x="20" y="112"/>
                  </a:lnTo>
                  <a:lnTo>
                    <a:pt x="32" y="134"/>
                  </a:lnTo>
                  <a:lnTo>
                    <a:pt x="44" y="156"/>
                  </a:lnTo>
                  <a:lnTo>
                    <a:pt x="61" y="176"/>
                  </a:lnTo>
                  <a:lnTo>
                    <a:pt x="77" y="195"/>
                  </a:lnTo>
                  <a:lnTo>
                    <a:pt x="95" y="212"/>
                  </a:lnTo>
                  <a:lnTo>
                    <a:pt x="116" y="227"/>
                  </a:lnTo>
                  <a:lnTo>
                    <a:pt x="138" y="240"/>
                  </a:lnTo>
                  <a:lnTo>
                    <a:pt x="161" y="251"/>
                  </a:lnTo>
                  <a:lnTo>
                    <a:pt x="185" y="261"/>
                  </a:lnTo>
                  <a:lnTo>
                    <a:pt x="211" y="267"/>
                  </a:lnTo>
                  <a:lnTo>
                    <a:pt x="236" y="270"/>
                  </a:lnTo>
                  <a:lnTo>
                    <a:pt x="263" y="273"/>
                  </a:lnTo>
                  <a:lnTo>
                    <a:pt x="263" y="273"/>
                  </a:lnTo>
                  <a:lnTo>
                    <a:pt x="267" y="271"/>
                  </a:lnTo>
                  <a:lnTo>
                    <a:pt x="270" y="270"/>
                  </a:lnTo>
                  <a:lnTo>
                    <a:pt x="271" y="266"/>
                  </a:lnTo>
                  <a:lnTo>
                    <a:pt x="273" y="263"/>
                  </a:lnTo>
                  <a:lnTo>
                    <a:pt x="273" y="263"/>
                  </a:lnTo>
                  <a:lnTo>
                    <a:pt x="271" y="259"/>
                  </a:lnTo>
                  <a:lnTo>
                    <a:pt x="270" y="257"/>
                  </a:lnTo>
                  <a:lnTo>
                    <a:pt x="267" y="255"/>
                  </a:lnTo>
                  <a:lnTo>
                    <a:pt x="263" y="254"/>
                  </a:lnTo>
                  <a:lnTo>
                    <a:pt x="263"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buClrTx/>
                <a:buFontTx/>
                <a:buNone/>
                <a:defRPr/>
              </a:pPr>
              <a:endParaRPr lang="en-US" sz="2400" kern="1200" dirty="0">
                <a:solidFill>
                  <a:prstClr val="black"/>
                </a:solidFill>
                <a:latin typeface="Calibri"/>
                <a:ea typeface="+mn-ea"/>
              </a:endParaRPr>
            </a:p>
          </p:txBody>
        </p:sp>
        <p:sp>
          <p:nvSpPr>
            <p:cNvPr id="31" name="Freeform 276"/>
            <p:cNvSpPr>
              <a:spLocks/>
            </p:cNvSpPr>
            <p:nvPr/>
          </p:nvSpPr>
          <p:spPr bwMode="auto">
            <a:xfrm>
              <a:off x="2516188" y="3687763"/>
              <a:ext cx="101600" cy="55563"/>
            </a:xfrm>
            <a:custGeom>
              <a:avLst/>
              <a:gdLst>
                <a:gd name="T0" fmla="*/ 125 w 127"/>
                <a:gd name="T1" fmla="*/ 21 h 71"/>
                <a:gd name="T2" fmla="*/ 125 w 127"/>
                <a:gd name="T3" fmla="*/ 21 h 71"/>
                <a:gd name="T4" fmla="*/ 119 w 127"/>
                <a:gd name="T5" fmla="*/ 17 h 71"/>
                <a:gd name="T6" fmla="*/ 106 w 127"/>
                <a:gd name="T7" fmla="*/ 9 h 71"/>
                <a:gd name="T8" fmla="*/ 97 w 127"/>
                <a:gd name="T9" fmla="*/ 5 h 71"/>
                <a:gd name="T10" fmla="*/ 87 w 127"/>
                <a:gd name="T11" fmla="*/ 2 h 71"/>
                <a:gd name="T12" fmla="*/ 76 w 127"/>
                <a:gd name="T13" fmla="*/ 0 h 71"/>
                <a:gd name="T14" fmla="*/ 64 w 127"/>
                <a:gd name="T15" fmla="*/ 0 h 71"/>
                <a:gd name="T16" fmla="*/ 64 w 127"/>
                <a:gd name="T17" fmla="*/ 0 h 71"/>
                <a:gd name="T18" fmla="*/ 54 w 127"/>
                <a:gd name="T19" fmla="*/ 1 h 71"/>
                <a:gd name="T20" fmla="*/ 54 w 127"/>
                <a:gd name="T21" fmla="*/ 1 h 71"/>
                <a:gd name="T22" fmla="*/ 43 w 127"/>
                <a:gd name="T23" fmla="*/ 4 h 71"/>
                <a:gd name="T24" fmla="*/ 33 w 127"/>
                <a:gd name="T25" fmla="*/ 8 h 71"/>
                <a:gd name="T26" fmla="*/ 24 w 127"/>
                <a:gd name="T27" fmla="*/ 12 h 71"/>
                <a:gd name="T28" fmla="*/ 17 w 127"/>
                <a:gd name="T29" fmla="*/ 17 h 71"/>
                <a:gd name="T30" fmla="*/ 7 w 127"/>
                <a:gd name="T31" fmla="*/ 27 h 71"/>
                <a:gd name="T32" fmla="*/ 1 w 127"/>
                <a:gd name="T33" fmla="*/ 31 h 71"/>
                <a:gd name="T34" fmla="*/ 1 w 127"/>
                <a:gd name="T35" fmla="*/ 31 h 71"/>
                <a:gd name="T36" fmla="*/ 0 w 127"/>
                <a:gd name="T37" fmla="*/ 35 h 71"/>
                <a:gd name="T38" fmla="*/ 1 w 127"/>
                <a:gd name="T39" fmla="*/ 39 h 71"/>
                <a:gd name="T40" fmla="*/ 1 w 127"/>
                <a:gd name="T41" fmla="*/ 39 h 71"/>
                <a:gd name="T42" fmla="*/ 7 w 127"/>
                <a:gd name="T43" fmla="*/ 44 h 71"/>
                <a:gd name="T44" fmla="*/ 20 w 127"/>
                <a:gd name="T45" fmla="*/ 55 h 71"/>
                <a:gd name="T46" fmla="*/ 29 w 127"/>
                <a:gd name="T47" fmla="*/ 62 h 71"/>
                <a:gd name="T48" fmla="*/ 39 w 127"/>
                <a:gd name="T49" fmla="*/ 67 h 71"/>
                <a:gd name="T50" fmla="*/ 50 w 127"/>
                <a:gd name="T51" fmla="*/ 70 h 71"/>
                <a:gd name="T52" fmla="*/ 59 w 127"/>
                <a:gd name="T53" fmla="*/ 71 h 71"/>
                <a:gd name="T54" fmla="*/ 59 w 127"/>
                <a:gd name="T55" fmla="*/ 71 h 71"/>
                <a:gd name="T56" fmla="*/ 66 w 127"/>
                <a:gd name="T57" fmla="*/ 71 h 71"/>
                <a:gd name="T58" fmla="*/ 66 w 127"/>
                <a:gd name="T59" fmla="*/ 71 h 71"/>
                <a:gd name="T60" fmla="*/ 79 w 127"/>
                <a:gd name="T61" fmla="*/ 67 h 71"/>
                <a:gd name="T62" fmla="*/ 91 w 127"/>
                <a:gd name="T63" fmla="*/ 62 h 71"/>
                <a:gd name="T64" fmla="*/ 101 w 127"/>
                <a:gd name="T65" fmla="*/ 55 h 71"/>
                <a:gd name="T66" fmla="*/ 110 w 127"/>
                <a:gd name="T67" fmla="*/ 48 h 71"/>
                <a:gd name="T68" fmla="*/ 122 w 127"/>
                <a:gd name="T69" fmla="*/ 35 h 71"/>
                <a:gd name="T70" fmla="*/ 127 w 127"/>
                <a:gd name="T71" fmla="*/ 28 h 71"/>
                <a:gd name="T72" fmla="*/ 127 w 127"/>
                <a:gd name="T73" fmla="*/ 28 h 71"/>
                <a:gd name="T74" fmla="*/ 127 w 127"/>
                <a:gd name="T75" fmla="*/ 27 h 71"/>
                <a:gd name="T76" fmla="*/ 127 w 127"/>
                <a:gd name="T77" fmla="*/ 24 h 71"/>
                <a:gd name="T78" fmla="*/ 127 w 127"/>
                <a:gd name="T79" fmla="*/ 23 h 71"/>
                <a:gd name="T80" fmla="*/ 125 w 127"/>
                <a:gd name="T81" fmla="*/ 21 h 71"/>
                <a:gd name="T82" fmla="*/ 125 w 127"/>
                <a:gd name="T83" fmla="*/ 2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7" h="71">
                  <a:moveTo>
                    <a:pt x="125" y="21"/>
                  </a:moveTo>
                  <a:lnTo>
                    <a:pt x="125" y="21"/>
                  </a:lnTo>
                  <a:lnTo>
                    <a:pt x="119" y="17"/>
                  </a:lnTo>
                  <a:lnTo>
                    <a:pt x="106" y="9"/>
                  </a:lnTo>
                  <a:lnTo>
                    <a:pt x="97" y="5"/>
                  </a:lnTo>
                  <a:lnTo>
                    <a:pt x="87" y="2"/>
                  </a:lnTo>
                  <a:lnTo>
                    <a:pt x="76" y="0"/>
                  </a:lnTo>
                  <a:lnTo>
                    <a:pt x="64" y="0"/>
                  </a:lnTo>
                  <a:lnTo>
                    <a:pt x="64" y="0"/>
                  </a:lnTo>
                  <a:lnTo>
                    <a:pt x="54" y="1"/>
                  </a:lnTo>
                  <a:lnTo>
                    <a:pt x="54" y="1"/>
                  </a:lnTo>
                  <a:lnTo>
                    <a:pt x="43" y="4"/>
                  </a:lnTo>
                  <a:lnTo>
                    <a:pt x="33" y="8"/>
                  </a:lnTo>
                  <a:lnTo>
                    <a:pt x="24" y="12"/>
                  </a:lnTo>
                  <a:lnTo>
                    <a:pt x="17" y="17"/>
                  </a:lnTo>
                  <a:lnTo>
                    <a:pt x="7" y="27"/>
                  </a:lnTo>
                  <a:lnTo>
                    <a:pt x="1" y="31"/>
                  </a:lnTo>
                  <a:lnTo>
                    <a:pt x="1" y="31"/>
                  </a:lnTo>
                  <a:lnTo>
                    <a:pt x="0" y="35"/>
                  </a:lnTo>
                  <a:lnTo>
                    <a:pt x="1" y="39"/>
                  </a:lnTo>
                  <a:lnTo>
                    <a:pt x="1" y="39"/>
                  </a:lnTo>
                  <a:lnTo>
                    <a:pt x="7" y="44"/>
                  </a:lnTo>
                  <a:lnTo>
                    <a:pt x="20" y="55"/>
                  </a:lnTo>
                  <a:lnTo>
                    <a:pt x="29" y="62"/>
                  </a:lnTo>
                  <a:lnTo>
                    <a:pt x="39" y="67"/>
                  </a:lnTo>
                  <a:lnTo>
                    <a:pt x="50" y="70"/>
                  </a:lnTo>
                  <a:lnTo>
                    <a:pt x="59" y="71"/>
                  </a:lnTo>
                  <a:lnTo>
                    <a:pt x="59" y="71"/>
                  </a:lnTo>
                  <a:lnTo>
                    <a:pt x="66" y="71"/>
                  </a:lnTo>
                  <a:lnTo>
                    <a:pt x="66" y="71"/>
                  </a:lnTo>
                  <a:lnTo>
                    <a:pt x="79" y="67"/>
                  </a:lnTo>
                  <a:lnTo>
                    <a:pt x="91" y="62"/>
                  </a:lnTo>
                  <a:lnTo>
                    <a:pt x="101" y="55"/>
                  </a:lnTo>
                  <a:lnTo>
                    <a:pt x="110" y="48"/>
                  </a:lnTo>
                  <a:lnTo>
                    <a:pt x="122" y="35"/>
                  </a:lnTo>
                  <a:lnTo>
                    <a:pt x="127" y="28"/>
                  </a:lnTo>
                  <a:lnTo>
                    <a:pt x="127" y="28"/>
                  </a:lnTo>
                  <a:lnTo>
                    <a:pt x="127" y="27"/>
                  </a:lnTo>
                  <a:lnTo>
                    <a:pt x="127" y="24"/>
                  </a:lnTo>
                  <a:lnTo>
                    <a:pt x="127" y="23"/>
                  </a:lnTo>
                  <a:lnTo>
                    <a:pt x="125" y="21"/>
                  </a:lnTo>
                  <a:lnTo>
                    <a:pt x="125"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buClrTx/>
                <a:buFontTx/>
                <a:buNone/>
                <a:defRPr/>
              </a:pPr>
              <a:endParaRPr lang="en-US" sz="2400" kern="1200" dirty="0">
                <a:solidFill>
                  <a:prstClr val="black"/>
                </a:solidFill>
                <a:latin typeface="Calibri"/>
                <a:ea typeface="+mn-ea"/>
              </a:endParaRPr>
            </a:p>
          </p:txBody>
        </p:sp>
        <p:sp>
          <p:nvSpPr>
            <p:cNvPr id="32" name="Freeform 277"/>
            <p:cNvSpPr>
              <a:spLocks/>
            </p:cNvSpPr>
            <p:nvPr/>
          </p:nvSpPr>
          <p:spPr bwMode="auto">
            <a:xfrm>
              <a:off x="2462213" y="3611563"/>
              <a:ext cx="79375" cy="46038"/>
            </a:xfrm>
            <a:custGeom>
              <a:avLst/>
              <a:gdLst>
                <a:gd name="T0" fmla="*/ 100 w 101"/>
                <a:gd name="T1" fmla="*/ 40 h 59"/>
                <a:gd name="T2" fmla="*/ 100 w 101"/>
                <a:gd name="T3" fmla="*/ 40 h 59"/>
                <a:gd name="T4" fmla="*/ 97 w 101"/>
                <a:gd name="T5" fmla="*/ 34 h 59"/>
                <a:gd name="T6" fmla="*/ 89 w 101"/>
                <a:gd name="T7" fmla="*/ 22 h 59"/>
                <a:gd name="T8" fmla="*/ 82 w 101"/>
                <a:gd name="T9" fmla="*/ 14 h 59"/>
                <a:gd name="T10" fmla="*/ 76 w 101"/>
                <a:gd name="T11" fmla="*/ 8 h 59"/>
                <a:gd name="T12" fmla="*/ 68 w 101"/>
                <a:gd name="T13" fmla="*/ 3 h 59"/>
                <a:gd name="T14" fmla="*/ 59 w 101"/>
                <a:gd name="T15" fmla="*/ 0 h 59"/>
                <a:gd name="T16" fmla="*/ 59 w 101"/>
                <a:gd name="T17" fmla="*/ 0 h 59"/>
                <a:gd name="T18" fmla="*/ 51 w 101"/>
                <a:gd name="T19" fmla="*/ 0 h 59"/>
                <a:gd name="T20" fmla="*/ 51 w 101"/>
                <a:gd name="T21" fmla="*/ 0 h 59"/>
                <a:gd name="T22" fmla="*/ 42 w 101"/>
                <a:gd name="T23" fmla="*/ 1 h 59"/>
                <a:gd name="T24" fmla="*/ 33 w 101"/>
                <a:gd name="T25" fmla="*/ 3 h 59"/>
                <a:gd name="T26" fmla="*/ 25 w 101"/>
                <a:gd name="T27" fmla="*/ 5 h 59"/>
                <a:gd name="T28" fmla="*/ 18 w 101"/>
                <a:gd name="T29" fmla="*/ 10 h 59"/>
                <a:gd name="T30" fmla="*/ 7 w 101"/>
                <a:gd name="T31" fmla="*/ 15 h 59"/>
                <a:gd name="T32" fmla="*/ 2 w 101"/>
                <a:gd name="T33" fmla="*/ 19 h 59"/>
                <a:gd name="T34" fmla="*/ 2 w 101"/>
                <a:gd name="T35" fmla="*/ 19 h 59"/>
                <a:gd name="T36" fmla="*/ 0 w 101"/>
                <a:gd name="T37" fmla="*/ 20 h 59"/>
                <a:gd name="T38" fmla="*/ 0 w 101"/>
                <a:gd name="T39" fmla="*/ 22 h 59"/>
                <a:gd name="T40" fmla="*/ 0 w 101"/>
                <a:gd name="T41" fmla="*/ 24 h 59"/>
                <a:gd name="T42" fmla="*/ 2 w 101"/>
                <a:gd name="T43" fmla="*/ 26 h 59"/>
                <a:gd name="T44" fmla="*/ 2 w 101"/>
                <a:gd name="T45" fmla="*/ 26 h 59"/>
                <a:gd name="T46" fmla="*/ 6 w 101"/>
                <a:gd name="T47" fmla="*/ 31 h 59"/>
                <a:gd name="T48" fmla="*/ 17 w 101"/>
                <a:gd name="T49" fmla="*/ 42 h 59"/>
                <a:gd name="T50" fmla="*/ 25 w 101"/>
                <a:gd name="T51" fmla="*/ 47 h 59"/>
                <a:gd name="T52" fmla="*/ 33 w 101"/>
                <a:gd name="T53" fmla="*/ 52 h 59"/>
                <a:gd name="T54" fmla="*/ 42 w 101"/>
                <a:gd name="T55" fmla="*/ 57 h 59"/>
                <a:gd name="T56" fmla="*/ 51 w 101"/>
                <a:gd name="T57" fmla="*/ 59 h 59"/>
                <a:gd name="T58" fmla="*/ 51 w 101"/>
                <a:gd name="T59" fmla="*/ 59 h 59"/>
                <a:gd name="T60" fmla="*/ 59 w 101"/>
                <a:gd name="T61" fmla="*/ 59 h 59"/>
                <a:gd name="T62" fmla="*/ 59 w 101"/>
                <a:gd name="T63" fmla="*/ 59 h 59"/>
                <a:gd name="T64" fmla="*/ 66 w 101"/>
                <a:gd name="T65" fmla="*/ 59 h 59"/>
                <a:gd name="T66" fmla="*/ 74 w 101"/>
                <a:gd name="T67" fmla="*/ 58 h 59"/>
                <a:gd name="T68" fmla="*/ 86 w 101"/>
                <a:gd name="T69" fmla="*/ 54 h 59"/>
                <a:gd name="T70" fmla="*/ 96 w 101"/>
                <a:gd name="T71" fmla="*/ 50 h 59"/>
                <a:gd name="T72" fmla="*/ 98 w 101"/>
                <a:gd name="T73" fmla="*/ 48 h 59"/>
                <a:gd name="T74" fmla="*/ 98 w 101"/>
                <a:gd name="T75" fmla="*/ 48 h 59"/>
                <a:gd name="T76" fmla="*/ 101 w 101"/>
                <a:gd name="T77" fmla="*/ 44 h 59"/>
                <a:gd name="T78" fmla="*/ 100 w 101"/>
                <a:gd name="T79" fmla="*/ 40 h 59"/>
                <a:gd name="T80" fmla="*/ 100 w 101"/>
                <a:gd name="T81" fmla="*/ 4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1" h="59">
                  <a:moveTo>
                    <a:pt x="100" y="40"/>
                  </a:moveTo>
                  <a:lnTo>
                    <a:pt x="100" y="40"/>
                  </a:lnTo>
                  <a:lnTo>
                    <a:pt x="97" y="34"/>
                  </a:lnTo>
                  <a:lnTo>
                    <a:pt x="89" y="22"/>
                  </a:lnTo>
                  <a:lnTo>
                    <a:pt x="82" y="14"/>
                  </a:lnTo>
                  <a:lnTo>
                    <a:pt x="76" y="8"/>
                  </a:lnTo>
                  <a:lnTo>
                    <a:pt x="68" y="3"/>
                  </a:lnTo>
                  <a:lnTo>
                    <a:pt x="59" y="0"/>
                  </a:lnTo>
                  <a:lnTo>
                    <a:pt x="59" y="0"/>
                  </a:lnTo>
                  <a:lnTo>
                    <a:pt x="51" y="0"/>
                  </a:lnTo>
                  <a:lnTo>
                    <a:pt x="51" y="0"/>
                  </a:lnTo>
                  <a:lnTo>
                    <a:pt x="42" y="1"/>
                  </a:lnTo>
                  <a:lnTo>
                    <a:pt x="33" y="3"/>
                  </a:lnTo>
                  <a:lnTo>
                    <a:pt x="25" y="5"/>
                  </a:lnTo>
                  <a:lnTo>
                    <a:pt x="18" y="10"/>
                  </a:lnTo>
                  <a:lnTo>
                    <a:pt x="7" y="15"/>
                  </a:lnTo>
                  <a:lnTo>
                    <a:pt x="2" y="19"/>
                  </a:lnTo>
                  <a:lnTo>
                    <a:pt x="2" y="19"/>
                  </a:lnTo>
                  <a:lnTo>
                    <a:pt x="0" y="20"/>
                  </a:lnTo>
                  <a:lnTo>
                    <a:pt x="0" y="22"/>
                  </a:lnTo>
                  <a:lnTo>
                    <a:pt x="0" y="24"/>
                  </a:lnTo>
                  <a:lnTo>
                    <a:pt x="2" y="26"/>
                  </a:lnTo>
                  <a:lnTo>
                    <a:pt x="2" y="26"/>
                  </a:lnTo>
                  <a:lnTo>
                    <a:pt x="6" y="31"/>
                  </a:lnTo>
                  <a:lnTo>
                    <a:pt x="17" y="42"/>
                  </a:lnTo>
                  <a:lnTo>
                    <a:pt x="25" y="47"/>
                  </a:lnTo>
                  <a:lnTo>
                    <a:pt x="33" y="52"/>
                  </a:lnTo>
                  <a:lnTo>
                    <a:pt x="42" y="57"/>
                  </a:lnTo>
                  <a:lnTo>
                    <a:pt x="51" y="59"/>
                  </a:lnTo>
                  <a:lnTo>
                    <a:pt x="51" y="59"/>
                  </a:lnTo>
                  <a:lnTo>
                    <a:pt x="59" y="59"/>
                  </a:lnTo>
                  <a:lnTo>
                    <a:pt x="59" y="59"/>
                  </a:lnTo>
                  <a:lnTo>
                    <a:pt x="66" y="59"/>
                  </a:lnTo>
                  <a:lnTo>
                    <a:pt x="74" y="58"/>
                  </a:lnTo>
                  <a:lnTo>
                    <a:pt x="86" y="54"/>
                  </a:lnTo>
                  <a:lnTo>
                    <a:pt x="96" y="50"/>
                  </a:lnTo>
                  <a:lnTo>
                    <a:pt x="98" y="48"/>
                  </a:lnTo>
                  <a:lnTo>
                    <a:pt x="98" y="48"/>
                  </a:lnTo>
                  <a:lnTo>
                    <a:pt x="101" y="44"/>
                  </a:lnTo>
                  <a:lnTo>
                    <a:pt x="100" y="40"/>
                  </a:lnTo>
                  <a:lnTo>
                    <a:pt x="10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buClrTx/>
                <a:buFontTx/>
                <a:buNone/>
                <a:defRPr/>
              </a:pPr>
              <a:endParaRPr lang="en-US" sz="2400" kern="1200" dirty="0">
                <a:solidFill>
                  <a:prstClr val="black"/>
                </a:solidFill>
                <a:latin typeface="Calibri"/>
                <a:ea typeface="+mn-ea"/>
              </a:endParaRPr>
            </a:p>
          </p:txBody>
        </p:sp>
        <p:sp>
          <p:nvSpPr>
            <p:cNvPr id="33" name="Freeform 278"/>
            <p:cNvSpPr>
              <a:spLocks/>
            </p:cNvSpPr>
            <p:nvPr/>
          </p:nvSpPr>
          <p:spPr bwMode="auto">
            <a:xfrm>
              <a:off x="2554288" y="3538538"/>
              <a:ext cx="47625" cy="79375"/>
            </a:xfrm>
            <a:custGeom>
              <a:avLst/>
              <a:gdLst>
                <a:gd name="T0" fmla="*/ 0 w 59"/>
                <a:gd name="T1" fmla="*/ 44 h 101"/>
                <a:gd name="T2" fmla="*/ 0 w 59"/>
                <a:gd name="T3" fmla="*/ 44 h 101"/>
                <a:gd name="T4" fmla="*/ 2 w 59"/>
                <a:gd name="T5" fmla="*/ 55 h 101"/>
                <a:gd name="T6" fmla="*/ 3 w 59"/>
                <a:gd name="T7" fmla="*/ 64 h 101"/>
                <a:gd name="T8" fmla="*/ 6 w 59"/>
                <a:gd name="T9" fmla="*/ 74 h 101"/>
                <a:gd name="T10" fmla="*/ 10 w 59"/>
                <a:gd name="T11" fmla="*/ 82 h 101"/>
                <a:gd name="T12" fmla="*/ 18 w 59"/>
                <a:gd name="T13" fmla="*/ 94 h 101"/>
                <a:gd name="T14" fmla="*/ 22 w 59"/>
                <a:gd name="T15" fmla="*/ 99 h 101"/>
                <a:gd name="T16" fmla="*/ 22 w 59"/>
                <a:gd name="T17" fmla="*/ 99 h 101"/>
                <a:gd name="T18" fmla="*/ 23 w 59"/>
                <a:gd name="T19" fmla="*/ 101 h 101"/>
                <a:gd name="T20" fmla="*/ 26 w 59"/>
                <a:gd name="T21" fmla="*/ 101 h 101"/>
                <a:gd name="T22" fmla="*/ 26 w 59"/>
                <a:gd name="T23" fmla="*/ 101 h 101"/>
                <a:gd name="T24" fmla="*/ 30 w 59"/>
                <a:gd name="T25" fmla="*/ 99 h 101"/>
                <a:gd name="T26" fmla="*/ 30 w 59"/>
                <a:gd name="T27" fmla="*/ 99 h 101"/>
                <a:gd name="T28" fmla="*/ 34 w 59"/>
                <a:gd name="T29" fmla="*/ 95 h 101"/>
                <a:gd name="T30" fmla="*/ 43 w 59"/>
                <a:gd name="T31" fmla="*/ 84 h 101"/>
                <a:gd name="T32" fmla="*/ 49 w 59"/>
                <a:gd name="T33" fmla="*/ 76 h 101"/>
                <a:gd name="T34" fmla="*/ 54 w 59"/>
                <a:gd name="T35" fmla="*/ 68 h 101"/>
                <a:gd name="T36" fmla="*/ 57 w 59"/>
                <a:gd name="T37" fmla="*/ 59 h 101"/>
                <a:gd name="T38" fmla="*/ 59 w 59"/>
                <a:gd name="T39" fmla="*/ 48 h 101"/>
                <a:gd name="T40" fmla="*/ 59 w 59"/>
                <a:gd name="T41" fmla="*/ 48 h 101"/>
                <a:gd name="T42" fmla="*/ 59 w 59"/>
                <a:gd name="T43" fmla="*/ 40 h 101"/>
                <a:gd name="T44" fmla="*/ 58 w 59"/>
                <a:gd name="T45" fmla="*/ 32 h 101"/>
                <a:gd name="T46" fmla="*/ 53 w 59"/>
                <a:gd name="T47" fmla="*/ 17 h 101"/>
                <a:gd name="T48" fmla="*/ 49 w 59"/>
                <a:gd name="T49" fmla="*/ 7 h 101"/>
                <a:gd name="T50" fmla="*/ 46 w 59"/>
                <a:gd name="T51" fmla="*/ 2 h 101"/>
                <a:gd name="T52" fmla="*/ 46 w 59"/>
                <a:gd name="T53" fmla="*/ 2 h 101"/>
                <a:gd name="T54" fmla="*/ 42 w 59"/>
                <a:gd name="T55" fmla="*/ 0 h 101"/>
                <a:gd name="T56" fmla="*/ 41 w 59"/>
                <a:gd name="T57" fmla="*/ 0 h 101"/>
                <a:gd name="T58" fmla="*/ 38 w 59"/>
                <a:gd name="T59" fmla="*/ 1 h 101"/>
                <a:gd name="T60" fmla="*/ 38 w 59"/>
                <a:gd name="T61" fmla="*/ 1 h 101"/>
                <a:gd name="T62" fmla="*/ 32 w 59"/>
                <a:gd name="T63" fmla="*/ 4 h 101"/>
                <a:gd name="T64" fmla="*/ 20 w 59"/>
                <a:gd name="T65" fmla="*/ 13 h 101"/>
                <a:gd name="T66" fmla="*/ 14 w 59"/>
                <a:gd name="T67" fmla="*/ 20 h 101"/>
                <a:gd name="T68" fmla="*/ 7 w 59"/>
                <a:gd name="T69" fmla="*/ 27 h 101"/>
                <a:gd name="T70" fmla="*/ 3 w 59"/>
                <a:gd name="T71" fmla="*/ 35 h 101"/>
                <a:gd name="T72" fmla="*/ 0 w 59"/>
                <a:gd name="T73" fmla="*/ 44 h 101"/>
                <a:gd name="T74" fmla="*/ 0 w 59"/>
                <a:gd name="T75" fmla="*/ 4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9" h="101">
                  <a:moveTo>
                    <a:pt x="0" y="44"/>
                  </a:moveTo>
                  <a:lnTo>
                    <a:pt x="0" y="44"/>
                  </a:lnTo>
                  <a:lnTo>
                    <a:pt x="2" y="55"/>
                  </a:lnTo>
                  <a:lnTo>
                    <a:pt x="3" y="64"/>
                  </a:lnTo>
                  <a:lnTo>
                    <a:pt x="6" y="74"/>
                  </a:lnTo>
                  <a:lnTo>
                    <a:pt x="10" y="82"/>
                  </a:lnTo>
                  <a:lnTo>
                    <a:pt x="18" y="94"/>
                  </a:lnTo>
                  <a:lnTo>
                    <a:pt x="22" y="99"/>
                  </a:lnTo>
                  <a:lnTo>
                    <a:pt x="22" y="99"/>
                  </a:lnTo>
                  <a:lnTo>
                    <a:pt x="23" y="101"/>
                  </a:lnTo>
                  <a:lnTo>
                    <a:pt x="26" y="101"/>
                  </a:lnTo>
                  <a:lnTo>
                    <a:pt x="26" y="101"/>
                  </a:lnTo>
                  <a:lnTo>
                    <a:pt x="30" y="99"/>
                  </a:lnTo>
                  <a:lnTo>
                    <a:pt x="30" y="99"/>
                  </a:lnTo>
                  <a:lnTo>
                    <a:pt x="34" y="95"/>
                  </a:lnTo>
                  <a:lnTo>
                    <a:pt x="43" y="84"/>
                  </a:lnTo>
                  <a:lnTo>
                    <a:pt x="49" y="76"/>
                  </a:lnTo>
                  <a:lnTo>
                    <a:pt x="54" y="68"/>
                  </a:lnTo>
                  <a:lnTo>
                    <a:pt x="57" y="59"/>
                  </a:lnTo>
                  <a:lnTo>
                    <a:pt x="59" y="48"/>
                  </a:lnTo>
                  <a:lnTo>
                    <a:pt x="59" y="48"/>
                  </a:lnTo>
                  <a:lnTo>
                    <a:pt x="59" y="40"/>
                  </a:lnTo>
                  <a:lnTo>
                    <a:pt x="58" y="32"/>
                  </a:lnTo>
                  <a:lnTo>
                    <a:pt x="53" y="17"/>
                  </a:lnTo>
                  <a:lnTo>
                    <a:pt x="49" y="7"/>
                  </a:lnTo>
                  <a:lnTo>
                    <a:pt x="46" y="2"/>
                  </a:lnTo>
                  <a:lnTo>
                    <a:pt x="46" y="2"/>
                  </a:lnTo>
                  <a:lnTo>
                    <a:pt x="42" y="0"/>
                  </a:lnTo>
                  <a:lnTo>
                    <a:pt x="41" y="0"/>
                  </a:lnTo>
                  <a:lnTo>
                    <a:pt x="38" y="1"/>
                  </a:lnTo>
                  <a:lnTo>
                    <a:pt x="38" y="1"/>
                  </a:lnTo>
                  <a:lnTo>
                    <a:pt x="32" y="4"/>
                  </a:lnTo>
                  <a:lnTo>
                    <a:pt x="20" y="13"/>
                  </a:lnTo>
                  <a:lnTo>
                    <a:pt x="14" y="20"/>
                  </a:lnTo>
                  <a:lnTo>
                    <a:pt x="7" y="27"/>
                  </a:lnTo>
                  <a:lnTo>
                    <a:pt x="3" y="35"/>
                  </a:lnTo>
                  <a:lnTo>
                    <a:pt x="0" y="44"/>
                  </a:lnTo>
                  <a:lnTo>
                    <a:pt x="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buClrTx/>
                <a:buFontTx/>
                <a:buNone/>
                <a:defRPr/>
              </a:pPr>
              <a:endParaRPr lang="en-US" sz="2400" kern="1200" dirty="0">
                <a:solidFill>
                  <a:prstClr val="black"/>
                </a:solidFill>
                <a:latin typeface="Calibri"/>
                <a:ea typeface="+mn-ea"/>
              </a:endParaRPr>
            </a:p>
          </p:txBody>
        </p:sp>
        <p:sp>
          <p:nvSpPr>
            <p:cNvPr id="34" name="Freeform 279"/>
            <p:cNvSpPr>
              <a:spLocks/>
            </p:cNvSpPr>
            <p:nvPr/>
          </p:nvSpPr>
          <p:spPr bwMode="auto">
            <a:xfrm>
              <a:off x="2436813" y="3521075"/>
              <a:ext cx="60325" cy="49213"/>
            </a:xfrm>
            <a:custGeom>
              <a:avLst/>
              <a:gdLst>
                <a:gd name="T0" fmla="*/ 74 w 77"/>
                <a:gd name="T1" fmla="*/ 58 h 62"/>
                <a:gd name="T2" fmla="*/ 74 w 77"/>
                <a:gd name="T3" fmla="*/ 58 h 62"/>
                <a:gd name="T4" fmla="*/ 77 w 77"/>
                <a:gd name="T5" fmla="*/ 55 h 62"/>
                <a:gd name="T6" fmla="*/ 77 w 77"/>
                <a:gd name="T7" fmla="*/ 51 h 62"/>
                <a:gd name="T8" fmla="*/ 77 w 77"/>
                <a:gd name="T9" fmla="*/ 51 h 62"/>
                <a:gd name="T10" fmla="*/ 77 w 77"/>
                <a:gd name="T11" fmla="*/ 47 h 62"/>
                <a:gd name="T12" fmla="*/ 73 w 77"/>
                <a:gd name="T13" fmla="*/ 38 h 62"/>
                <a:gd name="T14" fmla="*/ 66 w 77"/>
                <a:gd name="T15" fmla="*/ 26 h 62"/>
                <a:gd name="T16" fmla="*/ 62 w 77"/>
                <a:gd name="T17" fmla="*/ 19 h 62"/>
                <a:gd name="T18" fmla="*/ 57 w 77"/>
                <a:gd name="T19" fmla="*/ 14 h 62"/>
                <a:gd name="T20" fmla="*/ 57 w 77"/>
                <a:gd name="T21" fmla="*/ 14 h 62"/>
                <a:gd name="T22" fmla="*/ 50 w 77"/>
                <a:gd name="T23" fmla="*/ 10 h 62"/>
                <a:gd name="T24" fmla="*/ 43 w 77"/>
                <a:gd name="T25" fmla="*/ 7 h 62"/>
                <a:gd name="T26" fmla="*/ 30 w 77"/>
                <a:gd name="T27" fmla="*/ 3 h 62"/>
                <a:gd name="T28" fmla="*/ 18 w 77"/>
                <a:gd name="T29" fmla="*/ 0 h 62"/>
                <a:gd name="T30" fmla="*/ 10 w 77"/>
                <a:gd name="T31" fmla="*/ 0 h 62"/>
                <a:gd name="T32" fmla="*/ 10 w 77"/>
                <a:gd name="T33" fmla="*/ 0 h 62"/>
                <a:gd name="T34" fmla="*/ 4 w 77"/>
                <a:gd name="T35" fmla="*/ 0 h 62"/>
                <a:gd name="T36" fmla="*/ 4 w 77"/>
                <a:gd name="T37" fmla="*/ 0 h 62"/>
                <a:gd name="T38" fmla="*/ 3 w 77"/>
                <a:gd name="T39" fmla="*/ 0 h 62"/>
                <a:gd name="T40" fmla="*/ 2 w 77"/>
                <a:gd name="T41" fmla="*/ 2 h 62"/>
                <a:gd name="T42" fmla="*/ 0 w 77"/>
                <a:gd name="T43" fmla="*/ 4 h 62"/>
                <a:gd name="T44" fmla="*/ 0 w 77"/>
                <a:gd name="T45" fmla="*/ 6 h 62"/>
                <a:gd name="T46" fmla="*/ 0 w 77"/>
                <a:gd name="T47" fmla="*/ 6 h 62"/>
                <a:gd name="T48" fmla="*/ 0 w 77"/>
                <a:gd name="T49" fmla="*/ 11 h 62"/>
                <a:gd name="T50" fmla="*/ 3 w 77"/>
                <a:gd name="T51" fmla="*/ 23 h 62"/>
                <a:gd name="T52" fmla="*/ 6 w 77"/>
                <a:gd name="T53" fmla="*/ 31 h 62"/>
                <a:gd name="T54" fmla="*/ 10 w 77"/>
                <a:gd name="T55" fmla="*/ 39 h 62"/>
                <a:gd name="T56" fmla="*/ 15 w 77"/>
                <a:gd name="T57" fmla="*/ 47 h 62"/>
                <a:gd name="T58" fmla="*/ 22 w 77"/>
                <a:gd name="T59" fmla="*/ 54 h 62"/>
                <a:gd name="T60" fmla="*/ 22 w 77"/>
                <a:gd name="T61" fmla="*/ 54 h 62"/>
                <a:gd name="T62" fmla="*/ 27 w 77"/>
                <a:gd name="T63" fmla="*/ 58 h 62"/>
                <a:gd name="T64" fmla="*/ 32 w 77"/>
                <a:gd name="T65" fmla="*/ 61 h 62"/>
                <a:gd name="T66" fmla="*/ 40 w 77"/>
                <a:gd name="T67" fmla="*/ 62 h 62"/>
                <a:gd name="T68" fmla="*/ 47 w 77"/>
                <a:gd name="T69" fmla="*/ 62 h 62"/>
                <a:gd name="T70" fmla="*/ 47 w 77"/>
                <a:gd name="T71" fmla="*/ 62 h 62"/>
                <a:gd name="T72" fmla="*/ 58 w 77"/>
                <a:gd name="T73" fmla="*/ 61 h 62"/>
                <a:gd name="T74" fmla="*/ 66 w 77"/>
                <a:gd name="T75" fmla="*/ 59 h 62"/>
                <a:gd name="T76" fmla="*/ 74 w 77"/>
                <a:gd name="T77" fmla="*/ 58 h 62"/>
                <a:gd name="T78" fmla="*/ 74 w 77"/>
                <a:gd name="T79" fmla="*/ 5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62">
                  <a:moveTo>
                    <a:pt x="74" y="58"/>
                  </a:moveTo>
                  <a:lnTo>
                    <a:pt x="74" y="58"/>
                  </a:lnTo>
                  <a:lnTo>
                    <a:pt x="77" y="55"/>
                  </a:lnTo>
                  <a:lnTo>
                    <a:pt x="77" y="51"/>
                  </a:lnTo>
                  <a:lnTo>
                    <a:pt x="77" y="51"/>
                  </a:lnTo>
                  <a:lnTo>
                    <a:pt x="77" y="47"/>
                  </a:lnTo>
                  <a:lnTo>
                    <a:pt x="73" y="38"/>
                  </a:lnTo>
                  <a:lnTo>
                    <a:pt x="66" y="26"/>
                  </a:lnTo>
                  <a:lnTo>
                    <a:pt x="62" y="19"/>
                  </a:lnTo>
                  <a:lnTo>
                    <a:pt x="57" y="14"/>
                  </a:lnTo>
                  <a:lnTo>
                    <a:pt x="57" y="14"/>
                  </a:lnTo>
                  <a:lnTo>
                    <a:pt x="50" y="10"/>
                  </a:lnTo>
                  <a:lnTo>
                    <a:pt x="43" y="7"/>
                  </a:lnTo>
                  <a:lnTo>
                    <a:pt x="30" y="3"/>
                  </a:lnTo>
                  <a:lnTo>
                    <a:pt x="18" y="0"/>
                  </a:lnTo>
                  <a:lnTo>
                    <a:pt x="10" y="0"/>
                  </a:lnTo>
                  <a:lnTo>
                    <a:pt x="10" y="0"/>
                  </a:lnTo>
                  <a:lnTo>
                    <a:pt x="4" y="0"/>
                  </a:lnTo>
                  <a:lnTo>
                    <a:pt x="4" y="0"/>
                  </a:lnTo>
                  <a:lnTo>
                    <a:pt x="3" y="0"/>
                  </a:lnTo>
                  <a:lnTo>
                    <a:pt x="2" y="2"/>
                  </a:lnTo>
                  <a:lnTo>
                    <a:pt x="0" y="4"/>
                  </a:lnTo>
                  <a:lnTo>
                    <a:pt x="0" y="6"/>
                  </a:lnTo>
                  <a:lnTo>
                    <a:pt x="0" y="6"/>
                  </a:lnTo>
                  <a:lnTo>
                    <a:pt x="0" y="11"/>
                  </a:lnTo>
                  <a:lnTo>
                    <a:pt x="3" y="23"/>
                  </a:lnTo>
                  <a:lnTo>
                    <a:pt x="6" y="31"/>
                  </a:lnTo>
                  <a:lnTo>
                    <a:pt x="10" y="39"/>
                  </a:lnTo>
                  <a:lnTo>
                    <a:pt x="15" y="47"/>
                  </a:lnTo>
                  <a:lnTo>
                    <a:pt x="22" y="54"/>
                  </a:lnTo>
                  <a:lnTo>
                    <a:pt x="22" y="54"/>
                  </a:lnTo>
                  <a:lnTo>
                    <a:pt x="27" y="58"/>
                  </a:lnTo>
                  <a:lnTo>
                    <a:pt x="32" y="61"/>
                  </a:lnTo>
                  <a:lnTo>
                    <a:pt x="40" y="62"/>
                  </a:lnTo>
                  <a:lnTo>
                    <a:pt x="47" y="62"/>
                  </a:lnTo>
                  <a:lnTo>
                    <a:pt x="47" y="62"/>
                  </a:lnTo>
                  <a:lnTo>
                    <a:pt x="58" y="61"/>
                  </a:lnTo>
                  <a:lnTo>
                    <a:pt x="66" y="59"/>
                  </a:lnTo>
                  <a:lnTo>
                    <a:pt x="74" y="58"/>
                  </a:lnTo>
                  <a:lnTo>
                    <a:pt x="74"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buClrTx/>
                <a:buFontTx/>
                <a:buNone/>
                <a:defRPr/>
              </a:pPr>
              <a:endParaRPr lang="en-US" sz="2400" kern="1200" dirty="0">
                <a:solidFill>
                  <a:prstClr val="black"/>
                </a:solidFill>
                <a:latin typeface="Calibri"/>
                <a:ea typeface="+mn-ea"/>
              </a:endParaRPr>
            </a:p>
          </p:txBody>
        </p:sp>
        <p:sp>
          <p:nvSpPr>
            <p:cNvPr id="35" name="Freeform 280"/>
            <p:cNvSpPr>
              <a:spLocks/>
            </p:cNvSpPr>
            <p:nvPr/>
          </p:nvSpPr>
          <p:spPr bwMode="auto">
            <a:xfrm>
              <a:off x="2530476" y="3460750"/>
              <a:ext cx="44450" cy="66675"/>
            </a:xfrm>
            <a:custGeom>
              <a:avLst/>
              <a:gdLst>
                <a:gd name="T0" fmla="*/ 7 w 57"/>
                <a:gd name="T1" fmla="*/ 83 h 83"/>
                <a:gd name="T2" fmla="*/ 7 w 57"/>
                <a:gd name="T3" fmla="*/ 83 h 83"/>
                <a:gd name="T4" fmla="*/ 8 w 57"/>
                <a:gd name="T5" fmla="*/ 83 h 83"/>
                <a:gd name="T6" fmla="*/ 8 w 57"/>
                <a:gd name="T7" fmla="*/ 83 h 83"/>
                <a:gd name="T8" fmla="*/ 14 w 57"/>
                <a:gd name="T9" fmla="*/ 82 h 83"/>
                <a:gd name="T10" fmla="*/ 25 w 57"/>
                <a:gd name="T11" fmla="*/ 78 h 83"/>
                <a:gd name="T12" fmla="*/ 33 w 57"/>
                <a:gd name="T13" fmla="*/ 74 h 83"/>
                <a:gd name="T14" fmla="*/ 39 w 57"/>
                <a:gd name="T15" fmla="*/ 68 h 83"/>
                <a:gd name="T16" fmla="*/ 46 w 57"/>
                <a:gd name="T17" fmla="*/ 63 h 83"/>
                <a:gd name="T18" fmla="*/ 53 w 57"/>
                <a:gd name="T19" fmla="*/ 55 h 83"/>
                <a:gd name="T20" fmla="*/ 53 w 57"/>
                <a:gd name="T21" fmla="*/ 55 h 83"/>
                <a:gd name="T22" fmla="*/ 55 w 57"/>
                <a:gd name="T23" fmla="*/ 47 h 83"/>
                <a:gd name="T24" fmla="*/ 57 w 57"/>
                <a:gd name="T25" fmla="*/ 39 h 83"/>
                <a:gd name="T26" fmla="*/ 57 w 57"/>
                <a:gd name="T27" fmla="*/ 31 h 83"/>
                <a:gd name="T28" fmla="*/ 55 w 57"/>
                <a:gd name="T29" fmla="*/ 23 h 83"/>
                <a:gd name="T30" fmla="*/ 51 w 57"/>
                <a:gd name="T31" fmla="*/ 9 h 83"/>
                <a:gd name="T32" fmla="*/ 49 w 57"/>
                <a:gd name="T33" fmla="*/ 2 h 83"/>
                <a:gd name="T34" fmla="*/ 49 w 57"/>
                <a:gd name="T35" fmla="*/ 2 h 83"/>
                <a:gd name="T36" fmla="*/ 47 w 57"/>
                <a:gd name="T37" fmla="*/ 1 h 83"/>
                <a:gd name="T38" fmla="*/ 46 w 57"/>
                <a:gd name="T39" fmla="*/ 0 h 83"/>
                <a:gd name="T40" fmla="*/ 45 w 57"/>
                <a:gd name="T41" fmla="*/ 0 h 83"/>
                <a:gd name="T42" fmla="*/ 42 w 57"/>
                <a:gd name="T43" fmla="*/ 0 h 83"/>
                <a:gd name="T44" fmla="*/ 42 w 57"/>
                <a:gd name="T45" fmla="*/ 0 h 83"/>
                <a:gd name="T46" fmla="*/ 38 w 57"/>
                <a:gd name="T47" fmla="*/ 2 h 83"/>
                <a:gd name="T48" fmla="*/ 29 w 57"/>
                <a:gd name="T49" fmla="*/ 6 h 83"/>
                <a:gd name="T50" fmla="*/ 18 w 57"/>
                <a:gd name="T51" fmla="*/ 15 h 83"/>
                <a:gd name="T52" fmla="*/ 12 w 57"/>
                <a:gd name="T53" fmla="*/ 20 h 83"/>
                <a:gd name="T54" fmla="*/ 8 w 57"/>
                <a:gd name="T55" fmla="*/ 27 h 83"/>
                <a:gd name="T56" fmla="*/ 8 w 57"/>
                <a:gd name="T57" fmla="*/ 27 h 83"/>
                <a:gd name="T58" fmla="*/ 4 w 57"/>
                <a:gd name="T59" fmla="*/ 35 h 83"/>
                <a:gd name="T60" fmla="*/ 2 w 57"/>
                <a:gd name="T61" fmla="*/ 43 h 83"/>
                <a:gd name="T62" fmla="*/ 0 w 57"/>
                <a:gd name="T63" fmla="*/ 52 h 83"/>
                <a:gd name="T64" fmla="*/ 0 w 57"/>
                <a:gd name="T65" fmla="*/ 60 h 83"/>
                <a:gd name="T66" fmla="*/ 0 w 57"/>
                <a:gd name="T67" fmla="*/ 74 h 83"/>
                <a:gd name="T68" fmla="*/ 2 w 57"/>
                <a:gd name="T69" fmla="*/ 79 h 83"/>
                <a:gd name="T70" fmla="*/ 2 w 57"/>
                <a:gd name="T71" fmla="*/ 79 h 83"/>
                <a:gd name="T72" fmla="*/ 3 w 57"/>
                <a:gd name="T73" fmla="*/ 82 h 83"/>
                <a:gd name="T74" fmla="*/ 7 w 57"/>
                <a:gd name="T75" fmla="*/ 83 h 83"/>
                <a:gd name="T76" fmla="*/ 7 w 57"/>
                <a:gd name="T7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 h="83">
                  <a:moveTo>
                    <a:pt x="7" y="83"/>
                  </a:moveTo>
                  <a:lnTo>
                    <a:pt x="7" y="83"/>
                  </a:lnTo>
                  <a:lnTo>
                    <a:pt x="8" y="83"/>
                  </a:lnTo>
                  <a:lnTo>
                    <a:pt x="8" y="83"/>
                  </a:lnTo>
                  <a:lnTo>
                    <a:pt x="14" y="82"/>
                  </a:lnTo>
                  <a:lnTo>
                    <a:pt x="25" y="78"/>
                  </a:lnTo>
                  <a:lnTo>
                    <a:pt x="33" y="74"/>
                  </a:lnTo>
                  <a:lnTo>
                    <a:pt x="39" y="68"/>
                  </a:lnTo>
                  <a:lnTo>
                    <a:pt x="46" y="63"/>
                  </a:lnTo>
                  <a:lnTo>
                    <a:pt x="53" y="55"/>
                  </a:lnTo>
                  <a:lnTo>
                    <a:pt x="53" y="55"/>
                  </a:lnTo>
                  <a:lnTo>
                    <a:pt x="55" y="47"/>
                  </a:lnTo>
                  <a:lnTo>
                    <a:pt x="57" y="39"/>
                  </a:lnTo>
                  <a:lnTo>
                    <a:pt x="57" y="31"/>
                  </a:lnTo>
                  <a:lnTo>
                    <a:pt x="55" y="23"/>
                  </a:lnTo>
                  <a:lnTo>
                    <a:pt x="51" y="9"/>
                  </a:lnTo>
                  <a:lnTo>
                    <a:pt x="49" y="2"/>
                  </a:lnTo>
                  <a:lnTo>
                    <a:pt x="49" y="2"/>
                  </a:lnTo>
                  <a:lnTo>
                    <a:pt x="47" y="1"/>
                  </a:lnTo>
                  <a:lnTo>
                    <a:pt x="46" y="0"/>
                  </a:lnTo>
                  <a:lnTo>
                    <a:pt x="45" y="0"/>
                  </a:lnTo>
                  <a:lnTo>
                    <a:pt x="42" y="0"/>
                  </a:lnTo>
                  <a:lnTo>
                    <a:pt x="42" y="0"/>
                  </a:lnTo>
                  <a:lnTo>
                    <a:pt x="38" y="2"/>
                  </a:lnTo>
                  <a:lnTo>
                    <a:pt x="29" y="6"/>
                  </a:lnTo>
                  <a:lnTo>
                    <a:pt x="18" y="15"/>
                  </a:lnTo>
                  <a:lnTo>
                    <a:pt x="12" y="20"/>
                  </a:lnTo>
                  <a:lnTo>
                    <a:pt x="8" y="27"/>
                  </a:lnTo>
                  <a:lnTo>
                    <a:pt x="8" y="27"/>
                  </a:lnTo>
                  <a:lnTo>
                    <a:pt x="4" y="35"/>
                  </a:lnTo>
                  <a:lnTo>
                    <a:pt x="2" y="43"/>
                  </a:lnTo>
                  <a:lnTo>
                    <a:pt x="0" y="52"/>
                  </a:lnTo>
                  <a:lnTo>
                    <a:pt x="0" y="60"/>
                  </a:lnTo>
                  <a:lnTo>
                    <a:pt x="0" y="74"/>
                  </a:lnTo>
                  <a:lnTo>
                    <a:pt x="2" y="79"/>
                  </a:lnTo>
                  <a:lnTo>
                    <a:pt x="2" y="79"/>
                  </a:lnTo>
                  <a:lnTo>
                    <a:pt x="3" y="82"/>
                  </a:lnTo>
                  <a:lnTo>
                    <a:pt x="7" y="83"/>
                  </a:lnTo>
                  <a:lnTo>
                    <a:pt x="7"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buClrTx/>
                <a:buFontTx/>
                <a:buNone/>
                <a:defRPr/>
              </a:pPr>
              <a:endParaRPr lang="en-US" sz="2400" kern="1200" dirty="0">
                <a:solidFill>
                  <a:prstClr val="black"/>
                </a:solidFill>
                <a:latin typeface="Calibri"/>
                <a:ea typeface="+mn-ea"/>
              </a:endParaRPr>
            </a:p>
          </p:txBody>
        </p:sp>
        <p:sp>
          <p:nvSpPr>
            <p:cNvPr id="36" name="Freeform 281"/>
            <p:cNvSpPr>
              <a:spLocks/>
            </p:cNvSpPr>
            <p:nvPr/>
          </p:nvSpPr>
          <p:spPr bwMode="auto">
            <a:xfrm>
              <a:off x="2627313" y="3589338"/>
              <a:ext cx="61913" cy="90488"/>
            </a:xfrm>
            <a:custGeom>
              <a:avLst/>
              <a:gdLst>
                <a:gd name="T0" fmla="*/ 67 w 77"/>
                <a:gd name="T1" fmla="*/ 113 h 113"/>
                <a:gd name="T2" fmla="*/ 67 w 77"/>
                <a:gd name="T3" fmla="*/ 113 h 113"/>
                <a:gd name="T4" fmla="*/ 68 w 77"/>
                <a:gd name="T5" fmla="*/ 113 h 113"/>
                <a:gd name="T6" fmla="*/ 68 w 77"/>
                <a:gd name="T7" fmla="*/ 113 h 113"/>
                <a:gd name="T8" fmla="*/ 71 w 77"/>
                <a:gd name="T9" fmla="*/ 113 h 113"/>
                <a:gd name="T10" fmla="*/ 73 w 77"/>
                <a:gd name="T11" fmla="*/ 109 h 113"/>
                <a:gd name="T12" fmla="*/ 73 w 77"/>
                <a:gd name="T13" fmla="*/ 109 h 113"/>
                <a:gd name="T14" fmla="*/ 75 w 77"/>
                <a:gd name="T15" fmla="*/ 104 h 113"/>
                <a:gd name="T16" fmla="*/ 77 w 77"/>
                <a:gd name="T17" fmla="*/ 89 h 113"/>
                <a:gd name="T18" fmla="*/ 77 w 77"/>
                <a:gd name="T19" fmla="*/ 79 h 113"/>
                <a:gd name="T20" fmla="*/ 76 w 77"/>
                <a:gd name="T21" fmla="*/ 70 h 113"/>
                <a:gd name="T22" fmla="*/ 75 w 77"/>
                <a:gd name="T23" fmla="*/ 59 h 113"/>
                <a:gd name="T24" fmla="*/ 71 w 77"/>
                <a:gd name="T25" fmla="*/ 50 h 113"/>
                <a:gd name="T26" fmla="*/ 71 w 77"/>
                <a:gd name="T27" fmla="*/ 50 h 113"/>
                <a:gd name="T28" fmla="*/ 65 w 77"/>
                <a:gd name="T29" fmla="*/ 38 h 113"/>
                <a:gd name="T30" fmla="*/ 57 w 77"/>
                <a:gd name="T31" fmla="*/ 28 h 113"/>
                <a:gd name="T32" fmla="*/ 48 w 77"/>
                <a:gd name="T33" fmla="*/ 20 h 113"/>
                <a:gd name="T34" fmla="*/ 38 w 77"/>
                <a:gd name="T35" fmla="*/ 14 h 113"/>
                <a:gd name="T36" fmla="*/ 22 w 77"/>
                <a:gd name="T37" fmla="*/ 4 h 113"/>
                <a:gd name="T38" fmla="*/ 16 w 77"/>
                <a:gd name="T39" fmla="*/ 0 h 113"/>
                <a:gd name="T40" fmla="*/ 16 w 77"/>
                <a:gd name="T41" fmla="*/ 0 h 113"/>
                <a:gd name="T42" fmla="*/ 10 w 77"/>
                <a:gd name="T43" fmla="*/ 0 h 113"/>
                <a:gd name="T44" fmla="*/ 9 w 77"/>
                <a:gd name="T45" fmla="*/ 2 h 113"/>
                <a:gd name="T46" fmla="*/ 8 w 77"/>
                <a:gd name="T47" fmla="*/ 3 h 113"/>
                <a:gd name="T48" fmla="*/ 8 w 77"/>
                <a:gd name="T49" fmla="*/ 3 h 113"/>
                <a:gd name="T50" fmla="*/ 5 w 77"/>
                <a:gd name="T51" fmla="*/ 11 h 113"/>
                <a:gd name="T52" fmla="*/ 1 w 77"/>
                <a:gd name="T53" fmla="*/ 28 h 113"/>
                <a:gd name="T54" fmla="*/ 0 w 77"/>
                <a:gd name="T55" fmla="*/ 39 h 113"/>
                <a:gd name="T56" fmla="*/ 0 w 77"/>
                <a:gd name="T57" fmla="*/ 51 h 113"/>
                <a:gd name="T58" fmla="*/ 1 w 77"/>
                <a:gd name="T59" fmla="*/ 65 h 113"/>
                <a:gd name="T60" fmla="*/ 6 w 77"/>
                <a:gd name="T61" fmla="*/ 78 h 113"/>
                <a:gd name="T62" fmla="*/ 6 w 77"/>
                <a:gd name="T63" fmla="*/ 78 h 113"/>
                <a:gd name="T64" fmla="*/ 8 w 77"/>
                <a:gd name="T65" fmla="*/ 82 h 113"/>
                <a:gd name="T66" fmla="*/ 12 w 77"/>
                <a:gd name="T67" fmla="*/ 88 h 113"/>
                <a:gd name="T68" fmla="*/ 20 w 77"/>
                <a:gd name="T69" fmla="*/ 94 h 113"/>
                <a:gd name="T70" fmla="*/ 29 w 77"/>
                <a:gd name="T71" fmla="*/ 101 h 113"/>
                <a:gd name="T72" fmla="*/ 40 w 77"/>
                <a:gd name="T73" fmla="*/ 106 h 113"/>
                <a:gd name="T74" fmla="*/ 59 w 77"/>
                <a:gd name="T75" fmla="*/ 112 h 113"/>
                <a:gd name="T76" fmla="*/ 67 w 77"/>
                <a:gd name="T77" fmla="*/ 113 h 113"/>
                <a:gd name="T78" fmla="*/ 67 w 77"/>
                <a:gd name="T79"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113">
                  <a:moveTo>
                    <a:pt x="67" y="113"/>
                  </a:moveTo>
                  <a:lnTo>
                    <a:pt x="67" y="113"/>
                  </a:lnTo>
                  <a:lnTo>
                    <a:pt x="68" y="113"/>
                  </a:lnTo>
                  <a:lnTo>
                    <a:pt x="68" y="113"/>
                  </a:lnTo>
                  <a:lnTo>
                    <a:pt x="71" y="113"/>
                  </a:lnTo>
                  <a:lnTo>
                    <a:pt x="73" y="109"/>
                  </a:lnTo>
                  <a:lnTo>
                    <a:pt x="73" y="109"/>
                  </a:lnTo>
                  <a:lnTo>
                    <a:pt x="75" y="104"/>
                  </a:lnTo>
                  <a:lnTo>
                    <a:pt x="77" y="89"/>
                  </a:lnTo>
                  <a:lnTo>
                    <a:pt x="77" y="79"/>
                  </a:lnTo>
                  <a:lnTo>
                    <a:pt x="76" y="70"/>
                  </a:lnTo>
                  <a:lnTo>
                    <a:pt x="75" y="59"/>
                  </a:lnTo>
                  <a:lnTo>
                    <a:pt x="71" y="50"/>
                  </a:lnTo>
                  <a:lnTo>
                    <a:pt x="71" y="50"/>
                  </a:lnTo>
                  <a:lnTo>
                    <a:pt x="65" y="38"/>
                  </a:lnTo>
                  <a:lnTo>
                    <a:pt x="57" y="28"/>
                  </a:lnTo>
                  <a:lnTo>
                    <a:pt x="48" y="20"/>
                  </a:lnTo>
                  <a:lnTo>
                    <a:pt x="38" y="14"/>
                  </a:lnTo>
                  <a:lnTo>
                    <a:pt x="22" y="4"/>
                  </a:lnTo>
                  <a:lnTo>
                    <a:pt x="16" y="0"/>
                  </a:lnTo>
                  <a:lnTo>
                    <a:pt x="16" y="0"/>
                  </a:lnTo>
                  <a:lnTo>
                    <a:pt x="10" y="0"/>
                  </a:lnTo>
                  <a:lnTo>
                    <a:pt x="9" y="2"/>
                  </a:lnTo>
                  <a:lnTo>
                    <a:pt x="8" y="3"/>
                  </a:lnTo>
                  <a:lnTo>
                    <a:pt x="8" y="3"/>
                  </a:lnTo>
                  <a:lnTo>
                    <a:pt x="5" y="11"/>
                  </a:lnTo>
                  <a:lnTo>
                    <a:pt x="1" y="28"/>
                  </a:lnTo>
                  <a:lnTo>
                    <a:pt x="0" y="39"/>
                  </a:lnTo>
                  <a:lnTo>
                    <a:pt x="0" y="51"/>
                  </a:lnTo>
                  <a:lnTo>
                    <a:pt x="1" y="65"/>
                  </a:lnTo>
                  <a:lnTo>
                    <a:pt x="6" y="78"/>
                  </a:lnTo>
                  <a:lnTo>
                    <a:pt x="6" y="78"/>
                  </a:lnTo>
                  <a:lnTo>
                    <a:pt x="8" y="82"/>
                  </a:lnTo>
                  <a:lnTo>
                    <a:pt x="12" y="88"/>
                  </a:lnTo>
                  <a:lnTo>
                    <a:pt x="20" y="94"/>
                  </a:lnTo>
                  <a:lnTo>
                    <a:pt x="29" y="101"/>
                  </a:lnTo>
                  <a:lnTo>
                    <a:pt x="40" y="106"/>
                  </a:lnTo>
                  <a:lnTo>
                    <a:pt x="59" y="112"/>
                  </a:lnTo>
                  <a:lnTo>
                    <a:pt x="67" y="113"/>
                  </a:lnTo>
                  <a:lnTo>
                    <a:pt x="67"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buClrTx/>
                <a:buFontTx/>
                <a:buNone/>
                <a:defRPr/>
              </a:pPr>
              <a:endParaRPr lang="en-US" sz="2400" kern="1200" dirty="0">
                <a:solidFill>
                  <a:prstClr val="black"/>
                </a:solidFill>
                <a:latin typeface="Calibri"/>
                <a:ea typeface="+mn-ea"/>
              </a:endParaRPr>
            </a:p>
          </p:txBody>
        </p:sp>
      </p:grpSp>
      <p:grpSp>
        <p:nvGrpSpPr>
          <p:cNvPr id="44" name="Group 43"/>
          <p:cNvGrpSpPr>
            <a:grpSpLocks noChangeAspect="1"/>
          </p:cNvGrpSpPr>
          <p:nvPr/>
        </p:nvGrpSpPr>
        <p:grpSpPr>
          <a:xfrm>
            <a:off x="295836" y="2237990"/>
            <a:ext cx="412750" cy="433388"/>
            <a:chOff x="4222751" y="1792288"/>
            <a:chExt cx="222250" cy="233363"/>
          </a:xfrm>
          <a:solidFill>
            <a:schemeClr val="accent6">
              <a:lumMod val="75000"/>
            </a:schemeClr>
          </a:solidFill>
        </p:grpSpPr>
        <p:sp>
          <p:nvSpPr>
            <p:cNvPr id="45" name="Freeform 182"/>
            <p:cNvSpPr>
              <a:spLocks/>
            </p:cNvSpPr>
            <p:nvPr/>
          </p:nvSpPr>
          <p:spPr bwMode="auto">
            <a:xfrm>
              <a:off x="4303713" y="1920875"/>
              <a:ext cx="60325" cy="104775"/>
            </a:xfrm>
            <a:custGeom>
              <a:avLst/>
              <a:gdLst>
                <a:gd name="T0" fmla="*/ 71 w 75"/>
                <a:gd name="T1" fmla="*/ 0 h 131"/>
                <a:gd name="T2" fmla="*/ 5 w 75"/>
                <a:gd name="T3" fmla="*/ 0 h 131"/>
                <a:gd name="T4" fmla="*/ 5 w 75"/>
                <a:gd name="T5" fmla="*/ 0 h 131"/>
                <a:gd name="T6" fmla="*/ 1 w 75"/>
                <a:gd name="T7" fmla="*/ 1 h 131"/>
                <a:gd name="T8" fmla="*/ 0 w 75"/>
                <a:gd name="T9" fmla="*/ 5 h 131"/>
                <a:gd name="T10" fmla="*/ 0 w 75"/>
                <a:gd name="T11" fmla="*/ 127 h 131"/>
                <a:gd name="T12" fmla="*/ 0 w 75"/>
                <a:gd name="T13" fmla="*/ 127 h 131"/>
                <a:gd name="T14" fmla="*/ 1 w 75"/>
                <a:gd name="T15" fmla="*/ 130 h 131"/>
                <a:gd name="T16" fmla="*/ 5 w 75"/>
                <a:gd name="T17" fmla="*/ 131 h 131"/>
                <a:gd name="T18" fmla="*/ 71 w 75"/>
                <a:gd name="T19" fmla="*/ 131 h 131"/>
                <a:gd name="T20" fmla="*/ 71 w 75"/>
                <a:gd name="T21" fmla="*/ 131 h 131"/>
                <a:gd name="T22" fmla="*/ 74 w 75"/>
                <a:gd name="T23" fmla="*/ 130 h 131"/>
                <a:gd name="T24" fmla="*/ 75 w 75"/>
                <a:gd name="T25" fmla="*/ 127 h 131"/>
                <a:gd name="T26" fmla="*/ 75 w 75"/>
                <a:gd name="T27" fmla="*/ 5 h 131"/>
                <a:gd name="T28" fmla="*/ 75 w 75"/>
                <a:gd name="T29" fmla="*/ 5 h 131"/>
                <a:gd name="T30" fmla="*/ 74 w 75"/>
                <a:gd name="T31" fmla="*/ 1 h 131"/>
                <a:gd name="T32" fmla="*/ 71 w 75"/>
                <a:gd name="T33" fmla="*/ 0 h 131"/>
                <a:gd name="T34" fmla="*/ 71 w 75"/>
                <a:gd name="T35"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 h="131">
                  <a:moveTo>
                    <a:pt x="71" y="0"/>
                  </a:moveTo>
                  <a:lnTo>
                    <a:pt x="5" y="0"/>
                  </a:lnTo>
                  <a:lnTo>
                    <a:pt x="5" y="0"/>
                  </a:lnTo>
                  <a:lnTo>
                    <a:pt x="1" y="1"/>
                  </a:lnTo>
                  <a:lnTo>
                    <a:pt x="0" y="5"/>
                  </a:lnTo>
                  <a:lnTo>
                    <a:pt x="0" y="127"/>
                  </a:lnTo>
                  <a:lnTo>
                    <a:pt x="0" y="127"/>
                  </a:lnTo>
                  <a:lnTo>
                    <a:pt x="1" y="130"/>
                  </a:lnTo>
                  <a:lnTo>
                    <a:pt x="5" y="131"/>
                  </a:lnTo>
                  <a:lnTo>
                    <a:pt x="71" y="131"/>
                  </a:lnTo>
                  <a:lnTo>
                    <a:pt x="71" y="131"/>
                  </a:lnTo>
                  <a:lnTo>
                    <a:pt x="74" y="130"/>
                  </a:lnTo>
                  <a:lnTo>
                    <a:pt x="75" y="127"/>
                  </a:lnTo>
                  <a:lnTo>
                    <a:pt x="75" y="5"/>
                  </a:lnTo>
                  <a:lnTo>
                    <a:pt x="75" y="5"/>
                  </a:lnTo>
                  <a:lnTo>
                    <a:pt x="74" y="1"/>
                  </a:lnTo>
                  <a:lnTo>
                    <a:pt x="71" y="0"/>
                  </a:lnTo>
                  <a:lnTo>
                    <a:pt x="7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buClrTx/>
                <a:buFontTx/>
                <a:buNone/>
                <a:defRPr/>
              </a:pPr>
              <a:endParaRPr lang="en-US" sz="2400" kern="1200" dirty="0">
                <a:solidFill>
                  <a:prstClr val="black"/>
                </a:solidFill>
                <a:latin typeface="Calibri"/>
                <a:ea typeface="+mn-ea"/>
              </a:endParaRPr>
            </a:p>
          </p:txBody>
        </p:sp>
        <p:sp>
          <p:nvSpPr>
            <p:cNvPr id="46" name="Freeform 183"/>
            <p:cNvSpPr>
              <a:spLocks/>
            </p:cNvSpPr>
            <p:nvPr/>
          </p:nvSpPr>
          <p:spPr bwMode="auto">
            <a:xfrm>
              <a:off x="4222751" y="1966913"/>
              <a:ext cx="58738" cy="58738"/>
            </a:xfrm>
            <a:custGeom>
              <a:avLst/>
              <a:gdLst>
                <a:gd name="T0" fmla="*/ 70 w 74"/>
                <a:gd name="T1" fmla="*/ 0 h 75"/>
                <a:gd name="T2" fmla="*/ 4 w 74"/>
                <a:gd name="T3" fmla="*/ 0 h 75"/>
                <a:gd name="T4" fmla="*/ 4 w 74"/>
                <a:gd name="T5" fmla="*/ 0 h 75"/>
                <a:gd name="T6" fmla="*/ 1 w 74"/>
                <a:gd name="T7" fmla="*/ 2 h 75"/>
                <a:gd name="T8" fmla="*/ 0 w 74"/>
                <a:gd name="T9" fmla="*/ 6 h 75"/>
                <a:gd name="T10" fmla="*/ 0 w 74"/>
                <a:gd name="T11" fmla="*/ 71 h 75"/>
                <a:gd name="T12" fmla="*/ 0 w 74"/>
                <a:gd name="T13" fmla="*/ 71 h 75"/>
                <a:gd name="T14" fmla="*/ 1 w 74"/>
                <a:gd name="T15" fmla="*/ 74 h 75"/>
                <a:gd name="T16" fmla="*/ 4 w 74"/>
                <a:gd name="T17" fmla="*/ 75 h 75"/>
                <a:gd name="T18" fmla="*/ 70 w 74"/>
                <a:gd name="T19" fmla="*/ 75 h 75"/>
                <a:gd name="T20" fmla="*/ 70 w 74"/>
                <a:gd name="T21" fmla="*/ 75 h 75"/>
                <a:gd name="T22" fmla="*/ 73 w 74"/>
                <a:gd name="T23" fmla="*/ 74 h 75"/>
                <a:gd name="T24" fmla="*/ 74 w 74"/>
                <a:gd name="T25" fmla="*/ 71 h 75"/>
                <a:gd name="T26" fmla="*/ 74 w 74"/>
                <a:gd name="T27" fmla="*/ 6 h 75"/>
                <a:gd name="T28" fmla="*/ 74 w 74"/>
                <a:gd name="T29" fmla="*/ 6 h 75"/>
                <a:gd name="T30" fmla="*/ 73 w 74"/>
                <a:gd name="T31" fmla="*/ 2 h 75"/>
                <a:gd name="T32" fmla="*/ 70 w 74"/>
                <a:gd name="T33" fmla="*/ 0 h 75"/>
                <a:gd name="T34" fmla="*/ 70 w 74"/>
                <a:gd name="T35"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75">
                  <a:moveTo>
                    <a:pt x="70" y="0"/>
                  </a:moveTo>
                  <a:lnTo>
                    <a:pt x="4" y="0"/>
                  </a:lnTo>
                  <a:lnTo>
                    <a:pt x="4" y="0"/>
                  </a:lnTo>
                  <a:lnTo>
                    <a:pt x="1" y="2"/>
                  </a:lnTo>
                  <a:lnTo>
                    <a:pt x="0" y="6"/>
                  </a:lnTo>
                  <a:lnTo>
                    <a:pt x="0" y="71"/>
                  </a:lnTo>
                  <a:lnTo>
                    <a:pt x="0" y="71"/>
                  </a:lnTo>
                  <a:lnTo>
                    <a:pt x="1" y="74"/>
                  </a:lnTo>
                  <a:lnTo>
                    <a:pt x="4" y="75"/>
                  </a:lnTo>
                  <a:lnTo>
                    <a:pt x="70" y="75"/>
                  </a:lnTo>
                  <a:lnTo>
                    <a:pt x="70" y="75"/>
                  </a:lnTo>
                  <a:lnTo>
                    <a:pt x="73" y="74"/>
                  </a:lnTo>
                  <a:lnTo>
                    <a:pt x="74" y="71"/>
                  </a:lnTo>
                  <a:lnTo>
                    <a:pt x="74" y="6"/>
                  </a:lnTo>
                  <a:lnTo>
                    <a:pt x="74" y="6"/>
                  </a:lnTo>
                  <a:lnTo>
                    <a:pt x="73" y="2"/>
                  </a:lnTo>
                  <a:lnTo>
                    <a:pt x="70" y="0"/>
                  </a:lnTo>
                  <a:lnTo>
                    <a:pt x="7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buClrTx/>
                <a:buFontTx/>
                <a:buNone/>
                <a:defRPr/>
              </a:pPr>
              <a:endParaRPr lang="en-US" sz="2400" kern="1200" dirty="0">
                <a:solidFill>
                  <a:prstClr val="black"/>
                </a:solidFill>
                <a:latin typeface="Calibri"/>
                <a:ea typeface="+mn-ea"/>
              </a:endParaRPr>
            </a:p>
          </p:txBody>
        </p:sp>
        <p:sp>
          <p:nvSpPr>
            <p:cNvPr id="47" name="Freeform 184"/>
            <p:cNvSpPr>
              <a:spLocks/>
            </p:cNvSpPr>
            <p:nvPr/>
          </p:nvSpPr>
          <p:spPr bwMode="auto">
            <a:xfrm>
              <a:off x="4386263" y="1876425"/>
              <a:ext cx="58738" cy="149225"/>
            </a:xfrm>
            <a:custGeom>
              <a:avLst/>
              <a:gdLst>
                <a:gd name="T0" fmla="*/ 70 w 76"/>
                <a:gd name="T1" fmla="*/ 0 h 188"/>
                <a:gd name="T2" fmla="*/ 6 w 76"/>
                <a:gd name="T3" fmla="*/ 0 h 188"/>
                <a:gd name="T4" fmla="*/ 6 w 76"/>
                <a:gd name="T5" fmla="*/ 0 h 188"/>
                <a:gd name="T6" fmla="*/ 2 w 76"/>
                <a:gd name="T7" fmla="*/ 2 h 188"/>
                <a:gd name="T8" fmla="*/ 0 w 76"/>
                <a:gd name="T9" fmla="*/ 6 h 188"/>
                <a:gd name="T10" fmla="*/ 0 w 76"/>
                <a:gd name="T11" fmla="*/ 184 h 188"/>
                <a:gd name="T12" fmla="*/ 0 w 76"/>
                <a:gd name="T13" fmla="*/ 184 h 188"/>
                <a:gd name="T14" fmla="*/ 2 w 76"/>
                <a:gd name="T15" fmla="*/ 187 h 188"/>
                <a:gd name="T16" fmla="*/ 6 w 76"/>
                <a:gd name="T17" fmla="*/ 188 h 188"/>
                <a:gd name="T18" fmla="*/ 70 w 76"/>
                <a:gd name="T19" fmla="*/ 188 h 188"/>
                <a:gd name="T20" fmla="*/ 70 w 76"/>
                <a:gd name="T21" fmla="*/ 188 h 188"/>
                <a:gd name="T22" fmla="*/ 74 w 76"/>
                <a:gd name="T23" fmla="*/ 187 h 188"/>
                <a:gd name="T24" fmla="*/ 76 w 76"/>
                <a:gd name="T25" fmla="*/ 184 h 188"/>
                <a:gd name="T26" fmla="*/ 76 w 76"/>
                <a:gd name="T27" fmla="*/ 6 h 188"/>
                <a:gd name="T28" fmla="*/ 76 w 76"/>
                <a:gd name="T29" fmla="*/ 6 h 188"/>
                <a:gd name="T30" fmla="*/ 74 w 76"/>
                <a:gd name="T31" fmla="*/ 2 h 188"/>
                <a:gd name="T32" fmla="*/ 70 w 76"/>
                <a:gd name="T33" fmla="*/ 0 h 188"/>
                <a:gd name="T34" fmla="*/ 70 w 76"/>
                <a:gd name="T35"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188">
                  <a:moveTo>
                    <a:pt x="70" y="0"/>
                  </a:moveTo>
                  <a:lnTo>
                    <a:pt x="6" y="0"/>
                  </a:lnTo>
                  <a:lnTo>
                    <a:pt x="6" y="0"/>
                  </a:lnTo>
                  <a:lnTo>
                    <a:pt x="2" y="2"/>
                  </a:lnTo>
                  <a:lnTo>
                    <a:pt x="0" y="6"/>
                  </a:lnTo>
                  <a:lnTo>
                    <a:pt x="0" y="184"/>
                  </a:lnTo>
                  <a:lnTo>
                    <a:pt x="0" y="184"/>
                  </a:lnTo>
                  <a:lnTo>
                    <a:pt x="2" y="187"/>
                  </a:lnTo>
                  <a:lnTo>
                    <a:pt x="6" y="188"/>
                  </a:lnTo>
                  <a:lnTo>
                    <a:pt x="70" y="188"/>
                  </a:lnTo>
                  <a:lnTo>
                    <a:pt x="70" y="188"/>
                  </a:lnTo>
                  <a:lnTo>
                    <a:pt x="74" y="187"/>
                  </a:lnTo>
                  <a:lnTo>
                    <a:pt x="76" y="184"/>
                  </a:lnTo>
                  <a:lnTo>
                    <a:pt x="76" y="6"/>
                  </a:lnTo>
                  <a:lnTo>
                    <a:pt x="76" y="6"/>
                  </a:lnTo>
                  <a:lnTo>
                    <a:pt x="74" y="2"/>
                  </a:lnTo>
                  <a:lnTo>
                    <a:pt x="70" y="0"/>
                  </a:lnTo>
                  <a:lnTo>
                    <a:pt x="7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buClrTx/>
                <a:buFontTx/>
                <a:buNone/>
                <a:defRPr/>
              </a:pPr>
              <a:endParaRPr lang="en-US" sz="2400" kern="1200" dirty="0">
                <a:solidFill>
                  <a:prstClr val="black"/>
                </a:solidFill>
                <a:latin typeface="Calibri"/>
                <a:ea typeface="+mn-ea"/>
              </a:endParaRPr>
            </a:p>
          </p:txBody>
        </p:sp>
        <p:sp>
          <p:nvSpPr>
            <p:cNvPr id="48" name="Freeform 185"/>
            <p:cNvSpPr>
              <a:spLocks/>
            </p:cNvSpPr>
            <p:nvPr/>
          </p:nvSpPr>
          <p:spPr bwMode="auto">
            <a:xfrm>
              <a:off x="4252913" y="1792288"/>
              <a:ext cx="163513" cy="87313"/>
            </a:xfrm>
            <a:custGeom>
              <a:avLst/>
              <a:gdLst>
                <a:gd name="T0" fmla="*/ 102 w 205"/>
                <a:gd name="T1" fmla="*/ 110 h 110"/>
                <a:gd name="T2" fmla="*/ 102 w 205"/>
                <a:gd name="T3" fmla="*/ 110 h 110"/>
                <a:gd name="T4" fmla="*/ 106 w 205"/>
                <a:gd name="T5" fmla="*/ 110 h 110"/>
                <a:gd name="T6" fmla="*/ 108 w 205"/>
                <a:gd name="T7" fmla="*/ 109 h 110"/>
                <a:gd name="T8" fmla="*/ 188 w 205"/>
                <a:gd name="T9" fmla="*/ 30 h 110"/>
                <a:gd name="T10" fmla="*/ 188 w 205"/>
                <a:gd name="T11" fmla="*/ 65 h 110"/>
                <a:gd name="T12" fmla="*/ 188 w 205"/>
                <a:gd name="T13" fmla="*/ 65 h 110"/>
                <a:gd name="T14" fmla="*/ 188 w 205"/>
                <a:gd name="T15" fmla="*/ 69 h 110"/>
                <a:gd name="T16" fmla="*/ 189 w 205"/>
                <a:gd name="T17" fmla="*/ 71 h 110"/>
                <a:gd name="T18" fmla="*/ 192 w 205"/>
                <a:gd name="T19" fmla="*/ 73 h 110"/>
                <a:gd name="T20" fmla="*/ 196 w 205"/>
                <a:gd name="T21" fmla="*/ 74 h 110"/>
                <a:gd name="T22" fmla="*/ 196 w 205"/>
                <a:gd name="T23" fmla="*/ 74 h 110"/>
                <a:gd name="T24" fmla="*/ 200 w 205"/>
                <a:gd name="T25" fmla="*/ 73 h 110"/>
                <a:gd name="T26" fmla="*/ 202 w 205"/>
                <a:gd name="T27" fmla="*/ 71 h 110"/>
                <a:gd name="T28" fmla="*/ 204 w 205"/>
                <a:gd name="T29" fmla="*/ 69 h 110"/>
                <a:gd name="T30" fmla="*/ 205 w 205"/>
                <a:gd name="T31" fmla="*/ 65 h 110"/>
                <a:gd name="T32" fmla="*/ 205 w 205"/>
                <a:gd name="T33" fmla="*/ 8 h 110"/>
                <a:gd name="T34" fmla="*/ 205 w 205"/>
                <a:gd name="T35" fmla="*/ 8 h 110"/>
                <a:gd name="T36" fmla="*/ 204 w 205"/>
                <a:gd name="T37" fmla="*/ 6 h 110"/>
                <a:gd name="T38" fmla="*/ 204 w 205"/>
                <a:gd name="T39" fmla="*/ 6 h 110"/>
                <a:gd name="T40" fmla="*/ 202 w 205"/>
                <a:gd name="T41" fmla="*/ 3 h 110"/>
                <a:gd name="T42" fmla="*/ 198 w 205"/>
                <a:gd name="T43" fmla="*/ 0 h 110"/>
                <a:gd name="T44" fmla="*/ 198 w 205"/>
                <a:gd name="T45" fmla="*/ 0 h 110"/>
                <a:gd name="T46" fmla="*/ 196 w 205"/>
                <a:gd name="T47" fmla="*/ 0 h 110"/>
                <a:gd name="T48" fmla="*/ 139 w 205"/>
                <a:gd name="T49" fmla="*/ 0 h 110"/>
                <a:gd name="T50" fmla="*/ 139 w 205"/>
                <a:gd name="T51" fmla="*/ 0 h 110"/>
                <a:gd name="T52" fmla="*/ 137 w 205"/>
                <a:gd name="T53" fmla="*/ 0 h 110"/>
                <a:gd name="T54" fmla="*/ 134 w 205"/>
                <a:gd name="T55" fmla="*/ 3 h 110"/>
                <a:gd name="T56" fmla="*/ 131 w 205"/>
                <a:gd name="T57" fmla="*/ 6 h 110"/>
                <a:gd name="T58" fmla="*/ 131 w 205"/>
                <a:gd name="T59" fmla="*/ 8 h 110"/>
                <a:gd name="T60" fmla="*/ 131 w 205"/>
                <a:gd name="T61" fmla="*/ 8 h 110"/>
                <a:gd name="T62" fmla="*/ 131 w 205"/>
                <a:gd name="T63" fmla="*/ 12 h 110"/>
                <a:gd name="T64" fmla="*/ 134 w 205"/>
                <a:gd name="T65" fmla="*/ 15 h 110"/>
                <a:gd name="T66" fmla="*/ 137 w 205"/>
                <a:gd name="T67" fmla="*/ 16 h 110"/>
                <a:gd name="T68" fmla="*/ 139 w 205"/>
                <a:gd name="T69" fmla="*/ 18 h 110"/>
                <a:gd name="T70" fmla="*/ 174 w 205"/>
                <a:gd name="T71" fmla="*/ 18 h 110"/>
                <a:gd name="T72" fmla="*/ 102 w 205"/>
                <a:gd name="T73" fmla="*/ 90 h 110"/>
                <a:gd name="T74" fmla="*/ 61 w 205"/>
                <a:gd name="T75" fmla="*/ 50 h 110"/>
                <a:gd name="T76" fmla="*/ 61 w 205"/>
                <a:gd name="T77" fmla="*/ 50 h 110"/>
                <a:gd name="T78" fmla="*/ 59 w 205"/>
                <a:gd name="T79" fmla="*/ 47 h 110"/>
                <a:gd name="T80" fmla="*/ 55 w 205"/>
                <a:gd name="T81" fmla="*/ 47 h 110"/>
                <a:gd name="T82" fmla="*/ 52 w 205"/>
                <a:gd name="T83" fmla="*/ 47 h 110"/>
                <a:gd name="T84" fmla="*/ 49 w 205"/>
                <a:gd name="T85" fmla="*/ 50 h 110"/>
                <a:gd name="T86" fmla="*/ 2 w 205"/>
                <a:gd name="T87" fmla="*/ 96 h 110"/>
                <a:gd name="T88" fmla="*/ 2 w 205"/>
                <a:gd name="T89" fmla="*/ 96 h 110"/>
                <a:gd name="T90" fmla="*/ 0 w 205"/>
                <a:gd name="T91" fmla="*/ 100 h 110"/>
                <a:gd name="T92" fmla="*/ 0 w 205"/>
                <a:gd name="T93" fmla="*/ 102 h 110"/>
                <a:gd name="T94" fmla="*/ 0 w 205"/>
                <a:gd name="T95" fmla="*/ 105 h 110"/>
                <a:gd name="T96" fmla="*/ 2 w 205"/>
                <a:gd name="T97" fmla="*/ 109 h 110"/>
                <a:gd name="T98" fmla="*/ 2 w 205"/>
                <a:gd name="T99" fmla="*/ 109 h 110"/>
                <a:gd name="T100" fmla="*/ 5 w 205"/>
                <a:gd name="T101" fmla="*/ 110 h 110"/>
                <a:gd name="T102" fmla="*/ 8 w 205"/>
                <a:gd name="T103" fmla="*/ 110 h 110"/>
                <a:gd name="T104" fmla="*/ 12 w 205"/>
                <a:gd name="T105" fmla="*/ 110 h 110"/>
                <a:gd name="T106" fmla="*/ 14 w 205"/>
                <a:gd name="T107" fmla="*/ 109 h 110"/>
                <a:gd name="T108" fmla="*/ 55 w 205"/>
                <a:gd name="T109" fmla="*/ 67 h 110"/>
                <a:gd name="T110" fmla="*/ 96 w 205"/>
                <a:gd name="T111" fmla="*/ 109 h 110"/>
                <a:gd name="T112" fmla="*/ 96 w 205"/>
                <a:gd name="T113" fmla="*/ 109 h 110"/>
                <a:gd name="T114" fmla="*/ 99 w 205"/>
                <a:gd name="T115" fmla="*/ 110 h 110"/>
                <a:gd name="T116" fmla="*/ 102 w 205"/>
                <a:gd name="T117" fmla="*/ 110 h 110"/>
                <a:gd name="T118" fmla="*/ 102 w 205"/>
                <a:gd name="T119"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5" h="110">
                  <a:moveTo>
                    <a:pt x="102" y="110"/>
                  </a:moveTo>
                  <a:lnTo>
                    <a:pt x="102" y="110"/>
                  </a:lnTo>
                  <a:lnTo>
                    <a:pt x="106" y="110"/>
                  </a:lnTo>
                  <a:lnTo>
                    <a:pt x="108" y="109"/>
                  </a:lnTo>
                  <a:lnTo>
                    <a:pt x="188" y="30"/>
                  </a:lnTo>
                  <a:lnTo>
                    <a:pt x="188" y="65"/>
                  </a:lnTo>
                  <a:lnTo>
                    <a:pt x="188" y="65"/>
                  </a:lnTo>
                  <a:lnTo>
                    <a:pt x="188" y="69"/>
                  </a:lnTo>
                  <a:lnTo>
                    <a:pt x="189" y="71"/>
                  </a:lnTo>
                  <a:lnTo>
                    <a:pt x="192" y="73"/>
                  </a:lnTo>
                  <a:lnTo>
                    <a:pt x="196" y="74"/>
                  </a:lnTo>
                  <a:lnTo>
                    <a:pt x="196" y="74"/>
                  </a:lnTo>
                  <a:lnTo>
                    <a:pt x="200" y="73"/>
                  </a:lnTo>
                  <a:lnTo>
                    <a:pt x="202" y="71"/>
                  </a:lnTo>
                  <a:lnTo>
                    <a:pt x="204" y="69"/>
                  </a:lnTo>
                  <a:lnTo>
                    <a:pt x="205" y="65"/>
                  </a:lnTo>
                  <a:lnTo>
                    <a:pt x="205" y="8"/>
                  </a:lnTo>
                  <a:lnTo>
                    <a:pt x="205" y="8"/>
                  </a:lnTo>
                  <a:lnTo>
                    <a:pt x="204" y="6"/>
                  </a:lnTo>
                  <a:lnTo>
                    <a:pt x="204" y="6"/>
                  </a:lnTo>
                  <a:lnTo>
                    <a:pt x="202" y="3"/>
                  </a:lnTo>
                  <a:lnTo>
                    <a:pt x="198" y="0"/>
                  </a:lnTo>
                  <a:lnTo>
                    <a:pt x="198" y="0"/>
                  </a:lnTo>
                  <a:lnTo>
                    <a:pt x="196" y="0"/>
                  </a:lnTo>
                  <a:lnTo>
                    <a:pt x="139" y="0"/>
                  </a:lnTo>
                  <a:lnTo>
                    <a:pt x="139" y="0"/>
                  </a:lnTo>
                  <a:lnTo>
                    <a:pt x="137" y="0"/>
                  </a:lnTo>
                  <a:lnTo>
                    <a:pt x="134" y="3"/>
                  </a:lnTo>
                  <a:lnTo>
                    <a:pt x="131" y="6"/>
                  </a:lnTo>
                  <a:lnTo>
                    <a:pt x="131" y="8"/>
                  </a:lnTo>
                  <a:lnTo>
                    <a:pt x="131" y="8"/>
                  </a:lnTo>
                  <a:lnTo>
                    <a:pt x="131" y="12"/>
                  </a:lnTo>
                  <a:lnTo>
                    <a:pt x="134" y="15"/>
                  </a:lnTo>
                  <a:lnTo>
                    <a:pt x="137" y="16"/>
                  </a:lnTo>
                  <a:lnTo>
                    <a:pt x="139" y="18"/>
                  </a:lnTo>
                  <a:lnTo>
                    <a:pt x="174" y="18"/>
                  </a:lnTo>
                  <a:lnTo>
                    <a:pt x="102" y="90"/>
                  </a:lnTo>
                  <a:lnTo>
                    <a:pt x="61" y="50"/>
                  </a:lnTo>
                  <a:lnTo>
                    <a:pt x="61" y="50"/>
                  </a:lnTo>
                  <a:lnTo>
                    <a:pt x="59" y="47"/>
                  </a:lnTo>
                  <a:lnTo>
                    <a:pt x="55" y="47"/>
                  </a:lnTo>
                  <a:lnTo>
                    <a:pt x="52" y="47"/>
                  </a:lnTo>
                  <a:lnTo>
                    <a:pt x="49" y="50"/>
                  </a:lnTo>
                  <a:lnTo>
                    <a:pt x="2" y="96"/>
                  </a:lnTo>
                  <a:lnTo>
                    <a:pt x="2" y="96"/>
                  </a:lnTo>
                  <a:lnTo>
                    <a:pt x="0" y="100"/>
                  </a:lnTo>
                  <a:lnTo>
                    <a:pt x="0" y="102"/>
                  </a:lnTo>
                  <a:lnTo>
                    <a:pt x="0" y="105"/>
                  </a:lnTo>
                  <a:lnTo>
                    <a:pt x="2" y="109"/>
                  </a:lnTo>
                  <a:lnTo>
                    <a:pt x="2" y="109"/>
                  </a:lnTo>
                  <a:lnTo>
                    <a:pt x="5" y="110"/>
                  </a:lnTo>
                  <a:lnTo>
                    <a:pt x="8" y="110"/>
                  </a:lnTo>
                  <a:lnTo>
                    <a:pt x="12" y="110"/>
                  </a:lnTo>
                  <a:lnTo>
                    <a:pt x="14" y="109"/>
                  </a:lnTo>
                  <a:lnTo>
                    <a:pt x="55" y="67"/>
                  </a:lnTo>
                  <a:lnTo>
                    <a:pt x="96" y="109"/>
                  </a:lnTo>
                  <a:lnTo>
                    <a:pt x="96" y="109"/>
                  </a:lnTo>
                  <a:lnTo>
                    <a:pt x="99" y="110"/>
                  </a:lnTo>
                  <a:lnTo>
                    <a:pt x="102" y="110"/>
                  </a:lnTo>
                  <a:lnTo>
                    <a:pt x="102"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buClrTx/>
                <a:buFontTx/>
                <a:buNone/>
                <a:defRPr/>
              </a:pPr>
              <a:endParaRPr lang="en-US" sz="2400" kern="1200" dirty="0">
                <a:solidFill>
                  <a:prstClr val="black"/>
                </a:solidFill>
                <a:latin typeface="Calibri"/>
                <a:ea typeface="+mn-ea"/>
              </a:endParaRPr>
            </a:p>
          </p:txBody>
        </p:sp>
      </p:grpSp>
      <p:grpSp>
        <p:nvGrpSpPr>
          <p:cNvPr id="56" name="Group 55"/>
          <p:cNvGrpSpPr>
            <a:grpSpLocks noChangeAspect="1"/>
          </p:cNvGrpSpPr>
          <p:nvPr/>
        </p:nvGrpSpPr>
        <p:grpSpPr>
          <a:xfrm>
            <a:off x="295836" y="3112598"/>
            <a:ext cx="365760" cy="373655"/>
            <a:chOff x="2451101" y="5997575"/>
            <a:chExt cx="220663" cy="225426"/>
          </a:xfrm>
          <a:solidFill>
            <a:schemeClr val="accent6">
              <a:lumMod val="75000"/>
            </a:schemeClr>
          </a:solidFill>
        </p:grpSpPr>
        <p:sp>
          <p:nvSpPr>
            <p:cNvPr id="57" name="Freeform 365"/>
            <p:cNvSpPr>
              <a:spLocks/>
            </p:cNvSpPr>
            <p:nvPr/>
          </p:nvSpPr>
          <p:spPr bwMode="auto">
            <a:xfrm>
              <a:off x="2451101" y="5997575"/>
              <a:ext cx="220663" cy="104775"/>
            </a:xfrm>
            <a:custGeom>
              <a:avLst/>
              <a:gdLst>
                <a:gd name="T0" fmla="*/ 271 w 277"/>
                <a:gd name="T1" fmla="*/ 88 h 133"/>
                <a:gd name="T2" fmla="*/ 240 w 277"/>
                <a:gd name="T3" fmla="*/ 88 h 133"/>
                <a:gd name="T4" fmla="*/ 176 w 277"/>
                <a:gd name="T5" fmla="*/ 2 h 133"/>
                <a:gd name="T6" fmla="*/ 176 w 277"/>
                <a:gd name="T7" fmla="*/ 2 h 133"/>
                <a:gd name="T8" fmla="*/ 173 w 277"/>
                <a:gd name="T9" fmla="*/ 0 h 133"/>
                <a:gd name="T10" fmla="*/ 170 w 277"/>
                <a:gd name="T11" fmla="*/ 0 h 133"/>
                <a:gd name="T12" fmla="*/ 166 w 277"/>
                <a:gd name="T13" fmla="*/ 0 h 133"/>
                <a:gd name="T14" fmla="*/ 164 w 277"/>
                <a:gd name="T15" fmla="*/ 1 h 133"/>
                <a:gd name="T16" fmla="*/ 164 w 277"/>
                <a:gd name="T17" fmla="*/ 1 h 133"/>
                <a:gd name="T18" fmla="*/ 161 w 277"/>
                <a:gd name="T19" fmla="*/ 4 h 133"/>
                <a:gd name="T20" fmla="*/ 160 w 277"/>
                <a:gd name="T21" fmla="*/ 8 h 133"/>
                <a:gd name="T22" fmla="*/ 160 w 277"/>
                <a:gd name="T23" fmla="*/ 11 h 133"/>
                <a:gd name="T24" fmla="*/ 161 w 277"/>
                <a:gd name="T25" fmla="*/ 15 h 133"/>
                <a:gd name="T26" fmla="*/ 216 w 277"/>
                <a:gd name="T27" fmla="*/ 88 h 133"/>
                <a:gd name="T28" fmla="*/ 211 w 277"/>
                <a:gd name="T29" fmla="*/ 88 h 133"/>
                <a:gd name="T30" fmla="*/ 64 w 277"/>
                <a:gd name="T31" fmla="*/ 88 h 133"/>
                <a:gd name="T32" fmla="*/ 60 w 277"/>
                <a:gd name="T33" fmla="*/ 88 h 133"/>
                <a:gd name="T34" fmla="*/ 115 w 277"/>
                <a:gd name="T35" fmla="*/ 15 h 133"/>
                <a:gd name="T36" fmla="*/ 115 w 277"/>
                <a:gd name="T37" fmla="*/ 15 h 133"/>
                <a:gd name="T38" fmla="*/ 117 w 277"/>
                <a:gd name="T39" fmla="*/ 11 h 133"/>
                <a:gd name="T40" fmla="*/ 117 w 277"/>
                <a:gd name="T41" fmla="*/ 8 h 133"/>
                <a:gd name="T42" fmla="*/ 115 w 277"/>
                <a:gd name="T43" fmla="*/ 4 h 133"/>
                <a:gd name="T44" fmla="*/ 113 w 277"/>
                <a:gd name="T45" fmla="*/ 1 h 133"/>
                <a:gd name="T46" fmla="*/ 113 w 277"/>
                <a:gd name="T47" fmla="*/ 1 h 133"/>
                <a:gd name="T48" fmla="*/ 110 w 277"/>
                <a:gd name="T49" fmla="*/ 0 h 133"/>
                <a:gd name="T50" fmla="*/ 106 w 277"/>
                <a:gd name="T51" fmla="*/ 0 h 133"/>
                <a:gd name="T52" fmla="*/ 103 w 277"/>
                <a:gd name="T53" fmla="*/ 0 h 133"/>
                <a:gd name="T54" fmla="*/ 99 w 277"/>
                <a:gd name="T55" fmla="*/ 2 h 133"/>
                <a:gd name="T56" fmla="*/ 36 w 277"/>
                <a:gd name="T57" fmla="*/ 88 h 133"/>
                <a:gd name="T58" fmla="*/ 4 w 277"/>
                <a:gd name="T59" fmla="*/ 88 h 133"/>
                <a:gd name="T60" fmla="*/ 4 w 277"/>
                <a:gd name="T61" fmla="*/ 88 h 133"/>
                <a:gd name="T62" fmla="*/ 1 w 277"/>
                <a:gd name="T63" fmla="*/ 90 h 133"/>
                <a:gd name="T64" fmla="*/ 0 w 277"/>
                <a:gd name="T65" fmla="*/ 92 h 133"/>
                <a:gd name="T66" fmla="*/ 0 w 277"/>
                <a:gd name="T67" fmla="*/ 129 h 133"/>
                <a:gd name="T68" fmla="*/ 0 w 277"/>
                <a:gd name="T69" fmla="*/ 129 h 133"/>
                <a:gd name="T70" fmla="*/ 1 w 277"/>
                <a:gd name="T71" fmla="*/ 131 h 133"/>
                <a:gd name="T72" fmla="*/ 4 w 277"/>
                <a:gd name="T73" fmla="*/ 133 h 133"/>
                <a:gd name="T74" fmla="*/ 271 w 277"/>
                <a:gd name="T75" fmla="*/ 133 h 133"/>
                <a:gd name="T76" fmla="*/ 271 w 277"/>
                <a:gd name="T77" fmla="*/ 133 h 133"/>
                <a:gd name="T78" fmla="*/ 275 w 277"/>
                <a:gd name="T79" fmla="*/ 131 h 133"/>
                <a:gd name="T80" fmla="*/ 277 w 277"/>
                <a:gd name="T81" fmla="*/ 129 h 133"/>
                <a:gd name="T82" fmla="*/ 277 w 277"/>
                <a:gd name="T83" fmla="*/ 92 h 133"/>
                <a:gd name="T84" fmla="*/ 277 w 277"/>
                <a:gd name="T85" fmla="*/ 92 h 133"/>
                <a:gd name="T86" fmla="*/ 275 w 277"/>
                <a:gd name="T87" fmla="*/ 90 h 133"/>
                <a:gd name="T88" fmla="*/ 271 w 277"/>
                <a:gd name="T89" fmla="*/ 88 h 133"/>
                <a:gd name="T90" fmla="*/ 271 w 277"/>
                <a:gd name="T91" fmla="*/ 88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7" h="133">
                  <a:moveTo>
                    <a:pt x="271" y="88"/>
                  </a:moveTo>
                  <a:lnTo>
                    <a:pt x="240" y="88"/>
                  </a:lnTo>
                  <a:lnTo>
                    <a:pt x="176" y="2"/>
                  </a:lnTo>
                  <a:lnTo>
                    <a:pt x="176" y="2"/>
                  </a:lnTo>
                  <a:lnTo>
                    <a:pt x="173" y="0"/>
                  </a:lnTo>
                  <a:lnTo>
                    <a:pt x="170" y="0"/>
                  </a:lnTo>
                  <a:lnTo>
                    <a:pt x="166" y="0"/>
                  </a:lnTo>
                  <a:lnTo>
                    <a:pt x="164" y="1"/>
                  </a:lnTo>
                  <a:lnTo>
                    <a:pt x="164" y="1"/>
                  </a:lnTo>
                  <a:lnTo>
                    <a:pt x="161" y="4"/>
                  </a:lnTo>
                  <a:lnTo>
                    <a:pt x="160" y="8"/>
                  </a:lnTo>
                  <a:lnTo>
                    <a:pt x="160" y="11"/>
                  </a:lnTo>
                  <a:lnTo>
                    <a:pt x="161" y="15"/>
                  </a:lnTo>
                  <a:lnTo>
                    <a:pt x="216" y="88"/>
                  </a:lnTo>
                  <a:lnTo>
                    <a:pt x="211" y="88"/>
                  </a:lnTo>
                  <a:lnTo>
                    <a:pt x="64" y="88"/>
                  </a:lnTo>
                  <a:lnTo>
                    <a:pt x="60" y="88"/>
                  </a:lnTo>
                  <a:lnTo>
                    <a:pt x="115" y="15"/>
                  </a:lnTo>
                  <a:lnTo>
                    <a:pt x="115" y="15"/>
                  </a:lnTo>
                  <a:lnTo>
                    <a:pt x="117" y="11"/>
                  </a:lnTo>
                  <a:lnTo>
                    <a:pt x="117" y="8"/>
                  </a:lnTo>
                  <a:lnTo>
                    <a:pt x="115" y="4"/>
                  </a:lnTo>
                  <a:lnTo>
                    <a:pt x="113" y="1"/>
                  </a:lnTo>
                  <a:lnTo>
                    <a:pt x="113" y="1"/>
                  </a:lnTo>
                  <a:lnTo>
                    <a:pt x="110" y="0"/>
                  </a:lnTo>
                  <a:lnTo>
                    <a:pt x="106" y="0"/>
                  </a:lnTo>
                  <a:lnTo>
                    <a:pt x="103" y="0"/>
                  </a:lnTo>
                  <a:lnTo>
                    <a:pt x="99" y="2"/>
                  </a:lnTo>
                  <a:lnTo>
                    <a:pt x="36" y="88"/>
                  </a:lnTo>
                  <a:lnTo>
                    <a:pt x="4" y="88"/>
                  </a:lnTo>
                  <a:lnTo>
                    <a:pt x="4" y="88"/>
                  </a:lnTo>
                  <a:lnTo>
                    <a:pt x="1" y="90"/>
                  </a:lnTo>
                  <a:lnTo>
                    <a:pt x="0" y="92"/>
                  </a:lnTo>
                  <a:lnTo>
                    <a:pt x="0" y="129"/>
                  </a:lnTo>
                  <a:lnTo>
                    <a:pt x="0" y="129"/>
                  </a:lnTo>
                  <a:lnTo>
                    <a:pt x="1" y="131"/>
                  </a:lnTo>
                  <a:lnTo>
                    <a:pt x="4" y="133"/>
                  </a:lnTo>
                  <a:lnTo>
                    <a:pt x="271" y="133"/>
                  </a:lnTo>
                  <a:lnTo>
                    <a:pt x="271" y="133"/>
                  </a:lnTo>
                  <a:lnTo>
                    <a:pt x="275" y="131"/>
                  </a:lnTo>
                  <a:lnTo>
                    <a:pt x="277" y="129"/>
                  </a:lnTo>
                  <a:lnTo>
                    <a:pt x="277" y="92"/>
                  </a:lnTo>
                  <a:lnTo>
                    <a:pt x="277" y="92"/>
                  </a:lnTo>
                  <a:lnTo>
                    <a:pt x="275" y="90"/>
                  </a:lnTo>
                  <a:lnTo>
                    <a:pt x="271" y="88"/>
                  </a:lnTo>
                  <a:lnTo>
                    <a:pt x="271"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buClrTx/>
                <a:buFontTx/>
                <a:buNone/>
                <a:defRPr/>
              </a:pPr>
              <a:endParaRPr lang="en-US" sz="2400" kern="1200" dirty="0">
                <a:solidFill>
                  <a:prstClr val="black"/>
                </a:solidFill>
                <a:latin typeface="Calibri"/>
                <a:ea typeface="+mn-ea"/>
              </a:endParaRPr>
            </a:p>
          </p:txBody>
        </p:sp>
        <p:sp>
          <p:nvSpPr>
            <p:cNvPr id="58" name="Freeform 366"/>
            <p:cNvSpPr>
              <a:spLocks noEditPoints="1"/>
            </p:cNvSpPr>
            <p:nvPr/>
          </p:nvSpPr>
          <p:spPr bwMode="auto">
            <a:xfrm>
              <a:off x="2473326" y="6110288"/>
              <a:ext cx="176213" cy="112713"/>
            </a:xfrm>
            <a:custGeom>
              <a:avLst/>
              <a:gdLst>
                <a:gd name="T0" fmla="*/ 217 w 223"/>
                <a:gd name="T1" fmla="*/ 0 h 143"/>
                <a:gd name="T2" fmla="*/ 4 w 223"/>
                <a:gd name="T3" fmla="*/ 0 h 143"/>
                <a:gd name="T4" fmla="*/ 4 w 223"/>
                <a:gd name="T5" fmla="*/ 0 h 143"/>
                <a:gd name="T6" fmla="*/ 0 w 223"/>
                <a:gd name="T7" fmla="*/ 2 h 143"/>
                <a:gd name="T8" fmla="*/ 0 w 223"/>
                <a:gd name="T9" fmla="*/ 4 h 143"/>
                <a:gd name="T10" fmla="*/ 0 w 223"/>
                <a:gd name="T11" fmla="*/ 139 h 143"/>
                <a:gd name="T12" fmla="*/ 0 w 223"/>
                <a:gd name="T13" fmla="*/ 139 h 143"/>
                <a:gd name="T14" fmla="*/ 0 w 223"/>
                <a:gd name="T15" fmla="*/ 141 h 143"/>
                <a:gd name="T16" fmla="*/ 4 w 223"/>
                <a:gd name="T17" fmla="*/ 143 h 143"/>
                <a:gd name="T18" fmla="*/ 217 w 223"/>
                <a:gd name="T19" fmla="*/ 143 h 143"/>
                <a:gd name="T20" fmla="*/ 217 w 223"/>
                <a:gd name="T21" fmla="*/ 143 h 143"/>
                <a:gd name="T22" fmla="*/ 221 w 223"/>
                <a:gd name="T23" fmla="*/ 141 h 143"/>
                <a:gd name="T24" fmla="*/ 223 w 223"/>
                <a:gd name="T25" fmla="*/ 139 h 143"/>
                <a:gd name="T26" fmla="*/ 223 w 223"/>
                <a:gd name="T27" fmla="*/ 4 h 143"/>
                <a:gd name="T28" fmla="*/ 223 w 223"/>
                <a:gd name="T29" fmla="*/ 4 h 143"/>
                <a:gd name="T30" fmla="*/ 221 w 223"/>
                <a:gd name="T31" fmla="*/ 2 h 143"/>
                <a:gd name="T32" fmla="*/ 217 w 223"/>
                <a:gd name="T33" fmla="*/ 0 h 143"/>
                <a:gd name="T34" fmla="*/ 217 w 223"/>
                <a:gd name="T35" fmla="*/ 0 h 143"/>
                <a:gd name="T36" fmla="*/ 71 w 223"/>
                <a:gd name="T37" fmla="*/ 108 h 143"/>
                <a:gd name="T38" fmla="*/ 71 w 223"/>
                <a:gd name="T39" fmla="*/ 108 h 143"/>
                <a:gd name="T40" fmla="*/ 70 w 223"/>
                <a:gd name="T41" fmla="*/ 110 h 143"/>
                <a:gd name="T42" fmla="*/ 66 w 223"/>
                <a:gd name="T43" fmla="*/ 112 h 143"/>
                <a:gd name="T44" fmla="*/ 66 w 223"/>
                <a:gd name="T45" fmla="*/ 112 h 143"/>
                <a:gd name="T46" fmla="*/ 63 w 223"/>
                <a:gd name="T47" fmla="*/ 110 h 143"/>
                <a:gd name="T48" fmla="*/ 62 w 223"/>
                <a:gd name="T49" fmla="*/ 108 h 143"/>
                <a:gd name="T50" fmla="*/ 62 w 223"/>
                <a:gd name="T51" fmla="*/ 35 h 143"/>
                <a:gd name="T52" fmla="*/ 62 w 223"/>
                <a:gd name="T53" fmla="*/ 35 h 143"/>
                <a:gd name="T54" fmla="*/ 63 w 223"/>
                <a:gd name="T55" fmla="*/ 32 h 143"/>
                <a:gd name="T56" fmla="*/ 66 w 223"/>
                <a:gd name="T57" fmla="*/ 31 h 143"/>
                <a:gd name="T58" fmla="*/ 66 w 223"/>
                <a:gd name="T59" fmla="*/ 31 h 143"/>
                <a:gd name="T60" fmla="*/ 70 w 223"/>
                <a:gd name="T61" fmla="*/ 32 h 143"/>
                <a:gd name="T62" fmla="*/ 71 w 223"/>
                <a:gd name="T63" fmla="*/ 35 h 143"/>
                <a:gd name="T64" fmla="*/ 71 w 223"/>
                <a:gd name="T65" fmla="*/ 108 h 143"/>
                <a:gd name="T66" fmla="*/ 115 w 223"/>
                <a:gd name="T67" fmla="*/ 108 h 143"/>
                <a:gd name="T68" fmla="*/ 115 w 223"/>
                <a:gd name="T69" fmla="*/ 108 h 143"/>
                <a:gd name="T70" fmla="*/ 114 w 223"/>
                <a:gd name="T71" fmla="*/ 110 h 143"/>
                <a:gd name="T72" fmla="*/ 111 w 223"/>
                <a:gd name="T73" fmla="*/ 112 h 143"/>
                <a:gd name="T74" fmla="*/ 111 w 223"/>
                <a:gd name="T75" fmla="*/ 112 h 143"/>
                <a:gd name="T76" fmla="*/ 107 w 223"/>
                <a:gd name="T77" fmla="*/ 110 h 143"/>
                <a:gd name="T78" fmla="*/ 106 w 223"/>
                <a:gd name="T79" fmla="*/ 108 h 143"/>
                <a:gd name="T80" fmla="*/ 106 w 223"/>
                <a:gd name="T81" fmla="*/ 35 h 143"/>
                <a:gd name="T82" fmla="*/ 106 w 223"/>
                <a:gd name="T83" fmla="*/ 35 h 143"/>
                <a:gd name="T84" fmla="*/ 107 w 223"/>
                <a:gd name="T85" fmla="*/ 32 h 143"/>
                <a:gd name="T86" fmla="*/ 111 w 223"/>
                <a:gd name="T87" fmla="*/ 31 h 143"/>
                <a:gd name="T88" fmla="*/ 111 w 223"/>
                <a:gd name="T89" fmla="*/ 31 h 143"/>
                <a:gd name="T90" fmla="*/ 114 w 223"/>
                <a:gd name="T91" fmla="*/ 32 h 143"/>
                <a:gd name="T92" fmla="*/ 115 w 223"/>
                <a:gd name="T93" fmla="*/ 35 h 143"/>
                <a:gd name="T94" fmla="*/ 115 w 223"/>
                <a:gd name="T95" fmla="*/ 108 h 143"/>
                <a:gd name="T96" fmla="*/ 160 w 223"/>
                <a:gd name="T97" fmla="*/ 108 h 143"/>
                <a:gd name="T98" fmla="*/ 160 w 223"/>
                <a:gd name="T99" fmla="*/ 108 h 143"/>
                <a:gd name="T100" fmla="*/ 158 w 223"/>
                <a:gd name="T101" fmla="*/ 110 h 143"/>
                <a:gd name="T102" fmla="*/ 156 w 223"/>
                <a:gd name="T103" fmla="*/ 112 h 143"/>
                <a:gd name="T104" fmla="*/ 156 w 223"/>
                <a:gd name="T105" fmla="*/ 112 h 143"/>
                <a:gd name="T106" fmla="*/ 152 w 223"/>
                <a:gd name="T107" fmla="*/ 110 h 143"/>
                <a:gd name="T108" fmla="*/ 152 w 223"/>
                <a:gd name="T109" fmla="*/ 108 h 143"/>
                <a:gd name="T110" fmla="*/ 152 w 223"/>
                <a:gd name="T111" fmla="*/ 35 h 143"/>
                <a:gd name="T112" fmla="*/ 152 w 223"/>
                <a:gd name="T113" fmla="*/ 35 h 143"/>
                <a:gd name="T114" fmla="*/ 152 w 223"/>
                <a:gd name="T115" fmla="*/ 32 h 143"/>
                <a:gd name="T116" fmla="*/ 156 w 223"/>
                <a:gd name="T117" fmla="*/ 31 h 143"/>
                <a:gd name="T118" fmla="*/ 156 w 223"/>
                <a:gd name="T119" fmla="*/ 31 h 143"/>
                <a:gd name="T120" fmla="*/ 158 w 223"/>
                <a:gd name="T121" fmla="*/ 32 h 143"/>
                <a:gd name="T122" fmla="*/ 160 w 223"/>
                <a:gd name="T123" fmla="*/ 35 h 143"/>
                <a:gd name="T124" fmla="*/ 160 w 223"/>
                <a:gd name="T125" fmla="*/ 10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3" h="143">
                  <a:moveTo>
                    <a:pt x="217" y="0"/>
                  </a:moveTo>
                  <a:lnTo>
                    <a:pt x="4" y="0"/>
                  </a:lnTo>
                  <a:lnTo>
                    <a:pt x="4" y="0"/>
                  </a:lnTo>
                  <a:lnTo>
                    <a:pt x="0" y="2"/>
                  </a:lnTo>
                  <a:lnTo>
                    <a:pt x="0" y="4"/>
                  </a:lnTo>
                  <a:lnTo>
                    <a:pt x="0" y="139"/>
                  </a:lnTo>
                  <a:lnTo>
                    <a:pt x="0" y="139"/>
                  </a:lnTo>
                  <a:lnTo>
                    <a:pt x="0" y="141"/>
                  </a:lnTo>
                  <a:lnTo>
                    <a:pt x="4" y="143"/>
                  </a:lnTo>
                  <a:lnTo>
                    <a:pt x="217" y="143"/>
                  </a:lnTo>
                  <a:lnTo>
                    <a:pt x="217" y="143"/>
                  </a:lnTo>
                  <a:lnTo>
                    <a:pt x="221" y="141"/>
                  </a:lnTo>
                  <a:lnTo>
                    <a:pt x="223" y="139"/>
                  </a:lnTo>
                  <a:lnTo>
                    <a:pt x="223" y="4"/>
                  </a:lnTo>
                  <a:lnTo>
                    <a:pt x="223" y="4"/>
                  </a:lnTo>
                  <a:lnTo>
                    <a:pt x="221" y="2"/>
                  </a:lnTo>
                  <a:lnTo>
                    <a:pt x="217" y="0"/>
                  </a:lnTo>
                  <a:lnTo>
                    <a:pt x="217" y="0"/>
                  </a:lnTo>
                  <a:close/>
                  <a:moveTo>
                    <a:pt x="71" y="108"/>
                  </a:moveTo>
                  <a:lnTo>
                    <a:pt x="71" y="108"/>
                  </a:lnTo>
                  <a:lnTo>
                    <a:pt x="70" y="110"/>
                  </a:lnTo>
                  <a:lnTo>
                    <a:pt x="66" y="112"/>
                  </a:lnTo>
                  <a:lnTo>
                    <a:pt x="66" y="112"/>
                  </a:lnTo>
                  <a:lnTo>
                    <a:pt x="63" y="110"/>
                  </a:lnTo>
                  <a:lnTo>
                    <a:pt x="62" y="108"/>
                  </a:lnTo>
                  <a:lnTo>
                    <a:pt x="62" y="35"/>
                  </a:lnTo>
                  <a:lnTo>
                    <a:pt x="62" y="35"/>
                  </a:lnTo>
                  <a:lnTo>
                    <a:pt x="63" y="32"/>
                  </a:lnTo>
                  <a:lnTo>
                    <a:pt x="66" y="31"/>
                  </a:lnTo>
                  <a:lnTo>
                    <a:pt x="66" y="31"/>
                  </a:lnTo>
                  <a:lnTo>
                    <a:pt x="70" y="32"/>
                  </a:lnTo>
                  <a:lnTo>
                    <a:pt x="71" y="35"/>
                  </a:lnTo>
                  <a:lnTo>
                    <a:pt x="71" y="108"/>
                  </a:lnTo>
                  <a:close/>
                  <a:moveTo>
                    <a:pt x="115" y="108"/>
                  </a:moveTo>
                  <a:lnTo>
                    <a:pt x="115" y="108"/>
                  </a:lnTo>
                  <a:lnTo>
                    <a:pt x="114" y="110"/>
                  </a:lnTo>
                  <a:lnTo>
                    <a:pt x="111" y="112"/>
                  </a:lnTo>
                  <a:lnTo>
                    <a:pt x="111" y="112"/>
                  </a:lnTo>
                  <a:lnTo>
                    <a:pt x="107" y="110"/>
                  </a:lnTo>
                  <a:lnTo>
                    <a:pt x="106" y="108"/>
                  </a:lnTo>
                  <a:lnTo>
                    <a:pt x="106" y="35"/>
                  </a:lnTo>
                  <a:lnTo>
                    <a:pt x="106" y="35"/>
                  </a:lnTo>
                  <a:lnTo>
                    <a:pt x="107" y="32"/>
                  </a:lnTo>
                  <a:lnTo>
                    <a:pt x="111" y="31"/>
                  </a:lnTo>
                  <a:lnTo>
                    <a:pt x="111" y="31"/>
                  </a:lnTo>
                  <a:lnTo>
                    <a:pt x="114" y="32"/>
                  </a:lnTo>
                  <a:lnTo>
                    <a:pt x="115" y="35"/>
                  </a:lnTo>
                  <a:lnTo>
                    <a:pt x="115" y="108"/>
                  </a:lnTo>
                  <a:close/>
                  <a:moveTo>
                    <a:pt x="160" y="108"/>
                  </a:moveTo>
                  <a:lnTo>
                    <a:pt x="160" y="108"/>
                  </a:lnTo>
                  <a:lnTo>
                    <a:pt x="158" y="110"/>
                  </a:lnTo>
                  <a:lnTo>
                    <a:pt x="156" y="112"/>
                  </a:lnTo>
                  <a:lnTo>
                    <a:pt x="156" y="112"/>
                  </a:lnTo>
                  <a:lnTo>
                    <a:pt x="152" y="110"/>
                  </a:lnTo>
                  <a:lnTo>
                    <a:pt x="152" y="108"/>
                  </a:lnTo>
                  <a:lnTo>
                    <a:pt x="152" y="35"/>
                  </a:lnTo>
                  <a:lnTo>
                    <a:pt x="152" y="35"/>
                  </a:lnTo>
                  <a:lnTo>
                    <a:pt x="152" y="32"/>
                  </a:lnTo>
                  <a:lnTo>
                    <a:pt x="156" y="31"/>
                  </a:lnTo>
                  <a:lnTo>
                    <a:pt x="156" y="31"/>
                  </a:lnTo>
                  <a:lnTo>
                    <a:pt x="158" y="32"/>
                  </a:lnTo>
                  <a:lnTo>
                    <a:pt x="160" y="35"/>
                  </a:lnTo>
                  <a:lnTo>
                    <a:pt x="160"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buClrTx/>
                <a:buFontTx/>
                <a:buNone/>
                <a:defRPr/>
              </a:pPr>
              <a:endParaRPr lang="en-US" sz="2400" kern="1200" dirty="0">
                <a:solidFill>
                  <a:prstClr val="black"/>
                </a:solidFill>
                <a:latin typeface="Calibri"/>
                <a:ea typeface="+mn-ea"/>
              </a:endParaRPr>
            </a:p>
          </p:txBody>
        </p:sp>
      </p:grpSp>
      <p:sp>
        <p:nvSpPr>
          <p:cNvPr id="96" name="Rectangle 95"/>
          <p:cNvSpPr/>
          <p:nvPr/>
        </p:nvSpPr>
        <p:spPr>
          <a:xfrm>
            <a:off x="968188" y="4797915"/>
            <a:ext cx="4818788" cy="261610"/>
          </a:xfrm>
          <a:prstGeom prst="rect">
            <a:avLst/>
          </a:prstGeom>
        </p:spPr>
        <p:txBody>
          <a:bodyPr wrap="square">
            <a:spAutoFit/>
          </a:bodyPr>
          <a:lstStyle/>
          <a:p>
            <a:pPr algn="just">
              <a:spcAft>
                <a:spcPts val="600"/>
              </a:spcAft>
            </a:pPr>
            <a:r>
              <a:rPr lang="en-US" sz="1100" dirty="0"/>
              <a:t>2 financial services providers supported. 3 financial products developed</a:t>
            </a:r>
          </a:p>
        </p:txBody>
      </p:sp>
      <p:cxnSp>
        <p:nvCxnSpPr>
          <p:cNvPr id="105" name="Straight Connector 104"/>
          <p:cNvCxnSpPr/>
          <p:nvPr/>
        </p:nvCxnSpPr>
        <p:spPr>
          <a:xfrm>
            <a:off x="115234" y="6317592"/>
            <a:ext cx="9028766" cy="69761"/>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06" name="Picture 2" descr="buyer, care, client, customer care, dollar, hand, money icon"/>
          <p:cNvPicPr>
            <a:picLocks noChangeAspect="1" noChangeArrowheads="1"/>
          </p:cNvPicPr>
          <p:nvPr/>
        </p:nvPicPr>
        <p:blipFill>
          <a:blip r:embed="rId7" cstate="print">
            <a:duotone>
              <a:schemeClr val="accent6">
                <a:shade val="45000"/>
                <a:satMod val="135000"/>
              </a:schemeClr>
              <a:prstClr val="white"/>
            </a:duotone>
            <a:extLst>
              <a:ext uri="{BEBA8EAE-BF5A-486C-A8C5-ECC9F3942E4B}">
                <a14:imgProps xmlns:a14="http://schemas.microsoft.com/office/drawing/2010/main">
                  <a14:imgLayer r:embed="rId8">
                    <a14:imgEffect>
                      <a14:colorTemperature colorTemp="4700"/>
                    </a14:imgEffect>
                  </a14:imgLayer>
                </a14:imgProps>
              </a:ext>
              <a:ext uri="{28A0092B-C50C-407E-A947-70E740481C1C}">
                <a14:useLocalDpi xmlns:a14="http://schemas.microsoft.com/office/drawing/2010/main" val="0"/>
              </a:ext>
            </a:extLst>
          </a:blip>
          <a:srcRect/>
          <a:stretch>
            <a:fillRect/>
          </a:stretch>
        </p:blipFill>
        <p:spPr bwMode="auto">
          <a:xfrm>
            <a:off x="295836" y="4705832"/>
            <a:ext cx="500758" cy="500758"/>
          </a:xfrm>
          <a:prstGeom prst="rect">
            <a:avLst/>
          </a:prstGeom>
          <a:noFill/>
          <a:extLst>
            <a:ext uri="{909E8E84-426E-40DD-AFC4-6F175D3DCCD1}">
              <a14:hiddenFill xmlns:a14="http://schemas.microsoft.com/office/drawing/2010/main">
                <a:solidFill>
                  <a:srgbClr val="FFFFFF"/>
                </a:solidFill>
              </a14:hiddenFill>
            </a:ext>
          </a:extLst>
        </p:spPr>
      </p:pic>
      <p:cxnSp>
        <p:nvCxnSpPr>
          <p:cNvPr id="59" name="Straight Connector 58"/>
          <p:cNvCxnSpPr/>
          <p:nvPr/>
        </p:nvCxnSpPr>
        <p:spPr>
          <a:xfrm>
            <a:off x="313246" y="4611488"/>
            <a:ext cx="5253836" cy="41194"/>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371130" y="3653462"/>
            <a:ext cx="5169058" cy="31032"/>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354293" y="2928744"/>
            <a:ext cx="5347260" cy="271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flipV="1">
            <a:off x="325433" y="2017059"/>
            <a:ext cx="5389567" cy="14484"/>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968188" y="5221924"/>
            <a:ext cx="4881283" cy="1277273"/>
          </a:xfrm>
          <a:prstGeom prst="rect">
            <a:avLst/>
          </a:prstGeom>
        </p:spPr>
        <p:txBody>
          <a:bodyPr wrap="square">
            <a:spAutoFit/>
          </a:bodyPr>
          <a:lstStyle/>
          <a:p>
            <a:pPr marL="171450" indent="-171450" algn="just">
              <a:buFont typeface="Arial" panose="020B0604020202020204" pitchFamily="34" charset="0"/>
              <a:buChar char="•"/>
            </a:pPr>
            <a:r>
              <a:rPr lang="en-US" sz="1100" dirty="0">
                <a:solidFill>
                  <a:schemeClr val="tx1"/>
                </a:solidFill>
              </a:rPr>
              <a:t>Contributed to the development, validation, and submission of legislation on Warehouse Receipt System (WRS) for approval by relevant government authorities. It also contributed to the mapping and identification of post-harvest facilities and sites for the construction of new silos. </a:t>
            </a:r>
            <a:endParaRPr lang="en-US" sz="1100" dirty="0" smtClean="0">
              <a:solidFill>
                <a:schemeClr val="tx1"/>
              </a:solidFill>
            </a:endParaRPr>
          </a:p>
          <a:p>
            <a:pPr marL="171450" indent="-171450" algn="just">
              <a:buFont typeface="Arial" panose="020B0604020202020204" pitchFamily="34" charset="0"/>
              <a:buChar char="•"/>
            </a:pPr>
            <a:r>
              <a:rPr lang="en-US" sz="1100" dirty="0" smtClean="0">
                <a:solidFill>
                  <a:schemeClr val="tx1"/>
                </a:solidFill>
              </a:rPr>
              <a:t>Supported the Government in developing regulatory framework for the implementation of the fertilizer quality control</a:t>
            </a:r>
            <a:endParaRPr lang="en-US" sz="1100" dirty="0">
              <a:solidFill>
                <a:schemeClr val="tx1"/>
              </a:solidFill>
            </a:endParaRPr>
          </a:p>
        </p:txBody>
      </p:sp>
      <p:cxnSp>
        <p:nvCxnSpPr>
          <p:cNvPr id="60" name="Straight Connector 59"/>
          <p:cNvCxnSpPr/>
          <p:nvPr/>
        </p:nvCxnSpPr>
        <p:spPr>
          <a:xfrm flipV="1">
            <a:off x="107576" y="5212525"/>
            <a:ext cx="5396146" cy="18381"/>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 name="AutoShape 255" descr="Image associÃ©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61" name="Picture 60" descr="C:\Users\ADiallo\AppData\Local\Microsoft\Windows\INetCache\Content.MSO\B7C9CAB7.tmp"/>
          <p:cNvPicPr/>
          <p:nvPr/>
        </p:nvPicPr>
        <p:blipFill>
          <a:blip r:embed="rId9">
            <a:duotone>
              <a:srgbClr val="70AD47">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95836" y="5744958"/>
            <a:ext cx="358140" cy="358140"/>
          </a:xfrm>
          <a:prstGeom prst="rect">
            <a:avLst/>
          </a:prstGeom>
          <a:solidFill>
            <a:srgbClr val="70AD47"/>
          </a:solidFill>
          <a:ln>
            <a:noFill/>
          </a:ln>
        </p:spPr>
      </p:pic>
      <p:pic>
        <p:nvPicPr>
          <p:cNvPr id="13" name="Picture 12"/>
          <p:cNvPicPr>
            <a:picLocks noChangeAspect="1"/>
          </p:cNvPicPr>
          <p:nvPr/>
        </p:nvPicPr>
        <p:blipFill>
          <a:blip r:embed="rId10"/>
          <a:stretch>
            <a:fillRect/>
          </a:stretch>
        </p:blipFill>
        <p:spPr>
          <a:xfrm>
            <a:off x="6084321" y="1071956"/>
            <a:ext cx="3333249" cy="2338478"/>
          </a:xfrm>
          <a:prstGeom prst="rect">
            <a:avLst/>
          </a:prstGeom>
        </p:spPr>
      </p:pic>
      <p:pic>
        <p:nvPicPr>
          <p:cNvPr id="14" name="Picture 13"/>
          <p:cNvPicPr>
            <a:picLocks noChangeAspect="1"/>
          </p:cNvPicPr>
          <p:nvPr/>
        </p:nvPicPr>
        <p:blipFill>
          <a:blip r:embed="rId11"/>
          <a:stretch>
            <a:fillRect/>
          </a:stretch>
        </p:blipFill>
        <p:spPr>
          <a:xfrm>
            <a:off x="6111761" y="3586195"/>
            <a:ext cx="3393483" cy="2295315"/>
          </a:xfrm>
          <a:prstGeom prst="rect">
            <a:avLst/>
          </a:prstGeom>
        </p:spPr>
      </p:pic>
    </p:spTree>
    <p:extLst>
      <p:ext uri="{BB962C8B-B14F-4D97-AF65-F5344CB8AC3E}">
        <p14:creationId xmlns:p14="http://schemas.microsoft.com/office/powerpoint/2010/main" val="30888297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398" name="think-cell Slide" r:id="rId5" imgW="327" imgH="327" progId="TCLayout.ActiveDocument.1">
                  <p:embed/>
                </p:oleObj>
              </mc:Choice>
              <mc:Fallback>
                <p:oleObj name="think-cell Slide" r:id="rId5" imgW="327" imgH="327"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defRPr/>
            </a:pPr>
            <a:endParaRPr lang="en-US" sz="2031" b="1" dirty="0">
              <a:solidFill>
                <a:srgbClr val="FFFFFF"/>
              </a:solidFill>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Mali has also mapped the main partners in the country and their current / Potential relationship with AGRA</a:t>
            </a:r>
          </a:p>
        </p:txBody>
      </p:sp>
      <p:graphicFrame>
        <p:nvGraphicFramePr>
          <p:cNvPr id="8" name="Table 7">
            <a:extLst>
              <a:ext uri="{FF2B5EF4-FFF2-40B4-BE49-F238E27FC236}">
                <a16:creationId xmlns="" xmlns:a16="http://schemas.microsoft.com/office/drawing/2014/main" id="{134EC312-F924-4126-948E-A7054D631384}"/>
              </a:ext>
            </a:extLst>
          </p:cNvPr>
          <p:cNvGraphicFramePr>
            <a:graphicFrameLocks noGrp="1"/>
          </p:cNvGraphicFramePr>
          <p:nvPr>
            <p:extLst>
              <p:ext uri="{D42A27DB-BD31-4B8C-83A1-F6EECF244321}">
                <p14:modId xmlns:p14="http://schemas.microsoft.com/office/powerpoint/2010/main" val="699189314"/>
              </p:ext>
            </p:extLst>
          </p:nvPr>
        </p:nvGraphicFramePr>
        <p:xfrm>
          <a:off x="121920" y="905169"/>
          <a:ext cx="9530080" cy="5569033"/>
        </p:xfrm>
        <a:graphic>
          <a:graphicData uri="http://schemas.openxmlformats.org/drawingml/2006/table">
            <a:tbl>
              <a:tblPr/>
              <a:tblGrid>
                <a:gridCol w="1872343">
                  <a:extLst>
                    <a:ext uri="{9D8B030D-6E8A-4147-A177-3AD203B41FA5}">
                      <a16:colId xmlns="" xmlns:a16="http://schemas.microsoft.com/office/drawing/2014/main" val="3545797939"/>
                    </a:ext>
                  </a:extLst>
                </a:gridCol>
                <a:gridCol w="1463040">
                  <a:extLst>
                    <a:ext uri="{9D8B030D-6E8A-4147-A177-3AD203B41FA5}">
                      <a16:colId xmlns="" xmlns:a16="http://schemas.microsoft.com/office/drawing/2014/main" val="3723706826"/>
                    </a:ext>
                  </a:extLst>
                </a:gridCol>
                <a:gridCol w="661851">
                  <a:extLst>
                    <a:ext uri="{9D8B030D-6E8A-4147-A177-3AD203B41FA5}">
                      <a16:colId xmlns="" xmlns:a16="http://schemas.microsoft.com/office/drawing/2014/main" val="1363195799"/>
                    </a:ext>
                  </a:extLst>
                </a:gridCol>
                <a:gridCol w="1506583">
                  <a:extLst>
                    <a:ext uri="{9D8B030D-6E8A-4147-A177-3AD203B41FA5}">
                      <a16:colId xmlns="" xmlns:a16="http://schemas.microsoft.com/office/drawing/2014/main" val="329249728"/>
                    </a:ext>
                  </a:extLst>
                </a:gridCol>
                <a:gridCol w="1368998">
                  <a:extLst>
                    <a:ext uri="{9D8B030D-6E8A-4147-A177-3AD203B41FA5}">
                      <a16:colId xmlns="" xmlns:a16="http://schemas.microsoft.com/office/drawing/2014/main" val="1060576015"/>
                    </a:ext>
                  </a:extLst>
                </a:gridCol>
                <a:gridCol w="625265">
                  <a:extLst>
                    <a:ext uri="{9D8B030D-6E8A-4147-A177-3AD203B41FA5}">
                      <a16:colId xmlns="" xmlns:a16="http://schemas.microsoft.com/office/drawing/2014/main" val="4246945643"/>
                    </a:ext>
                  </a:extLst>
                </a:gridCol>
                <a:gridCol w="2032000">
                  <a:extLst>
                    <a:ext uri="{9D8B030D-6E8A-4147-A177-3AD203B41FA5}">
                      <a16:colId xmlns="" xmlns:a16="http://schemas.microsoft.com/office/drawing/2014/main" val="2339679348"/>
                    </a:ext>
                  </a:extLst>
                </a:gridCol>
              </a:tblGrid>
              <a:tr h="281565">
                <a:tc>
                  <a:txBody>
                    <a:bodyPr/>
                    <a:lstStyle/>
                    <a:p>
                      <a:pPr algn="l" fontAlgn="t"/>
                      <a:r>
                        <a:rPr lang="en-GB" sz="900" b="1" i="0" u="none" strike="noStrike" dirty="0">
                          <a:solidFill>
                            <a:srgbClr val="000000"/>
                          </a:solidFill>
                          <a:effectLst/>
                          <a:latin typeface="+mj-lt"/>
                        </a:rPr>
                        <a:t>Intervention Area</a:t>
                      </a:r>
                    </a:p>
                  </a:txBody>
                  <a:tcPr marL="5501" marR="5501" marT="5501"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1" i="0" u="none" strike="noStrike" dirty="0">
                          <a:solidFill>
                            <a:srgbClr val="000000"/>
                          </a:solidFill>
                          <a:effectLst/>
                          <a:latin typeface="+mj-lt"/>
                        </a:rPr>
                        <a:t>Name of Implementing partner</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1" i="0" u="none" strike="noStrike" dirty="0">
                          <a:solidFill>
                            <a:srgbClr val="000000"/>
                          </a:solidFill>
                          <a:effectLst/>
                          <a:latin typeface="+mj-lt"/>
                        </a:rPr>
                        <a:t>Type of Institution</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1" i="0" u="none" strike="noStrike" dirty="0">
                          <a:solidFill>
                            <a:srgbClr val="000000"/>
                          </a:solidFill>
                          <a:effectLst/>
                          <a:latin typeface="+mj-lt"/>
                        </a:rPr>
                        <a:t>Current engagement (grantee, contractor, other partners)</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1" i="0" u="none" strike="noStrike" dirty="0">
                          <a:solidFill>
                            <a:srgbClr val="000000"/>
                          </a:solidFill>
                          <a:effectLst/>
                          <a:latin typeface="+mj-lt"/>
                        </a:rPr>
                        <a:t>Operational level (national, regional, international)</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1" i="0" u="none" strike="noStrike" dirty="0">
                          <a:solidFill>
                            <a:srgbClr val="000000"/>
                          </a:solidFill>
                          <a:effectLst/>
                          <a:latin typeface="+mj-lt"/>
                        </a:rPr>
                        <a:t>Location of HQ in Mali</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1" i="0" u="none" strike="noStrike" dirty="0">
                          <a:solidFill>
                            <a:srgbClr val="000000"/>
                          </a:solidFill>
                          <a:effectLst/>
                          <a:latin typeface="+mj-lt"/>
                        </a:rPr>
                        <a:t>Type of engagement (Off-taker/processor, input supplier, mechanization, quality/PHH, financing, etc</a:t>
                      </a:r>
                    </a:p>
                  </a:txBody>
                  <a:tcPr marL="5501" marR="5501" marT="5501"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4216373312"/>
                  </a:ext>
                </a:extLst>
              </a:tr>
              <a:tr h="409909">
                <a:tc>
                  <a:txBody>
                    <a:bodyPr/>
                    <a:lstStyle/>
                    <a:p>
                      <a:pPr algn="l" fontAlgn="t"/>
                      <a:r>
                        <a:rPr lang="en-US" sz="900" b="0" i="0" u="none" strike="noStrike" dirty="0">
                          <a:solidFill>
                            <a:srgbClr val="000000"/>
                          </a:solidFill>
                          <a:effectLst/>
                          <a:latin typeface="+mj-lt"/>
                        </a:rPr>
                        <a:t>Policy coordination, M&amp;E and Statistics, agricultural regulations, extension</a:t>
                      </a:r>
                    </a:p>
                  </a:txBody>
                  <a:tcPr marL="5501" marR="5501" marT="5501"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1" i="0" u="none" strike="noStrike" dirty="0">
                          <a:solidFill>
                            <a:srgbClr val="000000"/>
                          </a:solidFill>
                          <a:effectLst/>
                          <a:latin typeface="+mj-lt"/>
                        </a:rPr>
                        <a:t>Ministry of Agriculture</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1" i="0" u="none" strike="noStrike" dirty="0">
                          <a:solidFill>
                            <a:srgbClr val="000000"/>
                          </a:solidFill>
                          <a:effectLst/>
                          <a:latin typeface="+mj-lt"/>
                        </a:rPr>
                        <a:t>Public</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1" i="0" u="none" strike="noStrike" dirty="0">
                          <a:solidFill>
                            <a:srgbClr val="000000"/>
                          </a:solidFill>
                          <a:effectLst/>
                          <a:latin typeface="+mj-lt"/>
                        </a:rPr>
                        <a:t> </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National</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Bamako</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Agricultural policy</a:t>
                      </a:r>
                    </a:p>
                  </a:txBody>
                  <a:tcPr marL="5501" marR="5501" marT="5501"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975323669"/>
                  </a:ext>
                </a:extLst>
              </a:tr>
              <a:tr h="143278">
                <a:tc>
                  <a:txBody>
                    <a:bodyPr/>
                    <a:lstStyle/>
                    <a:p>
                      <a:pPr algn="l" fontAlgn="t"/>
                      <a:r>
                        <a:rPr lang="en-GB" sz="900" b="0" i="0" u="none" strike="noStrike" dirty="0">
                          <a:solidFill>
                            <a:srgbClr val="000000"/>
                          </a:solidFill>
                          <a:effectLst/>
                          <a:latin typeface="+mj-lt"/>
                        </a:rPr>
                        <a:t> </a:t>
                      </a:r>
                    </a:p>
                  </a:txBody>
                  <a:tcPr marL="5501" marR="5501" marT="5501"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1" i="0" u="none" strike="noStrike" dirty="0">
                          <a:solidFill>
                            <a:srgbClr val="000000"/>
                          </a:solidFill>
                          <a:effectLst/>
                          <a:latin typeface="+mj-lt"/>
                        </a:rPr>
                        <a:t>Consortium Koulikoro</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1" i="0" u="none" strike="noStrike" dirty="0">
                          <a:solidFill>
                            <a:srgbClr val="000000"/>
                          </a:solidFill>
                          <a:effectLst/>
                          <a:latin typeface="+mj-lt"/>
                        </a:rPr>
                        <a:t> </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1" i="0" u="none" strike="noStrike" dirty="0">
                          <a:solidFill>
                            <a:srgbClr val="000000"/>
                          </a:solidFill>
                          <a:effectLst/>
                          <a:latin typeface="+mj-lt"/>
                        </a:rPr>
                        <a:t> </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 </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 </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 </a:t>
                      </a:r>
                    </a:p>
                  </a:txBody>
                  <a:tcPr marL="5501" marR="5501" marT="5501"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449050928"/>
                  </a:ext>
                </a:extLst>
              </a:tr>
              <a:tr h="143278">
                <a:tc>
                  <a:txBody>
                    <a:bodyPr/>
                    <a:lstStyle/>
                    <a:p>
                      <a:pPr algn="l" fontAlgn="t"/>
                      <a:r>
                        <a:rPr lang="en-GB" sz="900" b="0" i="0" u="none" strike="noStrike" dirty="0">
                          <a:solidFill>
                            <a:srgbClr val="000000"/>
                          </a:solidFill>
                          <a:effectLst/>
                          <a:latin typeface="+mj-lt"/>
                        </a:rPr>
                        <a:t>Seed company </a:t>
                      </a:r>
                    </a:p>
                  </a:txBody>
                  <a:tcPr marL="5501" marR="5501" marT="5501"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FASO KABA</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1" i="0" u="none" strike="noStrike" dirty="0">
                          <a:solidFill>
                            <a:srgbClr val="000000"/>
                          </a:solidFill>
                          <a:effectLst/>
                          <a:latin typeface="+mj-lt"/>
                        </a:rPr>
                        <a:t>Private</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1" i="0" u="none" strike="noStrike" dirty="0">
                          <a:solidFill>
                            <a:srgbClr val="000000"/>
                          </a:solidFill>
                          <a:effectLst/>
                          <a:latin typeface="+mj-lt"/>
                        </a:rPr>
                        <a:t>Grantee</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Regional</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Bamako</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Seed supplier</a:t>
                      </a:r>
                    </a:p>
                  </a:txBody>
                  <a:tcPr marL="5501" marR="5501" marT="5501"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22367383"/>
                  </a:ext>
                </a:extLst>
              </a:tr>
              <a:tr h="143278">
                <a:tc>
                  <a:txBody>
                    <a:bodyPr/>
                    <a:lstStyle/>
                    <a:p>
                      <a:pPr algn="l" fontAlgn="t"/>
                      <a:r>
                        <a:rPr lang="en-GB" sz="900" b="0" i="0" u="none" strike="noStrike" dirty="0">
                          <a:solidFill>
                            <a:srgbClr val="000000"/>
                          </a:solidFill>
                          <a:effectLst/>
                          <a:latin typeface="+mj-lt"/>
                        </a:rPr>
                        <a:t>Seed company </a:t>
                      </a:r>
                    </a:p>
                  </a:txBody>
                  <a:tcPr marL="5501" marR="5501" marT="5501"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CAMARA SEMENCES</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1" i="0" u="none" strike="noStrike" dirty="0">
                          <a:solidFill>
                            <a:srgbClr val="000000"/>
                          </a:solidFill>
                          <a:effectLst/>
                          <a:latin typeface="+mj-lt"/>
                        </a:rPr>
                        <a:t>Private</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1" i="0" u="none" strike="noStrike" dirty="0">
                          <a:solidFill>
                            <a:srgbClr val="000000"/>
                          </a:solidFill>
                          <a:effectLst/>
                          <a:latin typeface="+mj-lt"/>
                        </a:rPr>
                        <a:t>Grantee</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Regional</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Bamako</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Seed supplier</a:t>
                      </a:r>
                    </a:p>
                  </a:txBody>
                  <a:tcPr marL="5501" marR="5501" marT="5501"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20681625"/>
                  </a:ext>
                </a:extLst>
              </a:tr>
              <a:tr h="176257">
                <a:tc>
                  <a:txBody>
                    <a:bodyPr/>
                    <a:lstStyle/>
                    <a:p>
                      <a:pPr algn="l" fontAlgn="t"/>
                      <a:r>
                        <a:rPr lang="en-GB" sz="900" b="0" i="0" u="none" strike="noStrike" dirty="0">
                          <a:solidFill>
                            <a:srgbClr val="000000"/>
                          </a:solidFill>
                          <a:effectLst/>
                          <a:latin typeface="+mj-lt"/>
                        </a:rPr>
                        <a:t>NGO / Market linkage</a:t>
                      </a:r>
                    </a:p>
                  </a:txBody>
                  <a:tcPr marL="5501" marR="5501" marT="5501"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AMASSA AFRIQUE VERTE</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1" i="0" u="none" strike="noStrike" dirty="0">
                          <a:solidFill>
                            <a:srgbClr val="000000"/>
                          </a:solidFill>
                          <a:effectLst/>
                          <a:latin typeface="+mj-lt"/>
                        </a:rPr>
                        <a:t>Private</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1" i="0" u="none" strike="noStrike" dirty="0">
                          <a:solidFill>
                            <a:srgbClr val="000000"/>
                          </a:solidFill>
                          <a:effectLst/>
                          <a:latin typeface="+mj-lt"/>
                        </a:rPr>
                        <a:t>Grantee</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National</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Bamako</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Quality, PHH, market linkage</a:t>
                      </a:r>
                    </a:p>
                  </a:txBody>
                  <a:tcPr marL="5501" marR="5501" marT="5501"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449569389"/>
                  </a:ext>
                </a:extLst>
              </a:tr>
              <a:tr h="143278">
                <a:tc>
                  <a:txBody>
                    <a:bodyPr/>
                    <a:lstStyle/>
                    <a:p>
                      <a:pPr algn="l" fontAlgn="t"/>
                      <a:r>
                        <a:rPr lang="en-GB" sz="900" b="0" i="0" u="none" strike="noStrike" dirty="0">
                          <a:solidFill>
                            <a:srgbClr val="000000"/>
                          </a:solidFill>
                          <a:effectLst/>
                          <a:latin typeface="+mj-lt"/>
                        </a:rPr>
                        <a:t>NGO / Extension</a:t>
                      </a:r>
                    </a:p>
                  </a:txBody>
                  <a:tcPr marL="5501" marR="5501" marT="5501"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AMDD</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1" i="0" u="none" strike="noStrike" dirty="0">
                          <a:solidFill>
                            <a:srgbClr val="000000"/>
                          </a:solidFill>
                          <a:effectLst/>
                          <a:latin typeface="+mj-lt"/>
                        </a:rPr>
                        <a:t>Private</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1" i="0" u="none" strike="noStrike" dirty="0">
                          <a:solidFill>
                            <a:srgbClr val="000000"/>
                          </a:solidFill>
                          <a:effectLst/>
                          <a:latin typeface="+mj-lt"/>
                        </a:rPr>
                        <a:t>Grantee</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Regional</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Bamako</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Extension</a:t>
                      </a:r>
                    </a:p>
                  </a:txBody>
                  <a:tcPr marL="5501" marR="5501" marT="5501"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474049765"/>
                  </a:ext>
                </a:extLst>
              </a:tr>
              <a:tr h="143278">
                <a:tc>
                  <a:txBody>
                    <a:bodyPr/>
                    <a:lstStyle/>
                    <a:p>
                      <a:pPr algn="l" fontAlgn="t"/>
                      <a:r>
                        <a:rPr lang="en-GB" sz="900" b="0" i="0" u="none" strike="noStrike" dirty="0">
                          <a:solidFill>
                            <a:srgbClr val="000000"/>
                          </a:solidFill>
                          <a:effectLst/>
                          <a:latin typeface="+mj-lt"/>
                        </a:rPr>
                        <a:t>NGO / Extension</a:t>
                      </a:r>
                    </a:p>
                  </a:txBody>
                  <a:tcPr marL="5501" marR="5501" marT="5501"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MISSION SAHEL</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1" i="0" u="none" strike="noStrike" dirty="0">
                          <a:solidFill>
                            <a:srgbClr val="000000"/>
                          </a:solidFill>
                          <a:effectLst/>
                          <a:latin typeface="+mj-lt"/>
                        </a:rPr>
                        <a:t>Private</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1" i="0" u="none" strike="noStrike" dirty="0">
                          <a:solidFill>
                            <a:srgbClr val="000000"/>
                          </a:solidFill>
                          <a:effectLst/>
                          <a:latin typeface="+mj-lt"/>
                        </a:rPr>
                        <a:t>Grantee</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Regional</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Bamako</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Extension</a:t>
                      </a:r>
                    </a:p>
                  </a:txBody>
                  <a:tcPr marL="5501" marR="5501" marT="5501"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993552965"/>
                  </a:ext>
                </a:extLst>
              </a:tr>
              <a:tr h="143278">
                <a:tc>
                  <a:txBody>
                    <a:bodyPr/>
                    <a:lstStyle/>
                    <a:p>
                      <a:pPr algn="l" fontAlgn="t"/>
                      <a:r>
                        <a:rPr lang="en-GB" sz="900" b="0" i="0" u="none" strike="noStrike" dirty="0">
                          <a:solidFill>
                            <a:srgbClr val="000000"/>
                          </a:solidFill>
                          <a:effectLst/>
                          <a:latin typeface="+mj-lt"/>
                        </a:rPr>
                        <a:t>NGO / AGRODEALER </a:t>
                      </a:r>
                    </a:p>
                  </a:txBody>
                  <a:tcPr marL="5501" marR="5501" marT="5501"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MALIMARK</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1" i="0" u="none" strike="noStrike" dirty="0">
                          <a:solidFill>
                            <a:srgbClr val="000000"/>
                          </a:solidFill>
                          <a:effectLst/>
                          <a:latin typeface="+mj-lt"/>
                        </a:rPr>
                        <a:t>Private</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1" i="0" u="none" strike="noStrike" dirty="0">
                          <a:solidFill>
                            <a:srgbClr val="000000"/>
                          </a:solidFill>
                          <a:effectLst/>
                          <a:latin typeface="+mj-lt"/>
                        </a:rPr>
                        <a:t>Grantee</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Regional</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Bamako</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Agro dealership</a:t>
                      </a:r>
                    </a:p>
                  </a:txBody>
                  <a:tcPr marL="5501" marR="5501" marT="5501"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100393120"/>
                  </a:ext>
                </a:extLst>
              </a:tr>
              <a:tr h="143278">
                <a:tc>
                  <a:txBody>
                    <a:bodyPr/>
                    <a:lstStyle/>
                    <a:p>
                      <a:pPr algn="l" fontAlgn="t"/>
                      <a:r>
                        <a:rPr lang="en-GB" sz="900" b="0" i="0" u="none" strike="noStrike" dirty="0">
                          <a:solidFill>
                            <a:srgbClr val="000000"/>
                          </a:solidFill>
                          <a:effectLst/>
                          <a:latin typeface="+mj-lt"/>
                        </a:rPr>
                        <a:t>Agricultural research</a:t>
                      </a:r>
                    </a:p>
                  </a:txBody>
                  <a:tcPr marL="5501" marR="5501" marT="5501"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IER</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Public</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1" i="0" u="none" strike="noStrike" dirty="0">
                          <a:solidFill>
                            <a:srgbClr val="000000"/>
                          </a:solidFill>
                          <a:effectLst/>
                          <a:latin typeface="+mj-lt"/>
                        </a:rPr>
                        <a:t>Grantee</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Regional</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Bamako</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Agricultural research</a:t>
                      </a:r>
                    </a:p>
                  </a:txBody>
                  <a:tcPr marL="5501" marR="5501" marT="5501"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522057132"/>
                  </a:ext>
                </a:extLst>
              </a:tr>
              <a:tr h="281565">
                <a:tc>
                  <a:txBody>
                    <a:bodyPr/>
                    <a:lstStyle/>
                    <a:p>
                      <a:pPr algn="l" fontAlgn="t"/>
                      <a:r>
                        <a:rPr lang="en-GB" sz="900" b="0" i="0" u="none" strike="noStrike" dirty="0">
                          <a:solidFill>
                            <a:srgbClr val="000000"/>
                          </a:solidFill>
                          <a:effectLst/>
                          <a:latin typeface="+mj-lt"/>
                        </a:rPr>
                        <a:t>Agricultural sector</a:t>
                      </a:r>
                    </a:p>
                  </a:txBody>
                  <a:tcPr marL="5501" marR="5501" marT="5501"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DNA</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Public</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1" i="0" u="none" strike="noStrike" dirty="0">
                          <a:solidFill>
                            <a:srgbClr val="000000"/>
                          </a:solidFill>
                          <a:effectLst/>
                          <a:latin typeface="+mj-lt"/>
                        </a:rPr>
                        <a:t>Grantee</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Regional</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 </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Facilitation, extension, policy regulations implementation </a:t>
                      </a:r>
                    </a:p>
                  </a:txBody>
                  <a:tcPr marL="5501" marR="5501" marT="5501"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926301204"/>
                  </a:ext>
                </a:extLst>
              </a:tr>
              <a:tr h="143278">
                <a:tc>
                  <a:txBody>
                    <a:bodyPr/>
                    <a:lstStyle/>
                    <a:p>
                      <a:pPr algn="l" fontAlgn="t"/>
                      <a:r>
                        <a:rPr lang="en-GB" sz="900" b="0" i="0" u="none" strike="noStrike" dirty="0">
                          <a:solidFill>
                            <a:srgbClr val="000000"/>
                          </a:solidFill>
                          <a:effectLst/>
                          <a:latin typeface="+mj-lt"/>
                        </a:rPr>
                        <a:t> </a:t>
                      </a:r>
                    </a:p>
                  </a:txBody>
                  <a:tcPr marL="5501" marR="5501" marT="5501"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1" i="0" u="none" strike="noStrike" dirty="0">
                          <a:solidFill>
                            <a:srgbClr val="000000"/>
                          </a:solidFill>
                          <a:effectLst/>
                          <a:latin typeface="+mj-lt"/>
                        </a:rPr>
                        <a:t>Consortium of Sikasso</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1" i="0" u="none" strike="noStrike" dirty="0">
                          <a:solidFill>
                            <a:srgbClr val="000000"/>
                          </a:solidFill>
                          <a:effectLst/>
                          <a:latin typeface="+mj-lt"/>
                        </a:rPr>
                        <a:t> </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1" i="0" u="none" strike="noStrike" dirty="0">
                          <a:solidFill>
                            <a:srgbClr val="000000"/>
                          </a:solidFill>
                          <a:effectLst/>
                          <a:latin typeface="+mj-lt"/>
                        </a:rPr>
                        <a:t> </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 </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 </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 </a:t>
                      </a:r>
                    </a:p>
                  </a:txBody>
                  <a:tcPr marL="5501" marR="5501" marT="5501"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4083963479"/>
                  </a:ext>
                </a:extLst>
              </a:tr>
              <a:tr h="143278">
                <a:tc>
                  <a:txBody>
                    <a:bodyPr/>
                    <a:lstStyle/>
                    <a:p>
                      <a:pPr algn="l" fontAlgn="t"/>
                      <a:r>
                        <a:rPr lang="en-GB" sz="900" b="0" i="0" u="none" strike="noStrike" dirty="0">
                          <a:solidFill>
                            <a:srgbClr val="000000"/>
                          </a:solidFill>
                          <a:effectLst/>
                          <a:latin typeface="+mj-lt"/>
                        </a:rPr>
                        <a:t>Seed company </a:t>
                      </a:r>
                    </a:p>
                  </a:txBody>
                  <a:tcPr marL="5501" marR="5501" marT="5501"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AGRIPLUS</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Private</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1" i="0" u="none" strike="noStrike" dirty="0">
                          <a:solidFill>
                            <a:srgbClr val="000000"/>
                          </a:solidFill>
                          <a:effectLst/>
                          <a:latin typeface="+mj-lt"/>
                        </a:rPr>
                        <a:t>Grantee</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Regional</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Sikasso</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Seed supplier</a:t>
                      </a:r>
                    </a:p>
                  </a:txBody>
                  <a:tcPr marL="5501" marR="5501" marT="5501"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407356531"/>
                  </a:ext>
                </a:extLst>
              </a:tr>
              <a:tr h="143278">
                <a:tc>
                  <a:txBody>
                    <a:bodyPr/>
                    <a:lstStyle/>
                    <a:p>
                      <a:pPr algn="l" fontAlgn="t"/>
                      <a:r>
                        <a:rPr lang="en-GB" sz="900" b="0" i="0" u="none" strike="noStrike" dirty="0">
                          <a:solidFill>
                            <a:srgbClr val="000000"/>
                          </a:solidFill>
                          <a:effectLst/>
                          <a:latin typeface="+mj-lt"/>
                        </a:rPr>
                        <a:t>Seed company </a:t>
                      </a:r>
                    </a:p>
                  </a:txBody>
                  <a:tcPr marL="5501" marR="5501" marT="5501"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SODIAF</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Private</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1" i="0" u="none" strike="noStrike" dirty="0">
                          <a:solidFill>
                            <a:srgbClr val="000000"/>
                          </a:solidFill>
                          <a:effectLst/>
                          <a:latin typeface="+mj-lt"/>
                        </a:rPr>
                        <a:t>Grantee</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Regional</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Sikasso</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Seed supplier</a:t>
                      </a:r>
                    </a:p>
                  </a:txBody>
                  <a:tcPr marL="5501" marR="5501" marT="5501"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573020749"/>
                  </a:ext>
                </a:extLst>
              </a:tr>
              <a:tr h="143278">
                <a:tc>
                  <a:txBody>
                    <a:bodyPr/>
                    <a:lstStyle/>
                    <a:p>
                      <a:pPr algn="l" fontAlgn="t"/>
                      <a:r>
                        <a:rPr lang="en-GB" sz="900" b="0" i="0" u="none" strike="noStrike" dirty="0">
                          <a:solidFill>
                            <a:srgbClr val="000000"/>
                          </a:solidFill>
                          <a:effectLst/>
                          <a:latin typeface="+mj-lt"/>
                        </a:rPr>
                        <a:t>Seed company </a:t>
                      </a:r>
                    </a:p>
                  </a:txBody>
                  <a:tcPr marL="5501" marR="5501" marT="5501"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SOPROSA</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Private</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1" i="0" u="none" strike="noStrike" dirty="0">
                          <a:solidFill>
                            <a:srgbClr val="000000"/>
                          </a:solidFill>
                          <a:effectLst/>
                          <a:latin typeface="+mj-lt"/>
                        </a:rPr>
                        <a:t>Grantee</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Regional</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Sikasso</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Seed supplier</a:t>
                      </a:r>
                    </a:p>
                  </a:txBody>
                  <a:tcPr marL="5501" marR="5501" marT="5501"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731261359"/>
                  </a:ext>
                </a:extLst>
              </a:tr>
              <a:tr h="143278">
                <a:tc>
                  <a:txBody>
                    <a:bodyPr/>
                    <a:lstStyle/>
                    <a:p>
                      <a:pPr algn="l" fontAlgn="t"/>
                      <a:r>
                        <a:rPr lang="en-GB" sz="900" b="0" i="0" u="none" strike="noStrike" dirty="0">
                          <a:solidFill>
                            <a:srgbClr val="000000"/>
                          </a:solidFill>
                          <a:effectLst/>
                          <a:latin typeface="+mj-lt"/>
                        </a:rPr>
                        <a:t>Seed company </a:t>
                      </a:r>
                    </a:p>
                  </a:txBody>
                  <a:tcPr marL="5501" marR="5501" marT="5501"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SOPROSEK</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Private</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1" i="0" u="none" strike="noStrike" dirty="0">
                          <a:solidFill>
                            <a:srgbClr val="000000"/>
                          </a:solidFill>
                          <a:effectLst/>
                          <a:latin typeface="+mj-lt"/>
                        </a:rPr>
                        <a:t>Grantee</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Regional</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Sikasso</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Seed supplier</a:t>
                      </a:r>
                    </a:p>
                  </a:txBody>
                  <a:tcPr marL="5501" marR="5501" marT="5501"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215458130"/>
                  </a:ext>
                </a:extLst>
              </a:tr>
              <a:tr h="143278">
                <a:tc>
                  <a:txBody>
                    <a:bodyPr/>
                    <a:lstStyle/>
                    <a:p>
                      <a:pPr algn="l" fontAlgn="t"/>
                      <a:r>
                        <a:rPr lang="en-GB" sz="900" b="0" i="0" u="none" strike="noStrike" dirty="0">
                          <a:solidFill>
                            <a:srgbClr val="000000"/>
                          </a:solidFill>
                          <a:effectLst/>
                          <a:latin typeface="+mj-lt"/>
                        </a:rPr>
                        <a:t>Seed company </a:t>
                      </a:r>
                    </a:p>
                  </a:txBody>
                  <a:tcPr marL="5501" marR="5501" marT="5501"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ZAMOHO</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Private</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1" i="0" u="none" strike="noStrike" dirty="0">
                          <a:solidFill>
                            <a:srgbClr val="000000"/>
                          </a:solidFill>
                          <a:effectLst/>
                          <a:latin typeface="+mj-lt"/>
                        </a:rPr>
                        <a:t>Grantee</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Regional</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Koutiala</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Seed supplier</a:t>
                      </a:r>
                    </a:p>
                  </a:txBody>
                  <a:tcPr marL="5501" marR="5501" marT="5501"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633175531"/>
                  </a:ext>
                </a:extLst>
              </a:tr>
              <a:tr h="143278">
                <a:tc>
                  <a:txBody>
                    <a:bodyPr/>
                    <a:lstStyle/>
                    <a:p>
                      <a:pPr algn="l" fontAlgn="t"/>
                      <a:r>
                        <a:rPr lang="en-GB" sz="900" b="0" i="0" u="none" strike="noStrike" dirty="0">
                          <a:solidFill>
                            <a:srgbClr val="000000"/>
                          </a:solidFill>
                          <a:effectLst/>
                          <a:latin typeface="+mj-lt"/>
                        </a:rPr>
                        <a:t>NGO / Market linkage</a:t>
                      </a:r>
                    </a:p>
                  </a:txBody>
                  <a:tcPr marL="5501" marR="5501" marT="5501"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AMASSA AFRIQUE VERTE</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Private</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1" i="0" u="none" strike="noStrike" dirty="0">
                          <a:solidFill>
                            <a:srgbClr val="000000"/>
                          </a:solidFill>
                          <a:effectLst/>
                          <a:latin typeface="+mj-lt"/>
                        </a:rPr>
                        <a:t>Grantee</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Regional</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 </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Quality, PHH, market linkage</a:t>
                      </a:r>
                    </a:p>
                  </a:txBody>
                  <a:tcPr marL="5501" marR="5501" marT="5501"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593846110"/>
                  </a:ext>
                </a:extLst>
              </a:tr>
              <a:tr h="143278">
                <a:tc>
                  <a:txBody>
                    <a:bodyPr/>
                    <a:lstStyle/>
                    <a:p>
                      <a:pPr algn="l" fontAlgn="t"/>
                      <a:r>
                        <a:rPr lang="en-GB" sz="900" b="0" i="0" u="none" strike="noStrike" dirty="0">
                          <a:solidFill>
                            <a:srgbClr val="000000"/>
                          </a:solidFill>
                          <a:effectLst/>
                          <a:latin typeface="+mj-lt"/>
                        </a:rPr>
                        <a:t>NGO / Extension</a:t>
                      </a:r>
                    </a:p>
                  </a:txBody>
                  <a:tcPr marL="5501" marR="5501" marT="5501"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EUCORD</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Private</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1" i="0" u="none" strike="noStrike" dirty="0">
                          <a:solidFill>
                            <a:srgbClr val="000000"/>
                          </a:solidFill>
                          <a:effectLst/>
                          <a:latin typeface="+mj-lt"/>
                        </a:rPr>
                        <a:t>Grantee</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Regional</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Bamako</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Extension</a:t>
                      </a:r>
                    </a:p>
                  </a:txBody>
                  <a:tcPr marL="5501" marR="5501" marT="5501"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331930416"/>
                  </a:ext>
                </a:extLst>
              </a:tr>
              <a:tr h="281565">
                <a:tc>
                  <a:txBody>
                    <a:bodyPr/>
                    <a:lstStyle/>
                    <a:p>
                      <a:pPr algn="l" fontAlgn="t"/>
                      <a:r>
                        <a:rPr lang="en-GB" sz="900" b="0" i="0" u="none" strike="noStrike" dirty="0">
                          <a:solidFill>
                            <a:srgbClr val="000000"/>
                          </a:solidFill>
                          <a:effectLst/>
                          <a:latin typeface="+mj-lt"/>
                        </a:rPr>
                        <a:t>NGO / Market &amp; Aggregation</a:t>
                      </a:r>
                    </a:p>
                  </a:txBody>
                  <a:tcPr marL="5501" marR="5501" marT="5501"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AMEDD</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Private</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1" i="0" u="none" strike="noStrike" dirty="0">
                          <a:solidFill>
                            <a:srgbClr val="000000"/>
                          </a:solidFill>
                          <a:effectLst/>
                          <a:latin typeface="+mj-lt"/>
                        </a:rPr>
                        <a:t>Grantee</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Regional</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Koutiala</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dirty="0">
                          <a:solidFill>
                            <a:srgbClr val="000000"/>
                          </a:solidFill>
                          <a:effectLst/>
                          <a:latin typeface="+mj-lt"/>
                        </a:rPr>
                        <a:t>Quality, PHH, aggregation, market linkage</a:t>
                      </a:r>
                    </a:p>
                  </a:txBody>
                  <a:tcPr marL="5501" marR="5501" marT="5501"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436021488"/>
                  </a:ext>
                </a:extLst>
              </a:tr>
              <a:tr h="281565">
                <a:tc>
                  <a:txBody>
                    <a:bodyPr/>
                    <a:lstStyle/>
                    <a:p>
                      <a:pPr algn="l" fontAlgn="t"/>
                      <a:r>
                        <a:rPr lang="en-GB" sz="900" b="0" i="0" u="none" strike="noStrike" dirty="0">
                          <a:solidFill>
                            <a:srgbClr val="000000"/>
                          </a:solidFill>
                          <a:effectLst/>
                          <a:latin typeface="+mj-lt"/>
                        </a:rPr>
                        <a:t>Agricultural sector</a:t>
                      </a:r>
                    </a:p>
                  </a:txBody>
                  <a:tcPr marL="5501" marR="5501" marT="5501"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DRA</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Public</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1" i="0" u="none" strike="noStrike" dirty="0">
                          <a:solidFill>
                            <a:srgbClr val="000000"/>
                          </a:solidFill>
                          <a:effectLst/>
                          <a:latin typeface="+mj-lt"/>
                        </a:rPr>
                        <a:t>Grantee</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Regional</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Sikasso</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Facilitation, extension, policy regulations implementation </a:t>
                      </a:r>
                    </a:p>
                  </a:txBody>
                  <a:tcPr marL="5501" marR="5501" marT="5501"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765621920"/>
                  </a:ext>
                </a:extLst>
              </a:tr>
              <a:tr h="143278">
                <a:tc>
                  <a:txBody>
                    <a:bodyPr/>
                    <a:lstStyle/>
                    <a:p>
                      <a:pPr algn="l" fontAlgn="t"/>
                      <a:r>
                        <a:rPr lang="en-GB" sz="900" b="0" i="0" u="none" strike="noStrike" dirty="0">
                          <a:solidFill>
                            <a:srgbClr val="000000"/>
                          </a:solidFill>
                          <a:effectLst/>
                          <a:latin typeface="+mj-lt"/>
                        </a:rPr>
                        <a:t>Public / Agricultural research</a:t>
                      </a:r>
                    </a:p>
                  </a:txBody>
                  <a:tcPr marL="5501" marR="5501" marT="5501"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IER</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Public</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1" i="0" u="none" strike="noStrike" dirty="0">
                          <a:solidFill>
                            <a:srgbClr val="000000"/>
                          </a:solidFill>
                          <a:effectLst/>
                          <a:latin typeface="+mj-lt"/>
                        </a:rPr>
                        <a:t>Grantee</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Regional</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 </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 </a:t>
                      </a:r>
                    </a:p>
                  </a:txBody>
                  <a:tcPr marL="5501" marR="5501" marT="5501"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305641664"/>
                  </a:ext>
                </a:extLst>
              </a:tr>
              <a:tr h="143278">
                <a:tc>
                  <a:txBody>
                    <a:bodyPr/>
                    <a:lstStyle/>
                    <a:p>
                      <a:pPr algn="l" fontAlgn="t"/>
                      <a:r>
                        <a:rPr lang="en-GB" sz="900" b="0" i="0" u="none" strike="noStrike" dirty="0">
                          <a:solidFill>
                            <a:srgbClr val="000000"/>
                          </a:solidFill>
                          <a:effectLst/>
                          <a:latin typeface="+mj-lt"/>
                        </a:rPr>
                        <a:t> </a:t>
                      </a:r>
                    </a:p>
                  </a:txBody>
                  <a:tcPr marL="5501" marR="5501" marT="5501"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1" i="0" u="none" strike="noStrike" dirty="0">
                          <a:solidFill>
                            <a:srgbClr val="000000"/>
                          </a:solidFill>
                          <a:effectLst/>
                          <a:latin typeface="+mj-lt"/>
                        </a:rPr>
                        <a:t>Consortium Segou</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1" i="0" u="none" strike="noStrike" dirty="0">
                          <a:solidFill>
                            <a:srgbClr val="000000"/>
                          </a:solidFill>
                          <a:effectLst/>
                          <a:latin typeface="+mj-lt"/>
                        </a:rPr>
                        <a:t> </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1" i="0" u="none" strike="noStrike" dirty="0">
                          <a:solidFill>
                            <a:srgbClr val="000000"/>
                          </a:solidFill>
                          <a:effectLst/>
                          <a:latin typeface="+mj-lt"/>
                        </a:rPr>
                        <a:t>Grantee</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 </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 </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 </a:t>
                      </a:r>
                    </a:p>
                  </a:txBody>
                  <a:tcPr marL="5501" marR="5501" marT="5501"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348556492"/>
                  </a:ext>
                </a:extLst>
              </a:tr>
              <a:tr h="143278">
                <a:tc>
                  <a:txBody>
                    <a:bodyPr/>
                    <a:lstStyle/>
                    <a:p>
                      <a:pPr algn="l" fontAlgn="t"/>
                      <a:r>
                        <a:rPr lang="en-GB" sz="900" b="0" i="0" u="none" strike="noStrike" dirty="0">
                          <a:solidFill>
                            <a:srgbClr val="000000"/>
                          </a:solidFill>
                          <a:effectLst/>
                          <a:latin typeface="+mj-lt"/>
                        </a:rPr>
                        <a:t>Seed company </a:t>
                      </a:r>
                    </a:p>
                  </a:txBody>
                  <a:tcPr marL="5501" marR="5501" marT="5501"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COMPTOIR 2000 SA</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Private</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1" i="0" u="none" strike="noStrike" dirty="0">
                          <a:solidFill>
                            <a:srgbClr val="000000"/>
                          </a:solidFill>
                          <a:effectLst/>
                          <a:latin typeface="+mj-lt"/>
                        </a:rPr>
                        <a:t>Grantee</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Regional</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Bamako</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Seed supplier</a:t>
                      </a:r>
                    </a:p>
                  </a:txBody>
                  <a:tcPr marL="5501" marR="5501" marT="5501"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668301182"/>
                  </a:ext>
                </a:extLst>
              </a:tr>
              <a:tr h="143278">
                <a:tc>
                  <a:txBody>
                    <a:bodyPr/>
                    <a:lstStyle/>
                    <a:p>
                      <a:pPr algn="l" fontAlgn="t"/>
                      <a:r>
                        <a:rPr lang="en-GB" sz="900" b="0" i="0" u="none" strike="noStrike" dirty="0">
                          <a:solidFill>
                            <a:srgbClr val="000000"/>
                          </a:solidFill>
                          <a:effectLst/>
                          <a:latin typeface="+mj-lt"/>
                        </a:rPr>
                        <a:t>Seed company</a:t>
                      </a:r>
                    </a:p>
                  </a:txBody>
                  <a:tcPr marL="5501" marR="5501" marT="5501"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DOUN KA FA</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Private</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1" i="0" u="none" strike="noStrike" dirty="0">
                          <a:solidFill>
                            <a:srgbClr val="000000"/>
                          </a:solidFill>
                          <a:effectLst/>
                          <a:latin typeface="+mj-lt"/>
                        </a:rPr>
                        <a:t>Grantee</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Regional</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Bamako</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Seed supplier</a:t>
                      </a:r>
                    </a:p>
                  </a:txBody>
                  <a:tcPr marL="5501" marR="5501" marT="5501"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986693591"/>
                  </a:ext>
                </a:extLst>
              </a:tr>
              <a:tr h="143278">
                <a:tc>
                  <a:txBody>
                    <a:bodyPr/>
                    <a:lstStyle/>
                    <a:p>
                      <a:pPr algn="l" fontAlgn="t"/>
                      <a:r>
                        <a:rPr lang="en-GB" sz="900" b="0" i="0" u="none" strike="noStrike" dirty="0">
                          <a:solidFill>
                            <a:srgbClr val="000000"/>
                          </a:solidFill>
                          <a:effectLst/>
                          <a:latin typeface="+mj-lt"/>
                        </a:rPr>
                        <a:t>NGO / Market</a:t>
                      </a:r>
                    </a:p>
                  </a:txBody>
                  <a:tcPr marL="5501" marR="5501" marT="5501"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AMASSA AFRIQUE VERTE</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Private</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1" i="0" u="none" strike="noStrike" dirty="0">
                          <a:solidFill>
                            <a:srgbClr val="000000"/>
                          </a:solidFill>
                          <a:effectLst/>
                          <a:latin typeface="+mj-lt"/>
                        </a:rPr>
                        <a:t>Grantee</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Regional</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 </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Quality, PHH, market linkage</a:t>
                      </a:r>
                    </a:p>
                  </a:txBody>
                  <a:tcPr marL="5501" marR="5501" marT="5501"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713559176"/>
                  </a:ext>
                </a:extLst>
              </a:tr>
              <a:tr h="143278">
                <a:tc>
                  <a:txBody>
                    <a:bodyPr/>
                    <a:lstStyle/>
                    <a:p>
                      <a:pPr algn="l" fontAlgn="t"/>
                      <a:r>
                        <a:rPr lang="en-GB" sz="900" b="0" i="0" u="none" strike="noStrike" dirty="0">
                          <a:solidFill>
                            <a:srgbClr val="000000"/>
                          </a:solidFill>
                          <a:effectLst/>
                          <a:latin typeface="+mj-lt"/>
                        </a:rPr>
                        <a:t>Apex FO / Extension</a:t>
                      </a:r>
                    </a:p>
                  </a:txBody>
                  <a:tcPr marL="5501" marR="5501" marT="5501"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FASO JIGI</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Private</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1" i="0" u="none" strike="noStrike" dirty="0">
                          <a:solidFill>
                            <a:srgbClr val="000000"/>
                          </a:solidFill>
                          <a:effectLst/>
                          <a:latin typeface="+mj-lt"/>
                        </a:rPr>
                        <a:t>Grantee</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Regional</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Segou</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Extension</a:t>
                      </a:r>
                    </a:p>
                  </a:txBody>
                  <a:tcPr marL="5501" marR="5501" marT="5501"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021676687"/>
                  </a:ext>
                </a:extLst>
              </a:tr>
              <a:tr h="143278">
                <a:tc>
                  <a:txBody>
                    <a:bodyPr/>
                    <a:lstStyle/>
                    <a:p>
                      <a:pPr algn="l" fontAlgn="t"/>
                      <a:r>
                        <a:rPr lang="en-GB" sz="900" b="0" i="0" u="none" strike="noStrike" dirty="0">
                          <a:solidFill>
                            <a:srgbClr val="000000"/>
                          </a:solidFill>
                          <a:effectLst/>
                          <a:latin typeface="+mj-lt"/>
                        </a:rPr>
                        <a:t>NGO / AGRODEALER </a:t>
                      </a:r>
                    </a:p>
                  </a:txBody>
                  <a:tcPr marL="5501" marR="5501" marT="5501"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MALI MARK</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Private</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1" i="0" u="none" strike="noStrike" dirty="0">
                          <a:solidFill>
                            <a:srgbClr val="000000"/>
                          </a:solidFill>
                          <a:effectLst/>
                          <a:latin typeface="+mj-lt"/>
                        </a:rPr>
                        <a:t>Grantee</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Regional</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 </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Agro dealership</a:t>
                      </a:r>
                    </a:p>
                  </a:txBody>
                  <a:tcPr marL="5501" marR="5501" marT="5501"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33974383"/>
                  </a:ext>
                </a:extLst>
              </a:tr>
              <a:tr h="143278">
                <a:tc>
                  <a:txBody>
                    <a:bodyPr/>
                    <a:lstStyle/>
                    <a:p>
                      <a:pPr algn="l" fontAlgn="t"/>
                      <a:r>
                        <a:rPr lang="en-GB" sz="900" b="0" i="0" u="none" strike="noStrike" dirty="0">
                          <a:solidFill>
                            <a:srgbClr val="000000"/>
                          </a:solidFill>
                          <a:effectLst/>
                          <a:latin typeface="+mj-lt"/>
                        </a:rPr>
                        <a:t>Agricultural research</a:t>
                      </a:r>
                    </a:p>
                  </a:txBody>
                  <a:tcPr marL="5501" marR="5501" marT="5501"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IER</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Public</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1" i="0" u="none" strike="noStrike" dirty="0">
                          <a:solidFill>
                            <a:srgbClr val="000000"/>
                          </a:solidFill>
                          <a:effectLst/>
                          <a:latin typeface="+mj-lt"/>
                        </a:rPr>
                        <a:t>Grantee</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Regional</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 </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Agricultural research</a:t>
                      </a:r>
                    </a:p>
                  </a:txBody>
                  <a:tcPr marL="5501" marR="5501" marT="5501"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896191550"/>
                  </a:ext>
                </a:extLst>
              </a:tr>
              <a:tr h="281565">
                <a:tc>
                  <a:txBody>
                    <a:bodyPr/>
                    <a:lstStyle/>
                    <a:p>
                      <a:pPr algn="l" fontAlgn="t"/>
                      <a:r>
                        <a:rPr lang="en-GB" sz="900" b="0" i="0" u="none" strike="noStrike" dirty="0">
                          <a:solidFill>
                            <a:srgbClr val="000000"/>
                          </a:solidFill>
                          <a:effectLst/>
                          <a:latin typeface="+mj-lt"/>
                        </a:rPr>
                        <a:t>Agricultural sector</a:t>
                      </a:r>
                    </a:p>
                  </a:txBody>
                  <a:tcPr marL="5501" marR="5501" marT="5501"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DNA</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Public</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t"/>
                      <a:r>
                        <a:rPr lang="en-GB" sz="900" b="1" i="0" u="none" strike="noStrike" dirty="0">
                          <a:solidFill>
                            <a:srgbClr val="000000"/>
                          </a:solidFill>
                          <a:effectLst/>
                          <a:latin typeface="+mj-lt"/>
                        </a:rPr>
                        <a:t>Grantee</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Regional</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 </a:t>
                      </a:r>
                    </a:p>
                  </a:txBody>
                  <a:tcPr marL="5501" marR="5501" marT="55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t"/>
                      <a:r>
                        <a:rPr lang="en-GB" sz="900" b="0" i="0" u="none" strike="noStrike" dirty="0">
                          <a:solidFill>
                            <a:srgbClr val="000000"/>
                          </a:solidFill>
                          <a:effectLst/>
                          <a:latin typeface="+mj-lt"/>
                        </a:rPr>
                        <a:t>Facilitation, extension, policy regulations implementation </a:t>
                      </a:r>
                    </a:p>
                  </a:txBody>
                  <a:tcPr marL="5501" marR="5501" marT="5501"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020000304"/>
                  </a:ext>
                </a:extLst>
              </a:tr>
            </a:tbl>
          </a:graphicData>
        </a:graphic>
      </p:graphicFrame>
    </p:spTree>
    <p:extLst>
      <p:ext uri="{BB962C8B-B14F-4D97-AF65-F5344CB8AC3E}">
        <p14:creationId xmlns:p14="http://schemas.microsoft.com/office/powerpoint/2010/main" val="21700977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txBox="1">
            <a:spLocks/>
          </p:cNvSpPr>
          <p:nvPr>
            <p:custDataLst>
              <p:tags r:id="rId2"/>
            </p:custDataLst>
          </p:nvPr>
        </p:nvSpPr>
        <p:spPr>
          <a:xfrm>
            <a:off x="4625848" y="775617"/>
            <a:ext cx="1460918" cy="1382745"/>
          </a:xfrm>
          <a:prstGeom prst="rect">
            <a:avLst/>
          </a:prstGeom>
          <a:solidFill>
            <a:schemeClr val="bg1"/>
          </a:solidFill>
          <a:ln w="9525">
            <a:solidFill>
              <a:schemeClr val="accent6"/>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buFontTx/>
              <a:buNone/>
            </a:pPr>
            <a:endParaRPr lang="en-US" sz="1600" kern="1200" dirty="0">
              <a:ea typeface="+mn-ea"/>
              <a:cs typeface="+mn-cs"/>
            </a:endParaRPr>
          </a:p>
        </p:txBody>
      </p:sp>
      <p:sp>
        <p:nvSpPr>
          <p:cNvPr id="21" name="Isosceles Triangle 20"/>
          <p:cNvSpPr>
            <a:spLocks/>
          </p:cNvSpPr>
          <p:nvPr/>
        </p:nvSpPr>
        <p:spPr>
          <a:xfrm>
            <a:off x="3429864" y="1866425"/>
            <a:ext cx="2002531" cy="507960"/>
          </a:xfrm>
          <a:prstGeom prst="triangle">
            <a:avLst>
              <a:gd name="adj" fmla="val 82342"/>
            </a:avLst>
          </a:prstGeom>
          <a:gradFill>
            <a:gsLst>
              <a:gs pos="100000">
                <a:schemeClr val="bg1"/>
              </a:gs>
              <a:gs pos="16000">
                <a:schemeClr val="accent1"/>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600" kern="1200" dirty="0">
              <a:solidFill>
                <a:srgbClr val="000000"/>
              </a:solidFill>
            </a:endParaRPr>
          </a:p>
        </p:txBody>
      </p:sp>
      <p:graphicFrame>
        <p:nvGraphicFramePr>
          <p:cNvPr id="9" name="Object 8" hidden="1"/>
          <p:cNvGraphicFramePr>
            <a:graphicFrameLocks noChangeAspect="1"/>
          </p:cNvGraphicFramePr>
          <p:nvPr>
            <p:custDataLst>
              <p:tags r:id="rId3"/>
            </p:custDataLst>
          </p:nvPr>
        </p:nvGraphicFramePr>
        <p:xfrm>
          <a:off x="382589" y="1589"/>
          <a:ext cx="1587" cy="1587"/>
        </p:xfrm>
        <a:graphic>
          <a:graphicData uri="http://schemas.openxmlformats.org/presentationml/2006/ole">
            <mc:AlternateContent xmlns:mc="http://schemas.openxmlformats.org/markup-compatibility/2006">
              <mc:Choice xmlns:v="urn:schemas-microsoft-com:vml" Requires="v">
                <p:oleObj spid="_x0000_s145423" name="think-cell Slide" r:id="rId32" imgW="360" imgH="360" progId="TCLayout.ActiveDocument.1">
                  <p:embed/>
                </p:oleObj>
              </mc:Choice>
              <mc:Fallback>
                <p:oleObj name="think-cell Slide" r:id="rId32" imgW="360" imgH="360" progId="TCLayout.ActiveDocument.1">
                  <p:embed/>
                  <p:pic>
                    <p:nvPicPr>
                      <p:cNvPr id="9" name="Object 8" hidden="1"/>
                      <p:cNvPicPr/>
                      <p:nvPr/>
                    </p:nvPicPr>
                    <p:blipFill>
                      <a:blip r:embed="rId33"/>
                      <a:stretch>
                        <a:fillRect/>
                      </a:stretch>
                    </p:blipFill>
                    <p:spPr>
                      <a:xfrm>
                        <a:off x="382589" y="1589"/>
                        <a:ext cx="1587" cy="1587"/>
                      </a:xfrm>
                      <a:prstGeom prst="rect">
                        <a:avLst/>
                      </a:prstGeom>
                    </p:spPr>
                  </p:pic>
                </p:oleObj>
              </mc:Fallback>
            </mc:AlternateContent>
          </a:graphicData>
        </a:graphic>
      </p:graphicFrame>
      <p:grpSp>
        <p:nvGrpSpPr>
          <p:cNvPr id="84" name="Group 83"/>
          <p:cNvGrpSpPr>
            <a:grpSpLocks/>
          </p:cNvGrpSpPr>
          <p:nvPr/>
        </p:nvGrpSpPr>
        <p:grpSpPr>
          <a:xfrm>
            <a:off x="3455719" y="2336761"/>
            <a:ext cx="2538789" cy="2722870"/>
            <a:chOff x="558800" y="4343400"/>
            <a:chExt cx="1576388" cy="1690688"/>
          </a:xfrm>
          <a:solidFill>
            <a:schemeClr val="bg1"/>
          </a:solidFill>
        </p:grpSpPr>
        <p:sp>
          <p:nvSpPr>
            <p:cNvPr id="88" name="Freeform 60"/>
            <p:cNvSpPr>
              <a:spLocks/>
            </p:cNvSpPr>
            <p:nvPr/>
          </p:nvSpPr>
          <p:spPr bwMode="auto">
            <a:xfrm>
              <a:off x="558800" y="4362450"/>
              <a:ext cx="965200" cy="1270000"/>
            </a:xfrm>
            <a:custGeom>
              <a:avLst/>
              <a:gdLst>
                <a:gd name="T0" fmla="*/ 66 w 608"/>
                <a:gd name="T1" fmla="*/ 0 h 800"/>
                <a:gd name="T2" fmla="*/ 163 w 608"/>
                <a:gd name="T3" fmla="*/ 0 h 800"/>
                <a:gd name="T4" fmla="*/ 241 w 608"/>
                <a:gd name="T5" fmla="*/ 0 h 800"/>
                <a:gd name="T6" fmla="*/ 343 w 608"/>
                <a:gd name="T7" fmla="*/ 0 h 800"/>
                <a:gd name="T8" fmla="*/ 446 w 608"/>
                <a:gd name="T9" fmla="*/ 0 h 800"/>
                <a:gd name="T10" fmla="*/ 542 w 608"/>
                <a:gd name="T11" fmla="*/ 0 h 800"/>
                <a:gd name="T12" fmla="*/ 524 w 608"/>
                <a:gd name="T13" fmla="*/ 169 h 800"/>
                <a:gd name="T14" fmla="*/ 482 w 608"/>
                <a:gd name="T15" fmla="*/ 211 h 800"/>
                <a:gd name="T16" fmla="*/ 452 w 608"/>
                <a:gd name="T17" fmla="*/ 391 h 800"/>
                <a:gd name="T18" fmla="*/ 434 w 608"/>
                <a:gd name="T19" fmla="*/ 421 h 800"/>
                <a:gd name="T20" fmla="*/ 409 w 608"/>
                <a:gd name="T21" fmla="*/ 451 h 800"/>
                <a:gd name="T22" fmla="*/ 428 w 608"/>
                <a:gd name="T23" fmla="*/ 511 h 800"/>
                <a:gd name="T24" fmla="*/ 482 w 608"/>
                <a:gd name="T25" fmla="*/ 535 h 800"/>
                <a:gd name="T26" fmla="*/ 524 w 608"/>
                <a:gd name="T27" fmla="*/ 560 h 800"/>
                <a:gd name="T28" fmla="*/ 548 w 608"/>
                <a:gd name="T29" fmla="*/ 584 h 800"/>
                <a:gd name="T30" fmla="*/ 560 w 608"/>
                <a:gd name="T31" fmla="*/ 614 h 800"/>
                <a:gd name="T32" fmla="*/ 596 w 608"/>
                <a:gd name="T33" fmla="*/ 632 h 800"/>
                <a:gd name="T34" fmla="*/ 596 w 608"/>
                <a:gd name="T35" fmla="*/ 662 h 800"/>
                <a:gd name="T36" fmla="*/ 542 w 608"/>
                <a:gd name="T37" fmla="*/ 674 h 800"/>
                <a:gd name="T38" fmla="*/ 530 w 608"/>
                <a:gd name="T39" fmla="*/ 710 h 800"/>
                <a:gd name="T40" fmla="*/ 506 w 608"/>
                <a:gd name="T41" fmla="*/ 752 h 800"/>
                <a:gd name="T42" fmla="*/ 494 w 608"/>
                <a:gd name="T43" fmla="*/ 746 h 800"/>
                <a:gd name="T44" fmla="*/ 440 w 608"/>
                <a:gd name="T45" fmla="*/ 728 h 800"/>
                <a:gd name="T46" fmla="*/ 391 w 608"/>
                <a:gd name="T47" fmla="*/ 698 h 800"/>
                <a:gd name="T48" fmla="*/ 385 w 608"/>
                <a:gd name="T49" fmla="*/ 674 h 800"/>
                <a:gd name="T50" fmla="*/ 391 w 608"/>
                <a:gd name="T51" fmla="*/ 650 h 800"/>
                <a:gd name="T52" fmla="*/ 379 w 608"/>
                <a:gd name="T53" fmla="*/ 620 h 800"/>
                <a:gd name="T54" fmla="*/ 373 w 608"/>
                <a:gd name="T55" fmla="*/ 614 h 800"/>
                <a:gd name="T56" fmla="*/ 355 w 608"/>
                <a:gd name="T57" fmla="*/ 644 h 800"/>
                <a:gd name="T58" fmla="*/ 331 w 608"/>
                <a:gd name="T59" fmla="*/ 656 h 800"/>
                <a:gd name="T60" fmla="*/ 307 w 608"/>
                <a:gd name="T61" fmla="*/ 674 h 800"/>
                <a:gd name="T62" fmla="*/ 289 w 608"/>
                <a:gd name="T63" fmla="*/ 704 h 800"/>
                <a:gd name="T64" fmla="*/ 223 w 608"/>
                <a:gd name="T65" fmla="*/ 734 h 800"/>
                <a:gd name="T66" fmla="*/ 121 w 608"/>
                <a:gd name="T67" fmla="*/ 770 h 800"/>
                <a:gd name="T68" fmla="*/ 115 w 608"/>
                <a:gd name="T69" fmla="*/ 794 h 800"/>
                <a:gd name="T70" fmla="*/ 91 w 608"/>
                <a:gd name="T71" fmla="*/ 794 h 800"/>
                <a:gd name="T72" fmla="*/ 66 w 608"/>
                <a:gd name="T73" fmla="*/ 764 h 800"/>
                <a:gd name="T74" fmla="*/ 66 w 608"/>
                <a:gd name="T75" fmla="*/ 704 h 800"/>
                <a:gd name="T76" fmla="*/ 42 w 608"/>
                <a:gd name="T77" fmla="*/ 680 h 800"/>
                <a:gd name="T78" fmla="*/ 36 w 608"/>
                <a:gd name="T79" fmla="*/ 656 h 800"/>
                <a:gd name="T80" fmla="*/ 30 w 608"/>
                <a:gd name="T81" fmla="*/ 626 h 800"/>
                <a:gd name="T82" fmla="*/ 42 w 608"/>
                <a:gd name="T83" fmla="*/ 590 h 800"/>
                <a:gd name="T84" fmla="*/ 66 w 608"/>
                <a:gd name="T85" fmla="*/ 572 h 800"/>
                <a:gd name="T86" fmla="*/ 91 w 608"/>
                <a:gd name="T87" fmla="*/ 542 h 800"/>
                <a:gd name="T88" fmla="*/ 97 w 608"/>
                <a:gd name="T89" fmla="*/ 517 h 800"/>
                <a:gd name="T90" fmla="*/ 109 w 608"/>
                <a:gd name="T91" fmla="*/ 487 h 800"/>
                <a:gd name="T92" fmla="*/ 109 w 608"/>
                <a:gd name="T93" fmla="*/ 451 h 800"/>
                <a:gd name="T94" fmla="*/ 121 w 608"/>
                <a:gd name="T95" fmla="*/ 415 h 800"/>
                <a:gd name="T96" fmla="*/ 115 w 608"/>
                <a:gd name="T97" fmla="*/ 385 h 800"/>
                <a:gd name="T98" fmla="*/ 115 w 608"/>
                <a:gd name="T99" fmla="*/ 349 h 800"/>
                <a:gd name="T100" fmla="*/ 133 w 608"/>
                <a:gd name="T101" fmla="*/ 325 h 800"/>
                <a:gd name="T102" fmla="*/ 103 w 608"/>
                <a:gd name="T103" fmla="*/ 307 h 800"/>
                <a:gd name="T104" fmla="*/ 103 w 608"/>
                <a:gd name="T105" fmla="*/ 331 h 800"/>
                <a:gd name="T106" fmla="*/ 72 w 608"/>
                <a:gd name="T107" fmla="*/ 319 h 800"/>
                <a:gd name="T108" fmla="*/ 54 w 608"/>
                <a:gd name="T109" fmla="*/ 301 h 800"/>
                <a:gd name="T110" fmla="*/ 66 w 608"/>
                <a:gd name="T111" fmla="*/ 277 h 800"/>
                <a:gd name="T112" fmla="*/ 60 w 608"/>
                <a:gd name="T113" fmla="*/ 241 h 800"/>
                <a:gd name="T114" fmla="*/ 115 w 608"/>
                <a:gd name="T115" fmla="*/ 217 h 800"/>
                <a:gd name="T116" fmla="*/ 175 w 608"/>
                <a:gd name="T117" fmla="*/ 235 h 800"/>
                <a:gd name="T118" fmla="*/ 151 w 608"/>
                <a:gd name="T119" fmla="*/ 175 h 800"/>
                <a:gd name="T120" fmla="*/ 72 w 608"/>
                <a:gd name="T121" fmla="*/ 91 h 800"/>
                <a:gd name="T122" fmla="*/ 0 w 608"/>
                <a:gd name="T123" fmla="*/ 6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8" h="800">
                  <a:moveTo>
                    <a:pt x="0" y="0"/>
                  </a:moveTo>
                  <a:lnTo>
                    <a:pt x="18" y="0"/>
                  </a:lnTo>
                  <a:lnTo>
                    <a:pt x="24" y="0"/>
                  </a:lnTo>
                  <a:lnTo>
                    <a:pt x="30" y="0"/>
                  </a:lnTo>
                  <a:lnTo>
                    <a:pt x="42" y="0"/>
                  </a:lnTo>
                  <a:lnTo>
                    <a:pt x="48" y="0"/>
                  </a:lnTo>
                  <a:lnTo>
                    <a:pt x="54" y="0"/>
                  </a:lnTo>
                  <a:lnTo>
                    <a:pt x="66" y="0"/>
                  </a:lnTo>
                  <a:lnTo>
                    <a:pt x="91" y="0"/>
                  </a:lnTo>
                  <a:lnTo>
                    <a:pt x="103" y="0"/>
                  </a:lnTo>
                  <a:lnTo>
                    <a:pt x="115" y="0"/>
                  </a:lnTo>
                  <a:lnTo>
                    <a:pt x="133" y="0"/>
                  </a:lnTo>
                  <a:lnTo>
                    <a:pt x="139" y="0"/>
                  </a:lnTo>
                  <a:lnTo>
                    <a:pt x="145" y="0"/>
                  </a:lnTo>
                  <a:lnTo>
                    <a:pt x="151" y="0"/>
                  </a:lnTo>
                  <a:lnTo>
                    <a:pt x="163" y="0"/>
                  </a:lnTo>
                  <a:lnTo>
                    <a:pt x="169" y="0"/>
                  </a:lnTo>
                  <a:lnTo>
                    <a:pt x="193" y="0"/>
                  </a:lnTo>
                  <a:lnTo>
                    <a:pt x="199" y="0"/>
                  </a:lnTo>
                  <a:lnTo>
                    <a:pt x="205" y="0"/>
                  </a:lnTo>
                  <a:lnTo>
                    <a:pt x="217" y="0"/>
                  </a:lnTo>
                  <a:lnTo>
                    <a:pt x="223" y="0"/>
                  </a:lnTo>
                  <a:lnTo>
                    <a:pt x="235" y="0"/>
                  </a:lnTo>
                  <a:lnTo>
                    <a:pt x="241" y="0"/>
                  </a:lnTo>
                  <a:lnTo>
                    <a:pt x="259" y="0"/>
                  </a:lnTo>
                  <a:lnTo>
                    <a:pt x="271" y="0"/>
                  </a:lnTo>
                  <a:lnTo>
                    <a:pt x="277" y="0"/>
                  </a:lnTo>
                  <a:lnTo>
                    <a:pt x="283" y="0"/>
                  </a:lnTo>
                  <a:lnTo>
                    <a:pt x="289" y="0"/>
                  </a:lnTo>
                  <a:lnTo>
                    <a:pt x="295" y="0"/>
                  </a:lnTo>
                  <a:lnTo>
                    <a:pt x="319" y="0"/>
                  </a:lnTo>
                  <a:lnTo>
                    <a:pt x="343" y="0"/>
                  </a:lnTo>
                  <a:lnTo>
                    <a:pt x="355" y="0"/>
                  </a:lnTo>
                  <a:lnTo>
                    <a:pt x="367" y="0"/>
                  </a:lnTo>
                  <a:lnTo>
                    <a:pt x="379" y="0"/>
                  </a:lnTo>
                  <a:lnTo>
                    <a:pt x="385" y="0"/>
                  </a:lnTo>
                  <a:lnTo>
                    <a:pt x="391" y="0"/>
                  </a:lnTo>
                  <a:lnTo>
                    <a:pt x="416" y="0"/>
                  </a:lnTo>
                  <a:lnTo>
                    <a:pt x="428" y="0"/>
                  </a:lnTo>
                  <a:lnTo>
                    <a:pt x="446" y="0"/>
                  </a:lnTo>
                  <a:lnTo>
                    <a:pt x="458" y="0"/>
                  </a:lnTo>
                  <a:lnTo>
                    <a:pt x="464" y="0"/>
                  </a:lnTo>
                  <a:lnTo>
                    <a:pt x="470" y="0"/>
                  </a:lnTo>
                  <a:lnTo>
                    <a:pt x="476" y="0"/>
                  </a:lnTo>
                  <a:lnTo>
                    <a:pt x="494" y="0"/>
                  </a:lnTo>
                  <a:lnTo>
                    <a:pt x="518" y="0"/>
                  </a:lnTo>
                  <a:lnTo>
                    <a:pt x="530" y="0"/>
                  </a:lnTo>
                  <a:lnTo>
                    <a:pt x="542" y="0"/>
                  </a:lnTo>
                  <a:lnTo>
                    <a:pt x="536" y="24"/>
                  </a:lnTo>
                  <a:lnTo>
                    <a:pt x="524" y="66"/>
                  </a:lnTo>
                  <a:lnTo>
                    <a:pt x="518" y="72"/>
                  </a:lnTo>
                  <a:lnTo>
                    <a:pt x="500" y="97"/>
                  </a:lnTo>
                  <a:lnTo>
                    <a:pt x="500" y="109"/>
                  </a:lnTo>
                  <a:lnTo>
                    <a:pt x="512" y="127"/>
                  </a:lnTo>
                  <a:lnTo>
                    <a:pt x="518" y="145"/>
                  </a:lnTo>
                  <a:lnTo>
                    <a:pt x="524" y="169"/>
                  </a:lnTo>
                  <a:lnTo>
                    <a:pt x="530" y="175"/>
                  </a:lnTo>
                  <a:lnTo>
                    <a:pt x="530" y="193"/>
                  </a:lnTo>
                  <a:lnTo>
                    <a:pt x="524" y="199"/>
                  </a:lnTo>
                  <a:lnTo>
                    <a:pt x="518" y="205"/>
                  </a:lnTo>
                  <a:lnTo>
                    <a:pt x="512" y="211"/>
                  </a:lnTo>
                  <a:lnTo>
                    <a:pt x="488" y="205"/>
                  </a:lnTo>
                  <a:lnTo>
                    <a:pt x="482" y="205"/>
                  </a:lnTo>
                  <a:lnTo>
                    <a:pt x="482" y="211"/>
                  </a:lnTo>
                  <a:lnTo>
                    <a:pt x="464" y="235"/>
                  </a:lnTo>
                  <a:lnTo>
                    <a:pt x="458" y="247"/>
                  </a:lnTo>
                  <a:lnTo>
                    <a:pt x="428" y="295"/>
                  </a:lnTo>
                  <a:lnTo>
                    <a:pt x="428" y="331"/>
                  </a:lnTo>
                  <a:lnTo>
                    <a:pt x="428" y="349"/>
                  </a:lnTo>
                  <a:lnTo>
                    <a:pt x="440" y="361"/>
                  </a:lnTo>
                  <a:lnTo>
                    <a:pt x="452" y="373"/>
                  </a:lnTo>
                  <a:lnTo>
                    <a:pt x="452" y="391"/>
                  </a:lnTo>
                  <a:lnTo>
                    <a:pt x="458" y="397"/>
                  </a:lnTo>
                  <a:lnTo>
                    <a:pt x="464" y="403"/>
                  </a:lnTo>
                  <a:lnTo>
                    <a:pt x="458" y="421"/>
                  </a:lnTo>
                  <a:lnTo>
                    <a:pt x="452" y="421"/>
                  </a:lnTo>
                  <a:lnTo>
                    <a:pt x="446" y="427"/>
                  </a:lnTo>
                  <a:lnTo>
                    <a:pt x="440" y="427"/>
                  </a:lnTo>
                  <a:lnTo>
                    <a:pt x="434" y="427"/>
                  </a:lnTo>
                  <a:lnTo>
                    <a:pt x="434" y="421"/>
                  </a:lnTo>
                  <a:lnTo>
                    <a:pt x="428" y="427"/>
                  </a:lnTo>
                  <a:lnTo>
                    <a:pt x="422" y="427"/>
                  </a:lnTo>
                  <a:lnTo>
                    <a:pt x="422" y="433"/>
                  </a:lnTo>
                  <a:lnTo>
                    <a:pt x="416" y="433"/>
                  </a:lnTo>
                  <a:lnTo>
                    <a:pt x="416" y="439"/>
                  </a:lnTo>
                  <a:lnTo>
                    <a:pt x="409" y="439"/>
                  </a:lnTo>
                  <a:lnTo>
                    <a:pt x="409" y="445"/>
                  </a:lnTo>
                  <a:lnTo>
                    <a:pt x="409" y="451"/>
                  </a:lnTo>
                  <a:lnTo>
                    <a:pt x="403" y="457"/>
                  </a:lnTo>
                  <a:lnTo>
                    <a:pt x="403" y="463"/>
                  </a:lnTo>
                  <a:lnTo>
                    <a:pt x="403" y="475"/>
                  </a:lnTo>
                  <a:lnTo>
                    <a:pt x="397" y="487"/>
                  </a:lnTo>
                  <a:lnTo>
                    <a:pt x="397" y="493"/>
                  </a:lnTo>
                  <a:lnTo>
                    <a:pt x="403" y="505"/>
                  </a:lnTo>
                  <a:lnTo>
                    <a:pt x="416" y="511"/>
                  </a:lnTo>
                  <a:lnTo>
                    <a:pt x="428" y="511"/>
                  </a:lnTo>
                  <a:lnTo>
                    <a:pt x="434" y="511"/>
                  </a:lnTo>
                  <a:lnTo>
                    <a:pt x="434" y="523"/>
                  </a:lnTo>
                  <a:lnTo>
                    <a:pt x="428" y="535"/>
                  </a:lnTo>
                  <a:lnTo>
                    <a:pt x="434" y="542"/>
                  </a:lnTo>
                  <a:lnTo>
                    <a:pt x="440" y="542"/>
                  </a:lnTo>
                  <a:lnTo>
                    <a:pt x="446" y="535"/>
                  </a:lnTo>
                  <a:lnTo>
                    <a:pt x="470" y="535"/>
                  </a:lnTo>
                  <a:lnTo>
                    <a:pt x="482" y="535"/>
                  </a:lnTo>
                  <a:lnTo>
                    <a:pt x="494" y="535"/>
                  </a:lnTo>
                  <a:lnTo>
                    <a:pt x="506" y="554"/>
                  </a:lnTo>
                  <a:lnTo>
                    <a:pt x="512" y="548"/>
                  </a:lnTo>
                  <a:lnTo>
                    <a:pt x="518" y="548"/>
                  </a:lnTo>
                  <a:lnTo>
                    <a:pt x="518" y="554"/>
                  </a:lnTo>
                  <a:lnTo>
                    <a:pt x="524" y="548"/>
                  </a:lnTo>
                  <a:lnTo>
                    <a:pt x="524" y="554"/>
                  </a:lnTo>
                  <a:lnTo>
                    <a:pt x="524" y="560"/>
                  </a:lnTo>
                  <a:lnTo>
                    <a:pt x="524" y="566"/>
                  </a:lnTo>
                  <a:lnTo>
                    <a:pt x="524" y="572"/>
                  </a:lnTo>
                  <a:lnTo>
                    <a:pt x="530" y="572"/>
                  </a:lnTo>
                  <a:lnTo>
                    <a:pt x="530" y="578"/>
                  </a:lnTo>
                  <a:lnTo>
                    <a:pt x="536" y="578"/>
                  </a:lnTo>
                  <a:lnTo>
                    <a:pt x="542" y="578"/>
                  </a:lnTo>
                  <a:lnTo>
                    <a:pt x="548" y="578"/>
                  </a:lnTo>
                  <a:lnTo>
                    <a:pt x="548" y="584"/>
                  </a:lnTo>
                  <a:lnTo>
                    <a:pt x="554" y="584"/>
                  </a:lnTo>
                  <a:lnTo>
                    <a:pt x="554" y="590"/>
                  </a:lnTo>
                  <a:lnTo>
                    <a:pt x="554" y="596"/>
                  </a:lnTo>
                  <a:lnTo>
                    <a:pt x="548" y="596"/>
                  </a:lnTo>
                  <a:lnTo>
                    <a:pt x="554" y="602"/>
                  </a:lnTo>
                  <a:lnTo>
                    <a:pt x="554" y="608"/>
                  </a:lnTo>
                  <a:lnTo>
                    <a:pt x="554" y="614"/>
                  </a:lnTo>
                  <a:lnTo>
                    <a:pt x="560" y="614"/>
                  </a:lnTo>
                  <a:lnTo>
                    <a:pt x="566" y="614"/>
                  </a:lnTo>
                  <a:lnTo>
                    <a:pt x="572" y="614"/>
                  </a:lnTo>
                  <a:lnTo>
                    <a:pt x="572" y="620"/>
                  </a:lnTo>
                  <a:lnTo>
                    <a:pt x="578" y="626"/>
                  </a:lnTo>
                  <a:lnTo>
                    <a:pt x="578" y="632"/>
                  </a:lnTo>
                  <a:lnTo>
                    <a:pt x="584" y="632"/>
                  </a:lnTo>
                  <a:lnTo>
                    <a:pt x="590" y="632"/>
                  </a:lnTo>
                  <a:lnTo>
                    <a:pt x="596" y="632"/>
                  </a:lnTo>
                  <a:lnTo>
                    <a:pt x="596" y="626"/>
                  </a:lnTo>
                  <a:lnTo>
                    <a:pt x="602" y="626"/>
                  </a:lnTo>
                  <a:lnTo>
                    <a:pt x="602" y="632"/>
                  </a:lnTo>
                  <a:lnTo>
                    <a:pt x="602" y="638"/>
                  </a:lnTo>
                  <a:lnTo>
                    <a:pt x="602" y="644"/>
                  </a:lnTo>
                  <a:lnTo>
                    <a:pt x="608" y="644"/>
                  </a:lnTo>
                  <a:lnTo>
                    <a:pt x="608" y="662"/>
                  </a:lnTo>
                  <a:lnTo>
                    <a:pt x="596" y="662"/>
                  </a:lnTo>
                  <a:lnTo>
                    <a:pt x="584" y="662"/>
                  </a:lnTo>
                  <a:lnTo>
                    <a:pt x="578" y="662"/>
                  </a:lnTo>
                  <a:lnTo>
                    <a:pt x="572" y="674"/>
                  </a:lnTo>
                  <a:lnTo>
                    <a:pt x="578" y="680"/>
                  </a:lnTo>
                  <a:lnTo>
                    <a:pt x="572" y="686"/>
                  </a:lnTo>
                  <a:lnTo>
                    <a:pt x="566" y="680"/>
                  </a:lnTo>
                  <a:lnTo>
                    <a:pt x="554" y="674"/>
                  </a:lnTo>
                  <a:lnTo>
                    <a:pt x="542" y="674"/>
                  </a:lnTo>
                  <a:lnTo>
                    <a:pt x="536" y="674"/>
                  </a:lnTo>
                  <a:lnTo>
                    <a:pt x="536" y="680"/>
                  </a:lnTo>
                  <a:lnTo>
                    <a:pt x="530" y="686"/>
                  </a:lnTo>
                  <a:lnTo>
                    <a:pt x="530" y="692"/>
                  </a:lnTo>
                  <a:lnTo>
                    <a:pt x="530" y="698"/>
                  </a:lnTo>
                  <a:lnTo>
                    <a:pt x="536" y="704"/>
                  </a:lnTo>
                  <a:lnTo>
                    <a:pt x="530" y="704"/>
                  </a:lnTo>
                  <a:lnTo>
                    <a:pt x="530" y="710"/>
                  </a:lnTo>
                  <a:lnTo>
                    <a:pt x="530" y="716"/>
                  </a:lnTo>
                  <a:lnTo>
                    <a:pt x="524" y="716"/>
                  </a:lnTo>
                  <a:lnTo>
                    <a:pt x="524" y="722"/>
                  </a:lnTo>
                  <a:lnTo>
                    <a:pt x="518" y="728"/>
                  </a:lnTo>
                  <a:lnTo>
                    <a:pt x="518" y="734"/>
                  </a:lnTo>
                  <a:lnTo>
                    <a:pt x="512" y="740"/>
                  </a:lnTo>
                  <a:lnTo>
                    <a:pt x="506" y="746"/>
                  </a:lnTo>
                  <a:lnTo>
                    <a:pt x="506" y="752"/>
                  </a:lnTo>
                  <a:lnTo>
                    <a:pt x="512" y="752"/>
                  </a:lnTo>
                  <a:lnTo>
                    <a:pt x="506" y="752"/>
                  </a:lnTo>
                  <a:lnTo>
                    <a:pt x="506" y="758"/>
                  </a:lnTo>
                  <a:lnTo>
                    <a:pt x="500" y="764"/>
                  </a:lnTo>
                  <a:lnTo>
                    <a:pt x="494" y="764"/>
                  </a:lnTo>
                  <a:lnTo>
                    <a:pt x="494" y="758"/>
                  </a:lnTo>
                  <a:lnTo>
                    <a:pt x="494" y="752"/>
                  </a:lnTo>
                  <a:lnTo>
                    <a:pt x="494" y="746"/>
                  </a:lnTo>
                  <a:lnTo>
                    <a:pt x="494" y="740"/>
                  </a:lnTo>
                  <a:lnTo>
                    <a:pt x="488" y="740"/>
                  </a:lnTo>
                  <a:lnTo>
                    <a:pt x="482" y="740"/>
                  </a:lnTo>
                  <a:lnTo>
                    <a:pt x="482" y="734"/>
                  </a:lnTo>
                  <a:lnTo>
                    <a:pt x="476" y="734"/>
                  </a:lnTo>
                  <a:lnTo>
                    <a:pt x="470" y="734"/>
                  </a:lnTo>
                  <a:lnTo>
                    <a:pt x="452" y="728"/>
                  </a:lnTo>
                  <a:lnTo>
                    <a:pt x="440" y="728"/>
                  </a:lnTo>
                  <a:lnTo>
                    <a:pt x="434" y="722"/>
                  </a:lnTo>
                  <a:lnTo>
                    <a:pt x="428" y="716"/>
                  </a:lnTo>
                  <a:lnTo>
                    <a:pt x="422" y="722"/>
                  </a:lnTo>
                  <a:lnTo>
                    <a:pt x="422" y="698"/>
                  </a:lnTo>
                  <a:lnTo>
                    <a:pt x="416" y="698"/>
                  </a:lnTo>
                  <a:lnTo>
                    <a:pt x="409" y="698"/>
                  </a:lnTo>
                  <a:lnTo>
                    <a:pt x="397" y="698"/>
                  </a:lnTo>
                  <a:lnTo>
                    <a:pt x="391" y="698"/>
                  </a:lnTo>
                  <a:lnTo>
                    <a:pt x="385" y="698"/>
                  </a:lnTo>
                  <a:lnTo>
                    <a:pt x="391" y="692"/>
                  </a:lnTo>
                  <a:lnTo>
                    <a:pt x="391" y="686"/>
                  </a:lnTo>
                  <a:lnTo>
                    <a:pt x="385" y="686"/>
                  </a:lnTo>
                  <a:lnTo>
                    <a:pt x="379" y="686"/>
                  </a:lnTo>
                  <a:lnTo>
                    <a:pt x="379" y="680"/>
                  </a:lnTo>
                  <a:lnTo>
                    <a:pt x="385" y="680"/>
                  </a:lnTo>
                  <a:lnTo>
                    <a:pt x="385" y="674"/>
                  </a:lnTo>
                  <a:lnTo>
                    <a:pt x="391" y="674"/>
                  </a:lnTo>
                  <a:lnTo>
                    <a:pt x="391" y="668"/>
                  </a:lnTo>
                  <a:lnTo>
                    <a:pt x="385" y="668"/>
                  </a:lnTo>
                  <a:lnTo>
                    <a:pt x="385" y="662"/>
                  </a:lnTo>
                  <a:lnTo>
                    <a:pt x="391" y="662"/>
                  </a:lnTo>
                  <a:lnTo>
                    <a:pt x="391" y="656"/>
                  </a:lnTo>
                  <a:lnTo>
                    <a:pt x="397" y="656"/>
                  </a:lnTo>
                  <a:lnTo>
                    <a:pt x="391" y="650"/>
                  </a:lnTo>
                  <a:lnTo>
                    <a:pt x="385" y="650"/>
                  </a:lnTo>
                  <a:lnTo>
                    <a:pt x="385" y="644"/>
                  </a:lnTo>
                  <a:lnTo>
                    <a:pt x="391" y="644"/>
                  </a:lnTo>
                  <a:lnTo>
                    <a:pt x="391" y="638"/>
                  </a:lnTo>
                  <a:lnTo>
                    <a:pt x="385" y="632"/>
                  </a:lnTo>
                  <a:lnTo>
                    <a:pt x="385" y="626"/>
                  </a:lnTo>
                  <a:lnTo>
                    <a:pt x="385" y="620"/>
                  </a:lnTo>
                  <a:lnTo>
                    <a:pt x="379" y="620"/>
                  </a:lnTo>
                  <a:lnTo>
                    <a:pt x="379" y="614"/>
                  </a:lnTo>
                  <a:lnTo>
                    <a:pt x="385" y="614"/>
                  </a:lnTo>
                  <a:lnTo>
                    <a:pt x="385" y="608"/>
                  </a:lnTo>
                  <a:lnTo>
                    <a:pt x="385" y="602"/>
                  </a:lnTo>
                  <a:lnTo>
                    <a:pt x="385" y="608"/>
                  </a:lnTo>
                  <a:lnTo>
                    <a:pt x="379" y="608"/>
                  </a:lnTo>
                  <a:lnTo>
                    <a:pt x="379" y="614"/>
                  </a:lnTo>
                  <a:lnTo>
                    <a:pt x="373" y="614"/>
                  </a:lnTo>
                  <a:lnTo>
                    <a:pt x="373" y="620"/>
                  </a:lnTo>
                  <a:lnTo>
                    <a:pt x="367" y="620"/>
                  </a:lnTo>
                  <a:lnTo>
                    <a:pt x="361" y="620"/>
                  </a:lnTo>
                  <a:lnTo>
                    <a:pt x="361" y="626"/>
                  </a:lnTo>
                  <a:lnTo>
                    <a:pt x="355" y="626"/>
                  </a:lnTo>
                  <a:lnTo>
                    <a:pt x="355" y="632"/>
                  </a:lnTo>
                  <a:lnTo>
                    <a:pt x="355" y="638"/>
                  </a:lnTo>
                  <a:lnTo>
                    <a:pt x="355" y="644"/>
                  </a:lnTo>
                  <a:lnTo>
                    <a:pt x="349" y="644"/>
                  </a:lnTo>
                  <a:lnTo>
                    <a:pt x="349" y="638"/>
                  </a:lnTo>
                  <a:lnTo>
                    <a:pt x="349" y="644"/>
                  </a:lnTo>
                  <a:lnTo>
                    <a:pt x="343" y="644"/>
                  </a:lnTo>
                  <a:lnTo>
                    <a:pt x="343" y="650"/>
                  </a:lnTo>
                  <a:lnTo>
                    <a:pt x="337" y="650"/>
                  </a:lnTo>
                  <a:lnTo>
                    <a:pt x="331" y="650"/>
                  </a:lnTo>
                  <a:lnTo>
                    <a:pt x="331" y="656"/>
                  </a:lnTo>
                  <a:lnTo>
                    <a:pt x="325" y="656"/>
                  </a:lnTo>
                  <a:lnTo>
                    <a:pt x="319" y="656"/>
                  </a:lnTo>
                  <a:lnTo>
                    <a:pt x="319" y="662"/>
                  </a:lnTo>
                  <a:lnTo>
                    <a:pt x="313" y="662"/>
                  </a:lnTo>
                  <a:lnTo>
                    <a:pt x="313" y="668"/>
                  </a:lnTo>
                  <a:lnTo>
                    <a:pt x="307" y="668"/>
                  </a:lnTo>
                  <a:lnTo>
                    <a:pt x="313" y="668"/>
                  </a:lnTo>
                  <a:lnTo>
                    <a:pt x="307" y="674"/>
                  </a:lnTo>
                  <a:lnTo>
                    <a:pt x="307" y="680"/>
                  </a:lnTo>
                  <a:lnTo>
                    <a:pt x="313" y="686"/>
                  </a:lnTo>
                  <a:lnTo>
                    <a:pt x="307" y="686"/>
                  </a:lnTo>
                  <a:lnTo>
                    <a:pt x="307" y="692"/>
                  </a:lnTo>
                  <a:lnTo>
                    <a:pt x="301" y="692"/>
                  </a:lnTo>
                  <a:lnTo>
                    <a:pt x="301" y="698"/>
                  </a:lnTo>
                  <a:lnTo>
                    <a:pt x="295" y="698"/>
                  </a:lnTo>
                  <a:lnTo>
                    <a:pt x="289" y="704"/>
                  </a:lnTo>
                  <a:lnTo>
                    <a:pt x="283" y="704"/>
                  </a:lnTo>
                  <a:lnTo>
                    <a:pt x="277" y="704"/>
                  </a:lnTo>
                  <a:lnTo>
                    <a:pt x="271" y="704"/>
                  </a:lnTo>
                  <a:lnTo>
                    <a:pt x="271" y="710"/>
                  </a:lnTo>
                  <a:lnTo>
                    <a:pt x="265" y="710"/>
                  </a:lnTo>
                  <a:lnTo>
                    <a:pt x="247" y="722"/>
                  </a:lnTo>
                  <a:lnTo>
                    <a:pt x="229" y="734"/>
                  </a:lnTo>
                  <a:lnTo>
                    <a:pt x="223" y="734"/>
                  </a:lnTo>
                  <a:lnTo>
                    <a:pt x="211" y="752"/>
                  </a:lnTo>
                  <a:lnTo>
                    <a:pt x="205" y="752"/>
                  </a:lnTo>
                  <a:lnTo>
                    <a:pt x="169" y="752"/>
                  </a:lnTo>
                  <a:lnTo>
                    <a:pt x="151" y="758"/>
                  </a:lnTo>
                  <a:lnTo>
                    <a:pt x="139" y="758"/>
                  </a:lnTo>
                  <a:lnTo>
                    <a:pt x="127" y="764"/>
                  </a:lnTo>
                  <a:lnTo>
                    <a:pt x="127" y="770"/>
                  </a:lnTo>
                  <a:lnTo>
                    <a:pt x="121" y="770"/>
                  </a:lnTo>
                  <a:lnTo>
                    <a:pt x="115" y="770"/>
                  </a:lnTo>
                  <a:lnTo>
                    <a:pt x="121" y="770"/>
                  </a:lnTo>
                  <a:lnTo>
                    <a:pt x="115" y="776"/>
                  </a:lnTo>
                  <a:lnTo>
                    <a:pt x="121" y="776"/>
                  </a:lnTo>
                  <a:lnTo>
                    <a:pt x="115" y="776"/>
                  </a:lnTo>
                  <a:lnTo>
                    <a:pt x="115" y="782"/>
                  </a:lnTo>
                  <a:lnTo>
                    <a:pt x="115" y="788"/>
                  </a:lnTo>
                  <a:lnTo>
                    <a:pt x="115" y="794"/>
                  </a:lnTo>
                  <a:lnTo>
                    <a:pt x="109" y="794"/>
                  </a:lnTo>
                  <a:lnTo>
                    <a:pt x="109" y="800"/>
                  </a:lnTo>
                  <a:lnTo>
                    <a:pt x="109" y="794"/>
                  </a:lnTo>
                  <a:lnTo>
                    <a:pt x="109" y="800"/>
                  </a:lnTo>
                  <a:lnTo>
                    <a:pt x="103" y="800"/>
                  </a:lnTo>
                  <a:lnTo>
                    <a:pt x="97" y="800"/>
                  </a:lnTo>
                  <a:lnTo>
                    <a:pt x="97" y="794"/>
                  </a:lnTo>
                  <a:lnTo>
                    <a:pt x="91" y="794"/>
                  </a:lnTo>
                  <a:lnTo>
                    <a:pt x="91" y="788"/>
                  </a:lnTo>
                  <a:lnTo>
                    <a:pt x="91" y="776"/>
                  </a:lnTo>
                  <a:lnTo>
                    <a:pt x="85" y="776"/>
                  </a:lnTo>
                  <a:lnTo>
                    <a:pt x="85" y="770"/>
                  </a:lnTo>
                  <a:lnTo>
                    <a:pt x="85" y="764"/>
                  </a:lnTo>
                  <a:lnTo>
                    <a:pt x="79" y="764"/>
                  </a:lnTo>
                  <a:lnTo>
                    <a:pt x="72" y="770"/>
                  </a:lnTo>
                  <a:lnTo>
                    <a:pt x="66" y="764"/>
                  </a:lnTo>
                  <a:lnTo>
                    <a:pt x="66" y="770"/>
                  </a:lnTo>
                  <a:lnTo>
                    <a:pt x="60" y="770"/>
                  </a:lnTo>
                  <a:lnTo>
                    <a:pt x="60" y="764"/>
                  </a:lnTo>
                  <a:lnTo>
                    <a:pt x="54" y="764"/>
                  </a:lnTo>
                  <a:lnTo>
                    <a:pt x="60" y="740"/>
                  </a:lnTo>
                  <a:lnTo>
                    <a:pt x="60" y="716"/>
                  </a:lnTo>
                  <a:lnTo>
                    <a:pt x="66" y="710"/>
                  </a:lnTo>
                  <a:lnTo>
                    <a:pt x="66" y="704"/>
                  </a:lnTo>
                  <a:lnTo>
                    <a:pt x="60" y="704"/>
                  </a:lnTo>
                  <a:lnTo>
                    <a:pt x="60" y="698"/>
                  </a:lnTo>
                  <a:lnTo>
                    <a:pt x="60" y="692"/>
                  </a:lnTo>
                  <a:lnTo>
                    <a:pt x="60" y="686"/>
                  </a:lnTo>
                  <a:lnTo>
                    <a:pt x="54" y="686"/>
                  </a:lnTo>
                  <a:lnTo>
                    <a:pt x="48" y="686"/>
                  </a:lnTo>
                  <a:lnTo>
                    <a:pt x="42" y="686"/>
                  </a:lnTo>
                  <a:lnTo>
                    <a:pt x="42" y="680"/>
                  </a:lnTo>
                  <a:lnTo>
                    <a:pt x="42" y="674"/>
                  </a:lnTo>
                  <a:lnTo>
                    <a:pt x="42" y="668"/>
                  </a:lnTo>
                  <a:lnTo>
                    <a:pt x="42" y="662"/>
                  </a:lnTo>
                  <a:lnTo>
                    <a:pt x="42" y="656"/>
                  </a:lnTo>
                  <a:lnTo>
                    <a:pt x="42" y="650"/>
                  </a:lnTo>
                  <a:lnTo>
                    <a:pt x="36" y="656"/>
                  </a:lnTo>
                  <a:lnTo>
                    <a:pt x="36" y="650"/>
                  </a:lnTo>
                  <a:lnTo>
                    <a:pt x="36" y="656"/>
                  </a:lnTo>
                  <a:lnTo>
                    <a:pt x="30" y="656"/>
                  </a:lnTo>
                  <a:lnTo>
                    <a:pt x="30" y="650"/>
                  </a:lnTo>
                  <a:lnTo>
                    <a:pt x="24" y="650"/>
                  </a:lnTo>
                  <a:lnTo>
                    <a:pt x="24" y="644"/>
                  </a:lnTo>
                  <a:lnTo>
                    <a:pt x="30" y="638"/>
                  </a:lnTo>
                  <a:lnTo>
                    <a:pt x="30" y="632"/>
                  </a:lnTo>
                  <a:lnTo>
                    <a:pt x="36" y="626"/>
                  </a:lnTo>
                  <a:lnTo>
                    <a:pt x="30" y="626"/>
                  </a:lnTo>
                  <a:lnTo>
                    <a:pt x="30" y="620"/>
                  </a:lnTo>
                  <a:lnTo>
                    <a:pt x="24" y="620"/>
                  </a:lnTo>
                  <a:lnTo>
                    <a:pt x="24" y="614"/>
                  </a:lnTo>
                  <a:lnTo>
                    <a:pt x="18" y="614"/>
                  </a:lnTo>
                  <a:lnTo>
                    <a:pt x="18" y="608"/>
                  </a:lnTo>
                  <a:lnTo>
                    <a:pt x="24" y="602"/>
                  </a:lnTo>
                  <a:lnTo>
                    <a:pt x="36" y="596"/>
                  </a:lnTo>
                  <a:lnTo>
                    <a:pt x="42" y="590"/>
                  </a:lnTo>
                  <a:lnTo>
                    <a:pt x="42" y="584"/>
                  </a:lnTo>
                  <a:lnTo>
                    <a:pt x="48" y="578"/>
                  </a:lnTo>
                  <a:lnTo>
                    <a:pt x="48" y="572"/>
                  </a:lnTo>
                  <a:lnTo>
                    <a:pt x="54" y="572"/>
                  </a:lnTo>
                  <a:lnTo>
                    <a:pt x="60" y="572"/>
                  </a:lnTo>
                  <a:lnTo>
                    <a:pt x="60" y="578"/>
                  </a:lnTo>
                  <a:lnTo>
                    <a:pt x="66" y="578"/>
                  </a:lnTo>
                  <a:lnTo>
                    <a:pt x="66" y="572"/>
                  </a:lnTo>
                  <a:lnTo>
                    <a:pt x="72" y="572"/>
                  </a:lnTo>
                  <a:lnTo>
                    <a:pt x="72" y="566"/>
                  </a:lnTo>
                  <a:lnTo>
                    <a:pt x="72" y="560"/>
                  </a:lnTo>
                  <a:lnTo>
                    <a:pt x="79" y="560"/>
                  </a:lnTo>
                  <a:lnTo>
                    <a:pt x="85" y="554"/>
                  </a:lnTo>
                  <a:lnTo>
                    <a:pt x="85" y="548"/>
                  </a:lnTo>
                  <a:lnTo>
                    <a:pt x="91" y="548"/>
                  </a:lnTo>
                  <a:lnTo>
                    <a:pt x="91" y="542"/>
                  </a:lnTo>
                  <a:lnTo>
                    <a:pt x="97" y="542"/>
                  </a:lnTo>
                  <a:lnTo>
                    <a:pt x="97" y="535"/>
                  </a:lnTo>
                  <a:lnTo>
                    <a:pt x="103" y="535"/>
                  </a:lnTo>
                  <a:lnTo>
                    <a:pt x="103" y="529"/>
                  </a:lnTo>
                  <a:lnTo>
                    <a:pt x="97" y="529"/>
                  </a:lnTo>
                  <a:lnTo>
                    <a:pt x="91" y="523"/>
                  </a:lnTo>
                  <a:lnTo>
                    <a:pt x="91" y="517"/>
                  </a:lnTo>
                  <a:lnTo>
                    <a:pt x="97" y="517"/>
                  </a:lnTo>
                  <a:lnTo>
                    <a:pt x="97" y="511"/>
                  </a:lnTo>
                  <a:lnTo>
                    <a:pt x="97" y="505"/>
                  </a:lnTo>
                  <a:lnTo>
                    <a:pt x="103" y="505"/>
                  </a:lnTo>
                  <a:lnTo>
                    <a:pt x="103" y="499"/>
                  </a:lnTo>
                  <a:lnTo>
                    <a:pt x="103" y="493"/>
                  </a:lnTo>
                  <a:lnTo>
                    <a:pt x="109" y="493"/>
                  </a:lnTo>
                  <a:lnTo>
                    <a:pt x="103" y="493"/>
                  </a:lnTo>
                  <a:lnTo>
                    <a:pt x="109" y="487"/>
                  </a:lnTo>
                  <a:lnTo>
                    <a:pt x="103" y="481"/>
                  </a:lnTo>
                  <a:lnTo>
                    <a:pt x="103" y="475"/>
                  </a:lnTo>
                  <a:lnTo>
                    <a:pt x="103" y="469"/>
                  </a:lnTo>
                  <a:lnTo>
                    <a:pt x="109" y="469"/>
                  </a:lnTo>
                  <a:lnTo>
                    <a:pt x="109" y="463"/>
                  </a:lnTo>
                  <a:lnTo>
                    <a:pt x="103" y="463"/>
                  </a:lnTo>
                  <a:lnTo>
                    <a:pt x="109" y="457"/>
                  </a:lnTo>
                  <a:lnTo>
                    <a:pt x="109" y="451"/>
                  </a:lnTo>
                  <a:lnTo>
                    <a:pt x="109" y="445"/>
                  </a:lnTo>
                  <a:lnTo>
                    <a:pt x="115" y="445"/>
                  </a:lnTo>
                  <a:lnTo>
                    <a:pt x="115" y="439"/>
                  </a:lnTo>
                  <a:lnTo>
                    <a:pt x="115" y="433"/>
                  </a:lnTo>
                  <a:lnTo>
                    <a:pt x="115" y="427"/>
                  </a:lnTo>
                  <a:lnTo>
                    <a:pt x="121" y="427"/>
                  </a:lnTo>
                  <a:lnTo>
                    <a:pt x="121" y="421"/>
                  </a:lnTo>
                  <a:lnTo>
                    <a:pt x="121" y="415"/>
                  </a:lnTo>
                  <a:lnTo>
                    <a:pt x="127" y="415"/>
                  </a:lnTo>
                  <a:lnTo>
                    <a:pt x="127" y="409"/>
                  </a:lnTo>
                  <a:lnTo>
                    <a:pt x="127" y="403"/>
                  </a:lnTo>
                  <a:lnTo>
                    <a:pt x="127" y="397"/>
                  </a:lnTo>
                  <a:lnTo>
                    <a:pt x="121" y="397"/>
                  </a:lnTo>
                  <a:lnTo>
                    <a:pt x="121" y="391"/>
                  </a:lnTo>
                  <a:lnTo>
                    <a:pt x="115" y="391"/>
                  </a:lnTo>
                  <a:lnTo>
                    <a:pt x="115" y="385"/>
                  </a:lnTo>
                  <a:lnTo>
                    <a:pt x="109" y="385"/>
                  </a:lnTo>
                  <a:lnTo>
                    <a:pt x="109" y="379"/>
                  </a:lnTo>
                  <a:lnTo>
                    <a:pt x="115" y="379"/>
                  </a:lnTo>
                  <a:lnTo>
                    <a:pt x="109" y="373"/>
                  </a:lnTo>
                  <a:lnTo>
                    <a:pt x="109" y="367"/>
                  </a:lnTo>
                  <a:lnTo>
                    <a:pt x="109" y="361"/>
                  </a:lnTo>
                  <a:lnTo>
                    <a:pt x="115" y="355"/>
                  </a:lnTo>
                  <a:lnTo>
                    <a:pt x="115" y="349"/>
                  </a:lnTo>
                  <a:lnTo>
                    <a:pt x="121" y="349"/>
                  </a:lnTo>
                  <a:lnTo>
                    <a:pt x="121" y="343"/>
                  </a:lnTo>
                  <a:lnTo>
                    <a:pt x="121" y="337"/>
                  </a:lnTo>
                  <a:lnTo>
                    <a:pt x="127" y="337"/>
                  </a:lnTo>
                  <a:lnTo>
                    <a:pt x="127" y="331"/>
                  </a:lnTo>
                  <a:lnTo>
                    <a:pt x="133" y="331"/>
                  </a:lnTo>
                  <a:lnTo>
                    <a:pt x="127" y="325"/>
                  </a:lnTo>
                  <a:lnTo>
                    <a:pt x="133" y="325"/>
                  </a:lnTo>
                  <a:lnTo>
                    <a:pt x="133" y="319"/>
                  </a:lnTo>
                  <a:lnTo>
                    <a:pt x="127" y="319"/>
                  </a:lnTo>
                  <a:lnTo>
                    <a:pt x="127" y="313"/>
                  </a:lnTo>
                  <a:lnTo>
                    <a:pt x="127" y="307"/>
                  </a:lnTo>
                  <a:lnTo>
                    <a:pt x="121" y="307"/>
                  </a:lnTo>
                  <a:lnTo>
                    <a:pt x="115" y="307"/>
                  </a:lnTo>
                  <a:lnTo>
                    <a:pt x="109" y="307"/>
                  </a:lnTo>
                  <a:lnTo>
                    <a:pt x="103" y="307"/>
                  </a:lnTo>
                  <a:lnTo>
                    <a:pt x="103" y="313"/>
                  </a:lnTo>
                  <a:lnTo>
                    <a:pt x="109" y="313"/>
                  </a:lnTo>
                  <a:lnTo>
                    <a:pt x="109" y="319"/>
                  </a:lnTo>
                  <a:lnTo>
                    <a:pt x="103" y="319"/>
                  </a:lnTo>
                  <a:lnTo>
                    <a:pt x="103" y="325"/>
                  </a:lnTo>
                  <a:lnTo>
                    <a:pt x="109" y="325"/>
                  </a:lnTo>
                  <a:lnTo>
                    <a:pt x="103" y="325"/>
                  </a:lnTo>
                  <a:lnTo>
                    <a:pt x="103" y="331"/>
                  </a:lnTo>
                  <a:lnTo>
                    <a:pt x="97" y="331"/>
                  </a:lnTo>
                  <a:lnTo>
                    <a:pt x="91" y="325"/>
                  </a:lnTo>
                  <a:lnTo>
                    <a:pt x="85" y="325"/>
                  </a:lnTo>
                  <a:lnTo>
                    <a:pt x="85" y="331"/>
                  </a:lnTo>
                  <a:lnTo>
                    <a:pt x="79" y="331"/>
                  </a:lnTo>
                  <a:lnTo>
                    <a:pt x="79" y="325"/>
                  </a:lnTo>
                  <a:lnTo>
                    <a:pt x="79" y="319"/>
                  </a:lnTo>
                  <a:lnTo>
                    <a:pt x="72" y="319"/>
                  </a:lnTo>
                  <a:lnTo>
                    <a:pt x="72" y="313"/>
                  </a:lnTo>
                  <a:lnTo>
                    <a:pt x="66" y="319"/>
                  </a:lnTo>
                  <a:lnTo>
                    <a:pt x="66" y="313"/>
                  </a:lnTo>
                  <a:lnTo>
                    <a:pt x="66" y="307"/>
                  </a:lnTo>
                  <a:lnTo>
                    <a:pt x="60" y="307"/>
                  </a:lnTo>
                  <a:lnTo>
                    <a:pt x="54" y="301"/>
                  </a:lnTo>
                  <a:lnTo>
                    <a:pt x="54" y="307"/>
                  </a:lnTo>
                  <a:lnTo>
                    <a:pt x="54" y="301"/>
                  </a:lnTo>
                  <a:lnTo>
                    <a:pt x="48" y="301"/>
                  </a:lnTo>
                  <a:lnTo>
                    <a:pt x="48" y="295"/>
                  </a:lnTo>
                  <a:lnTo>
                    <a:pt x="54" y="295"/>
                  </a:lnTo>
                  <a:lnTo>
                    <a:pt x="54" y="289"/>
                  </a:lnTo>
                  <a:lnTo>
                    <a:pt x="60" y="289"/>
                  </a:lnTo>
                  <a:lnTo>
                    <a:pt x="60" y="283"/>
                  </a:lnTo>
                  <a:lnTo>
                    <a:pt x="60" y="277"/>
                  </a:lnTo>
                  <a:lnTo>
                    <a:pt x="66" y="277"/>
                  </a:lnTo>
                  <a:lnTo>
                    <a:pt x="72" y="277"/>
                  </a:lnTo>
                  <a:lnTo>
                    <a:pt x="72" y="271"/>
                  </a:lnTo>
                  <a:lnTo>
                    <a:pt x="72" y="265"/>
                  </a:lnTo>
                  <a:lnTo>
                    <a:pt x="72" y="259"/>
                  </a:lnTo>
                  <a:lnTo>
                    <a:pt x="66" y="259"/>
                  </a:lnTo>
                  <a:lnTo>
                    <a:pt x="66" y="253"/>
                  </a:lnTo>
                  <a:lnTo>
                    <a:pt x="60" y="247"/>
                  </a:lnTo>
                  <a:lnTo>
                    <a:pt x="60" y="241"/>
                  </a:lnTo>
                  <a:lnTo>
                    <a:pt x="72" y="241"/>
                  </a:lnTo>
                  <a:lnTo>
                    <a:pt x="79" y="241"/>
                  </a:lnTo>
                  <a:lnTo>
                    <a:pt x="85" y="235"/>
                  </a:lnTo>
                  <a:lnTo>
                    <a:pt x="91" y="235"/>
                  </a:lnTo>
                  <a:lnTo>
                    <a:pt x="97" y="223"/>
                  </a:lnTo>
                  <a:lnTo>
                    <a:pt x="103" y="217"/>
                  </a:lnTo>
                  <a:lnTo>
                    <a:pt x="109" y="217"/>
                  </a:lnTo>
                  <a:lnTo>
                    <a:pt x="115" y="217"/>
                  </a:lnTo>
                  <a:lnTo>
                    <a:pt x="115" y="223"/>
                  </a:lnTo>
                  <a:lnTo>
                    <a:pt x="121" y="235"/>
                  </a:lnTo>
                  <a:lnTo>
                    <a:pt x="127" y="235"/>
                  </a:lnTo>
                  <a:lnTo>
                    <a:pt x="133" y="241"/>
                  </a:lnTo>
                  <a:lnTo>
                    <a:pt x="139" y="235"/>
                  </a:lnTo>
                  <a:lnTo>
                    <a:pt x="157" y="235"/>
                  </a:lnTo>
                  <a:lnTo>
                    <a:pt x="163" y="235"/>
                  </a:lnTo>
                  <a:lnTo>
                    <a:pt x="175" y="235"/>
                  </a:lnTo>
                  <a:lnTo>
                    <a:pt x="187" y="235"/>
                  </a:lnTo>
                  <a:lnTo>
                    <a:pt x="193" y="229"/>
                  </a:lnTo>
                  <a:lnTo>
                    <a:pt x="187" y="211"/>
                  </a:lnTo>
                  <a:lnTo>
                    <a:pt x="187" y="205"/>
                  </a:lnTo>
                  <a:lnTo>
                    <a:pt x="187" y="199"/>
                  </a:lnTo>
                  <a:lnTo>
                    <a:pt x="175" y="193"/>
                  </a:lnTo>
                  <a:lnTo>
                    <a:pt x="163" y="181"/>
                  </a:lnTo>
                  <a:lnTo>
                    <a:pt x="151" y="175"/>
                  </a:lnTo>
                  <a:lnTo>
                    <a:pt x="127" y="157"/>
                  </a:lnTo>
                  <a:lnTo>
                    <a:pt x="127" y="151"/>
                  </a:lnTo>
                  <a:lnTo>
                    <a:pt x="127" y="139"/>
                  </a:lnTo>
                  <a:lnTo>
                    <a:pt x="127" y="121"/>
                  </a:lnTo>
                  <a:lnTo>
                    <a:pt x="121" y="109"/>
                  </a:lnTo>
                  <a:lnTo>
                    <a:pt x="109" y="103"/>
                  </a:lnTo>
                  <a:lnTo>
                    <a:pt x="85" y="103"/>
                  </a:lnTo>
                  <a:lnTo>
                    <a:pt x="72" y="91"/>
                  </a:lnTo>
                  <a:lnTo>
                    <a:pt x="66" y="72"/>
                  </a:lnTo>
                  <a:lnTo>
                    <a:pt x="66" y="54"/>
                  </a:lnTo>
                  <a:lnTo>
                    <a:pt x="60" y="48"/>
                  </a:lnTo>
                  <a:lnTo>
                    <a:pt x="54" y="42"/>
                  </a:lnTo>
                  <a:lnTo>
                    <a:pt x="24" y="24"/>
                  </a:lnTo>
                  <a:lnTo>
                    <a:pt x="24" y="18"/>
                  </a:lnTo>
                  <a:lnTo>
                    <a:pt x="12" y="12"/>
                  </a:lnTo>
                  <a:lnTo>
                    <a:pt x="0" y="6"/>
                  </a:lnTo>
                  <a:lnTo>
                    <a:pt x="0" y="0"/>
                  </a:lnTo>
                  <a:close/>
                </a:path>
              </a:pathLst>
            </a:custGeom>
            <a:solidFill>
              <a:schemeClr val="accent1"/>
            </a:solidFill>
            <a:ln w="9525">
              <a:solidFill>
                <a:srgbClr val="808080"/>
              </a:solidFill>
              <a:round/>
              <a:headEnd/>
              <a:tailEnd/>
            </a:ln>
          </p:spPr>
          <p:txBody>
            <a:bodyPr/>
            <a:lstStyle/>
            <a:p>
              <a:pPr fontAlgn="base">
                <a:spcBef>
                  <a:spcPct val="0"/>
                </a:spcBef>
                <a:spcAft>
                  <a:spcPct val="0"/>
                </a:spcAft>
                <a:buClrTx/>
                <a:buFontTx/>
                <a:buNone/>
              </a:pPr>
              <a:endParaRPr lang="en-US" sz="1600" kern="1200" dirty="0">
                <a:latin typeface="Arial" charset="0"/>
                <a:ea typeface="+mn-ea"/>
                <a:cs typeface="+mn-cs"/>
              </a:endParaRPr>
            </a:p>
          </p:txBody>
        </p:sp>
        <p:sp>
          <p:nvSpPr>
            <p:cNvPr id="100" name="Freeform 62"/>
            <p:cNvSpPr>
              <a:spLocks/>
            </p:cNvSpPr>
            <p:nvPr/>
          </p:nvSpPr>
          <p:spPr bwMode="auto">
            <a:xfrm>
              <a:off x="693738" y="5202238"/>
              <a:ext cx="1308100" cy="831850"/>
            </a:xfrm>
            <a:custGeom>
              <a:avLst/>
              <a:gdLst>
                <a:gd name="T0" fmla="*/ 601 w 824"/>
                <a:gd name="T1" fmla="*/ 0 h 524"/>
                <a:gd name="T2" fmla="*/ 667 w 824"/>
                <a:gd name="T3" fmla="*/ 6 h 524"/>
                <a:gd name="T4" fmla="*/ 722 w 824"/>
                <a:gd name="T5" fmla="*/ 49 h 524"/>
                <a:gd name="T6" fmla="*/ 782 w 824"/>
                <a:gd name="T7" fmla="*/ 19 h 524"/>
                <a:gd name="T8" fmla="*/ 812 w 824"/>
                <a:gd name="T9" fmla="*/ 43 h 524"/>
                <a:gd name="T10" fmla="*/ 818 w 824"/>
                <a:gd name="T11" fmla="*/ 91 h 524"/>
                <a:gd name="T12" fmla="*/ 800 w 824"/>
                <a:gd name="T13" fmla="*/ 121 h 524"/>
                <a:gd name="T14" fmla="*/ 770 w 824"/>
                <a:gd name="T15" fmla="*/ 151 h 524"/>
                <a:gd name="T16" fmla="*/ 734 w 824"/>
                <a:gd name="T17" fmla="*/ 163 h 524"/>
                <a:gd name="T18" fmla="*/ 686 w 824"/>
                <a:gd name="T19" fmla="*/ 175 h 524"/>
                <a:gd name="T20" fmla="*/ 643 w 824"/>
                <a:gd name="T21" fmla="*/ 193 h 524"/>
                <a:gd name="T22" fmla="*/ 655 w 824"/>
                <a:gd name="T23" fmla="*/ 205 h 524"/>
                <a:gd name="T24" fmla="*/ 655 w 824"/>
                <a:gd name="T25" fmla="*/ 241 h 524"/>
                <a:gd name="T26" fmla="*/ 674 w 824"/>
                <a:gd name="T27" fmla="*/ 277 h 524"/>
                <a:gd name="T28" fmla="*/ 643 w 824"/>
                <a:gd name="T29" fmla="*/ 325 h 524"/>
                <a:gd name="T30" fmla="*/ 619 w 824"/>
                <a:gd name="T31" fmla="*/ 361 h 524"/>
                <a:gd name="T32" fmla="*/ 625 w 824"/>
                <a:gd name="T33" fmla="*/ 403 h 524"/>
                <a:gd name="T34" fmla="*/ 613 w 824"/>
                <a:gd name="T35" fmla="*/ 463 h 524"/>
                <a:gd name="T36" fmla="*/ 565 w 824"/>
                <a:gd name="T37" fmla="*/ 470 h 524"/>
                <a:gd name="T38" fmla="*/ 529 w 824"/>
                <a:gd name="T39" fmla="*/ 500 h 524"/>
                <a:gd name="T40" fmla="*/ 481 w 824"/>
                <a:gd name="T41" fmla="*/ 512 h 524"/>
                <a:gd name="T42" fmla="*/ 481 w 824"/>
                <a:gd name="T43" fmla="*/ 482 h 524"/>
                <a:gd name="T44" fmla="*/ 475 w 824"/>
                <a:gd name="T45" fmla="*/ 451 h 524"/>
                <a:gd name="T46" fmla="*/ 475 w 824"/>
                <a:gd name="T47" fmla="*/ 415 h 524"/>
                <a:gd name="T48" fmla="*/ 439 w 824"/>
                <a:gd name="T49" fmla="*/ 421 h 524"/>
                <a:gd name="T50" fmla="*/ 403 w 824"/>
                <a:gd name="T51" fmla="*/ 427 h 524"/>
                <a:gd name="T52" fmla="*/ 385 w 824"/>
                <a:gd name="T53" fmla="*/ 451 h 524"/>
                <a:gd name="T54" fmla="*/ 385 w 824"/>
                <a:gd name="T55" fmla="*/ 482 h 524"/>
                <a:gd name="T56" fmla="*/ 343 w 824"/>
                <a:gd name="T57" fmla="*/ 482 h 524"/>
                <a:gd name="T58" fmla="*/ 318 w 824"/>
                <a:gd name="T59" fmla="*/ 524 h 524"/>
                <a:gd name="T60" fmla="*/ 270 w 824"/>
                <a:gd name="T61" fmla="*/ 506 h 524"/>
                <a:gd name="T62" fmla="*/ 240 w 824"/>
                <a:gd name="T63" fmla="*/ 476 h 524"/>
                <a:gd name="T64" fmla="*/ 204 w 824"/>
                <a:gd name="T65" fmla="*/ 457 h 524"/>
                <a:gd name="T66" fmla="*/ 186 w 824"/>
                <a:gd name="T67" fmla="*/ 482 h 524"/>
                <a:gd name="T68" fmla="*/ 168 w 824"/>
                <a:gd name="T69" fmla="*/ 512 h 524"/>
                <a:gd name="T70" fmla="*/ 132 w 824"/>
                <a:gd name="T71" fmla="*/ 488 h 524"/>
                <a:gd name="T72" fmla="*/ 84 w 824"/>
                <a:gd name="T73" fmla="*/ 463 h 524"/>
                <a:gd name="T74" fmla="*/ 72 w 824"/>
                <a:gd name="T75" fmla="*/ 409 h 524"/>
                <a:gd name="T76" fmla="*/ 78 w 824"/>
                <a:gd name="T77" fmla="*/ 355 h 524"/>
                <a:gd name="T78" fmla="*/ 36 w 824"/>
                <a:gd name="T79" fmla="*/ 355 h 524"/>
                <a:gd name="T80" fmla="*/ 0 w 824"/>
                <a:gd name="T81" fmla="*/ 355 h 524"/>
                <a:gd name="T82" fmla="*/ 24 w 824"/>
                <a:gd name="T83" fmla="*/ 319 h 524"/>
                <a:gd name="T84" fmla="*/ 54 w 824"/>
                <a:gd name="T85" fmla="*/ 307 h 524"/>
                <a:gd name="T86" fmla="*/ 42 w 824"/>
                <a:gd name="T87" fmla="*/ 283 h 524"/>
                <a:gd name="T88" fmla="*/ 24 w 824"/>
                <a:gd name="T89" fmla="*/ 271 h 524"/>
                <a:gd name="T90" fmla="*/ 36 w 824"/>
                <a:gd name="T91" fmla="*/ 241 h 524"/>
                <a:gd name="T92" fmla="*/ 162 w 824"/>
                <a:gd name="T93" fmla="*/ 193 h 524"/>
                <a:gd name="T94" fmla="*/ 222 w 824"/>
                <a:gd name="T95" fmla="*/ 163 h 524"/>
                <a:gd name="T96" fmla="*/ 234 w 824"/>
                <a:gd name="T97" fmla="*/ 127 h 524"/>
                <a:gd name="T98" fmla="*/ 270 w 824"/>
                <a:gd name="T99" fmla="*/ 115 h 524"/>
                <a:gd name="T100" fmla="*/ 294 w 824"/>
                <a:gd name="T101" fmla="*/ 79 h 524"/>
                <a:gd name="T102" fmla="*/ 306 w 824"/>
                <a:gd name="T103" fmla="*/ 109 h 524"/>
                <a:gd name="T104" fmla="*/ 306 w 824"/>
                <a:gd name="T105" fmla="*/ 139 h 524"/>
                <a:gd name="T106" fmla="*/ 306 w 824"/>
                <a:gd name="T107" fmla="*/ 169 h 524"/>
                <a:gd name="T108" fmla="*/ 385 w 824"/>
                <a:gd name="T109" fmla="*/ 205 h 524"/>
                <a:gd name="T110" fmla="*/ 415 w 824"/>
                <a:gd name="T111" fmla="*/ 235 h 524"/>
                <a:gd name="T112" fmla="*/ 439 w 824"/>
                <a:gd name="T113" fmla="*/ 187 h 524"/>
                <a:gd name="T114" fmla="*/ 457 w 824"/>
                <a:gd name="T115" fmla="*/ 145 h 524"/>
                <a:gd name="T116" fmla="*/ 523 w 824"/>
                <a:gd name="T117" fmla="*/ 115 h 524"/>
                <a:gd name="T118" fmla="*/ 493 w 824"/>
                <a:gd name="T119" fmla="*/ 97 h 524"/>
                <a:gd name="T120" fmla="*/ 469 w 824"/>
                <a:gd name="T121" fmla="*/ 61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4" h="524">
                  <a:moveTo>
                    <a:pt x="469" y="55"/>
                  </a:moveTo>
                  <a:lnTo>
                    <a:pt x="475" y="43"/>
                  </a:lnTo>
                  <a:lnTo>
                    <a:pt x="505" y="31"/>
                  </a:lnTo>
                  <a:lnTo>
                    <a:pt x="517" y="13"/>
                  </a:lnTo>
                  <a:lnTo>
                    <a:pt x="523" y="13"/>
                  </a:lnTo>
                  <a:lnTo>
                    <a:pt x="529" y="13"/>
                  </a:lnTo>
                  <a:lnTo>
                    <a:pt x="547" y="13"/>
                  </a:lnTo>
                  <a:lnTo>
                    <a:pt x="571" y="6"/>
                  </a:lnTo>
                  <a:lnTo>
                    <a:pt x="595" y="0"/>
                  </a:lnTo>
                  <a:lnTo>
                    <a:pt x="601" y="0"/>
                  </a:lnTo>
                  <a:lnTo>
                    <a:pt x="607" y="13"/>
                  </a:lnTo>
                  <a:lnTo>
                    <a:pt x="613" y="19"/>
                  </a:lnTo>
                  <a:lnTo>
                    <a:pt x="619" y="31"/>
                  </a:lnTo>
                  <a:lnTo>
                    <a:pt x="625" y="43"/>
                  </a:lnTo>
                  <a:lnTo>
                    <a:pt x="631" y="43"/>
                  </a:lnTo>
                  <a:lnTo>
                    <a:pt x="637" y="31"/>
                  </a:lnTo>
                  <a:lnTo>
                    <a:pt x="655" y="13"/>
                  </a:lnTo>
                  <a:lnTo>
                    <a:pt x="661" y="6"/>
                  </a:lnTo>
                  <a:lnTo>
                    <a:pt x="667" y="0"/>
                  </a:lnTo>
                  <a:lnTo>
                    <a:pt x="667" y="6"/>
                  </a:lnTo>
                  <a:lnTo>
                    <a:pt x="674" y="6"/>
                  </a:lnTo>
                  <a:lnTo>
                    <a:pt x="674" y="13"/>
                  </a:lnTo>
                  <a:lnTo>
                    <a:pt x="680" y="13"/>
                  </a:lnTo>
                  <a:lnTo>
                    <a:pt x="680" y="19"/>
                  </a:lnTo>
                  <a:lnTo>
                    <a:pt x="686" y="19"/>
                  </a:lnTo>
                  <a:lnTo>
                    <a:pt x="686" y="25"/>
                  </a:lnTo>
                  <a:lnTo>
                    <a:pt x="686" y="31"/>
                  </a:lnTo>
                  <a:lnTo>
                    <a:pt x="692" y="43"/>
                  </a:lnTo>
                  <a:lnTo>
                    <a:pt x="698" y="49"/>
                  </a:lnTo>
                  <a:lnTo>
                    <a:pt x="722" y="49"/>
                  </a:lnTo>
                  <a:lnTo>
                    <a:pt x="746" y="43"/>
                  </a:lnTo>
                  <a:lnTo>
                    <a:pt x="752" y="43"/>
                  </a:lnTo>
                  <a:lnTo>
                    <a:pt x="758" y="31"/>
                  </a:lnTo>
                  <a:lnTo>
                    <a:pt x="758" y="19"/>
                  </a:lnTo>
                  <a:lnTo>
                    <a:pt x="764" y="0"/>
                  </a:lnTo>
                  <a:lnTo>
                    <a:pt x="764" y="6"/>
                  </a:lnTo>
                  <a:lnTo>
                    <a:pt x="770" y="6"/>
                  </a:lnTo>
                  <a:lnTo>
                    <a:pt x="776" y="6"/>
                  </a:lnTo>
                  <a:lnTo>
                    <a:pt x="782" y="13"/>
                  </a:lnTo>
                  <a:lnTo>
                    <a:pt x="782" y="19"/>
                  </a:lnTo>
                  <a:lnTo>
                    <a:pt x="788" y="19"/>
                  </a:lnTo>
                  <a:lnTo>
                    <a:pt x="788" y="25"/>
                  </a:lnTo>
                  <a:lnTo>
                    <a:pt x="794" y="19"/>
                  </a:lnTo>
                  <a:lnTo>
                    <a:pt x="812" y="19"/>
                  </a:lnTo>
                  <a:lnTo>
                    <a:pt x="812" y="25"/>
                  </a:lnTo>
                  <a:lnTo>
                    <a:pt x="806" y="25"/>
                  </a:lnTo>
                  <a:lnTo>
                    <a:pt x="806" y="31"/>
                  </a:lnTo>
                  <a:lnTo>
                    <a:pt x="806" y="37"/>
                  </a:lnTo>
                  <a:lnTo>
                    <a:pt x="812" y="37"/>
                  </a:lnTo>
                  <a:lnTo>
                    <a:pt x="812" y="43"/>
                  </a:lnTo>
                  <a:lnTo>
                    <a:pt x="818" y="43"/>
                  </a:lnTo>
                  <a:lnTo>
                    <a:pt x="824" y="49"/>
                  </a:lnTo>
                  <a:lnTo>
                    <a:pt x="824" y="55"/>
                  </a:lnTo>
                  <a:lnTo>
                    <a:pt x="824" y="61"/>
                  </a:lnTo>
                  <a:lnTo>
                    <a:pt x="824" y="67"/>
                  </a:lnTo>
                  <a:lnTo>
                    <a:pt x="818" y="67"/>
                  </a:lnTo>
                  <a:lnTo>
                    <a:pt x="818" y="73"/>
                  </a:lnTo>
                  <a:lnTo>
                    <a:pt x="818" y="79"/>
                  </a:lnTo>
                  <a:lnTo>
                    <a:pt x="818" y="85"/>
                  </a:lnTo>
                  <a:lnTo>
                    <a:pt x="818" y="91"/>
                  </a:lnTo>
                  <a:lnTo>
                    <a:pt x="818" y="97"/>
                  </a:lnTo>
                  <a:lnTo>
                    <a:pt x="824" y="103"/>
                  </a:lnTo>
                  <a:lnTo>
                    <a:pt x="818" y="103"/>
                  </a:lnTo>
                  <a:lnTo>
                    <a:pt x="818" y="97"/>
                  </a:lnTo>
                  <a:lnTo>
                    <a:pt x="812" y="97"/>
                  </a:lnTo>
                  <a:lnTo>
                    <a:pt x="806" y="103"/>
                  </a:lnTo>
                  <a:lnTo>
                    <a:pt x="806" y="109"/>
                  </a:lnTo>
                  <a:lnTo>
                    <a:pt x="806" y="115"/>
                  </a:lnTo>
                  <a:lnTo>
                    <a:pt x="800" y="115"/>
                  </a:lnTo>
                  <a:lnTo>
                    <a:pt x="800" y="121"/>
                  </a:lnTo>
                  <a:lnTo>
                    <a:pt x="788" y="127"/>
                  </a:lnTo>
                  <a:lnTo>
                    <a:pt x="788" y="133"/>
                  </a:lnTo>
                  <a:lnTo>
                    <a:pt x="794" y="133"/>
                  </a:lnTo>
                  <a:lnTo>
                    <a:pt x="794" y="139"/>
                  </a:lnTo>
                  <a:lnTo>
                    <a:pt x="788" y="139"/>
                  </a:lnTo>
                  <a:lnTo>
                    <a:pt x="782" y="139"/>
                  </a:lnTo>
                  <a:lnTo>
                    <a:pt x="782" y="145"/>
                  </a:lnTo>
                  <a:lnTo>
                    <a:pt x="782" y="151"/>
                  </a:lnTo>
                  <a:lnTo>
                    <a:pt x="776" y="151"/>
                  </a:lnTo>
                  <a:lnTo>
                    <a:pt x="770" y="151"/>
                  </a:lnTo>
                  <a:lnTo>
                    <a:pt x="764" y="151"/>
                  </a:lnTo>
                  <a:lnTo>
                    <a:pt x="764" y="157"/>
                  </a:lnTo>
                  <a:lnTo>
                    <a:pt x="764" y="163"/>
                  </a:lnTo>
                  <a:lnTo>
                    <a:pt x="758" y="163"/>
                  </a:lnTo>
                  <a:lnTo>
                    <a:pt x="752" y="163"/>
                  </a:lnTo>
                  <a:lnTo>
                    <a:pt x="746" y="163"/>
                  </a:lnTo>
                  <a:lnTo>
                    <a:pt x="740" y="163"/>
                  </a:lnTo>
                  <a:lnTo>
                    <a:pt x="740" y="157"/>
                  </a:lnTo>
                  <a:lnTo>
                    <a:pt x="740" y="163"/>
                  </a:lnTo>
                  <a:lnTo>
                    <a:pt x="734" y="163"/>
                  </a:lnTo>
                  <a:lnTo>
                    <a:pt x="728" y="163"/>
                  </a:lnTo>
                  <a:lnTo>
                    <a:pt x="722" y="163"/>
                  </a:lnTo>
                  <a:lnTo>
                    <a:pt x="716" y="163"/>
                  </a:lnTo>
                  <a:lnTo>
                    <a:pt x="710" y="169"/>
                  </a:lnTo>
                  <a:lnTo>
                    <a:pt x="710" y="163"/>
                  </a:lnTo>
                  <a:lnTo>
                    <a:pt x="704" y="169"/>
                  </a:lnTo>
                  <a:lnTo>
                    <a:pt x="698" y="169"/>
                  </a:lnTo>
                  <a:lnTo>
                    <a:pt x="692" y="169"/>
                  </a:lnTo>
                  <a:lnTo>
                    <a:pt x="686" y="169"/>
                  </a:lnTo>
                  <a:lnTo>
                    <a:pt x="686" y="175"/>
                  </a:lnTo>
                  <a:lnTo>
                    <a:pt x="680" y="175"/>
                  </a:lnTo>
                  <a:lnTo>
                    <a:pt x="674" y="175"/>
                  </a:lnTo>
                  <a:lnTo>
                    <a:pt x="674" y="181"/>
                  </a:lnTo>
                  <a:lnTo>
                    <a:pt x="667" y="181"/>
                  </a:lnTo>
                  <a:lnTo>
                    <a:pt x="667" y="187"/>
                  </a:lnTo>
                  <a:lnTo>
                    <a:pt x="661" y="187"/>
                  </a:lnTo>
                  <a:lnTo>
                    <a:pt x="661" y="193"/>
                  </a:lnTo>
                  <a:lnTo>
                    <a:pt x="655" y="193"/>
                  </a:lnTo>
                  <a:lnTo>
                    <a:pt x="649" y="193"/>
                  </a:lnTo>
                  <a:lnTo>
                    <a:pt x="643" y="193"/>
                  </a:lnTo>
                  <a:lnTo>
                    <a:pt x="643" y="199"/>
                  </a:lnTo>
                  <a:lnTo>
                    <a:pt x="637" y="193"/>
                  </a:lnTo>
                  <a:lnTo>
                    <a:pt x="631" y="193"/>
                  </a:lnTo>
                  <a:lnTo>
                    <a:pt x="631" y="199"/>
                  </a:lnTo>
                  <a:lnTo>
                    <a:pt x="637" y="199"/>
                  </a:lnTo>
                  <a:lnTo>
                    <a:pt x="643" y="205"/>
                  </a:lnTo>
                  <a:lnTo>
                    <a:pt x="643" y="199"/>
                  </a:lnTo>
                  <a:lnTo>
                    <a:pt x="643" y="205"/>
                  </a:lnTo>
                  <a:lnTo>
                    <a:pt x="649" y="205"/>
                  </a:lnTo>
                  <a:lnTo>
                    <a:pt x="655" y="205"/>
                  </a:lnTo>
                  <a:lnTo>
                    <a:pt x="655" y="211"/>
                  </a:lnTo>
                  <a:lnTo>
                    <a:pt x="661" y="211"/>
                  </a:lnTo>
                  <a:lnTo>
                    <a:pt x="655" y="211"/>
                  </a:lnTo>
                  <a:lnTo>
                    <a:pt x="661" y="211"/>
                  </a:lnTo>
                  <a:lnTo>
                    <a:pt x="655" y="217"/>
                  </a:lnTo>
                  <a:lnTo>
                    <a:pt x="655" y="223"/>
                  </a:lnTo>
                  <a:lnTo>
                    <a:pt x="655" y="229"/>
                  </a:lnTo>
                  <a:lnTo>
                    <a:pt x="655" y="235"/>
                  </a:lnTo>
                  <a:lnTo>
                    <a:pt x="649" y="235"/>
                  </a:lnTo>
                  <a:lnTo>
                    <a:pt x="655" y="241"/>
                  </a:lnTo>
                  <a:lnTo>
                    <a:pt x="661" y="241"/>
                  </a:lnTo>
                  <a:lnTo>
                    <a:pt x="667" y="241"/>
                  </a:lnTo>
                  <a:lnTo>
                    <a:pt x="667" y="247"/>
                  </a:lnTo>
                  <a:lnTo>
                    <a:pt x="667" y="253"/>
                  </a:lnTo>
                  <a:lnTo>
                    <a:pt x="674" y="253"/>
                  </a:lnTo>
                  <a:lnTo>
                    <a:pt x="667" y="259"/>
                  </a:lnTo>
                  <a:lnTo>
                    <a:pt x="667" y="265"/>
                  </a:lnTo>
                  <a:lnTo>
                    <a:pt x="667" y="271"/>
                  </a:lnTo>
                  <a:lnTo>
                    <a:pt x="674" y="271"/>
                  </a:lnTo>
                  <a:lnTo>
                    <a:pt x="674" y="277"/>
                  </a:lnTo>
                  <a:lnTo>
                    <a:pt x="667" y="277"/>
                  </a:lnTo>
                  <a:lnTo>
                    <a:pt x="667" y="283"/>
                  </a:lnTo>
                  <a:lnTo>
                    <a:pt x="661" y="283"/>
                  </a:lnTo>
                  <a:lnTo>
                    <a:pt x="661" y="289"/>
                  </a:lnTo>
                  <a:lnTo>
                    <a:pt x="655" y="295"/>
                  </a:lnTo>
                  <a:lnTo>
                    <a:pt x="661" y="307"/>
                  </a:lnTo>
                  <a:lnTo>
                    <a:pt x="661" y="313"/>
                  </a:lnTo>
                  <a:lnTo>
                    <a:pt x="655" y="313"/>
                  </a:lnTo>
                  <a:lnTo>
                    <a:pt x="649" y="319"/>
                  </a:lnTo>
                  <a:lnTo>
                    <a:pt x="643" y="325"/>
                  </a:lnTo>
                  <a:lnTo>
                    <a:pt x="643" y="331"/>
                  </a:lnTo>
                  <a:lnTo>
                    <a:pt x="643" y="337"/>
                  </a:lnTo>
                  <a:lnTo>
                    <a:pt x="637" y="337"/>
                  </a:lnTo>
                  <a:lnTo>
                    <a:pt x="631" y="337"/>
                  </a:lnTo>
                  <a:lnTo>
                    <a:pt x="631" y="343"/>
                  </a:lnTo>
                  <a:lnTo>
                    <a:pt x="619" y="343"/>
                  </a:lnTo>
                  <a:lnTo>
                    <a:pt x="613" y="343"/>
                  </a:lnTo>
                  <a:lnTo>
                    <a:pt x="613" y="349"/>
                  </a:lnTo>
                  <a:lnTo>
                    <a:pt x="613" y="355"/>
                  </a:lnTo>
                  <a:lnTo>
                    <a:pt x="619" y="361"/>
                  </a:lnTo>
                  <a:lnTo>
                    <a:pt x="613" y="361"/>
                  </a:lnTo>
                  <a:lnTo>
                    <a:pt x="613" y="367"/>
                  </a:lnTo>
                  <a:lnTo>
                    <a:pt x="619" y="367"/>
                  </a:lnTo>
                  <a:lnTo>
                    <a:pt x="619" y="373"/>
                  </a:lnTo>
                  <a:lnTo>
                    <a:pt x="619" y="379"/>
                  </a:lnTo>
                  <a:lnTo>
                    <a:pt x="625" y="385"/>
                  </a:lnTo>
                  <a:lnTo>
                    <a:pt x="631" y="385"/>
                  </a:lnTo>
                  <a:lnTo>
                    <a:pt x="625" y="391"/>
                  </a:lnTo>
                  <a:lnTo>
                    <a:pt x="625" y="397"/>
                  </a:lnTo>
                  <a:lnTo>
                    <a:pt x="625" y="403"/>
                  </a:lnTo>
                  <a:lnTo>
                    <a:pt x="619" y="403"/>
                  </a:lnTo>
                  <a:lnTo>
                    <a:pt x="619" y="409"/>
                  </a:lnTo>
                  <a:lnTo>
                    <a:pt x="619" y="415"/>
                  </a:lnTo>
                  <a:lnTo>
                    <a:pt x="619" y="427"/>
                  </a:lnTo>
                  <a:lnTo>
                    <a:pt x="619" y="433"/>
                  </a:lnTo>
                  <a:lnTo>
                    <a:pt x="619" y="439"/>
                  </a:lnTo>
                  <a:lnTo>
                    <a:pt x="619" y="445"/>
                  </a:lnTo>
                  <a:lnTo>
                    <a:pt x="619" y="451"/>
                  </a:lnTo>
                  <a:lnTo>
                    <a:pt x="613" y="457"/>
                  </a:lnTo>
                  <a:lnTo>
                    <a:pt x="613" y="463"/>
                  </a:lnTo>
                  <a:lnTo>
                    <a:pt x="613" y="470"/>
                  </a:lnTo>
                  <a:lnTo>
                    <a:pt x="607" y="470"/>
                  </a:lnTo>
                  <a:lnTo>
                    <a:pt x="601" y="463"/>
                  </a:lnTo>
                  <a:lnTo>
                    <a:pt x="595" y="463"/>
                  </a:lnTo>
                  <a:lnTo>
                    <a:pt x="589" y="463"/>
                  </a:lnTo>
                  <a:lnTo>
                    <a:pt x="583" y="463"/>
                  </a:lnTo>
                  <a:lnTo>
                    <a:pt x="577" y="463"/>
                  </a:lnTo>
                  <a:lnTo>
                    <a:pt x="577" y="470"/>
                  </a:lnTo>
                  <a:lnTo>
                    <a:pt x="571" y="470"/>
                  </a:lnTo>
                  <a:lnTo>
                    <a:pt x="565" y="470"/>
                  </a:lnTo>
                  <a:lnTo>
                    <a:pt x="559" y="470"/>
                  </a:lnTo>
                  <a:lnTo>
                    <a:pt x="553" y="470"/>
                  </a:lnTo>
                  <a:lnTo>
                    <a:pt x="553" y="476"/>
                  </a:lnTo>
                  <a:lnTo>
                    <a:pt x="547" y="482"/>
                  </a:lnTo>
                  <a:lnTo>
                    <a:pt x="541" y="482"/>
                  </a:lnTo>
                  <a:lnTo>
                    <a:pt x="541" y="488"/>
                  </a:lnTo>
                  <a:lnTo>
                    <a:pt x="535" y="488"/>
                  </a:lnTo>
                  <a:lnTo>
                    <a:pt x="535" y="494"/>
                  </a:lnTo>
                  <a:lnTo>
                    <a:pt x="535" y="500"/>
                  </a:lnTo>
                  <a:lnTo>
                    <a:pt x="529" y="500"/>
                  </a:lnTo>
                  <a:lnTo>
                    <a:pt x="523" y="500"/>
                  </a:lnTo>
                  <a:lnTo>
                    <a:pt x="523" y="506"/>
                  </a:lnTo>
                  <a:lnTo>
                    <a:pt x="517" y="512"/>
                  </a:lnTo>
                  <a:lnTo>
                    <a:pt x="517" y="518"/>
                  </a:lnTo>
                  <a:lnTo>
                    <a:pt x="511" y="518"/>
                  </a:lnTo>
                  <a:lnTo>
                    <a:pt x="505" y="518"/>
                  </a:lnTo>
                  <a:lnTo>
                    <a:pt x="499" y="518"/>
                  </a:lnTo>
                  <a:lnTo>
                    <a:pt x="493" y="512"/>
                  </a:lnTo>
                  <a:lnTo>
                    <a:pt x="487" y="512"/>
                  </a:lnTo>
                  <a:lnTo>
                    <a:pt x="481" y="512"/>
                  </a:lnTo>
                  <a:lnTo>
                    <a:pt x="481" y="506"/>
                  </a:lnTo>
                  <a:lnTo>
                    <a:pt x="475" y="506"/>
                  </a:lnTo>
                  <a:lnTo>
                    <a:pt x="475" y="500"/>
                  </a:lnTo>
                  <a:lnTo>
                    <a:pt x="469" y="494"/>
                  </a:lnTo>
                  <a:lnTo>
                    <a:pt x="475" y="494"/>
                  </a:lnTo>
                  <a:lnTo>
                    <a:pt x="481" y="494"/>
                  </a:lnTo>
                  <a:lnTo>
                    <a:pt x="481" y="488"/>
                  </a:lnTo>
                  <a:lnTo>
                    <a:pt x="481" y="482"/>
                  </a:lnTo>
                  <a:lnTo>
                    <a:pt x="487" y="482"/>
                  </a:lnTo>
                  <a:lnTo>
                    <a:pt x="481" y="482"/>
                  </a:lnTo>
                  <a:lnTo>
                    <a:pt x="481" y="476"/>
                  </a:lnTo>
                  <a:lnTo>
                    <a:pt x="487" y="476"/>
                  </a:lnTo>
                  <a:lnTo>
                    <a:pt x="487" y="470"/>
                  </a:lnTo>
                  <a:lnTo>
                    <a:pt x="481" y="470"/>
                  </a:lnTo>
                  <a:lnTo>
                    <a:pt x="481" y="463"/>
                  </a:lnTo>
                  <a:lnTo>
                    <a:pt x="487" y="463"/>
                  </a:lnTo>
                  <a:lnTo>
                    <a:pt x="487" y="457"/>
                  </a:lnTo>
                  <a:lnTo>
                    <a:pt x="481" y="457"/>
                  </a:lnTo>
                  <a:lnTo>
                    <a:pt x="475" y="457"/>
                  </a:lnTo>
                  <a:lnTo>
                    <a:pt x="475" y="451"/>
                  </a:lnTo>
                  <a:lnTo>
                    <a:pt x="469" y="451"/>
                  </a:lnTo>
                  <a:lnTo>
                    <a:pt x="469" y="445"/>
                  </a:lnTo>
                  <a:lnTo>
                    <a:pt x="475" y="445"/>
                  </a:lnTo>
                  <a:lnTo>
                    <a:pt x="475" y="439"/>
                  </a:lnTo>
                  <a:lnTo>
                    <a:pt x="475" y="433"/>
                  </a:lnTo>
                  <a:lnTo>
                    <a:pt x="481" y="433"/>
                  </a:lnTo>
                  <a:lnTo>
                    <a:pt x="481" y="427"/>
                  </a:lnTo>
                  <a:lnTo>
                    <a:pt x="475" y="427"/>
                  </a:lnTo>
                  <a:lnTo>
                    <a:pt x="475" y="421"/>
                  </a:lnTo>
                  <a:lnTo>
                    <a:pt x="475" y="415"/>
                  </a:lnTo>
                  <a:lnTo>
                    <a:pt x="475" y="409"/>
                  </a:lnTo>
                  <a:lnTo>
                    <a:pt x="469" y="409"/>
                  </a:lnTo>
                  <a:lnTo>
                    <a:pt x="463" y="409"/>
                  </a:lnTo>
                  <a:lnTo>
                    <a:pt x="463" y="415"/>
                  </a:lnTo>
                  <a:lnTo>
                    <a:pt x="457" y="415"/>
                  </a:lnTo>
                  <a:lnTo>
                    <a:pt x="451" y="421"/>
                  </a:lnTo>
                  <a:lnTo>
                    <a:pt x="451" y="415"/>
                  </a:lnTo>
                  <a:lnTo>
                    <a:pt x="445" y="415"/>
                  </a:lnTo>
                  <a:lnTo>
                    <a:pt x="439" y="415"/>
                  </a:lnTo>
                  <a:lnTo>
                    <a:pt x="439" y="421"/>
                  </a:lnTo>
                  <a:lnTo>
                    <a:pt x="439" y="433"/>
                  </a:lnTo>
                  <a:lnTo>
                    <a:pt x="439" y="439"/>
                  </a:lnTo>
                  <a:lnTo>
                    <a:pt x="433" y="445"/>
                  </a:lnTo>
                  <a:lnTo>
                    <a:pt x="427" y="445"/>
                  </a:lnTo>
                  <a:lnTo>
                    <a:pt x="421" y="439"/>
                  </a:lnTo>
                  <a:lnTo>
                    <a:pt x="415" y="439"/>
                  </a:lnTo>
                  <a:lnTo>
                    <a:pt x="409" y="439"/>
                  </a:lnTo>
                  <a:lnTo>
                    <a:pt x="409" y="433"/>
                  </a:lnTo>
                  <a:lnTo>
                    <a:pt x="403" y="433"/>
                  </a:lnTo>
                  <a:lnTo>
                    <a:pt x="403" y="427"/>
                  </a:lnTo>
                  <a:lnTo>
                    <a:pt x="397" y="427"/>
                  </a:lnTo>
                  <a:lnTo>
                    <a:pt x="397" y="421"/>
                  </a:lnTo>
                  <a:lnTo>
                    <a:pt x="391" y="421"/>
                  </a:lnTo>
                  <a:lnTo>
                    <a:pt x="391" y="427"/>
                  </a:lnTo>
                  <a:lnTo>
                    <a:pt x="391" y="433"/>
                  </a:lnTo>
                  <a:lnTo>
                    <a:pt x="385" y="439"/>
                  </a:lnTo>
                  <a:lnTo>
                    <a:pt x="391" y="439"/>
                  </a:lnTo>
                  <a:lnTo>
                    <a:pt x="391" y="445"/>
                  </a:lnTo>
                  <a:lnTo>
                    <a:pt x="391" y="451"/>
                  </a:lnTo>
                  <a:lnTo>
                    <a:pt x="385" y="451"/>
                  </a:lnTo>
                  <a:lnTo>
                    <a:pt x="385" y="457"/>
                  </a:lnTo>
                  <a:lnTo>
                    <a:pt x="385" y="463"/>
                  </a:lnTo>
                  <a:lnTo>
                    <a:pt x="391" y="463"/>
                  </a:lnTo>
                  <a:lnTo>
                    <a:pt x="397" y="470"/>
                  </a:lnTo>
                  <a:lnTo>
                    <a:pt x="391" y="470"/>
                  </a:lnTo>
                  <a:lnTo>
                    <a:pt x="397" y="470"/>
                  </a:lnTo>
                  <a:lnTo>
                    <a:pt x="397" y="476"/>
                  </a:lnTo>
                  <a:lnTo>
                    <a:pt x="391" y="476"/>
                  </a:lnTo>
                  <a:lnTo>
                    <a:pt x="391" y="482"/>
                  </a:lnTo>
                  <a:lnTo>
                    <a:pt x="385" y="482"/>
                  </a:lnTo>
                  <a:lnTo>
                    <a:pt x="385" y="488"/>
                  </a:lnTo>
                  <a:lnTo>
                    <a:pt x="379" y="482"/>
                  </a:lnTo>
                  <a:lnTo>
                    <a:pt x="373" y="482"/>
                  </a:lnTo>
                  <a:lnTo>
                    <a:pt x="373" y="476"/>
                  </a:lnTo>
                  <a:lnTo>
                    <a:pt x="367" y="476"/>
                  </a:lnTo>
                  <a:lnTo>
                    <a:pt x="367" y="482"/>
                  </a:lnTo>
                  <a:lnTo>
                    <a:pt x="361" y="482"/>
                  </a:lnTo>
                  <a:lnTo>
                    <a:pt x="355" y="482"/>
                  </a:lnTo>
                  <a:lnTo>
                    <a:pt x="349" y="482"/>
                  </a:lnTo>
                  <a:lnTo>
                    <a:pt x="343" y="482"/>
                  </a:lnTo>
                  <a:lnTo>
                    <a:pt x="337" y="482"/>
                  </a:lnTo>
                  <a:lnTo>
                    <a:pt x="331" y="488"/>
                  </a:lnTo>
                  <a:lnTo>
                    <a:pt x="324" y="494"/>
                  </a:lnTo>
                  <a:lnTo>
                    <a:pt x="324" y="500"/>
                  </a:lnTo>
                  <a:lnTo>
                    <a:pt x="331" y="500"/>
                  </a:lnTo>
                  <a:lnTo>
                    <a:pt x="331" y="506"/>
                  </a:lnTo>
                  <a:lnTo>
                    <a:pt x="331" y="512"/>
                  </a:lnTo>
                  <a:lnTo>
                    <a:pt x="331" y="518"/>
                  </a:lnTo>
                  <a:lnTo>
                    <a:pt x="324" y="524"/>
                  </a:lnTo>
                  <a:lnTo>
                    <a:pt x="318" y="524"/>
                  </a:lnTo>
                  <a:lnTo>
                    <a:pt x="312" y="518"/>
                  </a:lnTo>
                  <a:lnTo>
                    <a:pt x="312" y="512"/>
                  </a:lnTo>
                  <a:lnTo>
                    <a:pt x="306" y="512"/>
                  </a:lnTo>
                  <a:lnTo>
                    <a:pt x="300" y="512"/>
                  </a:lnTo>
                  <a:lnTo>
                    <a:pt x="300" y="506"/>
                  </a:lnTo>
                  <a:lnTo>
                    <a:pt x="294" y="506"/>
                  </a:lnTo>
                  <a:lnTo>
                    <a:pt x="288" y="506"/>
                  </a:lnTo>
                  <a:lnTo>
                    <a:pt x="282" y="506"/>
                  </a:lnTo>
                  <a:lnTo>
                    <a:pt x="276" y="500"/>
                  </a:lnTo>
                  <a:lnTo>
                    <a:pt x="270" y="506"/>
                  </a:lnTo>
                  <a:lnTo>
                    <a:pt x="270" y="500"/>
                  </a:lnTo>
                  <a:lnTo>
                    <a:pt x="264" y="500"/>
                  </a:lnTo>
                  <a:lnTo>
                    <a:pt x="258" y="500"/>
                  </a:lnTo>
                  <a:lnTo>
                    <a:pt x="252" y="500"/>
                  </a:lnTo>
                  <a:lnTo>
                    <a:pt x="252" y="494"/>
                  </a:lnTo>
                  <a:lnTo>
                    <a:pt x="252" y="488"/>
                  </a:lnTo>
                  <a:lnTo>
                    <a:pt x="252" y="482"/>
                  </a:lnTo>
                  <a:lnTo>
                    <a:pt x="246" y="482"/>
                  </a:lnTo>
                  <a:lnTo>
                    <a:pt x="246" y="476"/>
                  </a:lnTo>
                  <a:lnTo>
                    <a:pt x="240" y="476"/>
                  </a:lnTo>
                  <a:lnTo>
                    <a:pt x="240" y="463"/>
                  </a:lnTo>
                  <a:lnTo>
                    <a:pt x="234" y="463"/>
                  </a:lnTo>
                  <a:lnTo>
                    <a:pt x="228" y="463"/>
                  </a:lnTo>
                  <a:lnTo>
                    <a:pt x="222" y="463"/>
                  </a:lnTo>
                  <a:lnTo>
                    <a:pt x="216" y="470"/>
                  </a:lnTo>
                  <a:lnTo>
                    <a:pt x="210" y="463"/>
                  </a:lnTo>
                  <a:lnTo>
                    <a:pt x="210" y="470"/>
                  </a:lnTo>
                  <a:lnTo>
                    <a:pt x="204" y="470"/>
                  </a:lnTo>
                  <a:lnTo>
                    <a:pt x="204" y="463"/>
                  </a:lnTo>
                  <a:lnTo>
                    <a:pt x="204" y="457"/>
                  </a:lnTo>
                  <a:lnTo>
                    <a:pt x="198" y="457"/>
                  </a:lnTo>
                  <a:lnTo>
                    <a:pt x="198" y="463"/>
                  </a:lnTo>
                  <a:lnTo>
                    <a:pt x="192" y="470"/>
                  </a:lnTo>
                  <a:lnTo>
                    <a:pt x="186" y="470"/>
                  </a:lnTo>
                  <a:lnTo>
                    <a:pt x="186" y="476"/>
                  </a:lnTo>
                  <a:lnTo>
                    <a:pt x="180" y="476"/>
                  </a:lnTo>
                  <a:lnTo>
                    <a:pt x="186" y="476"/>
                  </a:lnTo>
                  <a:lnTo>
                    <a:pt x="186" y="482"/>
                  </a:lnTo>
                  <a:lnTo>
                    <a:pt x="180" y="482"/>
                  </a:lnTo>
                  <a:lnTo>
                    <a:pt x="186" y="482"/>
                  </a:lnTo>
                  <a:lnTo>
                    <a:pt x="186" y="488"/>
                  </a:lnTo>
                  <a:lnTo>
                    <a:pt x="180" y="488"/>
                  </a:lnTo>
                  <a:lnTo>
                    <a:pt x="180" y="494"/>
                  </a:lnTo>
                  <a:lnTo>
                    <a:pt x="174" y="494"/>
                  </a:lnTo>
                  <a:lnTo>
                    <a:pt x="180" y="494"/>
                  </a:lnTo>
                  <a:lnTo>
                    <a:pt x="180" y="500"/>
                  </a:lnTo>
                  <a:lnTo>
                    <a:pt x="174" y="500"/>
                  </a:lnTo>
                  <a:lnTo>
                    <a:pt x="168" y="500"/>
                  </a:lnTo>
                  <a:lnTo>
                    <a:pt x="168" y="506"/>
                  </a:lnTo>
                  <a:lnTo>
                    <a:pt x="168" y="512"/>
                  </a:lnTo>
                  <a:lnTo>
                    <a:pt x="162" y="512"/>
                  </a:lnTo>
                  <a:lnTo>
                    <a:pt x="156" y="518"/>
                  </a:lnTo>
                  <a:lnTo>
                    <a:pt x="150" y="518"/>
                  </a:lnTo>
                  <a:lnTo>
                    <a:pt x="144" y="524"/>
                  </a:lnTo>
                  <a:lnTo>
                    <a:pt x="138" y="518"/>
                  </a:lnTo>
                  <a:lnTo>
                    <a:pt x="144" y="512"/>
                  </a:lnTo>
                  <a:lnTo>
                    <a:pt x="144" y="506"/>
                  </a:lnTo>
                  <a:lnTo>
                    <a:pt x="138" y="500"/>
                  </a:lnTo>
                  <a:lnTo>
                    <a:pt x="138" y="494"/>
                  </a:lnTo>
                  <a:lnTo>
                    <a:pt x="132" y="488"/>
                  </a:lnTo>
                  <a:lnTo>
                    <a:pt x="120" y="488"/>
                  </a:lnTo>
                  <a:lnTo>
                    <a:pt x="114" y="488"/>
                  </a:lnTo>
                  <a:lnTo>
                    <a:pt x="114" y="482"/>
                  </a:lnTo>
                  <a:lnTo>
                    <a:pt x="108" y="476"/>
                  </a:lnTo>
                  <a:lnTo>
                    <a:pt x="108" y="470"/>
                  </a:lnTo>
                  <a:lnTo>
                    <a:pt x="102" y="476"/>
                  </a:lnTo>
                  <a:lnTo>
                    <a:pt x="96" y="476"/>
                  </a:lnTo>
                  <a:lnTo>
                    <a:pt x="90" y="476"/>
                  </a:lnTo>
                  <a:lnTo>
                    <a:pt x="84" y="470"/>
                  </a:lnTo>
                  <a:lnTo>
                    <a:pt x="84" y="463"/>
                  </a:lnTo>
                  <a:lnTo>
                    <a:pt x="84" y="457"/>
                  </a:lnTo>
                  <a:lnTo>
                    <a:pt x="78" y="451"/>
                  </a:lnTo>
                  <a:lnTo>
                    <a:pt x="78" y="445"/>
                  </a:lnTo>
                  <a:lnTo>
                    <a:pt x="78" y="439"/>
                  </a:lnTo>
                  <a:lnTo>
                    <a:pt x="78" y="433"/>
                  </a:lnTo>
                  <a:lnTo>
                    <a:pt x="72" y="427"/>
                  </a:lnTo>
                  <a:lnTo>
                    <a:pt x="78" y="421"/>
                  </a:lnTo>
                  <a:lnTo>
                    <a:pt x="72" y="415"/>
                  </a:lnTo>
                  <a:lnTo>
                    <a:pt x="78" y="409"/>
                  </a:lnTo>
                  <a:lnTo>
                    <a:pt x="72" y="409"/>
                  </a:lnTo>
                  <a:lnTo>
                    <a:pt x="72" y="403"/>
                  </a:lnTo>
                  <a:lnTo>
                    <a:pt x="72" y="397"/>
                  </a:lnTo>
                  <a:lnTo>
                    <a:pt x="72" y="391"/>
                  </a:lnTo>
                  <a:lnTo>
                    <a:pt x="78" y="391"/>
                  </a:lnTo>
                  <a:lnTo>
                    <a:pt x="78" y="385"/>
                  </a:lnTo>
                  <a:lnTo>
                    <a:pt x="78" y="379"/>
                  </a:lnTo>
                  <a:lnTo>
                    <a:pt x="78" y="373"/>
                  </a:lnTo>
                  <a:lnTo>
                    <a:pt x="78" y="367"/>
                  </a:lnTo>
                  <a:lnTo>
                    <a:pt x="78" y="361"/>
                  </a:lnTo>
                  <a:lnTo>
                    <a:pt x="78" y="355"/>
                  </a:lnTo>
                  <a:lnTo>
                    <a:pt x="72" y="355"/>
                  </a:lnTo>
                  <a:lnTo>
                    <a:pt x="72" y="349"/>
                  </a:lnTo>
                  <a:lnTo>
                    <a:pt x="66" y="343"/>
                  </a:lnTo>
                  <a:lnTo>
                    <a:pt x="60" y="343"/>
                  </a:lnTo>
                  <a:lnTo>
                    <a:pt x="54" y="349"/>
                  </a:lnTo>
                  <a:lnTo>
                    <a:pt x="54" y="343"/>
                  </a:lnTo>
                  <a:lnTo>
                    <a:pt x="48" y="343"/>
                  </a:lnTo>
                  <a:lnTo>
                    <a:pt x="42" y="343"/>
                  </a:lnTo>
                  <a:lnTo>
                    <a:pt x="42" y="349"/>
                  </a:lnTo>
                  <a:lnTo>
                    <a:pt x="36" y="355"/>
                  </a:lnTo>
                  <a:lnTo>
                    <a:pt x="36" y="361"/>
                  </a:lnTo>
                  <a:lnTo>
                    <a:pt x="36" y="367"/>
                  </a:lnTo>
                  <a:lnTo>
                    <a:pt x="30" y="361"/>
                  </a:lnTo>
                  <a:lnTo>
                    <a:pt x="24" y="367"/>
                  </a:lnTo>
                  <a:lnTo>
                    <a:pt x="18" y="367"/>
                  </a:lnTo>
                  <a:lnTo>
                    <a:pt x="12" y="367"/>
                  </a:lnTo>
                  <a:lnTo>
                    <a:pt x="6" y="367"/>
                  </a:lnTo>
                  <a:lnTo>
                    <a:pt x="0" y="367"/>
                  </a:lnTo>
                  <a:lnTo>
                    <a:pt x="0" y="361"/>
                  </a:lnTo>
                  <a:lnTo>
                    <a:pt x="0" y="355"/>
                  </a:lnTo>
                  <a:lnTo>
                    <a:pt x="6" y="355"/>
                  </a:lnTo>
                  <a:lnTo>
                    <a:pt x="6" y="349"/>
                  </a:lnTo>
                  <a:lnTo>
                    <a:pt x="12" y="343"/>
                  </a:lnTo>
                  <a:lnTo>
                    <a:pt x="12" y="337"/>
                  </a:lnTo>
                  <a:lnTo>
                    <a:pt x="18" y="331"/>
                  </a:lnTo>
                  <a:lnTo>
                    <a:pt x="18" y="337"/>
                  </a:lnTo>
                  <a:lnTo>
                    <a:pt x="24" y="337"/>
                  </a:lnTo>
                  <a:lnTo>
                    <a:pt x="24" y="331"/>
                  </a:lnTo>
                  <a:lnTo>
                    <a:pt x="24" y="325"/>
                  </a:lnTo>
                  <a:lnTo>
                    <a:pt x="24" y="319"/>
                  </a:lnTo>
                  <a:lnTo>
                    <a:pt x="30" y="319"/>
                  </a:lnTo>
                  <a:lnTo>
                    <a:pt x="36" y="313"/>
                  </a:lnTo>
                  <a:lnTo>
                    <a:pt x="36" y="319"/>
                  </a:lnTo>
                  <a:lnTo>
                    <a:pt x="42" y="313"/>
                  </a:lnTo>
                  <a:lnTo>
                    <a:pt x="36" y="313"/>
                  </a:lnTo>
                  <a:lnTo>
                    <a:pt x="36" y="307"/>
                  </a:lnTo>
                  <a:lnTo>
                    <a:pt x="42" y="301"/>
                  </a:lnTo>
                  <a:lnTo>
                    <a:pt x="48" y="301"/>
                  </a:lnTo>
                  <a:lnTo>
                    <a:pt x="48" y="307"/>
                  </a:lnTo>
                  <a:lnTo>
                    <a:pt x="54" y="307"/>
                  </a:lnTo>
                  <a:lnTo>
                    <a:pt x="60" y="307"/>
                  </a:lnTo>
                  <a:lnTo>
                    <a:pt x="60" y="301"/>
                  </a:lnTo>
                  <a:lnTo>
                    <a:pt x="60" y="295"/>
                  </a:lnTo>
                  <a:lnTo>
                    <a:pt x="54" y="295"/>
                  </a:lnTo>
                  <a:lnTo>
                    <a:pt x="54" y="289"/>
                  </a:lnTo>
                  <a:lnTo>
                    <a:pt x="60" y="289"/>
                  </a:lnTo>
                  <a:lnTo>
                    <a:pt x="60" y="283"/>
                  </a:lnTo>
                  <a:lnTo>
                    <a:pt x="54" y="283"/>
                  </a:lnTo>
                  <a:lnTo>
                    <a:pt x="48" y="283"/>
                  </a:lnTo>
                  <a:lnTo>
                    <a:pt x="42" y="283"/>
                  </a:lnTo>
                  <a:lnTo>
                    <a:pt x="36" y="283"/>
                  </a:lnTo>
                  <a:lnTo>
                    <a:pt x="36" y="277"/>
                  </a:lnTo>
                  <a:lnTo>
                    <a:pt x="30" y="277"/>
                  </a:lnTo>
                  <a:lnTo>
                    <a:pt x="30" y="271"/>
                  </a:lnTo>
                  <a:lnTo>
                    <a:pt x="36" y="271"/>
                  </a:lnTo>
                  <a:lnTo>
                    <a:pt x="30" y="271"/>
                  </a:lnTo>
                  <a:lnTo>
                    <a:pt x="30" y="265"/>
                  </a:lnTo>
                  <a:lnTo>
                    <a:pt x="24" y="271"/>
                  </a:lnTo>
                  <a:lnTo>
                    <a:pt x="24" y="265"/>
                  </a:lnTo>
                  <a:lnTo>
                    <a:pt x="24" y="271"/>
                  </a:lnTo>
                  <a:lnTo>
                    <a:pt x="24" y="265"/>
                  </a:lnTo>
                  <a:lnTo>
                    <a:pt x="30" y="265"/>
                  </a:lnTo>
                  <a:lnTo>
                    <a:pt x="30" y="259"/>
                  </a:lnTo>
                  <a:lnTo>
                    <a:pt x="30" y="253"/>
                  </a:lnTo>
                  <a:lnTo>
                    <a:pt x="30" y="247"/>
                  </a:lnTo>
                  <a:lnTo>
                    <a:pt x="36" y="247"/>
                  </a:lnTo>
                  <a:lnTo>
                    <a:pt x="30" y="247"/>
                  </a:lnTo>
                  <a:lnTo>
                    <a:pt x="36" y="241"/>
                  </a:lnTo>
                  <a:lnTo>
                    <a:pt x="30" y="241"/>
                  </a:lnTo>
                  <a:lnTo>
                    <a:pt x="36" y="241"/>
                  </a:lnTo>
                  <a:lnTo>
                    <a:pt x="42" y="241"/>
                  </a:lnTo>
                  <a:lnTo>
                    <a:pt x="42" y="235"/>
                  </a:lnTo>
                  <a:lnTo>
                    <a:pt x="54" y="229"/>
                  </a:lnTo>
                  <a:lnTo>
                    <a:pt x="66" y="229"/>
                  </a:lnTo>
                  <a:lnTo>
                    <a:pt x="84" y="223"/>
                  </a:lnTo>
                  <a:lnTo>
                    <a:pt x="120" y="223"/>
                  </a:lnTo>
                  <a:lnTo>
                    <a:pt x="126" y="223"/>
                  </a:lnTo>
                  <a:lnTo>
                    <a:pt x="138" y="205"/>
                  </a:lnTo>
                  <a:lnTo>
                    <a:pt x="144" y="205"/>
                  </a:lnTo>
                  <a:lnTo>
                    <a:pt x="162" y="193"/>
                  </a:lnTo>
                  <a:lnTo>
                    <a:pt x="180" y="181"/>
                  </a:lnTo>
                  <a:lnTo>
                    <a:pt x="186" y="181"/>
                  </a:lnTo>
                  <a:lnTo>
                    <a:pt x="186" y="175"/>
                  </a:lnTo>
                  <a:lnTo>
                    <a:pt x="192" y="175"/>
                  </a:lnTo>
                  <a:lnTo>
                    <a:pt x="198" y="175"/>
                  </a:lnTo>
                  <a:lnTo>
                    <a:pt x="204" y="175"/>
                  </a:lnTo>
                  <a:lnTo>
                    <a:pt x="210" y="169"/>
                  </a:lnTo>
                  <a:lnTo>
                    <a:pt x="216" y="169"/>
                  </a:lnTo>
                  <a:lnTo>
                    <a:pt x="216" y="163"/>
                  </a:lnTo>
                  <a:lnTo>
                    <a:pt x="222" y="163"/>
                  </a:lnTo>
                  <a:lnTo>
                    <a:pt x="222" y="157"/>
                  </a:lnTo>
                  <a:lnTo>
                    <a:pt x="228" y="157"/>
                  </a:lnTo>
                  <a:lnTo>
                    <a:pt x="222" y="151"/>
                  </a:lnTo>
                  <a:lnTo>
                    <a:pt x="222" y="145"/>
                  </a:lnTo>
                  <a:lnTo>
                    <a:pt x="228" y="139"/>
                  </a:lnTo>
                  <a:lnTo>
                    <a:pt x="222" y="139"/>
                  </a:lnTo>
                  <a:lnTo>
                    <a:pt x="228" y="139"/>
                  </a:lnTo>
                  <a:lnTo>
                    <a:pt x="228" y="133"/>
                  </a:lnTo>
                  <a:lnTo>
                    <a:pt x="234" y="133"/>
                  </a:lnTo>
                  <a:lnTo>
                    <a:pt x="234" y="127"/>
                  </a:lnTo>
                  <a:lnTo>
                    <a:pt x="240" y="127"/>
                  </a:lnTo>
                  <a:lnTo>
                    <a:pt x="246" y="127"/>
                  </a:lnTo>
                  <a:lnTo>
                    <a:pt x="246" y="121"/>
                  </a:lnTo>
                  <a:lnTo>
                    <a:pt x="252" y="121"/>
                  </a:lnTo>
                  <a:lnTo>
                    <a:pt x="258" y="121"/>
                  </a:lnTo>
                  <a:lnTo>
                    <a:pt x="258" y="115"/>
                  </a:lnTo>
                  <a:lnTo>
                    <a:pt x="264" y="115"/>
                  </a:lnTo>
                  <a:lnTo>
                    <a:pt x="264" y="109"/>
                  </a:lnTo>
                  <a:lnTo>
                    <a:pt x="264" y="115"/>
                  </a:lnTo>
                  <a:lnTo>
                    <a:pt x="270" y="115"/>
                  </a:lnTo>
                  <a:lnTo>
                    <a:pt x="270" y="109"/>
                  </a:lnTo>
                  <a:lnTo>
                    <a:pt x="270" y="103"/>
                  </a:lnTo>
                  <a:lnTo>
                    <a:pt x="270" y="97"/>
                  </a:lnTo>
                  <a:lnTo>
                    <a:pt x="276" y="97"/>
                  </a:lnTo>
                  <a:lnTo>
                    <a:pt x="276" y="91"/>
                  </a:lnTo>
                  <a:lnTo>
                    <a:pt x="282" y="91"/>
                  </a:lnTo>
                  <a:lnTo>
                    <a:pt x="288" y="91"/>
                  </a:lnTo>
                  <a:lnTo>
                    <a:pt x="288" y="85"/>
                  </a:lnTo>
                  <a:lnTo>
                    <a:pt x="294" y="85"/>
                  </a:lnTo>
                  <a:lnTo>
                    <a:pt x="294" y="79"/>
                  </a:lnTo>
                  <a:lnTo>
                    <a:pt x="300" y="79"/>
                  </a:lnTo>
                  <a:lnTo>
                    <a:pt x="300" y="73"/>
                  </a:lnTo>
                  <a:lnTo>
                    <a:pt x="300" y="79"/>
                  </a:lnTo>
                  <a:lnTo>
                    <a:pt x="300" y="85"/>
                  </a:lnTo>
                  <a:lnTo>
                    <a:pt x="294" y="85"/>
                  </a:lnTo>
                  <a:lnTo>
                    <a:pt x="294" y="91"/>
                  </a:lnTo>
                  <a:lnTo>
                    <a:pt x="300" y="91"/>
                  </a:lnTo>
                  <a:lnTo>
                    <a:pt x="300" y="97"/>
                  </a:lnTo>
                  <a:lnTo>
                    <a:pt x="300" y="103"/>
                  </a:lnTo>
                  <a:lnTo>
                    <a:pt x="306" y="109"/>
                  </a:lnTo>
                  <a:lnTo>
                    <a:pt x="306" y="115"/>
                  </a:lnTo>
                  <a:lnTo>
                    <a:pt x="300" y="115"/>
                  </a:lnTo>
                  <a:lnTo>
                    <a:pt x="300" y="121"/>
                  </a:lnTo>
                  <a:lnTo>
                    <a:pt x="306" y="121"/>
                  </a:lnTo>
                  <a:lnTo>
                    <a:pt x="312" y="127"/>
                  </a:lnTo>
                  <a:lnTo>
                    <a:pt x="306" y="127"/>
                  </a:lnTo>
                  <a:lnTo>
                    <a:pt x="306" y="133"/>
                  </a:lnTo>
                  <a:lnTo>
                    <a:pt x="300" y="133"/>
                  </a:lnTo>
                  <a:lnTo>
                    <a:pt x="300" y="139"/>
                  </a:lnTo>
                  <a:lnTo>
                    <a:pt x="306" y="139"/>
                  </a:lnTo>
                  <a:lnTo>
                    <a:pt x="306" y="145"/>
                  </a:lnTo>
                  <a:lnTo>
                    <a:pt x="300" y="145"/>
                  </a:lnTo>
                  <a:lnTo>
                    <a:pt x="300" y="151"/>
                  </a:lnTo>
                  <a:lnTo>
                    <a:pt x="294" y="151"/>
                  </a:lnTo>
                  <a:lnTo>
                    <a:pt x="294" y="157"/>
                  </a:lnTo>
                  <a:lnTo>
                    <a:pt x="300" y="157"/>
                  </a:lnTo>
                  <a:lnTo>
                    <a:pt x="306" y="157"/>
                  </a:lnTo>
                  <a:lnTo>
                    <a:pt x="306" y="163"/>
                  </a:lnTo>
                  <a:lnTo>
                    <a:pt x="300" y="169"/>
                  </a:lnTo>
                  <a:lnTo>
                    <a:pt x="306" y="169"/>
                  </a:lnTo>
                  <a:lnTo>
                    <a:pt x="312" y="169"/>
                  </a:lnTo>
                  <a:lnTo>
                    <a:pt x="324" y="169"/>
                  </a:lnTo>
                  <a:lnTo>
                    <a:pt x="331" y="169"/>
                  </a:lnTo>
                  <a:lnTo>
                    <a:pt x="337" y="169"/>
                  </a:lnTo>
                  <a:lnTo>
                    <a:pt x="337" y="193"/>
                  </a:lnTo>
                  <a:lnTo>
                    <a:pt x="343" y="187"/>
                  </a:lnTo>
                  <a:lnTo>
                    <a:pt x="349" y="193"/>
                  </a:lnTo>
                  <a:lnTo>
                    <a:pt x="355" y="199"/>
                  </a:lnTo>
                  <a:lnTo>
                    <a:pt x="367" y="199"/>
                  </a:lnTo>
                  <a:lnTo>
                    <a:pt x="385" y="205"/>
                  </a:lnTo>
                  <a:lnTo>
                    <a:pt x="391" y="205"/>
                  </a:lnTo>
                  <a:lnTo>
                    <a:pt x="397" y="205"/>
                  </a:lnTo>
                  <a:lnTo>
                    <a:pt x="397" y="211"/>
                  </a:lnTo>
                  <a:lnTo>
                    <a:pt x="403" y="211"/>
                  </a:lnTo>
                  <a:lnTo>
                    <a:pt x="409" y="211"/>
                  </a:lnTo>
                  <a:lnTo>
                    <a:pt x="409" y="217"/>
                  </a:lnTo>
                  <a:lnTo>
                    <a:pt x="409" y="223"/>
                  </a:lnTo>
                  <a:lnTo>
                    <a:pt x="409" y="229"/>
                  </a:lnTo>
                  <a:lnTo>
                    <a:pt x="409" y="235"/>
                  </a:lnTo>
                  <a:lnTo>
                    <a:pt x="415" y="235"/>
                  </a:lnTo>
                  <a:lnTo>
                    <a:pt x="421" y="229"/>
                  </a:lnTo>
                  <a:lnTo>
                    <a:pt x="421" y="223"/>
                  </a:lnTo>
                  <a:lnTo>
                    <a:pt x="427" y="223"/>
                  </a:lnTo>
                  <a:lnTo>
                    <a:pt x="421" y="223"/>
                  </a:lnTo>
                  <a:lnTo>
                    <a:pt x="421" y="217"/>
                  </a:lnTo>
                  <a:lnTo>
                    <a:pt x="427" y="211"/>
                  </a:lnTo>
                  <a:lnTo>
                    <a:pt x="433" y="205"/>
                  </a:lnTo>
                  <a:lnTo>
                    <a:pt x="433" y="199"/>
                  </a:lnTo>
                  <a:lnTo>
                    <a:pt x="439" y="193"/>
                  </a:lnTo>
                  <a:lnTo>
                    <a:pt x="439" y="187"/>
                  </a:lnTo>
                  <a:lnTo>
                    <a:pt x="445" y="187"/>
                  </a:lnTo>
                  <a:lnTo>
                    <a:pt x="445" y="181"/>
                  </a:lnTo>
                  <a:lnTo>
                    <a:pt x="445" y="175"/>
                  </a:lnTo>
                  <a:lnTo>
                    <a:pt x="451" y="175"/>
                  </a:lnTo>
                  <a:lnTo>
                    <a:pt x="445" y="169"/>
                  </a:lnTo>
                  <a:lnTo>
                    <a:pt x="445" y="163"/>
                  </a:lnTo>
                  <a:lnTo>
                    <a:pt x="445" y="157"/>
                  </a:lnTo>
                  <a:lnTo>
                    <a:pt x="451" y="151"/>
                  </a:lnTo>
                  <a:lnTo>
                    <a:pt x="451" y="145"/>
                  </a:lnTo>
                  <a:lnTo>
                    <a:pt x="457" y="145"/>
                  </a:lnTo>
                  <a:lnTo>
                    <a:pt x="469" y="145"/>
                  </a:lnTo>
                  <a:lnTo>
                    <a:pt x="481" y="151"/>
                  </a:lnTo>
                  <a:lnTo>
                    <a:pt x="487" y="157"/>
                  </a:lnTo>
                  <a:lnTo>
                    <a:pt x="493" y="151"/>
                  </a:lnTo>
                  <a:lnTo>
                    <a:pt x="487" y="145"/>
                  </a:lnTo>
                  <a:lnTo>
                    <a:pt x="493" y="133"/>
                  </a:lnTo>
                  <a:lnTo>
                    <a:pt x="499" y="133"/>
                  </a:lnTo>
                  <a:lnTo>
                    <a:pt x="511" y="133"/>
                  </a:lnTo>
                  <a:lnTo>
                    <a:pt x="523" y="133"/>
                  </a:lnTo>
                  <a:lnTo>
                    <a:pt x="523" y="115"/>
                  </a:lnTo>
                  <a:lnTo>
                    <a:pt x="517" y="115"/>
                  </a:lnTo>
                  <a:lnTo>
                    <a:pt x="517" y="109"/>
                  </a:lnTo>
                  <a:lnTo>
                    <a:pt x="517" y="103"/>
                  </a:lnTo>
                  <a:lnTo>
                    <a:pt x="517" y="97"/>
                  </a:lnTo>
                  <a:lnTo>
                    <a:pt x="511" y="97"/>
                  </a:lnTo>
                  <a:lnTo>
                    <a:pt x="511" y="103"/>
                  </a:lnTo>
                  <a:lnTo>
                    <a:pt x="505" y="103"/>
                  </a:lnTo>
                  <a:lnTo>
                    <a:pt x="499" y="103"/>
                  </a:lnTo>
                  <a:lnTo>
                    <a:pt x="493" y="103"/>
                  </a:lnTo>
                  <a:lnTo>
                    <a:pt x="493" y="97"/>
                  </a:lnTo>
                  <a:lnTo>
                    <a:pt x="487" y="91"/>
                  </a:lnTo>
                  <a:lnTo>
                    <a:pt x="487" y="85"/>
                  </a:lnTo>
                  <a:lnTo>
                    <a:pt x="481" y="85"/>
                  </a:lnTo>
                  <a:lnTo>
                    <a:pt x="475" y="85"/>
                  </a:lnTo>
                  <a:lnTo>
                    <a:pt x="469" y="85"/>
                  </a:lnTo>
                  <a:lnTo>
                    <a:pt x="469" y="79"/>
                  </a:lnTo>
                  <a:lnTo>
                    <a:pt x="469" y="73"/>
                  </a:lnTo>
                  <a:lnTo>
                    <a:pt x="463" y="67"/>
                  </a:lnTo>
                  <a:lnTo>
                    <a:pt x="469" y="67"/>
                  </a:lnTo>
                  <a:lnTo>
                    <a:pt x="469" y="61"/>
                  </a:lnTo>
                  <a:lnTo>
                    <a:pt x="469" y="55"/>
                  </a:lnTo>
                  <a:close/>
                </a:path>
              </a:pathLst>
            </a:custGeom>
            <a:solidFill>
              <a:schemeClr val="accent3"/>
            </a:solidFill>
            <a:ln w="9525">
              <a:solidFill>
                <a:srgbClr val="808080"/>
              </a:solidFill>
              <a:round/>
              <a:headEnd/>
              <a:tailEnd/>
            </a:ln>
          </p:spPr>
          <p:txBody>
            <a:bodyPr/>
            <a:lstStyle/>
            <a:p>
              <a:pPr fontAlgn="base">
                <a:spcBef>
                  <a:spcPct val="0"/>
                </a:spcBef>
                <a:spcAft>
                  <a:spcPct val="0"/>
                </a:spcAft>
                <a:buClrTx/>
                <a:buFontTx/>
                <a:buNone/>
              </a:pPr>
              <a:endParaRPr lang="en-US" sz="1600" kern="1200" dirty="0">
                <a:latin typeface="Arial" charset="0"/>
                <a:ea typeface="+mn-ea"/>
                <a:cs typeface="+mn-cs"/>
              </a:endParaRPr>
            </a:p>
          </p:txBody>
        </p:sp>
        <p:sp>
          <p:nvSpPr>
            <p:cNvPr id="106" name="Freeform 63"/>
            <p:cNvSpPr>
              <a:spLocks/>
            </p:cNvSpPr>
            <p:nvPr/>
          </p:nvSpPr>
          <p:spPr bwMode="auto">
            <a:xfrm>
              <a:off x="1189038" y="4343400"/>
              <a:ext cx="946150" cy="946150"/>
            </a:xfrm>
            <a:custGeom>
              <a:avLst/>
              <a:gdLst>
                <a:gd name="T0" fmla="*/ 175 w 596"/>
                <a:gd name="T1" fmla="*/ 12 h 596"/>
                <a:gd name="T2" fmla="*/ 205 w 596"/>
                <a:gd name="T3" fmla="*/ 12 h 596"/>
                <a:gd name="T4" fmla="*/ 265 w 596"/>
                <a:gd name="T5" fmla="*/ 12 h 596"/>
                <a:gd name="T6" fmla="*/ 295 w 596"/>
                <a:gd name="T7" fmla="*/ 12 h 596"/>
                <a:gd name="T8" fmla="*/ 331 w 596"/>
                <a:gd name="T9" fmla="*/ 12 h 596"/>
                <a:gd name="T10" fmla="*/ 368 w 596"/>
                <a:gd name="T11" fmla="*/ 42 h 596"/>
                <a:gd name="T12" fmla="*/ 343 w 596"/>
                <a:gd name="T13" fmla="*/ 115 h 596"/>
                <a:gd name="T14" fmla="*/ 289 w 596"/>
                <a:gd name="T15" fmla="*/ 139 h 596"/>
                <a:gd name="T16" fmla="*/ 277 w 596"/>
                <a:gd name="T17" fmla="*/ 181 h 596"/>
                <a:gd name="T18" fmla="*/ 301 w 596"/>
                <a:gd name="T19" fmla="*/ 223 h 596"/>
                <a:gd name="T20" fmla="*/ 362 w 596"/>
                <a:gd name="T21" fmla="*/ 271 h 596"/>
                <a:gd name="T22" fmla="*/ 374 w 596"/>
                <a:gd name="T23" fmla="*/ 319 h 596"/>
                <a:gd name="T24" fmla="*/ 428 w 596"/>
                <a:gd name="T25" fmla="*/ 325 h 596"/>
                <a:gd name="T26" fmla="*/ 428 w 596"/>
                <a:gd name="T27" fmla="*/ 355 h 596"/>
                <a:gd name="T28" fmla="*/ 440 w 596"/>
                <a:gd name="T29" fmla="*/ 385 h 596"/>
                <a:gd name="T30" fmla="*/ 464 w 596"/>
                <a:gd name="T31" fmla="*/ 385 h 596"/>
                <a:gd name="T32" fmla="*/ 500 w 596"/>
                <a:gd name="T33" fmla="*/ 373 h 596"/>
                <a:gd name="T34" fmla="*/ 524 w 596"/>
                <a:gd name="T35" fmla="*/ 349 h 596"/>
                <a:gd name="T36" fmla="*/ 536 w 596"/>
                <a:gd name="T37" fmla="*/ 331 h 596"/>
                <a:gd name="T38" fmla="*/ 584 w 596"/>
                <a:gd name="T39" fmla="*/ 343 h 596"/>
                <a:gd name="T40" fmla="*/ 590 w 596"/>
                <a:gd name="T41" fmla="*/ 409 h 596"/>
                <a:gd name="T42" fmla="*/ 578 w 596"/>
                <a:gd name="T43" fmla="*/ 427 h 596"/>
                <a:gd name="T44" fmla="*/ 566 w 596"/>
                <a:gd name="T45" fmla="*/ 439 h 596"/>
                <a:gd name="T46" fmla="*/ 554 w 596"/>
                <a:gd name="T47" fmla="*/ 451 h 596"/>
                <a:gd name="T48" fmla="*/ 542 w 596"/>
                <a:gd name="T49" fmla="*/ 469 h 596"/>
                <a:gd name="T50" fmla="*/ 524 w 596"/>
                <a:gd name="T51" fmla="*/ 481 h 596"/>
                <a:gd name="T52" fmla="*/ 536 w 596"/>
                <a:gd name="T53" fmla="*/ 499 h 596"/>
                <a:gd name="T54" fmla="*/ 548 w 596"/>
                <a:gd name="T55" fmla="*/ 517 h 596"/>
                <a:gd name="T56" fmla="*/ 548 w 596"/>
                <a:gd name="T57" fmla="*/ 541 h 596"/>
                <a:gd name="T58" fmla="*/ 542 w 596"/>
                <a:gd name="T59" fmla="*/ 566 h 596"/>
                <a:gd name="T60" fmla="*/ 524 w 596"/>
                <a:gd name="T61" fmla="*/ 560 h 596"/>
                <a:gd name="T62" fmla="*/ 500 w 596"/>
                <a:gd name="T63" fmla="*/ 560 h 596"/>
                <a:gd name="T64" fmla="*/ 470 w 596"/>
                <a:gd name="T65" fmla="*/ 560 h 596"/>
                <a:gd name="T66" fmla="*/ 452 w 596"/>
                <a:gd name="T67" fmla="*/ 547 h 596"/>
                <a:gd name="T68" fmla="*/ 440 w 596"/>
                <a:gd name="T69" fmla="*/ 584 h 596"/>
                <a:gd name="T70" fmla="*/ 380 w 596"/>
                <a:gd name="T71" fmla="*/ 584 h 596"/>
                <a:gd name="T72" fmla="*/ 368 w 596"/>
                <a:gd name="T73" fmla="*/ 560 h 596"/>
                <a:gd name="T74" fmla="*/ 355 w 596"/>
                <a:gd name="T75" fmla="*/ 547 h 596"/>
                <a:gd name="T76" fmla="*/ 325 w 596"/>
                <a:gd name="T77" fmla="*/ 572 h 596"/>
                <a:gd name="T78" fmla="*/ 301 w 596"/>
                <a:gd name="T79" fmla="*/ 560 h 596"/>
                <a:gd name="T80" fmla="*/ 259 w 596"/>
                <a:gd name="T81" fmla="*/ 547 h 596"/>
                <a:gd name="T82" fmla="*/ 205 w 596"/>
                <a:gd name="T83" fmla="*/ 554 h 596"/>
                <a:gd name="T84" fmla="*/ 151 w 596"/>
                <a:gd name="T85" fmla="*/ 596 h 596"/>
                <a:gd name="T86" fmla="*/ 133 w 596"/>
                <a:gd name="T87" fmla="*/ 590 h 596"/>
                <a:gd name="T88" fmla="*/ 127 w 596"/>
                <a:gd name="T89" fmla="*/ 572 h 596"/>
                <a:gd name="T90" fmla="*/ 121 w 596"/>
                <a:gd name="T91" fmla="*/ 560 h 596"/>
                <a:gd name="T92" fmla="*/ 85 w 596"/>
                <a:gd name="T93" fmla="*/ 547 h 596"/>
                <a:gd name="T94" fmla="*/ 37 w 596"/>
                <a:gd name="T95" fmla="*/ 554 h 596"/>
                <a:gd name="T96" fmla="*/ 31 w 596"/>
                <a:gd name="T97" fmla="*/ 523 h 596"/>
                <a:gd name="T98" fmla="*/ 0 w 596"/>
                <a:gd name="T99" fmla="*/ 499 h 596"/>
                <a:gd name="T100" fmla="*/ 12 w 596"/>
                <a:gd name="T101" fmla="*/ 463 h 596"/>
                <a:gd name="T102" fmla="*/ 19 w 596"/>
                <a:gd name="T103" fmla="*/ 445 h 596"/>
                <a:gd name="T104" fmla="*/ 37 w 596"/>
                <a:gd name="T105" fmla="*/ 433 h 596"/>
                <a:gd name="T106" fmla="*/ 55 w 596"/>
                <a:gd name="T107" fmla="*/ 433 h 596"/>
                <a:gd name="T108" fmla="*/ 55 w 596"/>
                <a:gd name="T109" fmla="*/ 403 h 596"/>
                <a:gd name="T110" fmla="*/ 31 w 596"/>
                <a:gd name="T111" fmla="*/ 343 h 596"/>
                <a:gd name="T112" fmla="*/ 85 w 596"/>
                <a:gd name="T113" fmla="*/ 223 h 596"/>
                <a:gd name="T114" fmla="*/ 121 w 596"/>
                <a:gd name="T115" fmla="*/ 217 h 596"/>
                <a:gd name="T116" fmla="*/ 127 w 596"/>
                <a:gd name="T117" fmla="*/ 181 h 596"/>
                <a:gd name="T118" fmla="*/ 103 w 596"/>
                <a:gd name="T119" fmla="*/ 109 h 596"/>
                <a:gd name="T120" fmla="*/ 145 w 596"/>
                <a:gd name="T121" fmla="*/ 12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96" h="596">
                  <a:moveTo>
                    <a:pt x="145" y="12"/>
                  </a:moveTo>
                  <a:lnTo>
                    <a:pt x="157" y="12"/>
                  </a:lnTo>
                  <a:lnTo>
                    <a:pt x="169" y="12"/>
                  </a:lnTo>
                  <a:lnTo>
                    <a:pt x="175" y="12"/>
                  </a:lnTo>
                  <a:lnTo>
                    <a:pt x="181" y="12"/>
                  </a:lnTo>
                  <a:lnTo>
                    <a:pt x="193" y="12"/>
                  </a:lnTo>
                  <a:lnTo>
                    <a:pt x="199" y="12"/>
                  </a:lnTo>
                  <a:lnTo>
                    <a:pt x="205" y="12"/>
                  </a:lnTo>
                  <a:lnTo>
                    <a:pt x="223" y="12"/>
                  </a:lnTo>
                  <a:lnTo>
                    <a:pt x="241" y="12"/>
                  </a:lnTo>
                  <a:lnTo>
                    <a:pt x="247" y="12"/>
                  </a:lnTo>
                  <a:lnTo>
                    <a:pt x="265" y="12"/>
                  </a:lnTo>
                  <a:lnTo>
                    <a:pt x="271" y="12"/>
                  </a:lnTo>
                  <a:lnTo>
                    <a:pt x="283" y="12"/>
                  </a:lnTo>
                  <a:lnTo>
                    <a:pt x="289" y="12"/>
                  </a:lnTo>
                  <a:lnTo>
                    <a:pt x="295" y="12"/>
                  </a:lnTo>
                  <a:lnTo>
                    <a:pt x="301" y="12"/>
                  </a:lnTo>
                  <a:lnTo>
                    <a:pt x="301" y="6"/>
                  </a:lnTo>
                  <a:lnTo>
                    <a:pt x="331" y="0"/>
                  </a:lnTo>
                  <a:lnTo>
                    <a:pt x="331" y="12"/>
                  </a:lnTo>
                  <a:lnTo>
                    <a:pt x="355" y="12"/>
                  </a:lnTo>
                  <a:lnTo>
                    <a:pt x="362" y="12"/>
                  </a:lnTo>
                  <a:lnTo>
                    <a:pt x="362" y="18"/>
                  </a:lnTo>
                  <a:lnTo>
                    <a:pt x="368" y="42"/>
                  </a:lnTo>
                  <a:lnTo>
                    <a:pt x="380" y="72"/>
                  </a:lnTo>
                  <a:lnTo>
                    <a:pt x="374" y="84"/>
                  </a:lnTo>
                  <a:lnTo>
                    <a:pt x="355" y="109"/>
                  </a:lnTo>
                  <a:lnTo>
                    <a:pt x="343" y="115"/>
                  </a:lnTo>
                  <a:lnTo>
                    <a:pt x="331" y="115"/>
                  </a:lnTo>
                  <a:lnTo>
                    <a:pt x="301" y="121"/>
                  </a:lnTo>
                  <a:lnTo>
                    <a:pt x="295" y="127"/>
                  </a:lnTo>
                  <a:lnTo>
                    <a:pt x="289" y="139"/>
                  </a:lnTo>
                  <a:lnTo>
                    <a:pt x="283" y="157"/>
                  </a:lnTo>
                  <a:lnTo>
                    <a:pt x="283" y="169"/>
                  </a:lnTo>
                  <a:lnTo>
                    <a:pt x="283" y="175"/>
                  </a:lnTo>
                  <a:lnTo>
                    <a:pt x="277" y="181"/>
                  </a:lnTo>
                  <a:lnTo>
                    <a:pt x="277" y="193"/>
                  </a:lnTo>
                  <a:lnTo>
                    <a:pt x="271" y="199"/>
                  </a:lnTo>
                  <a:lnTo>
                    <a:pt x="271" y="205"/>
                  </a:lnTo>
                  <a:lnTo>
                    <a:pt x="301" y="223"/>
                  </a:lnTo>
                  <a:lnTo>
                    <a:pt x="331" y="241"/>
                  </a:lnTo>
                  <a:lnTo>
                    <a:pt x="343" y="247"/>
                  </a:lnTo>
                  <a:lnTo>
                    <a:pt x="355" y="265"/>
                  </a:lnTo>
                  <a:lnTo>
                    <a:pt x="362" y="271"/>
                  </a:lnTo>
                  <a:lnTo>
                    <a:pt x="362" y="277"/>
                  </a:lnTo>
                  <a:lnTo>
                    <a:pt x="362" y="295"/>
                  </a:lnTo>
                  <a:lnTo>
                    <a:pt x="362" y="313"/>
                  </a:lnTo>
                  <a:lnTo>
                    <a:pt x="374" y="319"/>
                  </a:lnTo>
                  <a:lnTo>
                    <a:pt x="386" y="319"/>
                  </a:lnTo>
                  <a:lnTo>
                    <a:pt x="416" y="313"/>
                  </a:lnTo>
                  <a:lnTo>
                    <a:pt x="428" y="313"/>
                  </a:lnTo>
                  <a:lnTo>
                    <a:pt x="428" y="325"/>
                  </a:lnTo>
                  <a:lnTo>
                    <a:pt x="428" y="331"/>
                  </a:lnTo>
                  <a:lnTo>
                    <a:pt x="422" y="337"/>
                  </a:lnTo>
                  <a:lnTo>
                    <a:pt x="422" y="343"/>
                  </a:lnTo>
                  <a:lnTo>
                    <a:pt x="428" y="355"/>
                  </a:lnTo>
                  <a:lnTo>
                    <a:pt x="422" y="367"/>
                  </a:lnTo>
                  <a:lnTo>
                    <a:pt x="422" y="379"/>
                  </a:lnTo>
                  <a:lnTo>
                    <a:pt x="428" y="385"/>
                  </a:lnTo>
                  <a:lnTo>
                    <a:pt x="440" y="385"/>
                  </a:lnTo>
                  <a:lnTo>
                    <a:pt x="440" y="379"/>
                  </a:lnTo>
                  <a:lnTo>
                    <a:pt x="452" y="385"/>
                  </a:lnTo>
                  <a:lnTo>
                    <a:pt x="458" y="379"/>
                  </a:lnTo>
                  <a:lnTo>
                    <a:pt x="464" y="385"/>
                  </a:lnTo>
                  <a:lnTo>
                    <a:pt x="476" y="391"/>
                  </a:lnTo>
                  <a:lnTo>
                    <a:pt x="482" y="391"/>
                  </a:lnTo>
                  <a:lnTo>
                    <a:pt x="482" y="385"/>
                  </a:lnTo>
                  <a:lnTo>
                    <a:pt x="500" y="373"/>
                  </a:lnTo>
                  <a:lnTo>
                    <a:pt x="512" y="367"/>
                  </a:lnTo>
                  <a:lnTo>
                    <a:pt x="518" y="355"/>
                  </a:lnTo>
                  <a:lnTo>
                    <a:pt x="518" y="349"/>
                  </a:lnTo>
                  <a:lnTo>
                    <a:pt x="524" y="349"/>
                  </a:lnTo>
                  <a:lnTo>
                    <a:pt x="524" y="343"/>
                  </a:lnTo>
                  <a:lnTo>
                    <a:pt x="530" y="343"/>
                  </a:lnTo>
                  <a:lnTo>
                    <a:pt x="530" y="337"/>
                  </a:lnTo>
                  <a:lnTo>
                    <a:pt x="536" y="331"/>
                  </a:lnTo>
                  <a:lnTo>
                    <a:pt x="560" y="325"/>
                  </a:lnTo>
                  <a:lnTo>
                    <a:pt x="566" y="319"/>
                  </a:lnTo>
                  <a:lnTo>
                    <a:pt x="572" y="325"/>
                  </a:lnTo>
                  <a:lnTo>
                    <a:pt x="584" y="343"/>
                  </a:lnTo>
                  <a:lnTo>
                    <a:pt x="590" y="367"/>
                  </a:lnTo>
                  <a:lnTo>
                    <a:pt x="596" y="391"/>
                  </a:lnTo>
                  <a:lnTo>
                    <a:pt x="596" y="409"/>
                  </a:lnTo>
                  <a:lnTo>
                    <a:pt x="590" y="409"/>
                  </a:lnTo>
                  <a:lnTo>
                    <a:pt x="596" y="415"/>
                  </a:lnTo>
                  <a:lnTo>
                    <a:pt x="590" y="421"/>
                  </a:lnTo>
                  <a:lnTo>
                    <a:pt x="584" y="421"/>
                  </a:lnTo>
                  <a:lnTo>
                    <a:pt x="578" y="427"/>
                  </a:lnTo>
                  <a:lnTo>
                    <a:pt x="572" y="427"/>
                  </a:lnTo>
                  <a:lnTo>
                    <a:pt x="572" y="433"/>
                  </a:lnTo>
                  <a:lnTo>
                    <a:pt x="566" y="433"/>
                  </a:lnTo>
                  <a:lnTo>
                    <a:pt x="566" y="439"/>
                  </a:lnTo>
                  <a:lnTo>
                    <a:pt x="566" y="445"/>
                  </a:lnTo>
                  <a:lnTo>
                    <a:pt x="560" y="445"/>
                  </a:lnTo>
                  <a:lnTo>
                    <a:pt x="560" y="451"/>
                  </a:lnTo>
                  <a:lnTo>
                    <a:pt x="554" y="451"/>
                  </a:lnTo>
                  <a:lnTo>
                    <a:pt x="548" y="451"/>
                  </a:lnTo>
                  <a:lnTo>
                    <a:pt x="548" y="457"/>
                  </a:lnTo>
                  <a:lnTo>
                    <a:pt x="542" y="463"/>
                  </a:lnTo>
                  <a:lnTo>
                    <a:pt x="542" y="469"/>
                  </a:lnTo>
                  <a:lnTo>
                    <a:pt x="536" y="469"/>
                  </a:lnTo>
                  <a:lnTo>
                    <a:pt x="530" y="475"/>
                  </a:lnTo>
                  <a:lnTo>
                    <a:pt x="524" y="475"/>
                  </a:lnTo>
                  <a:lnTo>
                    <a:pt x="524" y="481"/>
                  </a:lnTo>
                  <a:lnTo>
                    <a:pt x="524" y="487"/>
                  </a:lnTo>
                  <a:lnTo>
                    <a:pt x="530" y="487"/>
                  </a:lnTo>
                  <a:lnTo>
                    <a:pt x="530" y="493"/>
                  </a:lnTo>
                  <a:lnTo>
                    <a:pt x="536" y="499"/>
                  </a:lnTo>
                  <a:lnTo>
                    <a:pt x="536" y="505"/>
                  </a:lnTo>
                  <a:lnTo>
                    <a:pt x="542" y="511"/>
                  </a:lnTo>
                  <a:lnTo>
                    <a:pt x="542" y="517"/>
                  </a:lnTo>
                  <a:lnTo>
                    <a:pt x="548" y="517"/>
                  </a:lnTo>
                  <a:lnTo>
                    <a:pt x="548" y="523"/>
                  </a:lnTo>
                  <a:lnTo>
                    <a:pt x="542" y="529"/>
                  </a:lnTo>
                  <a:lnTo>
                    <a:pt x="542" y="535"/>
                  </a:lnTo>
                  <a:lnTo>
                    <a:pt x="548" y="541"/>
                  </a:lnTo>
                  <a:lnTo>
                    <a:pt x="548" y="547"/>
                  </a:lnTo>
                  <a:lnTo>
                    <a:pt x="548" y="554"/>
                  </a:lnTo>
                  <a:lnTo>
                    <a:pt x="542" y="560"/>
                  </a:lnTo>
                  <a:lnTo>
                    <a:pt x="542" y="566"/>
                  </a:lnTo>
                  <a:lnTo>
                    <a:pt x="536" y="566"/>
                  </a:lnTo>
                  <a:lnTo>
                    <a:pt x="530" y="566"/>
                  </a:lnTo>
                  <a:lnTo>
                    <a:pt x="524" y="566"/>
                  </a:lnTo>
                  <a:lnTo>
                    <a:pt x="524" y="560"/>
                  </a:lnTo>
                  <a:lnTo>
                    <a:pt x="518" y="560"/>
                  </a:lnTo>
                  <a:lnTo>
                    <a:pt x="512" y="560"/>
                  </a:lnTo>
                  <a:lnTo>
                    <a:pt x="506" y="560"/>
                  </a:lnTo>
                  <a:lnTo>
                    <a:pt x="500" y="560"/>
                  </a:lnTo>
                  <a:lnTo>
                    <a:pt x="482" y="560"/>
                  </a:lnTo>
                  <a:lnTo>
                    <a:pt x="476" y="566"/>
                  </a:lnTo>
                  <a:lnTo>
                    <a:pt x="476" y="560"/>
                  </a:lnTo>
                  <a:lnTo>
                    <a:pt x="470" y="560"/>
                  </a:lnTo>
                  <a:lnTo>
                    <a:pt x="470" y="554"/>
                  </a:lnTo>
                  <a:lnTo>
                    <a:pt x="464" y="547"/>
                  </a:lnTo>
                  <a:lnTo>
                    <a:pt x="458" y="547"/>
                  </a:lnTo>
                  <a:lnTo>
                    <a:pt x="452" y="547"/>
                  </a:lnTo>
                  <a:lnTo>
                    <a:pt x="452" y="541"/>
                  </a:lnTo>
                  <a:lnTo>
                    <a:pt x="446" y="560"/>
                  </a:lnTo>
                  <a:lnTo>
                    <a:pt x="446" y="572"/>
                  </a:lnTo>
                  <a:lnTo>
                    <a:pt x="440" y="584"/>
                  </a:lnTo>
                  <a:lnTo>
                    <a:pt x="434" y="584"/>
                  </a:lnTo>
                  <a:lnTo>
                    <a:pt x="410" y="590"/>
                  </a:lnTo>
                  <a:lnTo>
                    <a:pt x="386" y="590"/>
                  </a:lnTo>
                  <a:lnTo>
                    <a:pt x="380" y="584"/>
                  </a:lnTo>
                  <a:lnTo>
                    <a:pt x="374" y="572"/>
                  </a:lnTo>
                  <a:lnTo>
                    <a:pt x="374" y="566"/>
                  </a:lnTo>
                  <a:lnTo>
                    <a:pt x="374" y="560"/>
                  </a:lnTo>
                  <a:lnTo>
                    <a:pt x="368" y="560"/>
                  </a:lnTo>
                  <a:lnTo>
                    <a:pt x="368" y="554"/>
                  </a:lnTo>
                  <a:lnTo>
                    <a:pt x="362" y="554"/>
                  </a:lnTo>
                  <a:lnTo>
                    <a:pt x="362" y="547"/>
                  </a:lnTo>
                  <a:lnTo>
                    <a:pt x="355" y="547"/>
                  </a:lnTo>
                  <a:lnTo>
                    <a:pt x="355" y="541"/>
                  </a:lnTo>
                  <a:lnTo>
                    <a:pt x="349" y="547"/>
                  </a:lnTo>
                  <a:lnTo>
                    <a:pt x="343" y="554"/>
                  </a:lnTo>
                  <a:lnTo>
                    <a:pt x="325" y="572"/>
                  </a:lnTo>
                  <a:lnTo>
                    <a:pt x="319" y="584"/>
                  </a:lnTo>
                  <a:lnTo>
                    <a:pt x="313" y="584"/>
                  </a:lnTo>
                  <a:lnTo>
                    <a:pt x="307" y="572"/>
                  </a:lnTo>
                  <a:lnTo>
                    <a:pt x="301" y="560"/>
                  </a:lnTo>
                  <a:lnTo>
                    <a:pt x="295" y="554"/>
                  </a:lnTo>
                  <a:lnTo>
                    <a:pt x="289" y="541"/>
                  </a:lnTo>
                  <a:lnTo>
                    <a:pt x="283" y="541"/>
                  </a:lnTo>
                  <a:lnTo>
                    <a:pt x="259" y="547"/>
                  </a:lnTo>
                  <a:lnTo>
                    <a:pt x="235" y="554"/>
                  </a:lnTo>
                  <a:lnTo>
                    <a:pt x="217" y="554"/>
                  </a:lnTo>
                  <a:lnTo>
                    <a:pt x="211" y="554"/>
                  </a:lnTo>
                  <a:lnTo>
                    <a:pt x="205" y="554"/>
                  </a:lnTo>
                  <a:lnTo>
                    <a:pt x="193" y="572"/>
                  </a:lnTo>
                  <a:lnTo>
                    <a:pt x="163" y="584"/>
                  </a:lnTo>
                  <a:lnTo>
                    <a:pt x="157" y="596"/>
                  </a:lnTo>
                  <a:lnTo>
                    <a:pt x="151" y="596"/>
                  </a:lnTo>
                  <a:lnTo>
                    <a:pt x="151" y="590"/>
                  </a:lnTo>
                  <a:lnTo>
                    <a:pt x="145" y="590"/>
                  </a:lnTo>
                  <a:lnTo>
                    <a:pt x="139" y="590"/>
                  </a:lnTo>
                  <a:lnTo>
                    <a:pt x="133" y="590"/>
                  </a:lnTo>
                  <a:lnTo>
                    <a:pt x="133" y="584"/>
                  </a:lnTo>
                  <a:lnTo>
                    <a:pt x="127" y="584"/>
                  </a:lnTo>
                  <a:lnTo>
                    <a:pt x="127" y="578"/>
                  </a:lnTo>
                  <a:lnTo>
                    <a:pt x="127" y="572"/>
                  </a:lnTo>
                  <a:lnTo>
                    <a:pt x="127" y="566"/>
                  </a:lnTo>
                  <a:lnTo>
                    <a:pt x="127" y="560"/>
                  </a:lnTo>
                  <a:lnTo>
                    <a:pt x="121" y="566"/>
                  </a:lnTo>
                  <a:lnTo>
                    <a:pt x="121" y="560"/>
                  </a:lnTo>
                  <a:lnTo>
                    <a:pt x="115" y="560"/>
                  </a:lnTo>
                  <a:lnTo>
                    <a:pt x="109" y="566"/>
                  </a:lnTo>
                  <a:lnTo>
                    <a:pt x="97" y="547"/>
                  </a:lnTo>
                  <a:lnTo>
                    <a:pt x="85" y="547"/>
                  </a:lnTo>
                  <a:lnTo>
                    <a:pt x="73" y="547"/>
                  </a:lnTo>
                  <a:lnTo>
                    <a:pt x="49" y="547"/>
                  </a:lnTo>
                  <a:lnTo>
                    <a:pt x="43" y="554"/>
                  </a:lnTo>
                  <a:lnTo>
                    <a:pt x="37" y="554"/>
                  </a:lnTo>
                  <a:lnTo>
                    <a:pt x="31" y="547"/>
                  </a:lnTo>
                  <a:lnTo>
                    <a:pt x="37" y="535"/>
                  </a:lnTo>
                  <a:lnTo>
                    <a:pt x="37" y="523"/>
                  </a:lnTo>
                  <a:lnTo>
                    <a:pt x="31" y="523"/>
                  </a:lnTo>
                  <a:lnTo>
                    <a:pt x="19" y="523"/>
                  </a:lnTo>
                  <a:lnTo>
                    <a:pt x="6" y="517"/>
                  </a:lnTo>
                  <a:lnTo>
                    <a:pt x="0" y="505"/>
                  </a:lnTo>
                  <a:lnTo>
                    <a:pt x="0" y="499"/>
                  </a:lnTo>
                  <a:lnTo>
                    <a:pt x="6" y="487"/>
                  </a:lnTo>
                  <a:lnTo>
                    <a:pt x="6" y="475"/>
                  </a:lnTo>
                  <a:lnTo>
                    <a:pt x="6" y="469"/>
                  </a:lnTo>
                  <a:lnTo>
                    <a:pt x="12" y="463"/>
                  </a:lnTo>
                  <a:lnTo>
                    <a:pt x="12" y="457"/>
                  </a:lnTo>
                  <a:lnTo>
                    <a:pt x="12" y="451"/>
                  </a:lnTo>
                  <a:lnTo>
                    <a:pt x="19" y="451"/>
                  </a:lnTo>
                  <a:lnTo>
                    <a:pt x="19" y="445"/>
                  </a:lnTo>
                  <a:lnTo>
                    <a:pt x="25" y="445"/>
                  </a:lnTo>
                  <a:lnTo>
                    <a:pt x="25" y="439"/>
                  </a:lnTo>
                  <a:lnTo>
                    <a:pt x="31" y="439"/>
                  </a:lnTo>
                  <a:lnTo>
                    <a:pt x="37" y="433"/>
                  </a:lnTo>
                  <a:lnTo>
                    <a:pt x="37" y="439"/>
                  </a:lnTo>
                  <a:lnTo>
                    <a:pt x="43" y="439"/>
                  </a:lnTo>
                  <a:lnTo>
                    <a:pt x="49" y="439"/>
                  </a:lnTo>
                  <a:lnTo>
                    <a:pt x="55" y="433"/>
                  </a:lnTo>
                  <a:lnTo>
                    <a:pt x="61" y="433"/>
                  </a:lnTo>
                  <a:lnTo>
                    <a:pt x="67" y="415"/>
                  </a:lnTo>
                  <a:lnTo>
                    <a:pt x="61" y="409"/>
                  </a:lnTo>
                  <a:lnTo>
                    <a:pt x="55" y="403"/>
                  </a:lnTo>
                  <a:lnTo>
                    <a:pt x="55" y="385"/>
                  </a:lnTo>
                  <a:lnTo>
                    <a:pt x="43" y="373"/>
                  </a:lnTo>
                  <a:lnTo>
                    <a:pt x="31" y="361"/>
                  </a:lnTo>
                  <a:lnTo>
                    <a:pt x="31" y="343"/>
                  </a:lnTo>
                  <a:lnTo>
                    <a:pt x="31" y="307"/>
                  </a:lnTo>
                  <a:lnTo>
                    <a:pt x="61" y="259"/>
                  </a:lnTo>
                  <a:lnTo>
                    <a:pt x="67" y="247"/>
                  </a:lnTo>
                  <a:lnTo>
                    <a:pt x="85" y="223"/>
                  </a:lnTo>
                  <a:lnTo>
                    <a:pt x="85" y="217"/>
                  </a:lnTo>
                  <a:lnTo>
                    <a:pt x="91" y="217"/>
                  </a:lnTo>
                  <a:lnTo>
                    <a:pt x="115" y="223"/>
                  </a:lnTo>
                  <a:lnTo>
                    <a:pt x="121" y="217"/>
                  </a:lnTo>
                  <a:lnTo>
                    <a:pt x="127" y="211"/>
                  </a:lnTo>
                  <a:lnTo>
                    <a:pt x="133" y="205"/>
                  </a:lnTo>
                  <a:lnTo>
                    <a:pt x="133" y="187"/>
                  </a:lnTo>
                  <a:lnTo>
                    <a:pt x="127" y="181"/>
                  </a:lnTo>
                  <a:lnTo>
                    <a:pt x="121" y="157"/>
                  </a:lnTo>
                  <a:lnTo>
                    <a:pt x="115" y="139"/>
                  </a:lnTo>
                  <a:lnTo>
                    <a:pt x="103" y="121"/>
                  </a:lnTo>
                  <a:lnTo>
                    <a:pt x="103" y="109"/>
                  </a:lnTo>
                  <a:lnTo>
                    <a:pt x="121" y="84"/>
                  </a:lnTo>
                  <a:lnTo>
                    <a:pt x="127" y="78"/>
                  </a:lnTo>
                  <a:lnTo>
                    <a:pt x="139" y="36"/>
                  </a:lnTo>
                  <a:lnTo>
                    <a:pt x="145" y="12"/>
                  </a:lnTo>
                  <a:close/>
                </a:path>
              </a:pathLst>
            </a:custGeom>
            <a:solidFill>
              <a:schemeClr val="accent2"/>
            </a:solidFill>
            <a:ln w="9525">
              <a:solidFill>
                <a:srgbClr val="808080"/>
              </a:solidFill>
              <a:round/>
              <a:headEnd/>
              <a:tailEnd/>
            </a:ln>
          </p:spPr>
          <p:txBody>
            <a:bodyPr/>
            <a:lstStyle/>
            <a:p>
              <a:pPr fontAlgn="base">
                <a:spcBef>
                  <a:spcPct val="0"/>
                </a:spcBef>
                <a:spcAft>
                  <a:spcPct val="0"/>
                </a:spcAft>
                <a:buClrTx/>
                <a:buFontTx/>
                <a:buNone/>
              </a:pPr>
              <a:endParaRPr lang="en-US" sz="1600" kern="1200" dirty="0">
                <a:latin typeface="Arial" charset="0"/>
                <a:ea typeface="+mn-ea"/>
                <a:cs typeface="+mn-cs"/>
              </a:endParaRPr>
            </a:p>
          </p:txBody>
        </p:sp>
      </p:grpSp>
      <p:grpSp>
        <p:nvGrpSpPr>
          <p:cNvPr id="13" name="Group 12"/>
          <p:cNvGrpSpPr/>
          <p:nvPr/>
        </p:nvGrpSpPr>
        <p:grpSpPr>
          <a:xfrm>
            <a:off x="500070" y="4502450"/>
            <a:ext cx="2711845" cy="1568074"/>
            <a:chOff x="228600" y="5216481"/>
            <a:chExt cx="2954742" cy="1433787"/>
          </a:xfrm>
        </p:grpSpPr>
        <p:sp>
          <p:nvSpPr>
            <p:cNvPr id="60" name="Rectangle 59"/>
            <p:cNvSpPr/>
            <p:nvPr/>
          </p:nvSpPr>
          <p:spPr>
            <a:xfrm>
              <a:off x="228600" y="5216481"/>
              <a:ext cx="2954742" cy="1433787"/>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900" kern="1200" dirty="0">
                <a:solidFill>
                  <a:srgbClr val="000000"/>
                </a:solidFill>
              </a:endParaRPr>
            </a:p>
          </p:txBody>
        </p:sp>
        <p:sp>
          <p:nvSpPr>
            <p:cNvPr id="101" name="TextBox 100"/>
            <p:cNvSpPr txBox="1"/>
            <p:nvPr>
              <p:custDataLst>
                <p:tags r:id="rId10"/>
              </p:custDataLst>
            </p:nvPr>
          </p:nvSpPr>
          <p:spPr>
            <a:xfrm>
              <a:off x="2273225" y="5323920"/>
              <a:ext cx="816401" cy="1266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buFontTx/>
                <a:buNone/>
              </a:pPr>
              <a:r>
                <a:rPr lang="en-US" sz="900" b="1" kern="1200" dirty="0">
                  <a:solidFill>
                    <a:srgbClr val="01632F"/>
                  </a:solidFill>
                  <a:ea typeface="+mn-ea"/>
                  <a:cs typeface="+mn-cs"/>
                </a:rPr>
                <a:t>Farmers,</a:t>
              </a:r>
              <a:r>
                <a:rPr lang="en-US" sz="900" kern="1200" dirty="0">
                  <a:solidFill>
                    <a:srgbClr val="01632F"/>
                  </a:solidFill>
                  <a:ea typeface="+mn-ea"/>
                  <a:cs typeface="+mn-cs"/>
                </a:rPr>
                <a:t> </a:t>
              </a:r>
              <a:r>
                <a:rPr lang="en-US" sz="900" kern="1200" dirty="0">
                  <a:solidFill>
                    <a:srgbClr val="808080"/>
                  </a:solidFill>
                  <a:ea typeface="+mn-ea"/>
                  <a:cs typeface="+mn-cs"/>
                </a:rPr>
                <a:t>000</a:t>
              </a:r>
              <a:endParaRPr lang="en-US" sz="900" b="1" kern="1200" dirty="0">
                <a:solidFill>
                  <a:srgbClr val="808080"/>
                </a:solidFill>
                <a:ea typeface="+mn-ea"/>
                <a:cs typeface="+mn-cs"/>
              </a:endParaRPr>
            </a:p>
          </p:txBody>
        </p:sp>
        <p:sp>
          <p:nvSpPr>
            <p:cNvPr id="102" name="TextBox 101"/>
            <p:cNvSpPr txBox="1"/>
            <p:nvPr>
              <p:custDataLst>
                <p:tags r:id="rId11"/>
              </p:custDataLst>
            </p:nvPr>
          </p:nvSpPr>
          <p:spPr>
            <a:xfrm>
              <a:off x="2273225" y="5584083"/>
              <a:ext cx="816401" cy="1266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buFontTx/>
                <a:buNone/>
              </a:pPr>
              <a:r>
                <a:rPr lang="en-US" sz="900" kern="1200" dirty="0">
                  <a:ea typeface="+mn-ea"/>
                  <a:cs typeface="+mn-cs"/>
                </a:rPr>
                <a:t> 463 </a:t>
              </a:r>
            </a:p>
          </p:txBody>
        </p:sp>
        <p:sp>
          <p:nvSpPr>
            <p:cNvPr id="103" name="TextBox 102"/>
            <p:cNvSpPr txBox="1"/>
            <p:nvPr>
              <p:custDataLst>
                <p:tags r:id="rId12"/>
              </p:custDataLst>
            </p:nvPr>
          </p:nvSpPr>
          <p:spPr>
            <a:xfrm>
              <a:off x="2273225" y="5863064"/>
              <a:ext cx="816401" cy="1266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buFontTx/>
                <a:buNone/>
              </a:pPr>
              <a:r>
                <a:rPr lang="en-US" sz="900" kern="1200" dirty="0">
                  <a:ea typeface="+mn-ea"/>
                  <a:cs typeface="+mn-cs"/>
                </a:rPr>
                <a:t> 234 </a:t>
              </a:r>
            </a:p>
          </p:txBody>
        </p:sp>
        <p:sp>
          <p:nvSpPr>
            <p:cNvPr id="104" name="TextBox 103"/>
            <p:cNvSpPr txBox="1"/>
            <p:nvPr>
              <p:custDataLst>
                <p:tags r:id="rId13"/>
              </p:custDataLst>
            </p:nvPr>
          </p:nvSpPr>
          <p:spPr>
            <a:xfrm>
              <a:off x="2273225" y="6142044"/>
              <a:ext cx="816401" cy="1266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buFontTx/>
                <a:buNone/>
              </a:pPr>
              <a:r>
                <a:rPr lang="en-US" sz="900" kern="1200" dirty="0">
                  <a:ea typeface="+mn-ea"/>
                  <a:cs typeface="+mn-cs"/>
                </a:rPr>
                <a:t> 241 </a:t>
              </a:r>
            </a:p>
          </p:txBody>
        </p:sp>
        <p:sp>
          <p:nvSpPr>
            <p:cNvPr id="105" name="TextBox 104"/>
            <p:cNvSpPr txBox="1"/>
            <p:nvPr>
              <p:custDataLst>
                <p:tags r:id="rId14"/>
              </p:custDataLst>
            </p:nvPr>
          </p:nvSpPr>
          <p:spPr>
            <a:xfrm>
              <a:off x="2273225" y="6421023"/>
              <a:ext cx="816401" cy="1266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buFontTx/>
                <a:buNone/>
              </a:pPr>
              <a:r>
                <a:rPr lang="en-US" sz="900" kern="1200" dirty="0">
                  <a:ea typeface="+mn-ea"/>
                  <a:cs typeface="+mn-cs"/>
                </a:rPr>
                <a:t> 938 </a:t>
              </a:r>
            </a:p>
          </p:txBody>
        </p:sp>
        <p:sp>
          <p:nvSpPr>
            <p:cNvPr id="89" name="TextBox 88"/>
            <p:cNvSpPr txBox="1"/>
            <p:nvPr>
              <p:custDataLst>
                <p:tags r:id="rId15"/>
              </p:custDataLst>
            </p:nvPr>
          </p:nvSpPr>
          <p:spPr>
            <a:xfrm>
              <a:off x="322317" y="5323920"/>
              <a:ext cx="754317" cy="1266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buFontTx/>
                <a:buNone/>
              </a:pPr>
              <a:r>
                <a:rPr lang="en-US" sz="900" b="1" kern="1200" dirty="0">
                  <a:solidFill>
                    <a:srgbClr val="01632F"/>
                  </a:solidFill>
                  <a:ea typeface="+mn-ea"/>
                  <a:cs typeface="+mn-cs"/>
                </a:rPr>
                <a:t>Crop</a:t>
              </a:r>
            </a:p>
          </p:txBody>
        </p:sp>
        <p:sp>
          <p:nvSpPr>
            <p:cNvPr id="90" name="TextBox 89"/>
            <p:cNvSpPr txBox="1"/>
            <p:nvPr>
              <p:custDataLst>
                <p:tags r:id="rId16"/>
              </p:custDataLst>
            </p:nvPr>
          </p:nvSpPr>
          <p:spPr>
            <a:xfrm>
              <a:off x="322317" y="5547681"/>
              <a:ext cx="754317" cy="185850"/>
            </a:xfrm>
            <a:prstGeom prst="rect">
              <a:avLst/>
            </a:prstGeom>
            <a:solidFill>
              <a:schemeClr val="accent6">
                <a:lumMod val="20000"/>
                <a:lumOff val="80000"/>
              </a:schemeClr>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9" tIns="72009" rIns="72009" bIns="72009"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buFontTx/>
                <a:buNone/>
              </a:pPr>
              <a:r>
                <a:rPr lang="en-US" sz="900" b="1" kern="1200" dirty="0">
                  <a:solidFill>
                    <a:srgbClr val="01632F"/>
                  </a:solidFill>
                  <a:ea typeface="+mn-ea"/>
                  <a:cs typeface="+mn-cs"/>
                </a:rPr>
                <a:t>Maize</a:t>
              </a:r>
            </a:p>
          </p:txBody>
        </p:sp>
        <p:sp>
          <p:nvSpPr>
            <p:cNvPr id="91" name="TextBox 90"/>
            <p:cNvSpPr txBox="1"/>
            <p:nvPr>
              <p:custDataLst>
                <p:tags r:id="rId17"/>
              </p:custDataLst>
            </p:nvPr>
          </p:nvSpPr>
          <p:spPr>
            <a:xfrm>
              <a:off x="322317" y="5826662"/>
              <a:ext cx="754317" cy="185850"/>
            </a:xfrm>
            <a:prstGeom prst="rect">
              <a:avLst/>
            </a:prstGeom>
            <a:solidFill>
              <a:schemeClr val="accent6">
                <a:lumMod val="20000"/>
                <a:lumOff val="80000"/>
              </a:schemeClr>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9" tIns="72009" rIns="72009" bIns="72009"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buFontTx/>
                <a:buNone/>
              </a:pPr>
              <a:r>
                <a:rPr lang="en-US" sz="900" b="1" kern="1200" dirty="0">
                  <a:solidFill>
                    <a:srgbClr val="01632F"/>
                  </a:solidFill>
                  <a:ea typeface="+mn-ea"/>
                  <a:cs typeface="+mn-cs"/>
                </a:rPr>
                <a:t>Sorghum</a:t>
              </a:r>
            </a:p>
          </p:txBody>
        </p:sp>
        <p:sp>
          <p:nvSpPr>
            <p:cNvPr id="92" name="TextBox 91"/>
            <p:cNvSpPr txBox="1"/>
            <p:nvPr>
              <p:custDataLst>
                <p:tags r:id="rId18"/>
              </p:custDataLst>
            </p:nvPr>
          </p:nvSpPr>
          <p:spPr>
            <a:xfrm>
              <a:off x="322317" y="6105642"/>
              <a:ext cx="754317" cy="185850"/>
            </a:xfrm>
            <a:prstGeom prst="rect">
              <a:avLst/>
            </a:prstGeom>
            <a:solidFill>
              <a:schemeClr val="accent6">
                <a:lumMod val="20000"/>
                <a:lumOff val="80000"/>
              </a:schemeClr>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9" tIns="72009" rIns="72009" bIns="72009"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buFontTx/>
                <a:buNone/>
              </a:pPr>
              <a:r>
                <a:rPr lang="en-US" sz="900" b="1" kern="1200" dirty="0">
                  <a:solidFill>
                    <a:srgbClr val="01632F"/>
                  </a:solidFill>
                  <a:ea typeface="+mn-ea"/>
                  <a:cs typeface="+mn-cs"/>
                </a:rPr>
                <a:t>Millet</a:t>
              </a:r>
            </a:p>
          </p:txBody>
        </p:sp>
        <p:sp>
          <p:nvSpPr>
            <p:cNvPr id="93" name="TextBox 92"/>
            <p:cNvSpPr txBox="1"/>
            <p:nvPr>
              <p:custDataLst>
                <p:tags r:id="rId19"/>
              </p:custDataLst>
            </p:nvPr>
          </p:nvSpPr>
          <p:spPr>
            <a:xfrm>
              <a:off x="322317" y="6384621"/>
              <a:ext cx="754317" cy="185850"/>
            </a:xfrm>
            <a:prstGeom prst="rect">
              <a:avLst/>
            </a:prstGeom>
            <a:solidFill>
              <a:schemeClr val="accent6">
                <a:lumMod val="20000"/>
                <a:lumOff val="80000"/>
              </a:schemeClr>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9" tIns="72009" rIns="72009" bIns="72009"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buFontTx/>
                <a:buNone/>
              </a:pPr>
              <a:r>
                <a:rPr lang="en-US" sz="900" b="1" kern="1200" dirty="0">
                  <a:solidFill>
                    <a:srgbClr val="01632F"/>
                  </a:solidFill>
                  <a:ea typeface="+mn-ea"/>
                  <a:cs typeface="+mn-cs"/>
                </a:rPr>
                <a:t>Cowpea</a:t>
              </a:r>
            </a:p>
          </p:txBody>
        </p:sp>
        <p:cxnSp>
          <p:nvCxnSpPr>
            <p:cNvPr id="107" name="Straight Connector 106"/>
            <p:cNvCxnSpPr/>
            <p:nvPr>
              <p:custDataLst>
                <p:tags r:id="rId20"/>
              </p:custDataLst>
            </p:nvPr>
          </p:nvCxnSpPr>
          <p:spPr>
            <a:xfrm>
              <a:off x="322317" y="5499565"/>
              <a:ext cx="754317"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95" name="TextBox 94"/>
            <p:cNvSpPr txBox="1"/>
            <p:nvPr>
              <p:custDataLst>
                <p:tags r:id="rId21"/>
              </p:custDataLst>
            </p:nvPr>
          </p:nvSpPr>
          <p:spPr>
            <a:xfrm>
              <a:off x="1174005" y="5323921"/>
              <a:ext cx="1001850" cy="1266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buFontTx/>
                <a:buNone/>
              </a:pPr>
              <a:r>
                <a:rPr lang="en-US" sz="900" b="1" kern="1200" dirty="0">
                  <a:solidFill>
                    <a:srgbClr val="01632F"/>
                  </a:solidFill>
                  <a:ea typeface="+mn-ea"/>
                  <a:cs typeface="+mn-cs"/>
                </a:rPr>
                <a:t>Acreage,</a:t>
              </a:r>
              <a:r>
                <a:rPr lang="en-US" sz="900" kern="1200" dirty="0">
                  <a:solidFill>
                    <a:srgbClr val="01632F"/>
                  </a:solidFill>
                  <a:ea typeface="+mn-ea"/>
                  <a:cs typeface="+mn-cs"/>
                </a:rPr>
                <a:t> </a:t>
              </a:r>
              <a:r>
                <a:rPr lang="en-US" sz="900" kern="1200" dirty="0">
                  <a:solidFill>
                    <a:srgbClr val="808080"/>
                  </a:solidFill>
                  <a:ea typeface="+mn-ea"/>
                  <a:cs typeface="+mn-cs"/>
                </a:rPr>
                <a:t>000</a:t>
              </a:r>
              <a:r>
                <a:rPr lang="en-US" sz="900" kern="1200" dirty="0">
                  <a:solidFill>
                    <a:srgbClr val="01632F"/>
                  </a:solidFill>
                  <a:ea typeface="+mn-ea"/>
                  <a:cs typeface="+mn-cs"/>
                </a:rPr>
                <a:t> </a:t>
              </a:r>
              <a:r>
                <a:rPr lang="en-US" sz="900" kern="1200" dirty="0">
                  <a:solidFill>
                    <a:srgbClr val="808080"/>
                  </a:solidFill>
                  <a:ea typeface="+mn-ea"/>
                  <a:cs typeface="+mn-cs"/>
                </a:rPr>
                <a:t>ha</a:t>
              </a:r>
              <a:endParaRPr lang="en-US" sz="900" b="1" kern="1200" dirty="0">
                <a:solidFill>
                  <a:srgbClr val="808080"/>
                </a:solidFill>
                <a:ea typeface="+mn-ea"/>
                <a:cs typeface="+mn-cs"/>
              </a:endParaRPr>
            </a:p>
          </p:txBody>
        </p:sp>
        <p:sp>
          <p:nvSpPr>
            <p:cNvPr id="96" name="TextBox 95"/>
            <p:cNvSpPr txBox="1"/>
            <p:nvPr>
              <p:custDataLst>
                <p:tags r:id="rId22"/>
              </p:custDataLst>
            </p:nvPr>
          </p:nvSpPr>
          <p:spPr>
            <a:xfrm>
              <a:off x="1174005" y="5584083"/>
              <a:ext cx="1001850" cy="1266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buFontTx/>
                <a:buNone/>
              </a:pPr>
              <a:r>
                <a:rPr lang="en-US" sz="900" kern="1200" dirty="0">
                  <a:ea typeface="+mn-ea"/>
                  <a:cs typeface="+mn-cs"/>
                </a:rPr>
                <a:t> 189 </a:t>
              </a:r>
            </a:p>
          </p:txBody>
        </p:sp>
        <p:sp>
          <p:nvSpPr>
            <p:cNvPr id="97" name="TextBox 96"/>
            <p:cNvSpPr txBox="1"/>
            <p:nvPr>
              <p:custDataLst>
                <p:tags r:id="rId23"/>
              </p:custDataLst>
            </p:nvPr>
          </p:nvSpPr>
          <p:spPr>
            <a:xfrm>
              <a:off x="1174005" y="5863064"/>
              <a:ext cx="1001850" cy="1266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buFontTx/>
                <a:buNone/>
              </a:pPr>
              <a:r>
                <a:rPr lang="en-US" sz="900" kern="1200" dirty="0">
                  <a:ea typeface="+mn-ea"/>
                  <a:cs typeface="+mn-cs"/>
                </a:rPr>
                <a:t> 92 </a:t>
              </a:r>
            </a:p>
          </p:txBody>
        </p:sp>
        <p:sp>
          <p:nvSpPr>
            <p:cNvPr id="98" name="TextBox 97"/>
            <p:cNvSpPr txBox="1"/>
            <p:nvPr>
              <p:custDataLst>
                <p:tags r:id="rId24"/>
              </p:custDataLst>
            </p:nvPr>
          </p:nvSpPr>
          <p:spPr>
            <a:xfrm>
              <a:off x="1174005" y="6142044"/>
              <a:ext cx="1001850" cy="1266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buFontTx/>
                <a:buNone/>
              </a:pPr>
              <a:r>
                <a:rPr lang="en-US" sz="900" kern="1200" dirty="0">
                  <a:ea typeface="+mn-ea"/>
                  <a:cs typeface="+mn-cs"/>
                </a:rPr>
                <a:t> 100 </a:t>
              </a:r>
            </a:p>
          </p:txBody>
        </p:sp>
        <p:sp>
          <p:nvSpPr>
            <p:cNvPr id="99" name="TextBox 98"/>
            <p:cNvSpPr txBox="1"/>
            <p:nvPr>
              <p:custDataLst>
                <p:tags r:id="rId25"/>
              </p:custDataLst>
            </p:nvPr>
          </p:nvSpPr>
          <p:spPr>
            <a:xfrm>
              <a:off x="1174005" y="6421023"/>
              <a:ext cx="1001850" cy="1266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buFontTx/>
                <a:buNone/>
              </a:pPr>
              <a:r>
                <a:rPr lang="en-US" sz="900" kern="1200" dirty="0">
                  <a:ea typeface="+mn-ea"/>
                  <a:cs typeface="+mn-cs"/>
                </a:rPr>
                <a:t> 80 </a:t>
              </a:r>
            </a:p>
          </p:txBody>
        </p:sp>
        <p:cxnSp>
          <p:nvCxnSpPr>
            <p:cNvPr id="108" name="Straight Connector 107"/>
            <p:cNvCxnSpPr/>
            <p:nvPr>
              <p:custDataLst>
                <p:tags r:id="rId26"/>
              </p:custDataLst>
            </p:nvPr>
          </p:nvCxnSpPr>
          <p:spPr>
            <a:xfrm>
              <a:off x="1174005" y="5499565"/>
              <a:ext cx="10018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custDataLst>
                <p:tags r:id="rId27"/>
              </p:custDataLst>
            </p:nvPr>
          </p:nvCxnSpPr>
          <p:spPr>
            <a:xfrm>
              <a:off x="2273225" y="5499565"/>
              <a:ext cx="816401"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322317" y="5778545"/>
              <a:ext cx="2767309" cy="557960"/>
              <a:chOff x="644267" y="5778545"/>
              <a:chExt cx="2767309" cy="557960"/>
            </a:xfrm>
          </p:grpSpPr>
          <p:cxnSp>
            <p:nvCxnSpPr>
              <p:cNvPr id="110" name="Straight Connector 109"/>
              <p:cNvCxnSpPr/>
              <p:nvPr>
                <p:custDataLst>
                  <p:tags r:id="rId28"/>
                </p:custDataLst>
              </p:nvPr>
            </p:nvCxnSpPr>
            <p:spPr>
              <a:xfrm>
                <a:off x="644267" y="5778545"/>
                <a:ext cx="2767309"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custDataLst>
                  <p:tags r:id="rId29"/>
                </p:custDataLst>
              </p:nvPr>
            </p:nvCxnSpPr>
            <p:spPr>
              <a:xfrm>
                <a:off x="644267" y="6057526"/>
                <a:ext cx="2767309"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custDataLst>
                  <p:tags r:id="rId30"/>
                </p:custDataLst>
              </p:nvPr>
            </p:nvCxnSpPr>
            <p:spPr>
              <a:xfrm>
                <a:off x="644267" y="6336505"/>
                <a:ext cx="2767309"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grpSp>
      </p:grpSp>
      <p:sp>
        <p:nvSpPr>
          <p:cNvPr id="141" name="Rectangle 140"/>
          <p:cNvSpPr>
            <a:spLocks/>
          </p:cNvSpPr>
          <p:nvPr/>
        </p:nvSpPr>
        <p:spPr>
          <a:xfrm>
            <a:off x="6256943" y="889149"/>
            <a:ext cx="3194652" cy="2680796"/>
          </a:xfrm>
          <a:prstGeom prst="rect">
            <a:avLst/>
          </a:prstGeom>
          <a:solidFill>
            <a:srgbClr val="F0F6E3">
              <a:alpha val="80000"/>
            </a:srgbClr>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600" kern="1200" dirty="0">
              <a:solidFill>
                <a:srgbClr val="000000"/>
              </a:solidFill>
            </a:endParaRPr>
          </a:p>
        </p:txBody>
      </p:sp>
      <p:sp>
        <p:nvSpPr>
          <p:cNvPr id="142" name="TextBox 141"/>
          <p:cNvSpPr txBox="1">
            <a:spLocks/>
          </p:cNvSpPr>
          <p:nvPr/>
        </p:nvSpPr>
        <p:spPr>
          <a:xfrm>
            <a:off x="6298287" y="1120198"/>
            <a:ext cx="3107164" cy="24622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fontAlgn="base">
              <a:spcBef>
                <a:spcPct val="0"/>
              </a:spcBef>
              <a:spcAft>
                <a:spcPct val="0"/>
              </a:spcAft>
              <a:buClr>
                <a:srgbClr val="000000"/>
              </a:buClr>
            </a:pPr>
            <a:r>
              <a:rPr lang="en-US" sz="1000" b="1" kern="1200" dirty="0">
                <a:solidFill>
                  <a:srgbClr val="01632F"/>
                </a:solidFill>
                <a:ea typeface="+mn-ea"/>
                <a:cs typeface="+mn-cs"/>
              </a:rPr>
              <a:t>200K farmers </a:t>
            </a:r>
            <a:r>
              <a:rPr lang="en-US" sz="1000" kern="1200" dirty="0">
                <a:ea typeface="+mn-ea"/>
                <a:cs typeface="+mn-cs"/>
              </a:rPr>
              <a:t>focusing on millet, sorghum and cowpea</a:t>
            </a:r>
          </a:p>
          <a:p>
            <a:pPr lvl="2" fontAlgn="base">
              <a:spcBef>
                <a:spcPct val="0"/>
              </a:spcBef>
              <a:spcAft>
                <a:spcPct val="0"/>
              </a:spcAft>
              <a:buClr>
                <a:srgbClr val="000000"/>
              </a:buClr>
            </a:pPr>
            <a:r>
              <a:rPr lang="en-US" sz="1000" kern="1200" dirty="0">
                <a:ea typeface="+mn-ea"/>
                <a:cs typeface="+mn-cs"/>
              </a:rPr>
              <a:t>Highest density of farmer household in the country (33/km</a:t>
            </a:r>
            <a:r>
              <a:rPr lang="en-US" sz="1000" kern="1200" baseline="30000" dirty="0">
                <a:ea typeface="+mn-ea"/>
                <a:cs typeface="+mn-cs"/>
              </a:rPr>
              <a:t>2</a:t>
            </a:r>
            <a:r>
              <a:rPr lang="en-US" sz="1000" kern="1200" dirty="0">
                <a:ea typeface="+mn-ea"/>
                <a:cs typeface="+mn-cs"/>
              </a:rPr>
              <a:t>) </a:t>
            </a:r>
          </a:p>
          <a:p>
            <a:pPr lvl="1" fontAlgn="base">
              <a:spcBef>
                <a:spcPct val="0"/>
              </a:spcBef>
              <a:spcAft>
                <a:spcPct val="0"/>
              </a:spcAft>
              <a:buClr>
                <a:srgbClr val="000000"/>
              </a:buClr>
            </a:pPr>
            <a:r>
              <a:rPr lang="en-US" sz="1000" kern="1200" dirty="0">
                <a:ea typeface="+mn-ea"/>
                <a:cs typeface="+mn-cs"/>
              </a:rPr>
              <a:t>Strong transport infrastructure for crop commercialization</a:t>
            </a:r>
          </a:p>
          <a:p>
            <a:pPr lvl="1" fontAlgn="base">
              <a:spcBef>
                <a:spcPct val="0"/>
              </a:spcBef>
              <a:spcAft>
                <a:spcPct val="0"/>
              </a:spcAft>
              <a:buClr>
                <a:srgbClr val="000000"/>
              </a:buClr>
            </a:pPr>
            <a:r>
              <a:rPr lang="en-US" sz="1000" kern="1200" dirty="0">
                <a:ea typeface="+mn-ea"/>
                <a:cs typeface="+mn-cs"/>
              </a:rPr>
              <a:t>Largest irrigation schemes </a:t>
            </a:r>
          </a:p>
          <a:p>
            <a:pPr lvl="1" fontAlgn="base">
              <a:spcBef>
                <a:spcPct val="0"/>
              </a:spcBef>
              <a:spcAft>
                <a:spcPct val="0"/>
              </a:spcAft>
              <a:buClr>
                <a:srgbClr val="000000"/>
              </a:buClr>
            </a:pPr>
            <a:r>
              <a:rPr lang="en-US" sz="1000" kern="1200" dirty="0">
                <a:ea typeface="+mn-ea"/>
                <a:cs typeface="+mn-cs"/>
              </a:rPr>
              <a:t>Fertilizer subsidy strong on rice</a:t>
            </a:r>
          </a:p>
          <a:p>
            <a:pPr lvl="1" fontAlgn="base">
              <a:spcBef>
                <a:spcPct val="0"/>
              </a:spcBef>
              <a:spcAft>
                <a:spcPct val="0"/>
              </a:spcAft>
              <a:buClr>
                <a:srgbClr val="000000"/>
              </a:buClr>
            </a:pPr>
            <a:r>
              <a:rPr lang="en-US" sz="1000" kern="1200" dirty="0">
                <a:ea typeface="+mn-ea"/>
                <a:cs typeface="+mn-cs"/>
              </a:rPr>
              <a:t>High production volume despite traditional farming techniques, with a </a:t>
            </a:r>
            <a:r>
              <a:rPr lang="en-US" sz="1000" b="1" kern="1200" dirty="0">
                <a:solidFill>
                  <a:srgbClr val="01632F"/>
                </a:solidFill>
                <a:ea typeface="+mn-ea"/>
                <a:cs typeface="+mn-cs"/>
              </a:rPr>
              <a:t>marketable surplus </a:t>
            </a:r>
            <a:r>
              <a:rPr lang="en-US" sz="1000" kern="1200" dirty="0">
                <a:ea typeface="+mn-ea"/>
                <a:cs typeface="+mn-cs"/>
              </a:rPr>
              <a:t>of </a:t>
            </a:r>
            <a:r>
              <a:rPr lang="en-US" sz="1000" b="1" kern="1200" dirty="0">
                <a:solidFill>
                  <a:srgbClr val="01632F"/>
                </a:solidFill>
                <a:ea typeface="+mn-ea"/>
                <a:cs typeface="+mn-cs"/>
              </a:rPr>
              <a:t>165 K MT</a:t>
            </a:r>
          </a:p>
          <a:p>
            <a:pPr lvl="1" fontAlgn="base">
              <a:spcBef>
                <a:spcPct val="0"/>
              </a:spcBef>
              <a:spcAft>
                <a:spcPct val="0"/>
              </a:spcAft>
              <a:buClr>
                <a:srgbClr val="000000"/>
              </a:buClr>
            </a:pPr>
            <a:r>
              <a:rPr lang="en-US" sz="1000" kern="1200" dirty="0">
                <a:ea typeface="+mn-ea"/>
                <a:cs typeface="+mn-cs"/>
              </a:rPr>
              <a:t>High yield gaps and post-harvest losses create inconsistency in production and drive food security challenges</a:t>
            </a:r>
          </a:p>
          <a:p>
            <a:pPr lvl="1" fontAlgn="base">
              <a:spcBef>
                <a:spcPct val="0"/>
              </a:spcBef>
              <a:spcAft>
                <a:spcPct val="0"/>
              </a:spcAft>
              <a:buClr>
                <a:srgbClr val="000000"/>
              </a:buClr>
            </a:pPr>
            <a:r>
              <a:rPr lang="en-US" sz="1000" kern="1200" dirty="0">
                <a:ea typeface="+mn-ea"/>
                <a:cs typeface="+mn-cs"/>
              </a:rPr>
              <a:t>Key markets include government (through OPAM), WFP, and private grain traders</a:t>
            </a:r>
          </a:p>
        </p:txBody>
      </p:sp>
      <p:sp>
        <p:nvSpPr>
          <p:cNvPr id="144" name="TextBox 143"/>
          <p:cNvSpPr txBox="1"/>
          <p:nvPr>
            <p:custDataLst>
              <p:tags r:id="rId4"/>
            </p:custDataLst>
          </p:nvPr>
        </p:nvSpPr>
        <p:spPr>
          <a:xfrm>
            <a:off x="6311734" y="930390"/>
            <a:ext cx="3107164" cy="15955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buFontTx/>
              <a:buNone/>
            </a:pPr>
            <a:r>
              <a:rPr lang="en-US" sz="1000" b="1" kern="1200" dirty="0">
                <a:solidFill>
                  <a:srgbClr val="01632F"/>
                </a:solidFill>
                <a:ea typeface="+mn-ea"/>
                <a:cs typeface="+mn-cs"/>
              </a:rPr>
              <a:t>Segou</a:t>
            </a:r>
            <a:endParaRPr lang="en-US" sz="1000" b="1" kern="1200" dirty="0">
              <a:solidFill>
                <a:srgbClr val="018942"/>
              </a:solidFill>
              <a:ea typeface="+mn-ea"/>
              <a:cs typeface="+mn-cs"/>
            </a:endParaRPr>
          </a:p>
        </p:txBody>
      </p:sp>
      <p:cxnSp>
        <p:nvCxnSpPr>
          <p:cNvPr id="145" name="Straight Connector 144"/>
          <p:cNvCxnSpPr/>
          <p:nvPr>
            <p:custDataLst>
              <p:tags r:id="rId5"/>
            </p:custDataLst>
          </p:nvPr>
        </p:nvCxnSpPr>
        <p:spPr>
          <a:xfrm>
            <a:off x="6298287" y="1130645"/>
            <a:ext cx="3107164"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47" name="Rectangle 146"/>
          <p:cNvSpPr>
            <a:spLocks/>
          </p:cNvSpPr>
          <p:nvPr/>
        </p:nvSpPr>
        <p:spPr>
          <a:xfrm>
            <a:off x="466555" y="1398946"/>
            <a:ext cx="2968508" cy="3049908"/>
          </a:xfrm>
          <a:prstGeom prst="rect">
            <a:avLst/>
          </a:prstGeom>
          <a:solidFill>
            <a:srgbClr val="F0F6E3">
              <a:alpha val="80000"/>
            </a:srgbClr>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600" kern="1200" dirty="0">
              <a:solidFill>
                <a:srgbClr val="000000"/>
              </a:solidFill>
            </a:endParaRPr>
          </a:p>
        </p:txBody>
      </p:sp>
      <p:sp>
        <p:nvSpPr>
          <p:cNvPr id="148" name="TextBox 147"/>
          <p:cNvSpPr txBox="1">
            <a:spLocks/>
          </p:cNvSpPr>
          <p:nvPr/>
        </p:nvSpPr>
        <p:spPr>
          <a:xfrm>
            <a:off x="547405" y="1681787"/>
            <a:ext cx="2802300" cy="273151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fontAlgn="base">
              <a:spcBef>
                <a:spcPct val="50000"/>
              </a:spcBef>
              <a:spcAft>
                <a:spcPct val="0"/>
              </a:spcAft>
              <a:buClr>
                <a:srgbClr val="000000"/>
              </a:buClr>
            </a:pPr>
            <a:r>
              <a:rPr lang="en-US" sz="1000" b="1" kern="1200" dirty="0">
                <a:solidFill>
                  <a:srgbClr val="01632F"/>
                </a:solidFill>
                <a:ea typeface="+mn-ea"/>
                <a:cs typeface="+mn-cs"/>
              </a:rPr>
              <a:t>320K farmers </a:t>
            </a:r>
            <a:r>
              <a:rPr lang="en-US" sz="1000" kern="1200" dirty="0">
                <a:ea typeface="+mn-ea"/>
                <a:cs typeface="+mn-cs"/>
              </a:rPr>
              <a:t>focusing on maize and sorghum, with cowpea intercropped</a:t>
            </a:r>
          </a:p>
          <a:p>
            <a:pPr lvl="1" fontAlgn="base">
              <a:spcBef>
                <a:spcPct val="50000"/>
              </a:spcBef>
              <a:spcAft>
                <a:spcPct val="0"/>
              </a:spcAft>
              <a:buClr>
                <a:srgbClr val="000000"/>
              </a:buClr>
            </a:pPr>
            <a:r>
              <a:rPr lang="en-US" sz="1000" kern="1200" dirty="0">
                <a:ea typeface="+mn-ea"/>
                <a:cs typeface="+mn-cs"/>
              </a:rPr>
              <a:t>Six rivers feeding irrigation facilities</a:t>
            </a:r>
          </a:p>
          <a:p>
            <a:pPr lvl="1" fontAlgn="base">
              <a:spcBef>
                <a:spcPct val="50000"/>
              </a:spcBef>
              <a:spcAft>
                <a:spcPct val="0"/>
              </a:spcAft>
              <a:buClr>
                <a:srgbClr val="000000"/>
              </a:buClr>
            </a:pPr>
            <a:r>
              <a:rPr lang="en-US" sz="1000" kern="1200" dirty="0">
                <a:ea typeface="+mn-ea"/>
                <a:cs typeface="+mn-cs"/>
              </a:rPr>
              <a:t>Key buyers include government (through </a:t>
            </a:r>
            <a:r>
              <a:rPr lang="en-US" sz="1000" b="1" kern="1200" dirty="0">
                <a:solidFill>
                  <a:srgbClr val="01632F"/>
                </a:solidFill>
                <a:ea typeface="+mn-ea"/>
                <a:cs typeface="+mn-cs"/>
              </a:rPr>
              <a:t>OPAM</a:t>
            </a:r>
            <a:r>
              <a:rPr lang="en-US" sz="1000" kern="1200" dirty="0">
                <a:ea typeface="+mn-ea"/>
                <a:cs typeface="+mn-cs"/>
              </a:rPr>
              <a:t>), </a:t>
            </a:r>
            <a:r>
              <a:rPr lang="en-US" sz="1000" b="1" kern="1200" dirty="0">
                <a:solidFill>
                  <a:srgbClr val="01632F"/>
                </a:solidFill>
                <a:ea typeface="+mn-ea"/>
                <a:cs typeface="+mn-cs"/>
              </a:rPr>
              <a:t>WFP</a:t>
            </a:r>
            <a:r>
              <a:rPr lang="en-US" sz="1000" kern="1200" dirty="0">
                <a:ea typeface="+mn-ea"/>
                <a:cs typeface="+mn-cs"/>
              </a:rPr>
              <a:t>, and private grain traders/exporters for industry</a:t>
            </a:r>
          </a:p>
          <a:p>
            <a:pPr lvl="2" fontAlgn="base">
              <a:spcBef>
                <a:spcPct val="25000"/>
              </a:spcBef>
              <a:spcAft>
                <a:spcPct val="0"/>
              </a:spcAft>
              <a:buClr>
                <a:srgbClr val="000000"/>
              </a:buClr>
            </a:pPr>
            <a:r>
              <a:rPr lang="en-US" sz="1000" b="1" kern="1200" dirty="0">
                <a:solidFill>
                  <a:srgbClr val="01632F"/>
                </a:solidFill>
                <a:ea typeface="+mn-ea"/>
                <a:cs typeface="+mn-cs"/>
              </a:rPr>
              <a:t>High potential as a supplier to feed processing industry </a:t>
            </a:r>
            <a:r>
              <a:rPr lang="en-US" sz="1000" kern="1200" dirty="0">
                <a:ea typeface="+mn-ea"/>
                <a:cs typeface="+mn-cs"/>
              </a:rPr>
              <a:t>in nearby Bamako</a:t>
            </a:r>
          </a:p>
          <a:p>
            <a:pPr lvl="2" fontAlgn="base">
              <a:spcBef>
                <a:spcPct val="25000"/>
              </a:spcBef>
              <a:spcAft>
                <a:spcPct val="0"/>
              </a:spcAft>
              <a:buClr>
                <a:srgbClr val="000000"/>
              </a:buClr>
            </a:pPr>
            <a:r>
              <a:rPr lang="en-US" sz="1000" kern="1200" dirty="0">
                <a:ea typeface="+mn-ea"/>
                <a:cs typeface="+mn-cs"/>
              </a:rPr>
              <a:t>Food processing industry also developing</a:t>
            </a:r>
          </a:p>
          <a:p>
            <a:pPr lvl="2" fontAlgn="base">
              <a:spcBef>
                <a:spcPct val="25000"/>
              </a:spcBef>
              <a:spcAft>
                <a:spcPct val="0"/>
              </a:spcAft>
              <a:buClr>
                <a:srgbClr val="000000"/>
              </a:buClr>
            </a:pPr>
            <a:r>
              <a:rPr lang="en-US" sz="1000" kern="1200" dirty="0">
                <a:ea typeface="+mn-ea"/>
                <a:cs typeface="+mn-cs"/>
              </a:rPr>
              <a:t>Low quality of processed grains limits market opportunities</a:t>
            </a:r>
          </a:p>
          <a:p>
            <a:pPr lvl="1" fontAlgn="base">
              <a:spcBef>
                <a:spcPct val="25000"/>
              </a:spcBef>
              <a:spcAft>
                <a:spcPct val="0"/>
              </a:spcAft>
              <a:buClr>
                <a:srgbClr val="000000"/>
              </a:buClr>
            </a:pPr>
            <a:r>
              <a:rPr lang="en-US" sz="1000" kern="1200" dirty="0">
                <a:ea typeface="+mn-ea"/>
                <a:cs typeface="+mn-cs"/>
              </a:rPr>
              <a:t>Under-developed FOs, with significant technical and organizational capacity gaps</a:t>
            </a:r>
          </a:p>
          <a:p>
            <a:pPr lvl="1" fontAlgn="base">
              <a:spcBef>
                <a:spcPct val="25000"/>
              </a:spcBef>
              <a:spcAft>
                <a:spcPct val="0"/>
              </a:spcAft>
              <a:buClr>
                <a:srgbClr val="000000"/>
              </a:buClr>
            </a:pPr>
            <a:r>
              <a:rPr lang="en-US" sz="1000" kern="1200" dirty="0">
                <a:ea typeface="+mn-ea"/>
                <a:cs typeface="+mn-cs"/>
              </a:rPr>
              <a:t>Limited aggregation services </a:t>
            </a:r>
          </a:p>
          <a:p>
            <a:pPr lvl="1" fontAlgn="base">
              <a:spcBef>
                <a:spcPct val="50000"/>
              </a:spcBef>
              <a:spcAft>
                <a:spcPct val="0"/>
              </a:spcAft>
              <a:buClr>
                <a:srgbClr val="000000"/>
              </a:buClr>
            </a:pPr>
            <a:r>
              <a:rPr lang="en-US" sz="1000" b="1" kern="1200" dirty="0">
                <a:solidFill>
                  <a:srgbClr val="01632F"/>
                </a:solidFill>
                <a:ea typeface="+mn-ea"/>
                <a:cs typeface="+mn-cs"/>
              </a:rPr>
              <a:t>Marketable surplus: </a:t>
            </a:r>
            <a:r>
              <a:rPr lang="en-US" sz="1000" kern="1200" dirty="0">
                <a:solidFill>
                  <a:schemeClr val="tx1"/>
                </a:solidFill>
                <a:ea typeface="+mn-ea"/>
                <a:cs typeface="+mn-cs"/>
              </a:rPr>
              <a:t>544K</a:t>
            </a:r>
            <a:r>
              <a:rPr lang="en-US" sz="1000" kern="1200" dirty="0">
                <a:ea typeface="+mn-ea"/>
                <a:cs typeface="+mn-cs"/>
              </a:rPr>
              <a:t> MT</a:t>
            </a:r>
          </a:p>
        </p:txBody>
      </p:sp>
      <p:grpSp>
        <p:nvGrpSpPr>
          <p:cNvPr id="149" name="Group 148"/>
          <p:cNvGrpSpPr>
            <a:grpSpLocks/>
          </p:cNvGrpSpPr>
          <p:nvPr/>
        </p:nvGrpSpPr>
        <p:grpSpPr>
          <a:xfrm>
            <a:off x="547405" y="1415578"/>
            <a:ext cx="2802300" cy="200257"/>
            <a:chOff x="228600" y="1718505"/>
            <a:chExt cx="7050266" cy="193148"/>
          </a:xfrm>
        </p:grpSpPr>
        <p:sp>
          <p:nvSpPr>
            <p:cNvPr id="150" name="TextBox 149"/>
            <p:cNvSpPr txBox="1"/>
            <p:nvPr>
              <p:custDataLst>
                <p:tags r:id="rId8"/>
              </p:custDataLst>
            </p:nvPr>
          </p:nvSpPr>
          <p:spPr>
            <a:xfrm>
              <a:off x="228600" y="1718505"/>
              <a:ext cx="705026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buFontTx/>
                <a:buNone/>
              </a:pPr>
              <a:r>
                <a:rPr lang="en-US" sz="1000" b="1" kern="1200" dirty="0">
                  <a:solidFill>
                    <a:srgbClr val="01632F"/>
                  </a:solidFill>
                  <a:ea typeface="+mn-ea"/>
                  <a:cs typeface="+mn-cs"/>
                </a:rPr>
                <a:t>Koulikoro</a:t>
              </a:r>
            </a:p>
          </p:txBody>
        </p:sp>
        <p:cxnSp>
          <p:nvCxnSpPr>
            <p:cNvPr id="151" name="Straight Connector 150"/>
            <p:cNvCxnSpPr/>
            <p:nvPr>
              <p:custDataLst>
                <p:tags r:id="rId9"/>
              </p:custDataLst>
            </p:nvPr>
          </p:nvCxnSpPr>
          <p:spPr>
            <a:xfrm>
              <a:off x="228600" y="1911653"/>
              <a:ext cx="7050266"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cxnSp>
        <p:nvCxnSpPr>
          <p:cNvPr id="152" name="Straight Arrow Connector 151"/>
          <p:cNvCxnSpPr>
            <a:stCxn id="141" idx="1"/>
          </p:cNvCxnSpPr>
          <p:nvPr/>
        </p:nvCxnSpPr>
        <p:spPr>
          <a:xfrm flipH="1">
            <a:off x="4994443" y="2229547"/>
            <a:ext cx="1262501" cy="583130"/>
          </a:xfrm>
          <a:prstGeom prst="straightConnector1">
            <a:avLst/>
          </a:prstGeom>
          <a:ln w="19050">
            <a:solidFill>
              <a:schemeClr val="accent4"/>
            </a:solidFill>
            <a:tailEnd type="oval"/>
          </a:ln>
        </p:spPr>
        <p:style>
          <a:lnRef idx="1">
            <a:schemeClr val="accent1"/>
          </a:lnRef>
          <a:fillRef idx="0">
            <a:schemeClr val="accent1"/>
          </a:fillRef>
          <a:effectRef idx="0">
            <a:schemeClr val="accent1"/>
          </a:effectRef>
          <a:fontRef idx="minor">
            <a:schemeClr val="tx1"/>
          </a:fontRef>
        </p:style>
      </p:cxnSp>
      <p:cxnSp>
        <p:nvCxnSpPr>
          <p:cNvPr id="153" name="Straight Arrow Connector 152"/>
          <p:cNvCxnSpPr>
            <a:stCxn id="147" idx="3"/>
          </p:cNvCxnSpPr>
          <p:nvPr/>
        </p:nvCxnSpPr>
        <p:spPr>
          <a:xfrm>
            <a:off x="3435064" y="2923900"/>
            <a:ext cx="451229" cy="223070"/>
          </a:xfrm>
          <a:prstGeom prst="straightConnector1">
            <a:avLst/>
          </a:prstGeom>
          <a:ln w="19050">
            <a:solidFill>
              <a:schemeClr val="accent4"/>
            </a:solidFill>
            <a:tailEnd type="oval"/>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609601" y="783974"/>
            <a:ext cx="3723273" cy="53860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50000"/>
              </a:spcBef>
              <a:spcAft>
                <a:spcPct val="0"/>
              </a:spcAft>
              <a:buClr>
                <a:srgbClr val="000000"/>
              </a:buClr>
              <a:buFontTx/>
              <a:buNone/>
            </a:pPr>
            <a:r>
              <a:rPr lang="en-US" sz="1000" b="1" kern="1200" dirty="0">
                <a:solidFill>
                  <a:srgbClr val="01632F"/>
                </a:solidFill>
                <a:ea typeface="+mn-ea"/>
                <a:cs typeface="+mn-cs"/>
              </a:rPr>
              <a:t>To prioritize interventions, regions were assessed based on:</a:t>
            </a:r>
          </a:p>
          <a:p>
            <a:pPr lvl="1" fontAlgn="base">
              <a:spcBef>
                <a:spcPct val="25000"/>
              </a:spcBef>
              <a:spcAft>
                <a:spcPct val="0"/>
              </a:spcAft>
              <a:buClr>
                <a:srgbClr val="000000"/>
              </a:buClr>
            </a:pPr>
            <a:r>
              <a:rPr lang="en-US" sz="1000" kern="1200" dirty="0">
                <a:ea typeface="+mn-ea"/>
                <a:cs typeface="+mn-cs"/>
              </a:rPr>
              <a:t>Possible impact</a:t>
            </a:r>
          </a:p>
          <a:p>
            <a:pPr lvl="1" fontAlgn="base">
              <a:spcBef>
                <a:spcPct val="25000"/>
              </a:spcBef>
              <a:spcAft>
                <a:spcPct val="0"/>
              </a:spcAft>
              <a:buClr>
                <a:srgbClr val="000000"/>
              </a:buClr>
            </a:pPr>
            <a:r>
              <a:rPr lang="en-US" sz="1000" kern="1200" dirty="0">
                <a:ea typeface="+mn-ea"/>
                <a:cs typeface="+mn-cs"/>
              </a:rPr>
              <a:t>Ease of delivery</a:t>
            </a:r>
          </a:p>
        </p:txBody>
      </p:sp>
      <p:cxnSp>
        <p:nvCxnSpPr>
          <p:cNvPr id="70" name="Straight Arrow Connector 69"/>
          <p:cNvCxnSpPr>
            <a:stCxn id="127" idx="1"/>
          </p:cNvCxnSpPr>
          <p:nvPr/>
        </p:nvCxnSpPr>
        <p:spPr>
          <a:xfrm flipH="1" flipV="1">
            <a:off x="5096332" y="4426542"/>
            <a:ext cx="415696" cy="791256"/>
          </a:xfrm>
          <a:prstGeom prst="straightConnector1">
            <a:avLst/>
          </a:prstGeom>
          <a:ln w="19050">
            <a:solidFill>
              <a:schemeClr val="accent4"/>
            </a:solidFill>
            <a:tailEnd type="oval"/>
          </a:ln>
        </p:spPr>
        <p:style>
          <a:lnRef idx="1">
            <a:schemeClr val="accent1"/>
          </a:lnRef>
          <a:fillRef idx="0">
            <a:schemeClr val="accent1"/>
          </a:fillRef>
          <a:effectRef idx="0">
            <a:schemeClr val="accent1"/>
          </a:effectRef>
          <a:fontRef idx="minor">
            <a:schemeClr val="tx1"/>
          </a:fontRef>
        </p:style>
      </p:cxnSp>
      <p:grpSp>
        <p:nvGrpSpPr>
          <p:cNvPr id="20" name="Group 19"/>
          <p:cNvGrpSpPr>
            <a:grpSpLocks/>
          </p:cNvGrpSpPr>
          <p:nvPr/>
        </p:nvGrpSpPr>
        <p:grpSpPr>
          <a:xfrm>
            <a:off x="4692255" y="838469"/>
            <a:ext cx="1328107" cy="1257041"/>
            <a:chOff x="4348101" y="838468"/>
            <a:chExt cx="1328107" cy="1257041"/>
          </a:xfrm>
        </p:grpSpPr>
        <p:grpSp>
          <p:nvGrpSpPr>
            <p:cNvPr id="115" name="Group 114"/>
            <p:cNvGrpSpPr>
              <a:grpSpLocks/>
            </p:cNvGrpSpPr>
            <p:nvPr/>
          </p:nvGrpSpPr>
          <p:grpSpPr>
            <a:xfrm>
              <a:off x="4348101" y="838468"/>
              <a:ext cx="1328107" cy="1257041"/>
              <a:chOff x="-395287" y="1260475"/>
              <a:chExt cx="5043487" cy="4773613"/>
            </a:xfrm>
          </p:grpSpPr>
          <p:sp>
            <p:nvSpPr>
              <p:cNvPr id="116" name="Freeform 58"/>
              <p:cNvSpPr>
                <a:spLocks/>
              </p:cNvSpPr>
              <p:nvPr/>
            </p:nvSpPr>
            <p:spPr bwMode="auto">
              <a:xfrm>
                <a:off x="1343025" y="1260475"/>
                <a:ext cx="2005013" cy="3235325"/>
              </a:xfrm>
              <a:custGeom>
                <a:avLst/>
                <a:gdLst>
                  <a:gd name="T0" fmla="*/ 1083 w 1263"/>
                  <a:gd name="T1" fmla="*/ 1449 h 2038"/>
                  <a:gd name="T2" fmla="*/ 963 w 1263"/>
                  <a:gd name="T3" fmla="*/ 1660 h 2038"/>
                  <a:gd name="T4" fmla="*/ 1131 w 1263"/>
                  <a:gd name="T5" fmla="*/ 1786 h 2038"/>
                  <a:gd name="T6" fmla="*/ 1155 w 1263"/>
                  <a:gd name="T7" fmla="*/ 1954 h 2038"/>
                  <a:gd name="T8" fmla="*/ 1131 w 1263"/>
                  <a:gd name="T9" fmla="*/ 2038 h 2038"/>
                  <a:gd name="T10" fmla="*/ 914 w 1263"/>
                  <a:gd name="T11" fmla="*/ 1966 h 2038"/>
                  <a:gd name="T12" fmla="*/ 752 w 1263"/>
                  <a:gd name="T13" fmla="*/ 1960 h 2038"/>
                  <a:gd name="T14" fmla="*/ 656 w 1263"/>
                  <a:gd name="T15" fmla="*/ 1888 h 2038"/>
                  <a:gd name="T16" fmla="*/ 626 w 1263"/>
                  <a:gd name="T17" fmla="*/ 1894 h 2038"/>
                  <a:gd name="T18" fmla="*/ 583 w 1263"/>
                  <a:gd name="T19" fmla="*/ 1930 h 2038"/>
                  <a:gd name="T20" fmla="*/ 529 w 1263"/>
                  <a:gd name="T21" fmla="*/ 1954 h 2038"/>
                  <a:gd name="T22" fmla="*/ 517 w 1263"/>
                  <a:gd name="T23" fmla="*/ 1918 h 2038"/>
                  <a:gd name="T24" fmla="*/ 451 w 1263"/>
                  <a:gd name="T25" fmla="*/ 1900 h 2038"/>
                  <a:gd name="T26" fmla="*/ 325 w 1263"/>
                  <a:gd name="T27" fmla="*/ 1936 h 2038"/>
                  <a:gd name="T28" fmla="*/ 258 w 1263"/>
                  <a:gd name="T29" fmla="*/ 1918 h 2038"/>
                  <a:gd name="T30" fmla="*/ 222 w 1263"/>
                  <a:gd name="T31" fmla="*/ 1870 h 2038"/>
                  <a:gd name="T32" fmla="*/ 174 w 1263"/>
                  <a:gd name="T33" fmla="*/ 1654 h 2038"/>
                  <a:gd name="T34" fmla="*/ 168 w 1263"/>
                  <a:gd name="T35" fmla="*/ 1594 h 2038"/>
                  <a:gd name="T36" fmla="*/ 162 w 1263"/>
                  <a:gd name="T37" fmla="*/ 1527 h 2038"/>
                  <a:gd name="T38" fmla="*/ 156 w 1263"/>
                  <a:gd name="T39" fmla="*/ 1467 h 2038"/>
                  <a:gd name="T40" fmla="*/ 150 w 1263"/>
                  <a:gd name="T41" fmla="*/ 1413 h 2038"/>
                  <a:gd name="T42" fmla="*/ 144 w 1263"/>
                  <a:gd name="T43" fmla="*/ 1347 h 2038"/>
                  <a:gd name="T44" fmla="*/ 138 w 1263"/>
                  <a:gd name="T45" fmla="*/ 1281 h 2038"/>
                  <a:gd name="T46" fmla="*/ 126 w 1263"/>
                  <a:gd name="T47" fmla="*/ 1221 h 2038"/>
                  <a:gd name="T48" fmla="*/ 120 w 1263"/>
                  <a:gd name="T49" fmla="*/ 1149 h 2038"/>
                  <a:gd name="T50" fmla="*/ 114 w 1263"/>
                  <a:gd name="T51" fmla="*/ 1088 h 2038"/>
                  <a:gd name="T52" fmla="*/ 108 w 1263"/>
                  <a:gd name="T53" fmla="*/ 1040 h 2038"/>
                  <a:gd name="T54" fmla="*/ 96 w 1263"/>
                  <a:gd name="T55" fmla="*/ 926 h 2038"/>
                  <a:gd name="T56" fmla="*/ 90 w 1263"/>
                  <a:gd name="T57" fmla="*/ 884 h 2038"/>
                  <a:gd name="T58" fmla="*/ 84 w 1263"/>
                  <a:gd name="T59" fmla="*/ 818 h 2038"/>
                  <a:gd name="T60" fmla="*/ 78 w 1263"/>
                  <a:gd name="T61" fmla="*/ 746 h 2038"/>
                  <a:gd name="T62" fmla="*/ 72 w 1263"/>
                  <a:gd name="T63" fmla="*/ 673 h 2038"/>
                  <a:gd name="T64" fmla="*/ 66 w 1263"/>
                  <a:gd name="T65" fmla="*/ 631 h 2038"/>
                  <a:gd name="T66" fmla="*/ 60 w 1263"/>
                  <a:gd name="T67" fmla="*/ 547 h 2038"/>
                  <a:gd name="T68" fmla="*/ 54 w 1263"/>
                  <a:gd name="T69" fmla="*/ 499 h 2038"/>
                  <a:gd name="T70" fmla="*/ 48 w 1263"/>
                  <a:gd name="T71" fmla="*/ 445 h 2038"/>
                  <a:gd name="T72" fmla="*/ 42 w 1263"/>
                  <a:gd name="T73" fmla="*/ 391 h 2038"/>
                  <a:gd name="T74" fmla="*/ 30 w 1263"/>
                  <a:gd name="T75" fmla="*/ 325 h 2038"/>
                  <a:gd name="T76" fmla="*/ 30 w 1263"/>
                  <a:gd name="T77" fmla="*/ 277 h 2038"/>
                  <a:gd name="T78" fmla="*/ 24 w 1263"/>
                  <a:gd name="T79" fmla="*/ 216 h 2038"/>
                  <a:gd name="T80" fmla="*/ 0 w 1263"/>
                  <a:gd name="T81" fmla="*/ 18 h 2038"/>
                  <a:gd name="T82" fmla="*/ 78 w 1263"/>
                  <a:gd name="T83" fmla="*/ 0 h 2038"/>
                  <a:gd name="T84" fmla="*/ 156 w 1263"/>
                  <a:gd name="T85" fmla="*/ 0 h 2038"/>
                  <a:gd name="T86" fmla="*/ 252 w 1263"/>
                  <a:gd name="T87" fmla="*/ 0 h 2038"/>
                  <a:gd name="T88" fmla="*/ 337 w 1263"/>
                  <a:gd name="T89" fmla="*/ 6 h 2038"/>
                  <a:gd name="T90" fmla="*/ 397 w 1263"/>
                  <a:gd name="T91" fmla="*/ 48 h 2038"/>
                  <a:gd name="T92" fmla="*/ 517 w 1263"/>
                  <a:gd name="T93" fmla="*/ 132 h 2038"/>
                  <a:gd name="T94" fmla="*/ 632 w 1263"/>
                  <a:gd name="T95" fmla="*/ 210 h 2038"/>
                  <a:gd name="T96" fmla="*/ 686 w 1263"/>
                  <a:gd name="T97" fmla="*/ 247 h 2038"/>
                  <a:gd name="T98" fmla="*/ 734 w 1263"/>
                  <a:gd name="T99" fmla="*/ 283 h 2038"/>
                  <a:gd name="T100" fmla="*/ 788 w 1263"/>
                  <a:gd name="T101" fmla="*/ 319 h 2038"/>
                  <a:gd name="T102" fmla="*/ 836 w 1263"/>
                  <a:gd name="T103" fmla="*/ 349 h 2038"/>
                  <a:gd name="T104" fmla="*/ 872 w 1263"/>
                  <a:gd name="T105" fmla="*/ 379 h 2038"/>
                  <a:gd name="T106" fmla="*/ 914 w 1263"/>
                  <a:gd name="T107" fmla="*/ 403 h 2038"/>
                  <a:gd name="T108" fmla="*/ 957 w 1263"/>
                  <a:gd name="T109" fmla="*/ 433 h 2038"/>
                  <a:gd name="T110" fmla="*/ 1005 w 1263"/>
                  <a:gd name="T111" fmla="*/ 469 h 2038"/>
                  <a:gd name="T112" fmla="*/ 1059 w 1263"/>
                  <a:gd name="T113" fmla="*/ 505 h 2038"/>
                  <a:gd name="T114" fmla="*/ 1113 w 1263"/>
                  <a:gd name="T115" fmla="*/ 547 h 2038"/>
                  <a:gd name="T116" fmla="*/ 1155 w 1263"/>
                  <a:gd name="T117" fmla="*/ 577 h 2038"/>
                  <a:gd name="T118" fmla="*/ 1185 w 1263"/>
                  <a:gd name="T119" fmla="*/ 601 h 2038"/>
                  <a:gd name="T120" fmla="*/ 1227 w 1263"/>
                  <a:gd name="T121" fmla="*/ 625 h 20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3" h="2038">
                    <a:moveTo>
                      <a:pt x="1263" y="649"/>
                    </a:moveTo>
                    <a:lnTo>
                      <a:pt x="1215" y="794"/>
                    </a:lnTo>
                    <a:lnTo>
                      <a:pt x="1089" y="896"/>
                    </a:lnTo>
                    <a:lnTo>
                      <a:pt x="1017" y="962"/>
                    </a:lnTo>
                    <a:lnTo>
                      <a:pt x="866" y="1046"/>
                    </a:lnTo>
                    <a:lnTo>
                      <a:pt x="1077" y="1215"/>
                    </a:lnTo>
                    <a:lnTo>
                      <a:pt x="1095" y="1239"/>
                    </a:lnTo>
                    <a:lnTo>
                      <a:pt x="1083" y="1449"/>
                    </a:lnTo>
                    <a:lnTo>
                      <a:pt x="1047" y="1473"/>
                    </a:lnTo>
                    <a:lnTo>
                      <a:pt x="951" y="1539"/>
                    </a:lnTo>
                    <a:lnTo>
                      <a:pt x="932" y="1551"/>
                    </a:lnTo>
                    <a:lnTo>
                      <a:pt x="945" y="1600"/>
                    </a:lnTo>
                    <a:lnTo>
                      <a:pt x="951" y="1630"/>
                    </a:lnTo>
                    <a:lnTo>
                      <a:pt x="957" y="1642"/>
                    </a:lnTo>
                    <a:lnTo>
                      <a:pt x="957" y="1648"/>
                    </a:lnTo>
                    <a:lnTo>
                      <a:pt x="963" y="1660"/>
                    </a:lnTo>
                    <a:lnTo>
                      <a:pt x="1047" y="1666"/>
                    </a:lnTo>
                    <a:lnTo>
                      <a:pt x="1107" y="1672"/>
                    </a:lnTo>
                    <a:lnTo>
                      <a:pt x="1131" y="1672"/>
                    </a:lnTo>
                    <a:lnTo>
                      <a:pt x="1131" y="1684"/>
                    </a:lnTo>
                    <a:lnTo>
                      <a:pt x="1131" y="1690"/>
                    </a:lnTo>
                    <a:lnTo>
                      <a:pt x="1131" y="1708"/>
                    </a:lnTo>
                    <a:lnTo>
                      <a:pt x="1125" y="1732"/>
                    </a:lnTo>
                    <a:lnTo>
                      <a:pt x="1131" y="1786"/>
                    </a:lnTo>
                    <a:lnTo>
                      <a:pt x="1131" y="1810"/>
                    </a:lnTo>
                    <a:lnTo>
                      <a:pt x="1131" y="1846"/>
                    </a:lnTo>
                    <a:lnTo>
                      <a:pt x="1137" y="1882"/>
                    </a:lnTo>
                    <a:lnTo>
                      <a:pt x="1137" y="1894"/>
                    </a:lnTo>
                    <a:lnTo>
                      <a:pt x="1143" y="1906"/>
                    </a:lnTo>
                    <a:lnTo>
                      <a:pt x="1143" y="1912"/>
                    </a:lnTo>
                    <a:lnTo>
                      <a:pt x="1143" y="1918"/>
                    </a:lnTo>
                    <a:lnTo>
                      <a:pt x="1155" y="1954"/>
                    </a:lnTo>
                    <a:lnTo>
                      <a:pt x="1155" y="1966"/>
                    </a:lnTo>
                    <a:lnTo>
                      <a:pt x="1173" y="2038"/>
                    </a:lnTo>
                    <a:lnTo>
                      <a:pt x="1167" y="2038"/>
                    </a:lnTo>
                    <a:lnTo>
                      <a:pt x="1161" y="2038"/>
                    </a:lnTo>
                    <a:lnTo>
                      <a:pt x="1155" y="2038"/>
                    </a:lnTo>
                    <a:lnTo>
                      <a:pt x="1149" y="2038"/>
                    </a:lnTo>
                    <a:lnTo>
                      <a:pt x="1143" y="2038"/>
                    </a:lnTo>
                    <a:lnTo>
                      <a:pt x="1131" y="2038"/>
                    </a:lnTo>
                    <a:lnTo>
                      <a:pt x="1125" y="2038"/>
                    </a:lnTo>
                    <a:lnTo>
                      <a:pt x="1119" y="2038"/>
                    </a:lnTo>
                    <a:lnTo>
                      <a:pt x="1029" y="2014"/>
                    </a:lnTo>
                    <a:lnTo>
                      <a:pt x="1011" y="2002"/>
                    </a:lnTo>
                    <a:lnTo>
                      <a:pt x="999" y="1990"/>
                    </a:lnTo>
                    <a:lnTo>
                      <a:pt x="975" y="1978"/>
                    </a:lnTo>
                    <a:lnTo>
                      <a:pt x="938" y="1966"/>
                    </a:lnTo>
                    <a:lnTo>
                      <a:pt x="914" y="1966"/>
                    </a:lnTo>
                    <a:lnTo>
                      <a:pt x="896" y="1966"/>
                    </a:lnTo>
                    <a:lnTo>
                      <a:pt x="878" y="1966"/>
                    </a:lnTo>
                    <a:lnTo>
                      <a:pt x="848" y="1972"/>
                    </a:lnTo>
                    <a:lnTo>
                      <a:pt x="812" y="1984"/>
                    </a:lnTo>
                    <a:lnTo>
                      <a:pt x="794" y="1990"/>
                    </a:lnTo>
                    <a:lnTo>
                      <a:pt x="776" y="1990"/>
                    </a:lnTo>
                    <a:lnTo>
                      <a:pt x="764" y="1978"/>
                    </a:lnTo>
                    <a:lnTo>
                      <a:pt x="752" y="1960"/>
                    </a:lnTo>
                    <a:lnTo>
                      <a:pt x="734" y="1924"/>
                    </a:lnTo>
                    <a:lnTo>
                      <a:pt x="728" y="1912"/>
                    </a:lnTo>
                    <a:lnTo>
                      <a:pt x="722" y="1900"/>
                    </a:lnTo>
                    <a:lnTo>
                      <a:pt x="716" y="1900"/>
                    </a:lnTo>
                    <a:lnTo>
                      <a:pt x="704" y="1894"/>
                    </a:lnTo>
                    <a:lnTo>
                      <a:pt x="698" y="1882"/>
                    </a:lnTo>
                    <a:lnTo>
                      <a:pt x="680" y="1888"/>
                    </a:lnTo>
                    <a:lnTo>
                      <a:pt x="656" y="1888"/>
                    </a:lnTo>
                    <a:lnTo>
                      <a:pt x="650" y="1888"/>
                    </a:lnTo>
                    <a:lnTo>
                      <a:pt x="650" y="1882"/>
                    </a:lnTo>
                    <a:lnTo>
                      <a:pt x="644" y="1882"/>
                    </a:lnTo>
                    <a:lnTo>
                      <a:pt x="638" y="1882"/>
                    </a:lnTo>
                    <a:lnTo>
                      <a:pt x="632" y="1882"/>
                    </a:lnTo>
                    <a:lnTo>
                      <a:pt x="632" y="1888"/>
                    </a:lnTo>
                    <a:lnTo>
                      <a:pt x="626" y="1888"/>
                    </a:lnTo>
                    <a:lnTo>
                      <a:pt x="626" y="1894"/>
                    </a:lnTo>
                    <a:lnTo>
                      <a:pt x="620" y="1894"/>
                    </a:lnTo>
                    <a:lnTo>
                      <a:pt x="620" y="1900"/>
                    </a:lnTo>
                    <a:lnTo>
                      <a:pt x="614" y="1900"/>
                    </a:lnTo>
                    <a:lnTo>
                      <a:pt x="608" y="1900"/>
                    </a:lnTo>
                    <a:lnTo>
                      <a:pt x="602" y="1900"/>
                    </a:lnTo>
                    <a:lnTo>
                      <a:pt x="595" y="1906"/>
                    </a:lnTo>
                    <a:lnTo>
                      <a:pt x="589" y="1918"/>
                    </a:lnTo>
                    <a:lnTo>
                      <a:pt x="583" y="1930"/>
                    </a:lnTo>
                    <a:lnTo>
                      <a:pt x="577" y="1936"/>
                    </a:lnTo>
                    <a:lnTo>
                      <a:pt x="571" y="1942"/>
                    </a:lnTo>
                    <a:lnTo>
                      <a:pt x="559" y="1954"/>
                    </a:lnTo>
                    <a:lnTo>
                      <a:pt x="553" y="1954"/>
                    </a:lnTo>
                    <a:lnTo>
                      <a:pt x="547" y="1954"/>
                    </a:lnTo>
                    <a:lnTo>
                      <a:pt x="541" y="1954"/>
                    </a:lnTo>
                    <a:lnTo>
                      <a:pt x="535" y="1954"/>
                    </a:lnTo>
                    <a:lnTo>
                      <a:pt x="529" y="1954"/>
                    </a:lnTo>
                    <a:lnTo>
                      <a:pt x="523" y="1948"/>
                    </a:lnTo>
                    <a:lnTo>
                      <a:pt x="523" y="1954"/>
                    </a:lnTo>
                    <a:lnTo>
                      <a:pt x="517" y="1948"/>
                    </a:lnTo>
                    <a:lnTo>
                      <a:pt x="517" y="1942"/>
                    </a:lnTo>
                    <a:lnTo>
                      <a:pt x="523" y="1942"/>
                    </a:lnTo>
                    <a:lnTo>
                      <a:pt x="523" y="1936"/>
                    </a:lnTo>
                    <a:lnTo>
                      <a:pt x="523" y="1930"/>
                    </a:lnTo>
                    <a:lnTo>
                      <a:pt x="517" y="1918"/>
                    </a:lnTo>
                    <a:lnTo>
                      <a:pt x="511" y="1918"/>
                    </a:lnTo>
                    <a:lnTo>
                      <a:pt x="505" y="1918"/>
                    </a:lnTo>
                    <a:lnTo>
                      <a:pt x="493" y="1906"/>
                    </a:lnTo>
                    <a:lnTo>
                      <a:pt x="487" y="1888"/>
                    </a:lnTo>
                    <a:lnTo>
                      <a:pt x="481" y="1888"/>
                    </a:lnTo>
                    <a:lnTo>
                      <a:pt x="469" y="1888"/>
                    </a:lnTo>
                    <a:lnTo>
                      <a:pt x="463" y="1894"/>
                    </a:lnTo>
                    <a:lnTo>
                      <a:pt x="451" y="1900"/>
                    </a:lnTo>
                    <a:lnTo>
                      <a:pt x="445" y="1900"/>
                    </a:lnTo>
                    <a:lnTo>
                      <a:pt x="445" y="1906"/>
                    </a:lnTo>
                    <a:lnTo>
                      <a:pt x="439" y="1906"/>
                    </a:lnTo>
                    <a:lnTo>
                      <a:pt x="421" y="1912"/>
                    </a:lnTo>
                    <a:lnTo>
                      <a:pt x="409" y="1924"/>
                    </a:lnTo>
                    <a:lnTo>
                      <a:pt x="361" y="1936"/>
                    </a:lnTo>
                    <a:lnTo>
                      <a:pt x="331" y="1936"/>
                    </a:lnTo>
                    <a:lnTo>
                      <a:pt x="325" y="1936"/>
                    </a:lnTo>
                    <a:lnTo>
                      <a:pt x="325" y="1930"/>
                    </a:lnTo>
                    <a:lnTo>
                      <a:pt x="325" y="1936"/>
                    </a:lnTo>
                    <a:lnTo>
                      <a:pt x="319" y="1936"/>
                    </a:lnTo>
                    <a:lnTo>
                      <a:pt x="313" y="1936"/>
                    </a:lnTo>
                    <a:lnTo>
                      <a:pt x="301" y="1930"/>
                    </a:lnTo>
                    <a:lnTo>
                      <a:pt x="283" y="1930"/>
                    </a:lnTo>
                    <a:lnTo>
                      <a:pt x="271" y="1930"/>
                    </a:lnTo>
                    <a:lnTo>
                      <a:pt x="258" y="1918"/>
                    </a:lnTo>
                    <a:lnTo>
                      <a:pt x="246" y="1930"/>
                    </a:lnTo>
                    <a:lnTo>
                      <a:pt x="234" y="1942"/>
                    </a:lnTo>
                    <a:lnTo>
                      <a:pt x="204" y="1948"/>
                    </a:lnTo>
                    <a:lnTo>
                      <a:pt x="204" y="1942"/>
                    </a:lnTo>
                    <a:lnTo>
                      <a:pt x="210" y="1918"/>
                    </a:lnTo>
                    <a:lnTo>
                      <a:pt x="216" y="1900"/>
                    </a:lnTo>
                    <a:lnTo>
                      <a:pt x="216" y="1894"/>
                    </a:lnTo>
                    <a:lnTo>
                      <a:pt x="222" y="1870"/>
                    </a:lnTo>
                    <a:lnTo>
                      <a:pt x="222" y="1852"/>
                    </a:lnTo>
                    <a:lnTo>
                      <a:pt x="240" y="1786"/>
                    </a:lnTo>
                    <a:lnTo>
                      <a:pt x="186" y="1750"/>
                    </a:lnTo>
                    <a:lnTo>
                      <a:pt x="174" y="1678"/>
                    </a:lnTo>
                    <a:lnTo>
                      <a:pt x="174" y="1672"/>
                    </a:lnTo>
                    <a:lnTo>
                      <a:pt x="174" y="1666"/>
                    </a:lnTo>
                    <a:lnTo>
                      <a:pt x="174" y="1660"/>
                    </a:lnTo>
                    <a:lnTo>
                      <a:pt x="174" y="1654"/>
                    </a:lnTo>
                    <a:lnTo>
                      <a:pt x="174" y="1636"/>
                    </a:lnTo>
                    <a:lnTo>
                      <a:pt x="174" y="1630"/>
                    </a:lnTo>
                    <a:lnTo>
                      <a:pt x="168" y="1624"/>
                    </a:lnTo>
                    <a:lnTo>
                      <a:pt x="168" y="1618"/>
                    </a:lnTo>
                    <a:lnTo>
                      <a:pt x="168" y="1612"/>
                    </a:lnTo>
                    <a:lnTo>
                      <a:pt x="168" y="1606"/>
                    </a:lnTo>
                    <a:lnTo>
                      <a:pt x="168" y="1600"/>
                    </a:lnTo>
                    <a:lnTo>
                      <a:pt x="168" y="1594"/>
                    </a:lnTo>
                    <a:lnTo>
                      <a:pt x="168" y="1588"/>
                    </a:lnTo>
                    <a:lnTo>
                      <a:pt x="168" y="1581"/>
                    </a:lnTo>
                    <a:lnTo>
                      <a:pt x="168" y="1575"/>
                    </a:lnTo>
                    <a:lnTo>
                      <a:pt x="162" y="1563"/>
                    </a:lnTo>
                    <a:lnTo>
                      <a:pt x="162" y="1551"/>
                    </a:lnTo>
                    <a:lnTo>
                      <a:pt x="162" y="1545"/>
                    </a:lnTo>
                    <a:lnTo>
                      <a:pt x="162" y="1539"/>
                    </a:lnTo>
                    <a:lnTo>
                      <a:pt x="162" y="1527"/>
                    </a:lnTo>
                    <a:lnTo>
                      <a:pt x="162" y="1521"/>
                    </a:lnTo>
                    <a:lnTo>
                      <a:pt x="162" y="1515"/>
                    </a:lnTo>
                    <a:lnTo>
                      <a:pt x="162" y="1509"/>
                    </a:lnTo>
                    <a:lnTo>
                      <a:pt x="156" y="1497"/>
                    </a:lnTo>
                    <a:lnTo>
                      <a:pt x="156" y="1491"/>
                    </a:lnTo>
                    <a:lnTo>
                      <a:pt x="156" y="1485"/>
                    </a:lnTo>
                    <a:lnTo>
                      <a:pt x="156" y="1479"/>
                    </a:lnTo>
                    <a:lnTo>
                      <a:pt x="156" y="1467"/>
                    </a:lnTo>
                    <a:lnTo>
                      <a:pt x="156" y="1461"/>
                    </a:lnTo>
                    <a:lnTo>
                      <a:pt x="156" y="1455"/>
                    </a:lnTo>
                    <a:lnTo>
                      <a:pt x="156" y="1449"/>
                    </a:lnTo>
                    <a:lnTo>
                      <a:pt x="150" y="1449"/>
                    </a:lnTo>
                    <a:lnTo>
                      <a:pt x="150" y="1443"/>
                    </a:lnTo>
                    <a:lnTo>
                      <a:pt x="150" y="1425"/>
                    </a:lnTo>
                    <a:lnTo>
                      <a:pt x="150" y="1419"/>
                    </a:lnTo>
                    <a:lnTo>
                      <a:pt x="150" y="1413"/>
                    </a:lnTo>
                    <a:lnTo>
                      <a:pt x="150" y="1395"/>
                    </a:lnTo>
                    <a:lnTo>
                      <a:pt x="150" y="1389"/>
                    </a:lnTo>
                    <a:lnTo>
                      <a:pt x="144" y="1389"/>
                    </a:lnTo>
                    <a:lnTo>
                      <a:pt x="144" y="1383"/>
                    </a:lnTo>
                    <a:lnTo>
                      <a:pt x="144" y="1377"/>
                    </a:lnTo>
                    <a:lnTo>
                      <a:pt x="144" y="1371"/>
                    </a:lnTo>
                    <a:lnTo>
                      <a:pt x="144" y="1365"/>
                    </a:lnTo>
                    <a:lnTo>
                      <a:pt x="144" y="1347"/>
                    </a:lnTo>
                    <a:lnTo>
                      <a:pt x="144" y="1341"/>
                    </a:lnTo>
                    <a:lnTo>
                      <a:pt x="138" y="1335"/>
                    </a:lnTo>
                    <a:lnTo>
                      <a:pt x="138" y="1329"/>
                    </a:lnTo>
                    <a:lnTo>
                      <a:pt x="138" y="1311"/>
                    </a:lnTo>
                    <a:lnTo>
                      <a:pt x="138" y="1305"/>
                    </a:lnTo>
                    <a:lnTo>
                      <a:pt x="138" y="1299"/>
                    </a:lnTo>
                    <a:lnTo>
                      <a:pt x="138" y="1287"/>
                    </a:lnTo>
                    <a:lnTo>
                      <a:pt x="138" y="1281"/>
                    </a:lnTo>
                    <a:lnTo>
                      <a:pt x="132" y="1275"/>
                    </a:lnTo>
                    <a:lnTo>
                      <a:pt x="132" y="1269"/>
                    </a:lnTo>
                    <a:lnTo>
                      <a:pt x="132" y="1251"/>
                    </a:lnTo>
                    <a:lnTo>
                      <a:pt x="132" y="1245"/>
                    </a:lnTo>
                    <a:lnTo>
                      <a:pt x="132" y="1239"/>
                    </a:lnTo>
                    <a:lnTo>
                      <a:pt x="132" y="1233"/>
                    </a:lnTo>
                    <a:lnTo>
                      <a:pt x="132" y="1227"/>
                    </a:lnTo>
                    <a:lnTo>
                      <a:pt x="126" y="1221"/>
                    </a:lnTo>
                    <a:lnTo>
                      <a:pt x="126" y="1215"/>
                    </a:lnTo>
                    <a:lnTo>
                      <a:pt x="126" y="1197"/>
                    </a:lnTo>
                    <a:lnTo>
                      <a:pt x="126" y="1191"/>
                    </a:lnTo>
                    <a:lnTo>
                      <a:pt x="126" y="1185"/>
                    </a:lnTo>
                    <a:lnTo>
                      <a:pt x="126" y="1179"/>
                    </a:lnTo>
                    <a:lnTo>
                      <a:pt x="126" y="1167"/>
                    </a:lnTo>
                    <a:lnTo>
                      <a:pt x="120" y="1155"/>
                    </a:lnTo>
                    <a:lnTo>
                      <a:pt x="120" y="1149"/>
                    </a:lnTo>
                    <a:lnTo>
                      <a:pt x="120" y="1143"/>
                    </a:lnTo>
                    <a:lnTo>
                      <a:pt x="120" y="1137"/>
                    </a:lnTo>
                    <a:lnTo>
                      <a:pt x="120" y="1124"/>
                    </a:lnTo>
                    <a:lnTo>
                      <a:pt x="120" y="1118"/>
                    </a:lnTo>
                    <a:lnTo>
                      <a:pt x="120" y="1112"/>
                    </a:lnTo>
                    <a:lnTo>
                      <a:pt x="114" y="1106"/>
                    </a:lnTo>
                    <a:lnTo>
                      <a:pt x="114" y="1100"/>
                    </a:lnTo>
                    <a:lnTo>
                      <a:pt x="114" y="1088"/>
                    </a:lnTo>
                    <a:lnTo>
                      <a:pt x="114" y="1082"/>
                    </a:lnTo>
                    <a:lnTo>
                      <a:pt x="114" y="1076"/>
                    </a:lnTo>
                    <a:lnTo>
                      <a:pt x="114" y="1070"/>
                    </a:lnTo>
                    <a:lnTo>
                      <a:pt x="114" y="1058"/>
                    </a:lnTo>
                    <a:lnTo>
                      <a:pt x="114" y="1052"/>
                    </a:lnTo>
                    <a:lnTo>
                      <a:pt x="108" y="1052"/>
                    </a:lnTo>
                    <a:lnTo>
                      <a:pt x="108" y="1046"/>
                    </a:lnTo>
                    <a:lnTo>
                      <a:pt x="108" y="1040"/>
                    </a:lnTo>
                    <a:lnTo>
                      <a:pt x="108" y="1034"/>
                    </a:lnTo>
                    <a:lnTo>
                      <a:pt x="108" y="1028"/>
                    </a:lnTo>
                    <a:lnTo>
                      <a:pt x="108" y="1022"/>
                    </a:lnTo>
                    <a:lnTo>
                      <a:pt x="108" y="1016"/>
                    </a:lnTo>
                    <a:lnTo>
                      <a:pt x="108" y="1010"/>
                    </a:lnTo>
                    <a:lnTo>
                      <a:pt x="102" y="980"/>
                    </a:lnTo>
                    <a:lnTo>
                      <a:pt x="96" y="938"/>
                    </a:lnTo>
                    <a:lnTo>
                      <a:pt x="96" y="926"/>
                    </a:lnTo>
                    <a:lnTo>
                      <a:pt x="96" y="920"/>
                    </a:lnTo>
                    <a:lnTo>
                      <a:pt x="96" y="914"/>
                    </a:lnTo>
                    <a:lnTo>
                      <a:pt x="96" y="908"/>
                    </a:lnTo>
                    <a:lnTo>
                      <a:pt x="96" y="902"/>
                    </a:lnTo>
                    <a:lnTo>
                      <a:pt x="96" y="896"/>
                    </a:lnTo>
                    <a:lnTo>
                      <a:pt x="96" y="890"/>
                    </a:lnTo>
                    <a:lnTo>
                      <a:pt x="96" y="884"/>
                    </a:lnTo>
                    <a:lnTo>
                      <a:pt x="90" y="884"/>
                    </a:lnTo>
                    <a:lnTo>
                      <a:pt x="90" y="878"/>
                    </a:lnTo>
                    <a:lnTo>
                      <a:pt x="90" y="872"/>
                    </a:lnTo>
                    <a:lnTo>
                      <a:pt x="90" y="866"/>
                    </a:lnTo>
                    <a:lnTo>
                      <a:pt x="90" y="860"/>
                    </a:lnTo>
                    <a:lnTo>
                      <a:pt x="90" y="854"/>
                    </a:lnTo>
                    <a:lnTo>
                      <a:pt x="90" y="848"/>
                    </a:lnTo>
                    <a:lnTo>
                      <a:pt x="84" y="824"/>
                    </a:lnTo>
                    <a:lnTo>
                      <a:pt x="84" y="818"/>
                    </a:lnTo>
                    <a:lnTo>
                      <a:pt x="84" y="806"/>
                    </a:lnTo>
                    <a:lnTo>
                      <a:pt x="84" y="800"/>
                    </a:lnTo>
                    <a:lnTo>
                      <a:pt x="84" y="794"/>
                    </a:lnTo>
                    <a:lnTo>
                      <a:pt x="84" y="788"/>
                    </a:lnTo>
                    <a:lnTo>
                      <a:pt x="84" y="770"/>
                    </a:lnTo>
                    <a:lnTo>
                      <a:pt x="78" y="764"/>
                    </a:lnTo>
                    <a:lnTo>
                      <a:pt x="78" y="758"/>
                    </a:lnTo>
                    <a:lnTo>
                      <a:pt x="78" y="746"/>
                    </a:lnTo>
                    <a:lnTo>
                      <a:pt x="78" y="740"/>
                    </a:lnTo>
                    <a:lnTo>
                      <a:pt x="78" y="734"/>
                    </a:lnTo>
                    <a:lnTo>
                      <a:pt x="78" y="728"/>
                    </a:lnTo>
                    <a:lnTo>
                      <a:pt x="72" y="710"/>
                    </a:lnTo>
                    <a:lnTo>
                      <a:pt x="72" y="704"/>
                    </a:lnTo>
                    <a:lnTo>
                      <a:pt x="72" y="692"/>
                    </a:lnTo>
                    <a:lnTo>
                      <a:pt x="72" y="680"/>
                    </a:lnTo>
                    <a:lnTo>
                      <a:pt x="72" y="673"/>
                    </a:lnTo>
                    <a:lnTo>
                      <a:pt x="72" y="667"/>
                    </a:lnTo>
                    <a:lnTo>
                      <a:pt x="72" y="661"/>
                    </a:lnTo>
                    <a:lnTo>
                      <a:pt x="66" y="661"/>
                    </a:lnTo>
                    <a:lnTo>
                      <a:pt x="66" y="655"/>
                    </a:lnTo>
                    <a:lnTo>
                      <a:pt x="66" y="649"/>
                    </a:lnTo>
                    <a:lnTo>
                      <a:pt x="66" y="643"/>
                    </a:lnTo>
                    <a:lnTo>
                      <a:pt x="66" y="637"/>
                    </a:lnTo>
                    <a:lnTo>
                      <a:pt x="66" y="631"/>
                    </a:lnTo>
                    <a:lnTo>
                      <a:pt x="66" y="625"/>
                    </a:lnTo>
                    <a:lnTo>
                      <a:pt x="60" y="601"/>
                    </a:lnTo>
                    <a:lnTo>
                      <a:pt x="60" y="595"/>
                    </a:lnTo>
                    <a:lnTo>
                      <a:pt x="60" y="583"/>
                    </a:lnTo>
                    <a:lnTo>
                      <a:pt x="60" y="577"/>
                    </a:lnTo>
                    <a:lnTo>
                      <a:pt x="60" y="571"/>
                    </a:lnTo>
                    <a:lnTo>
                      <a:pt x="60" y="565"/>
                    </a:lnTo>
                    <a:lnTo>
                      <a:pt x="60" y="547"/>
                    </a:lnTo>
                    <a:lnTo>
                      <a:pt x="54" y="547"/>
                    </a:lnTo>
                    <a:lnTo>
                      <a:pt x="54" y="541"/>
                    </a:lnTo>
                    <a:lnTo>
                      <a:pt x="54" y="535"/>
                    </a:lnTo>
                    <a:lnTo>
                      <a:pt x="54" y="529"/>
                    </a:lnTo>
                    <a:lnTo>
                      <a:pt x="54" y="517"/>
                    </a:lnTo>
                    <a:lnTo>
                      <a:pt x="54" y="511"/>
                    </a:lnTo>
                    <a:lnTo>
                      <a:pt x="54" y="505"/>
                    </a:lnTo>
                    <a:lnTo>
                      <a:pt x="54" y="499"/>
                    </a:lnTo>
                    <a:lnTo>
                      <a:pt x="48" y="487"/>
                    </a:lnTo>
                    <a:lnTo>
                      <a:pt x="48" y="481"/>
                    </a:lnTo>
                    <a:lnTo>
                      <a:pt x="48" y="475"/>
                    </a:lnTo>
                    <a:lnTo>
                      <a:pt x="48" y="469"/>
                    </a:lnTo>
                    <a:lnTo>
                      <a:pt x="48" y="463"/>
                    </a:lnTo>
                    <a:lnTo>
                      <a:pt x="48" y="457"/>
                    </a:lnTo>
                    <a:lnTo>
                      <a:pt x="48" y="451"/>
                    </a:lnTo>
                    <a:lnTo>
                      <a:pt x="48" y="445"/>
                    </a:lnTo>
                    <a:lnTo>
                      <a:pt x="48" y="439"/>
                    </a:lnTo>
                    <a:lnTo>
                      <a:pt x="42" y="427"/>
                    </a:lnTo>
                    <a:lnTo>
                      <a:pt x="42" y="421"/>
                    </a:lnTo>
                    <a:lnTo>
                      <a:pt x="42" y="415"/>
                    </a:lnTo>
                    <a:lnTo>
                      <a:pt x="42" y="409"/>
                    </a:lnTo>
                    <a:lnTo>
                      <a:pt x="42" y="403"/>
                    </a:lnTo>
                    <a:lnTo>
                      <a:pt x="42" y="397"/>
                    </a:lnTo>
                    <a:lnTo>
                      <a:pt x="42" y="391"/>
                    </a:lnTo>
                    <a:lnTo>
                      <a:pt x="42" y="385"/>
                    </a:lnTo>
                    <a:lnTo>
                      <a:pt x="36" y="373"/>
                    </a:lnTo>
                    <a:lnTo>
                      <a:pt x="36" y="367"/>
                    </a:lnTo>
                    <a:lnTo>
                      <a:pt x="36" y="355"/>
                    </a:lnTo>
                    <a:lnTo>
                      <a:pt x="36" y="349"/>
                    </a:lnTo>
                    <a:lnTo>
                      <a:pt x="36" y="343"/>
                    </a:lnTo>
                    <a:lnTo>
                      <a:pt x="36" y="337"/>
                    </a:lnTo>
                    <a:lnTo>
                      <a:pt x="30" y="325"/>
                    </a:lnTo>
                    <a:lnTo>
                      <a:pt x="36" y="319"/>
                    </a:lnTo>
                    <a:lnTo>
                      <a:pt x="30" y="319"/>
                    </a:lnTo>
                    <a:lnTo>
                      <a:pt x="30" y="313"/>
                    </a:lnTo>
                    <a:lnTo>
                      <a:pt x="30" y="307"/>
                    </a:lnTo>
                    <a:lnTo>
                      <a:pt x="30" y="301"/>
                    </a:lnTo>
                    <a:lnTo>
                      <a:pt x="30" y="289"/>
                    </a:lnTo>
                    <a:lnTo>
                      <a:pt x="30" y="283"/>
                    </a:lnTo>
                    <a:lnTo>
                      <a:pt x="30" y="277"/>
                    </a:lnTo>
                    <a:lnTo>
                      <a:pt x="30" y="271"/>
                    </a:lnTo>
                    <a:lnTo>
                      <a:pt x="24" y="259"/>
                    </a:lnTo>
                    <a:lnTo>
                      <a:pt x="24" y="253"/>
                    </a:lnTo>
                    <a:lnTo>
                      <a:pt x="24" y="247"/>
                    </a:lnTo>
                    <a:lnTo>
                      <a:pt x="24" y="241"/>
                    </a:lnTo>
                    <a:lnTo>
                      <a:pt x="24" y="229"/>
                    </a:lnTo>
                    <a:lnTo>
                      <a:pt x="24" y="223"/>
                    </a:lnTo>
                    <a:lnTo>
                      <a:pt x="24" y="216"/>
                    </a:lnTo>
                    <a:lnTo>
                      <a:pt x="24" y="210"/>
                    </a:lnTo>
                    <a:lnTo>
                      <a:pt x="18" y="180"/>
                    </a:lnTo>
                    <a:lnTo>
                      <a:pt x="18" y="150"/>
                    </a:lnTo>
                    <a:lnTo>
                      <a:pt x="18" y="144"/>
                    </a:lnTo>
                    <a:lnTo>
                      <a:pt x="12" y="138"/>
                    </a:lnTo>
                    <a:lnTo>
                      <a:pt x="12" y="126"/>
                    </a:lnTo>
                    <a:lnTo>
                      <a:pt x="0" y="30"/>
                    </a:lnTo>
                    <a:lnTo>
                      <a:pt x="0" y="18"/>
                    </a:lnTo>
                    <a:lnTo>
                      <a:pt x="0" y="0"/>
                    </a:lnTo>
                    <a:lnTo>
                      <a:pt x="12" y="0"/>
                    </a:lnTo>
                    <a:lnTo>
                      <a:pt x="18" y="0"/>
                    </a:lnTo>
                    <a:lnTo>
                      <a:pt x="30" y="0"/>
                    </a:lnTo>
                    <a:lnTo>
                      <a:pt x="42" y="0"/>
                    </a:lnTo>
                    <a:lnTo>
                      <a:pt x="48" y="0"/>
                    </a:lnTo>
                    <a:lnTo>
                      <a:pt x="60" y="0"/>
                    </a:lnTo>
                    <a:lnTo>
                      <a:pt x="78" y="0"/>
                    </a:lnTo>
                    <a:lnTo>
                      <a:pt x="90" y="0"/>
                    </a:lnTo>
                    <a:lnTo>
                      <a:pt x="108" y="0"/>
                    </a:lnTo>
                    <a:lnTo>
                      <a:pt x="120" y="0"/>
                    </a:lnTo>
                    <a:lnTo>
                      <a:pt x="126" y="0"/>
                    </a:lnTo>
                    <a:lnTo>
                      <a:pt x="132" y="0"/>
                    </a:lnTo>
                    <a:lnTo>
                      <a:pt x="138" y="0"/>
                    </a:lnTo>
                    <a:lnTo>
                      <a:pt x="150" y="0"/>
                    </a:lnTo>
                    <a:lnTo>
                      <a:pt x="156" y="0"/>
                    </a:lnTo>
                    <a:lnTo>
                      <a:pt x="174" y="0"/>
                    </a:lnTo>
                    <a:lnTo>
                      <a:pt x="186" y="0"/>
                    </a:lnTo>
                    <a:lnTo>
                      <a:pt x="204" y="0"/>
                    </a:lnTo>
                    <a:lnTo>
                      <a:pt x="222" y="0"/>
                    </a:lnTo>
                    <a:lnTo>
                      <a:pt x="228" y="0"/>
                    </a:lnTo>
                    <a:lnTo>
                      <a:pt x="234" y="0"/>
                    </a:lnTo>
                    <a:lnTo>
                      <a:pt x="246" y="0"/>
                    </a:lnTo>
                    <a:lnTo>
                      <a:pt x="252" y="0"/>
                    </a:lnTo>
                    <a:lnTo>
                      <a:pt x="271" y="0"/>
                    </a:lnTo>
                    <a:lnTo>
                      <a:pt x="277" y="0"/>
                    </a:lnTo>
                    <a:lnTo>
                      <a:pt x="283" y="0"/>
                    </a:lnTo>
                    <a:lnTo>
                      <a:pt x="301" y="0"/>
                    </a:lnTo>
                    <a:lnTo>
                      <a:pt x="301" y="6"/>
                    </a:lnTo>
                    <a:lnTo>
                      <a:pt x="313" y="6"/>
                    </a:lnTo>
                    <a:lnTo>
                      <a:pt x="319" y="6"/>
                    </a:lnTo>
                    <a:lnTo>
                      <a:pt x="337" y="6"/>
                    </a:lnTo>
                    <a:lnTo>
                      <a:pt x="343" y="6"/>
                    </a:lnTo>
                    <a:lnTo>
                      <a:pt x="355" y="18"/>
                    </a:lnTo>
                    <a:lnTo>
                      <a:pt x="367" y="24"/>
                    </a:lnTo>
                    <a:lnTo>
                      <a:pt x="367" y="30"/>
                    </a:lnTo>
                    <a:lnTo>
                      <a:pt x="373" y="30"/>
                    </a:lnTo>
                    <a:lnTo>
                      <a:pt x="379" y="36"/>
                    </a:lnTo>
                    <a:lnTo>
                      <a:pt x="391" y="42"/>
                    </a:lnTo>
                    <a:lnTo>
                      <a:pt x="397" y="48"/>
                    </a:lnTo>
                    <a:lnTo>
                      <a:pt x="415" y="60"/>
                    </a:lnTo>
                    <a:lnTo>
                      <a:pt x="439" y="78"/>
                    </a:lnTo>
                    <a:lnTo>
                      <a:pt x="445" y="78"/>
                    </a:lnTo>
                    <a:lnTo>
                      <a:pt x="469" y="102"/>
                    </a:lnTo>
                    <a:lnTo>
                      <a:pt x="487" y="114"/>
                    </a:lnTo>
                    <a:lnTo>
                      <a:pt x="499" y="120"/>
                    </a:lnTo>
                    <a:lnTo>
                      <a:pt x="511" y="126"/>
                    </a:lnTo>
                    <a:lnTo>
                      <a:pt x="517" y="132"/>
                    </a:lnTo>
                    <a:lnTo>
                      <a:pt x="541" y="144"/>
                    </a:lnTo>
                    <a:lnTo>
                      <a:pt x="541" y="150"/>
                    </a:lnTo>
                    <a:lnTo>
                      <a:pt x="547" y="150"/>
                    </a:lnTo>
                    <a:lnTo>
                      <a:pt x="553" y="156"/>
                    </a:lnTo>
                    <a:lnTo>
                      <a:pt x="571" y="168"/>
                    </a:lnTo>
                    <a:lnTo>
                      <a:pt x="589" y="180"/>
                    </a:lnTo>
                    <a:lnTo>
                      <a:pt x="626" y="204"/>
                    </a:lnTo>
                    <a:lnTo>
                      <a:pt x="632" y="210"/>
                    </a:lnTo>
                    <a:lnTo>
                      <a:pt x="638" y="216"/>
                    </a:lnTo>
                    <a:lnTo>
                      <a:pt x="650" y="223"/>
                    </a:lnTo>
                    <a:lnTo>
                      <a:pt x="656" y="223"/>
                    </a:lnTo>
                    <a:lnTo>
                      <a:pt x="656" y="229"/>
                    </a:lnTo>
                    <a:lnTo>
                      <a:pt x="662" y="229"/>
                    </a:lnTo>
                    <a:lnTo>
                      <a:pt x="680" y="241"/>
                    </a:lnTo>
                    <a:lnTo>
                      <a:pt x="680" y="247"/>
                    </a:lnTo>
                    <a:lnTo>
                      <a:pt x="686" y="247"/>
                    </a:lnTo>
                    <a:lnTo>
                      <a:pt x="698" y="253"/>
                    </a:lnTo>
                    <a:lnTo>
                      <a:pt x="704" y="259"/>
                    </a:lnTo>
                    <a:lnTo>
                      <a:pt x="710" y="259"/>
                    </a:lnTo>
                    <a:lnTo>
                      <a:pt x="710" y="265"/>
                    </a:lnTo>
                    <a:lnTo>
                      <a:pt x="716" y="265"/>
                    </a:lnTo>
                    <a:lnTo>
                      <a:pt x="722" y="271"/>
                    </a:lnTo>
                    <a:lnTo>
                      <a:pt x="728" y="277"/>
                    </a:lnTo>
                    <a:lnTo>
                      <a:pt x="734" y="283"/>
                    </a:lnTo>
                    <a:lnTo>
                      <a:pt x="740" y="283"/>
                    </a:lnTo>
                    <a:lnTo>
                      <a:pt x="740" y="289"/>
                    </a:lnTo>
                    <a:lnTo>
                      <a:pt x="746" y="289"/>
                    </a:lnTo>
                    <a:lnTo>
                      <a:pt x="752" y="289"/>
                    </a:lnTo>
                    <a:lnTo>
                      <a:pt x="758" y="295"/>
                    </a:lnTo>
                    <a:lnTo>
                      <a:pt x="764" y="301"/>
                    </a:lnTo>
                    <a:lnTo>
                      <a:pt x="770" y="307"/>
                    </a:lnTo>
                    <a:lnTo>
                      <a:pt x="788" y="319"/>
                    </a:lnTo>
                    <a:lnTo>
                      <a:pt x="794" y="319"/>
                    </a:lnTo>
                    <a:lnTo>
                      <a:pt x="794" y="325"/>
                    </a:lnTo>
                    <a:lnTo>
                      <a:pt x="800" y="325"/>
                    </a:lnTo>
                    <a:lnTo>
                      <a:pt x="806" y="331"/>
                    </a:lnTo>
                    <a:lnTo>
                      <a:pt x="818" y="337"/>
                    </a:lnTo>
                    <a:lnTo>
                      <a:pt x="824" y="343"/>
                    </a:lnTo>
                    <a:lnTo>
                      <a:pt x="830" y="349"/>
                    </a:lnTo>
                    <a:lnTo>
                      <a:pt x="836" y="349"/>
                    </a:lnTo>
                    <a:lnTo>
                      <a:pt x="836" y="355"/>
                    </a:lnTo>
                    <a:lnTo>
                      <a:pt x="842" y="355"/>
                    </a:lnTo>
                    <a:lnTo>
                      <a:pt x="848" y="355"/>
                    </a:lnTo>
                    <a:lnTo>
                      <a:pt x="848" y="361"/>
                    </a:lnTo>
                    <a:lnTo>
                      <a:pt x="854" y="361"/>
                    </a:lnTo>
                    <a:lnTo>
                      <a:pt x="854" y="367"/>
                    </a:lnTo>
                    <a:lnTo>
                      <a:pt x="866" y="373"/>
                    </a:lnTo>
                    <a:lnTo>
                      <a:pt x="872" y="379"/>
                    </a:lnTo>
                    <a:lnTo>
                      <a:pt x="878" y="379"/>
                    </a:lnTo>
                    <a:lnTo>
                      <a:pt x="884" y="385"/>
                    </a:lnTo>
                    <a:lnTo>
                      <a:pt x="890" y="385"/>
                    </a:lnTo>
                    <a:lnTo>
                      <a:pt x="890" y="391"/>
                    </a:lnTo>
                    <a:lnTo>
                      <a:pt x="896" y="391"/>
                    </a:lnTo>
                    <a:lnTo>
                      <a:pt x="902" y="397"/>
                    </a:lnTo>
                    <a:lnTo>
                      <a:pt x="908" y="397"/>
                    </a:lnTo>
                    <a:lnTo>
                      <a:pt x="914" y="403"/>
                    </a:lnTo>
                    <a:lnTo>
                      <a:pt x="914" y="409"/>
                    </a:lnTo>
                    <a:lnTo>
                      <a:pt x="920" y="409"/>
                    </a:lnTo>
                    <a:lnTo>
                      <a:pt x="926" y="415"/>
                    </a:lnTo>
                    <a:lnTo>
                      <a:pt x="932" y="415"/>
                    </a:lnTo>
                    <a:lnTo>
                      <a:pt x="932" y="421"/>
                    </a:lnTo>
                    <a:lnTo>
                      <a:pt x="938" y="421"/>
                    </a:lnTo>
                    <a:lnTo>
                      <a:pt x="945" y="427"/>
                    </a:lnTo>
                    <a:lnTo>
                      <a:pt x="957" y="433"/>
                    </a:lnTo>
                    <a:lnTo>
                      <a:pt x="957" y="439"/>
                    </a:lnTo>
                    <a:lnTo>
                      <a:pt x="975" y="445"/>
                    </a:lnTo>
                    <a:lnTo>
                      <a:pt x="975" y="451"/>
                    </a:lnTo>
                    <a:lnTo>
                      <a:pt x="981" y="451"/>
                    </a:lnTo>
                    <a:lnTo>
                      <a:pt x="987" y="457"/>
                    </a:lnTo>
                    <a:lnTo>
                      <a:pt x="999" y="463"/>
                    </a:lnTo>
                    <a:lnTo>
                      <a:pt x="999" y="469"/>
                    </a:lnTo>
                    <a:lnTo>
                      <a:pt x="1005" y="469"/>
                    </a:lnTo>
                    <a:lnTo>
                      <a:pt x="1011" y="475"/>
                    </a:lnTo>
                    <a:lnTo>
                      <a:pt x="1029" y="487"/>
                    </a:lnTo>
                    <a:lnTo>
                      <a:pt x="1035" y="487"/>
                    </a:lnTo>
                    <a:lnTo>
                      <a:pt x="1041" y="499"/>
                    </a:lnTo>
                    <a:lnTo>
                      <a:pt x="1047" y="499"/>
                    </a:lnTo>
                    <a:lnTo>
                      <a:pt x="1053" y="499"/>
                    </a:lnTo>
                    <a:lnTo>
                      <a:pt x="1053" y="505"/>
                    </a:lnTo>
                    <a:lnTo>
                      <a:pt x="1059" y="505"/>
                    </a:lnTo>
                    <a:lnTo>
                      <a:pt x="1065" y="511"/>
                    </a:lnTo>
                    <a:lnTo>
                      <a:pt x="1071" y="517"/>
                    </a:lnTo>
                    <a:lnTo>
                      <a:pt x="1077" y="523"/>
                    </a:lnTo>
                    <a:lnTo>
                      <a:pt x="1083" y="529"/>
                    </a:lnTo>
                    <a:lnTo>
                      <a:pt x="1089" y="529"/>
                    </a:lnTo>
                    <a:lnTo>
                      <a:pt x="1095" y="529"/>
                    </a:lnTo>
                    <a:lnTo>
                      <a:pt x="1107" y="541"/>
                    </a:lnTo>
                    <a:lnTo>
                      <a:pt x="1113" y="547"/>
                    </a:lnTo>
                    <a:lnTo>
                      <a:pt x="1119" y="553"/>
                    </a:lnTo>
                    <a:lnTo>
                      <a:pt x="1125" y="553"/>
                    </a:lnTo>
                    <a:lnTo>
                      <a:pt x="1131" y="559"/>
                    </a:lnTo>
                    <a:lnTo>
                      <a:pt x="1137" y="565"/>
                    </a:lnTo>
                    <a:lnTo>
                      <a:pt x="1143" y="565"/>
                    </a:lnTo>
                    <a:lnTo>
                      <a:pt x="1143" y="571"/>
                    </a:lnTo>
                    <a:lnTo>
                      <a:pt x="1149" y="571"/>
                    </a:lnTo>
                    <a:lnTo>
                      <a:pt x="1155" y="577"/>
                    </a:lnTo>
                    <a:lnTo>
                      <a:pt x="1161" y="577"/>
                    </a:lnTo>
                    <a:lnTo>
                      <a:pt x="1161" y="583"/>
                    </a:lnTo>
                    <a:lnTo>
                      <a:pt x="1167" y="583"/>
                    </a:lnTo>
                    <a:lnTo>
                      <a:pt x="1167" y="589"/>
                    </a:lnTo>
                    <a:lnTo>
                      <a:pt x="1173" y="589"/>
                    </a:lnTo>
                    <a:lnTo>
                      <a:pt x="1179" y="595"/>
                    </a:lnTo>
                    <a:lnTo>
                      <a:pt x="1185" y="595"/>
                    </a:lnTo>
                    <a:lnTo>
                      <a:pt x="1185" y="601"/>
                    </a:lnTo>
                    <a:lnTo>
                      <a:pt x="1191" y="601"/>
                    </a:lnTo>
                    <a:lnTo>
                      <a:pt x="1197" y="607"/>
                    </a:lnTo>
                    <a:lnTo>
                      <a:pt x="1203" y="607"/>
                    </a:lnTo>
                    <a:lnTo>
                      <a:pt x="1209" y="613"/>
                    </a:lnTo>
                    <a:lnTo>
                      <a:pt x="1215" y="619"/>
                    </a:lnTo>
                    <a:lnTo>
                      <a:pt x="1221" y="619"/>
                    </a:lnTo>
                    <a:lnTo>
                      <a:pt x="1221" y="625"/>
                    </a:lnTo>
                    <a:lnTo>
                      <a:pt x="1227" y="625"/>
                    </a:lnTo>
                    <a:lnTo>
                      <a:pt x="1233" y="631"/>
                    </a:lnTo>
                    <a:lnTo>
                      <a:pt x="1245" y="637"/>
                    </a:lnTo>
                    <a:lnTo>
                      <a:pt x="1251" y="643"/>
                    </a:lnTo>
                    <a:lnTo>
                      <a:pt x="1257" y="649"/>
                    </a:lnTo>
                    <a:lnTo>
                      <a:pt x="1263" y="649"/>
                    </a:lnTo>
                    <a:close/>
                  </a:path>
                </a:pathLst>
              </a:custGeom>
              <a:solidFill>
                <a:schemeClr val="accent6">
                  <a:lumMod val="20000"/>
                  <a:lumOff val="80000"/>
                </a:schemeClr>
              </a:solidFill>
              <a:ln w="9525">
                <a:solidFill>
                  <a:srgbClr val="808080"/>
                </a:solidFill>
                <a:round/>
                <a:headEnd/>
                <a:tailEnd/>
              </a:ln>
            </p:spPr>
            <p:txBody>
              <a:bodyPr/>
              <a:lstStyle/>
              <a:p>
                <a:pPr fontAlgn="base">
                  <a:spcBef>
                    <a:spcPct val="0"/>
                  </a:spcBef>
                  <a:spcAft>
                    <a:spcPct val="0"/>
                  </a:spcAft>
                  <a:buClrTx/>
                  <a:buFontTx/>
                  <a:buNone/>
                </a:pPr>
                <a:endParaRPr lang="en-US" sz="1600" kern="1200" dirty="0">
                  <a:latin typeface="Arial" charset="0"/>
                  <a:ea typeface="+mn-ea"/>
                  <a:cs typeface="+mn-cs"/>
                </a:endParaRPr>
              </a:p>
            </p:txBody>
          </p:sp>
          <p:sp>
            <p:nvSpPr>
              <p:cNvPr id="117" name="Freeform 59"/>
              <p:cNvSpPr>
                <a:spLocks/>
              </p:cNvSpPr>
              <p:nvPr/>
            </p:nvSpPr>
            <p:spPr bwMode="auto">
              <a:xfrm>
                <a:off x="1619250" y="4248150"/>
                <a:ext cx="1500188" cy="849313"/>
              </a:xfrm>
              <a:custGeom>
                <a:avLst/>
                <a:gdLst>
                  <a:gd name="T0" fmla="*/ 109 w 945"/>
                  <a:gd name="T1" fmla="*/ 48 h 535"/>
                  <a:gd name="T2" fmla="*/ 151 w 945"/>
                  <a:gd name="T3" fmla="*/ 48 h 535"/>
                  <a:gd name="T4" fmla="*/ 247 w 945"/>
                  <a:gd name="T5" fmla="*/ 30 h 535"/>
                  <a:gd name="T6" fmla="*/ 289 w 945"/>
                  <a:gd name="T7" fmla="*/ 12 h 535"/>
                  <a:gd name="T8" fmla="*/ 331 w 945"/>
                  <a:gd name="T9" fmla="*/ 36 h 535"/>
                  <a:gd name="T10" fmla="*/ 349 w 945"/>
                  <a:gd name="T11" fmla="*/ 60 h 535"/>
                  <a:gd name="T12" fmla="*/ 355 w 945"/>
                  <a:gd name="T13" fmla="*/ 72 h 535"/>
                  <a:gd name="T14" fmla="*/ 385 w 945"/>
                  <a:gd name="T15" fmla="*/ 72 h 535"/>
                  <a:gd name="T16" fmla="*/ 421 w 945"/>
                  <a:gd name="T17" fmla="*/ 24 h 535"/>
                  <a:gd name="T18" fmla="*/ 446 w 945"/>
                  <a:gd name="T19" fmla="*/ 12 h 535"/>
                  <a:gd name="T20" fmla="*/ 464 w 945"/>
                  <a:gd name="T21" fmla="*/ 0 h 535"/>
                  <a:gd name="T22" fmla="*/ 506 w 945"/>
                  <a:gd name="T23" fmla="*/ 6 h 535"/>
                  <a:gd name="T24" fmla="*/ 554 w 945"/>
                  <a:gd name="T25" fmla="*/ 30 h 535"/>
                  <a:gd name="T26" fmla="*/ 620 w 945"/>
                  <a:gd name="T27" fmla="*/ 108 h 535"/>
                  <a:gd name="T28" fmla="*/ 740 w 945"/>
                  <a:gd name="T29" fmla="*/ 84 h 535"/>
                  <a:gd name="T30" fmla="*/ 855 w 945"/>
                  <a:gd name="T31" fmla="*/ 132 h 535"/>
                  <a:gd name="T32" fmla="*/ 933 w 945"/>
                  <a:gd name="T33" fmla="*/ 169 h 535"/>
                  <a:gd name="T34" fmla="*/ 909 w 945"/>
                  <a:gd name="T35" fmla="*/ 193 h 535"/>
                  <a:gd name="T36" fmla="*/ 879 w 945"/>
                  <a:gd name="T37" fmla="*/ 211 h 535"/>
                  <a:gd name="T38" fmla="*/ 764 w 945"/>
                  <a:gd name="T39" fmla="*/ 271 h 535"/>
                  <a:gd name="T40" fmla="*/ 710 w 945"/>
                  <a:gd name="T41" fmla="*/ 289 h 535"/>
                  <a:gd name="T42" fmla="*/ 704 w 945"/>
                  <a:gd name="T43" fmla="*/ 319 h 535"/>
                  <a:gd name="T44" fmla="*/ 692 w 945"/>
                  <a:gd name="T45" fmla="*/ 337 h 535"/>
                  <a:gd name="T46" fmla="*/ 662 w 945"/>
                  <a:gd name="T47" fmla="*/ 331 h 535"/>
                  <a:gd name="T48" fmla="*/ 638 w 945"/>
                  <a:gd name="T49" fmla="*/ 319 h 535"/>
                  <a:gd name="T50" fmla="*/ 608 w 945"/>
                  <a:gd name="T51" fmla="*/ 313 h 535"/>
                  <a:gd name="T52" fmla="*/ 584 w 945"/>
                  <a:gd name="T53" fmla="*/ 331 h 535"/>
                  <a:gd name="T54" fmla="*/ 560 w 945"/>
                  <a:gd name="T55" fmla="*/ 355 h 535"/>
                  <a:gd name="T56" fmla="*/ 542 w 945"/>
                  <a:gd name="T57" fmla="*/ 373 h 535"/>
                  <a:gd name="T58" fmla="*/ 530 w 945"/>
                  <a:gd name="T59" fmla="*/ 403 h 535"/>
                  <a:gd name="T60" fmla="*/ 530 w 945"/>
                  <a:gd name="T61" fmla="*/ 433 h 535"/>
                  <a:gd name="T62" fmla="*/ 524 w 945"/>
                  <a:gd name="T63" fmla="*/ 445 h 535"/>
                  <a:gd name="T64" fmla="*/ 506 w 945"/>
                  <a:gd name="T65" fmla="*/ 445 h 535"/>
                  <a:gd name="T66" fmla="*/ 494 w 945"/>
                  <a:gd name="T67" fmla="*/ 427 h 535"/>
                  <a:gd name="T68" fmla="*/ 470 w 945"/>
                  <a:gd name="T69" fmla="*/ 427 h 535"/>
                  <a:gd name="T70" fmla="*/ 464 w 945"/>
                  <a:gd name="T71" fmla="*/ 445 h 535"/>
                  <a:gd name="T72" fmla="*/ 464 w 945"/>
                  <a:gd name="T73" fmla="*/ 481 h 535"/>
                  <a:gd name="T74" fmla="*/ 464 w 945"/>
                  <a:gd name="T75" fmla="*/ 511 h 535"/>
                  <a:gd name="T76" fmla="*/ 434 w 945"/>
                  <a:gd name="T77" fmla="*/ 511 h 535"/>
                  <a:gd name="T78" fmla="*/ 428 w 945"/>
                  <a:gd name="T79" fmla="*/ 529 h 535"/>
                  <a:gd name="T80" fmla="*/ 403 w 945"/>
                  <a:gd name="T81" fmla="*/ 529 h 535"/>
                  <a:gd name="T82" fmla="*/ 379 w 945"/>
                  <a:gd name="T83" fmla="*/ 511 h 535"/>
                  <a:gd name="T84" fmla="*/ 355 w 945"/>
                  <a:gd name="T85" fmla="*/ 493 h 535"/>
                  <a:gd name="T86" fmla="*/ 325 w 945"/>
                  <a:gd name="T87" fmla="*/ 493 h 535"/>
                  <a:gd name="T88" fmla="*/ 337 w 945"/>
                  <a:gd name="T89" fmla="*/ 475 h 535"/>
                  <a:gd name="T90" fmla="*/ 313 w 945"/>
                  <a:gd name="T91" fmla="*/ 403 h 535"/>
                  <a:gd name="T92" fmla="*/ 259 w 945"/>
                  <a:gd name="T93" fmla="*/ 397 h 535"/>
                  <a:gd name="T94" fmla="*/ 247 w 945"/>
                  <a:gd name="T95" fmla="*/ 415 h 535"/>
                  <a:gd name="T96" fmla="*/ 205 w 945"/>
                  <a:gd name="T97" fmla="*/ 451 h 535"/>
                  <a:gd name="T98" fmla="*/ 169 w 945"/>
                  <a:gd name="T99" fmla="*/ 445 h 535"/>
                  <a:gd name="T100" fmla="*/ 151 w 945"/>
                  <a:gd name="T101" fmla="*/ 403 h 535"/>
                  <a:gd name="T102" fmla="*/ 145 w 945"/>
                  <a:gd name="T103" fmla="*/ 373 h 535"/>
                  <a:gd name="T104" fmla="*/ 91 w 945"/>
                  <a:gd name="T105" fmla="*/ 337 h 535"/>
                  <a:gd name="T106" fmla="*/ 30 w 945"/>
                  <a:gd name="T107" fmla="*/ 283 h 535"/>
                  <a:gd name="T108" fmla="*/ 12 w 945"/>
                  <a:gd name="T109" fmla="*/ 235 h 535"/>
                  <a:gd name="T110" fmla="*/ 30 w 945"/>
                  <a:gd name="T111" fmla="*/ 181 h 535"/>
                  <a:gd name="T112" fmla="*/ 109 w 945"/>
                  <a:gd name="T113" fmla="*/ 132 h 535"/>
                  <a:gd name="T114" fmla="*/ 60 w 945"/>
                  <a:gd name="T115" fmla="*/ 72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45" h="535">
                    <a:moveTo>
                      <a:pt x="60" y="60"/>
                    </a:moveTo>
                    <a:lnTo>
                      <a:pt x="72" y="48"/>
                    </a:lnTo>
                    <a:lnTo>
                      <a:pt x="84" y="36"/>
                    </a:lnTo>
                    <a:lnTo>
                      <a:pt x="97" y="48"/>
                    </a:lnTo>
                    <a:lnTo>
                      <a:pt x="109" y="48"/>
                    </a:lnTo>
                    <a:lnTo>
                      <a:pt x="127" y="48"/>
                    </a:lnTo>
                    <a:lnTo>
                      <a:pt x="139" y="54"/>
                    </a:lnTo>
                    <a:lnTo>
                      <a:pt x="145" y="54"/>
                    </a:lnTo>
                    <a:lnTo>
                      <a:pt x="151" y="54"/>
                    </a:lnTo>
                    <a:lnTo>
                      <a:pt x="151" y="48"/>
                    </a:lnTo>
                    <a:lnTo>
                      <a:pt x="151" y="54"/>
                    </a:lnTo>
                    <a:lnTo>
                      <a:pt x="157" y="54"/>
                    </a:lnTo>
                    <a:lnTo>
                      <a:pt x="187" y="54"/>
                    </a:lnTo>
                    <a:lnTo>
                      <a:pt x="235" y="42"/>
                    </a:lnTo>
                    <a:lnTo>
                      <a:pt x="247" y="30"/>
                    </a:lnTo>
                    <a:lnTo>
                      <a:pt x="265" y="24"/>
                    </a:lnTo>
                    <a:lnTo>
                      <a:pt x="271" y="24"/>
                    </a:lnTo>
                    <a:lnTo>
                      <a:pt x="271" y="18"/>
                    </a:lnTo>
                    <a:lnTo>
                      <a:pt x="277" y="18"/>
                    </a:lnTo>
                    <a:lnTo>
                      <a:pt x="289" y="12"/>
                    </a:lnTo>
                    <a:lnTo>
                      <a:pt x="295" y="6"/>
                    </a:lnTo>
                    <a:lnTo>
                      <a:pt x="307" y="6"/>
                    </a:lnTo>
                    <a:lnTo>
                      <a:pt x="313" y="6"/>
                    </a:lnTo>
                    <a:lnTo>
                      <a:pt x="319" y="24"/>
                    </a:lnTo>
                    <a:lnTo>
                      <a:pt x="331" y="36"/>
                    </a:lnTo>
                    <a:lnTo>
                      <a:pt x="337" y="36"/>
                    </a:lnTo>
                    <a:lnTo>
                      <a:pt x="343" y="36"/>
                    </a:lnTo>
                    <a:lnTo>
                      <a:pt x="349" y="48"/>
                    </a:lnTo>
                    <a:lnTo>
                      <a:pt x="349" y="54"/>
                    </a:lnTo>
                    <a:lnTo>
                      <a:pt x="349" y="60"/>
                    </a:lnTo>
                    <a:lnTo>
                      <a:pt x="343" y="60"/>
                    </a:lnTo>
                    <a:lnTo>
                      <a:pt x="343" y="66"/>
                    </a:lnTo>
                    <a:lnTo>
                      <a:pt x="349" y="72"/>
                    </a:lnTo>
                    <a:lnTo>
                      <a:pt x="349" y="66"/>
                    </a:lnTo>
                    <a:lnTo>
                      <a:pt x="355" y="72"/>
                    </a:lnTo>
                    <a:lnTo>
                      <a:pt x="361" y="72"/>
                    </a:lnTo>
                    <a:lnTo>
                      <a:pt x="367" y="72"/>
                    </a:lnTo>
                    <a:lnTo>
                      <a:pt x="373" y="72"/>
                    </a:lnTo>
                    <a:lnTo>
                      <a:pt x="379" y="72"/>
                    </a:lnTo>
                    <a:lnTo>
                      <a:pt x="385" y="72"/>
                    </a:lnTo>
                    <a:lnTo>
                      <a:pt x="397" y="60"/>
                    </a:lnTo>
                    <a:lnTo>
                      <a:pt x="403" y="54"/>
                    </a:lnTo>
                    <a:lnTo>
                      <a:pt x="409" y="48"/>
                    </a:lnTo>
                    <a:lnTo>
                      <a:pt x="415" y="36"/>
                    </a:lnTo>
                    <a:lnTo>
                      <a:pt x="421" y="24"/>
                    </a:lnTo>
                    <a:lnTo>
                      <a:pt x="428" y="18"/>
                    </a:lnTo>
                    <a:lnTo>
                      <a:pt x="434" y="18"/>
                    </a:lnTo>
                    <a:lnTo>
                      <a:pt x="440" y="18"/>
                    </a:lnTo>
                    <a:lnTo>
                      <a:pt x="446" y="18"/>
                    </a:lnTo>
                    <a:lnTo>
                      <a:pt x="446" y="12"/>
                    </a:lnTo>
                    <a:lnTo>
                      <a:pt x="452" y="12"/>
                    </a:lnTo>
                    <a:lnTo>
                      <a:pt x="452" y="6"/>
                    </a:lnTo>
                    <a:lnTo>
                      <a:pt x="458" y="6"/>
                    </a:lnTo>
                    <a:lnTo>
                      <a:pt x="458" y="0"/>
                    </a:lnTo>
                    <a:lnTo>
                      <a:pt x="464" y="0"/>
                    </a:lnTo>
                    <a:lnTo>
                      <a:pt x="470" y="0"/>
                    </a:lnTo>
                    <a:lnTo>
                      <a:pt x="476" y="0"/>
                    </a:lnTo>
                    <a:lnTo>
                      <a:pt x="476" y="6"/>
                    </a:lnTo>
                    <a:lnTo>
                      <a:pt x="482" y="6"/>
                    </a:lnTo>
                    <a:lnTo>
                      <a:pt x="506" y="6"/>
                    </a:lnTo>
                    <a:lnTo>
                      <a:pt x="524" y="0"/>
                    </a:lnTo>
                    <a:lnTo>
                      <a:pt x="530" y="12"/>
                    </a:lnTo>
                    <a:lnTo>
                      <a:pt x="542" y="18"/>
                    </a:lnTo>
                    <a:lnTo>
                      <a:pt x="548" y="18"/>
                    </a:lnTo>
                    <a:lnTo>
                      <a:pt x="554" y="30"/>
                    </a:lnTo>
                    <a:lnTo>
                      <a:pt x="560" y="42"/>
                    </a:lnTo>
                    <a:lnTo>
                      <a:pt x="578" y="78"/>
                    </a:lnTo>
                    <a:lnTo>
                      <a:pt x="590" y="96"/>
                    </a:lnTo>
                    <a:lnTo>
                      <a:pt x="602" y="108"/>
                    </a:lnTo>
                    <a:lnTo>
                      <a:pt x="620" y="108"/>
                    </a:lnTo>
                    <a:lnTo>
                      <a:pt x="638" y="102"/>
                    </a:lnTo>
                    <a:lnTo>
                      <a:pt x="674" y="90"/>
                    </a:lnTo>
                    <a:lnTo>
                      <a:pt x="704" y="84"/>
                    </a:lnTo>
                    <a:lnTo>
                      <a:pt x="722" y="84"/>
                    </a:lnTo>
                    <a:lnTo>
                      <a:pt x="740" y="84"/>
                    </a:lnTo>
                    <a:lnTo>
                      <a:pt x="764" y="84"/>
                    </a:lnTo>
                    <a:lnTo>
                      <a:pt x="801" y="96"/>
                    </a:lnTo>
                    <a:lnTo>
                      <a:pt x="825" y="108"/>
                    </a:lnTo>
                    <a:lnTo>
                      <a:pt x="837" y="120"/>
                    </a:lnTo>
                    <a:lnTo>
                      <a:pt x="855" y="132"/>
                    </a:lnTo>
                    <a:lnTo>
                      <a:pt x="945" y="156"/>
                    </a:lnTo>
                    <a:lnTo>
                      <a:pt x="945" y="163"/>
                    </a:lnTo>
                    <a:lnTo>
                      <a:pt x="939" y="163"/>
                    </a:lnTo>
                    <a:lnTo>
                      <a:pt x="933" y="163"/>
                    </a:lnTo>
                    <a:lnTo>
                      <a:pt x="933" y="169"/>
                    </a:lnTo>
                    <a:lnTo>
                      <a:pt x="927" y="169"/>
                    </a:lnTo>
                    <a:lnTo>
                      <a:pt x="927" y="175"/>
                    </a:lnTo>
                    <a:lnTo>
                      <a:pt x="921" y="181"/>
                    </a:lnTo>
                    <a:lnTo>
                      <a:pt x="909" y="187"/>
                    </a:lnTo>
                    <a:lnTo>
                      <a:pt x="909" y="193"/>
                    </a:lnTo>
                    <a:lnTo>
                      <a:pt x="903" y="199"/>
                    </a:lnTo>
                    <a:lnTo>
                      <a:pt x="897" y="199"/>
                    </a:lnTo>
                    <a:lnTo>
                      <a:pt x="891" y="205"/>
                    </a:lnTo>
                    <a:lnTo>
                      <a:pt x="885" y="217"/>
                    </a:lnTo>
                    <a:lnTo>
                      <a:pt x="879" y="211"/>
                    </a:lnTo>
                    <a:lnTo>
                      <a:pt x="867" y="217"/>
                    </a:lnTo>
                    <a:lnTo>
                      <a:pt x="843" y="223"/>
                    </a:lnTo>
                    <a:lnTo>
                      <a:pt x="837" y="223"/>
                    </a:lnTo>
                    <a:lnTo>
                      <a:pt x="789" y="259"/>
                    </a:lnTo>
                    <a:lnTo>
                      <a:pt x="764" y="271"/>
                    </a:lnTo>
                    <a:lnTo>
                      <a:pt x="752" y="271"/>
                    </a:lnTo>
                    <a:lnTo>
                      <a:pt x="746" y="271"/>
                    </a:lnTo>
                    <a:lnTo>
                      <a:pt x="722" y="271"/>
                    </a:lnTo>
                    <a:lnTo>
                      <a:pt x="710" y="277"/>
                    </a:lnTo>
                    <a:lnTo>
                      <a:pt x="710" y="289"/>
                    </a:lnTo>
                    <a:lnTo>
                      <a:pt x="704" y="295"/>
                    </a:lnTo>
                    <a:lnTo>
                      <a:pt x="704" y="301"/>
                    </a:lnTo>
                    <a:lnTo>
                      <a:pt x="704" y="307"/>
                    </a:lnTo>
                    <a:lnTo>
                      <a:pt x="704" y="313"/>
                    </a:lnTo>
                    <a:lnTo>
                      <a:pt x="704" y="319"/>
                    </a:lnTo>
                    <a:lnTo>
                      <a:pt x="704" y="325"/>
                    </a:lnTo>
                    <a:lnTo>
                      <a:pt x="704" y="331"/>
                    </a:lnTo>
                    <a:lnTo>
                      <a:pt x="698" y="331"/>
                    </a:lnTo>
                    <a:lnTo>
                      <a:pt x="698" y="337"/>
                    </a:lnTo>
                    <a:lnTo>
                      <a:pt x="692" y="337"/>
                    </a:lnTo>
                    <a:lnTo>
                      <a:pt x="686" y="337"/>
                    </a:lnTo>
                    <a:lnTo>
                      <a:pt x="680" y="337"/>
                    </a:lnTo>
                    <a:lnTo>
                      <a:pt x="674" y="337"/>
                    </a:lnTo>
                    <a:lnTo>
                      <a:pt x="668" y="331"/>
                    </a:lnTo>
                    <a:lnTo>
                      <a:pt x="662" y="331"/>
                    </a:lnTo>
                    <a:lnTo>
                      <a:pt x="662" y="325"/>
                    </a:lnTo>
                    <a:lnTo>
                      <a:pt x="656" y="325"/>
                    </a:lnTo>
                    <a:lnTo>
                      <a:pt x="650" y="325"/>
                    </a:lnTo>
                    <a:lnTo>
                      <a:pt x="644" y="319"/>
                    </a:lnTo>
                    <a:lnTo>
                      <a:pt x="638" y="319"/>
                    </a:lnTo>
                    <a:lnTo>
                      <a:pt x="632" y="319"/>
                    </a:lnTo>
                    <a:lnTo>
                      <a:pt x="626" y="313"/>
                    </a:lnTo>
                    <a:lnTo>
                      <a:pt x="620" y="313"/>
                    </a:lnTo>
                    <a:lnTo>
                      <a:pt x="614" y="313"/>
                    </a:lnTo>
                    <a:lnTo>
                      <a:pt x="608" y="313"/>
                    </a:lnTo>
                    <a:lnTo>
                      <a:pt x="608" y="319"/>
                    </a:lnTo>
                    <a:lnTo>
                      <a:pt x="602" y="319"/>
                    </a:lnTo>
                    <a:lnTo>
                      <a:pt x="596" y="325"/>
                    </a:lnTo>
                    <a:lnTo>
                      <a:pt x="590" y="325"/>
                    </a:lnTo>
                    <a:lnTo>
                      <a:pt x="584" y="331"/>
                    </a:lnTo>
                    <a:lnTo>
                      <a:pt x="578" y="343"/>
                    </a:lnTo>
                    <a:lnTo>
                      <a:pt x="572" y="343"/>
                    </a:lnTo>
                    <a:lnTo>
                      <a:pt x="566" y="349"/>
                    </a:lnTo>
                    <a:lnTo>
                      <a:pt x="560" y="349"/>
                    </a:lnTo>
                    <a:lnTo>
                      <a:pt x="560" y="355"/>
                    </a:lnTo>
                    <a:lnTo>
                      <a:pt x="554" y="355"/>
                    </a:lnTo>
                    <a:lnTo>
                      <a:pt x="548" y="361"/>
                    </a:lnTo>
                    <a:lnTo>
                      <a:pt x="542" y="361"/>
                    </a:lnTo>
                    <a:lnTo>
                      <a:pt x="542" y="367"/>
                    </a:lnTo>
                    <a:lnTo>
                      <a:pt x="542" y="373"/>
                    </a:lnTo>
                    <a:lnTo>
                      <a:pt x="542" y="379"/>
                    </a:lnTo>
                    <a:lnTo>
                      <a:pt x="536" y="385"/>
                    </a:lnTo>
                    <a:lnTo>
                      <a:pt x="536" y="391"/>
                    </a:lnTo>
                    <a:lnTo>
                      <a:pt x="536" y="397"/>
                    </a:lnTo>
                    <a:lnTo>
                      <a:pt x="530" y="403"/>
                    </a:lnTo>
                    <a:lnTo>
                      <a:pt x="530" y="409"/>
                    </a:lnTo>
                    <a:lnTo>
                      <a:pt x="530" y="415"/>
                    </a:lnTo>
                    <a:lnTo>
                      <a:pt x="530" y="421"/>
                    </a:lnTo>
                    <a:lnTo>
                      <a:pt x="530" y="427"/>
                    </a:lnTo>
                    <a:lnTo>
                      <a:pt x="530" y="433"/>
                    </a:lnTo>
                    <a:lnTo>
                      <a:pt x="536" y="433"/>
                    </a:lnTo>
                    <a:lnTo>
                      <a:pt x="536" y="439"/>
                    </a:lnTo>
                    <a:lnTo>
                      <a:pt x="530" y="439"/>
                    </a:lnTo>
                    <a:lnTo>
                      <a:pt x="524" y="439"/>
                    </a:lnTo>
                    <a:lnTo>
                      <a:pt x="524" y="445"/>
                    </a:lnTo>
                    <a:lnTo>
                      <a:pt x="518" y="445"/>
                    </a:lnTo>
                    <a:lnTo>
                      <a:pt x="512" y="433"/>
                    </a:lnTo>
                    <a:lnTo>
                      <a:pt x="506" y="433"/>
                    </a:lnTo>
                    <a:lnTo>
                      <a:pt x="506" y="439"/>
                    </a:lnTo>
                    <a:lnTo>
                      <a:pt x="506" y="445"/>
                    </a:lnTo>
                    <a:lnTo>
                      <a:pt x="500" y="445"/>
                    </a:lnTo>
                    <a:lnTo>
                      <a:pt x="500" y="439"/>
                    </a:lnTo>
                    <a:lnTo>
                      <a:pt x="500" y="433"/>
                    </a:lnTo>
                    <a:lnTo>
                      <a:pt x="494" y="433"/>
                    </a:lnTo>
                    <a:lnTo>
                      <a:pt x="494" y="427"/>
                    </a:lnTo>
                    <a:lnTo>
                      <a:pt x="488" y="427"/>
                    </a:lnTo>
                    <a:lnTo>
                      <a:pt x="482" y="427"/>
                    </a:lnTo>
                    <a:lnTo>
                      <a:pt x="482" y="433"/>
                    </a:lnTo>
                    <a:lnTo>
                      <a:pt x="476" y="433"/>
                    </a:lnTo>
                    <a:lnTo>
                      <a:pt x="470" y="427"/>
                    </a:lnTo>
                    <a:lnTo>
                      <a:pt x="464" y="427"/>
                    </a:lnTo>
                    <a:lnTo>
                      <a:pt x="458" y="427"/>
                    </a:lnTo>
                    <a:lnTo>
                      <a:pt x="464" y="433"/>
                    </a:lnTo>
                    <a:lnTo>
                      <a:pt x="464" y="439"/>
                    </a:lnTo>
                    <a:lnTo>
                      <a:pt x="464" y="445"/>
                    </a:lnTo>
                    <a:lnTo>
                      <a:pt x="464" y="451"/>
                    </a:lnTo>
                    <a:lnTo>
                      <a:pt x="458" y="457"/>
                    </a:lnTo>
                    <a:lnTo>
                      <a:pt x="458" y="463"/>
                    </a:lnTo>
                    <a:lnTo>
                      <a:pt x="458" y="475"/>
                    </a:lnTo>
                    <a:lnTo>
                      <a:pt x="464" y="481"/>
                    </a:lnTo>
                    <a:lnTo>
                      <a:pt x="464" y="487"/>
                    </a:lnTo>
                    <a:lnTo>
                      <a:pt x="464" y="493"/>
                    </a:lnTo>
                    <a:lnTo>
                      <a:pt x="464" y="499"/>
                    </a:lnTo>
                    <a:lnTo>
                      <a:pt x="464" y="505"/>
                    </a:lnTo>
                    <a:lnTo>
                      <a:pt x="464" y="511"/>
                    </a:lnTo>
                    <a:lnTo>
                      <a:pt x="458" y="511"/>
                    </a:lnTo>
                    <a:lnTo>
                      <a:pt x="452" y="511"/>
                    </a:lnTo>
                    <a:lnTo>
                      <a:pt x="446" y="511"/>
                    </a:lnTo>
                    <a:lnTo>
                      <a:pt x="440" y="511"/>
                    </a:lnTo>
                    <a:lnTo>
                      <a:pt x="434" y="511"/>
                    </a:lnTo>
                    <a:lnTo>
                      <a:pt x="428" y="511"/>
                    </a:lnTo>
                    <a:lnTo>
                      <a:pt x="428" y="517"/>
                    </a:lnTo>
                    <a:lnTo>
                      <a:pt x="428" y="523"/>
                    </a:lnTo>
                    <a:lnTo>
                      <a:pt x="434" y="529"/>
                    </a:lnTo>
                    <a:lnTo>
                      <a:pt x="428" y="529"/>
                    </a:lnTo>
                    <a:lnTo>
                      <a:pt x="428" y="535"/>
                    </a:lnTo>
                    <a:lnTo>
                      <a:pt x="421" y="535"/>
                    </a:lnTo>
                    <a:lnTo>
                      <a:pt x="415" y="535"/>
                    </a:lnTo>
                    <a:lnTo>
                      <a:pt x="409" y="535"/>
                    </a:lnTo>
                    <a:lnTo>
                      <a:pt x="403" y="529"/>
                    </a:lnTo>
                    <a:lnTo>
                      <a:pt x="397" y="529"/>
                    </a:lnTo>
                    <a:lnTo>
                      <a:pt x="397" y="523"/>
                    </a:lnTo>
                    <a:lnTo>
                      <a:pt x="391" y="523"/>
                    </a:lnTo>
                    <a:lnTo>
                      <a:pt x="385" y="517"/>
                    </a:lnTo>
                    <a:lnTo>
                      <a:pt x="379" y="511"/>
                    </a:lnTo>
                    <a:lnTo>
                      <a:pt x="373" y="511"/>
                    </a:lnTo>
                    <a:lnTo>
                      <a:pt x="367" y="499"/>
                    </a:lnTo>
                    <a:lnTo>
                      <a:pt x="361" y="499"/>
                    </a:lnTo>
                    <a:lnTo>
                      <a:pt x="361" y="493"/>
                    </a:lnTo>
                    <a:lnTo>
                      <a:pt x="355" y="493"/>
                    </a:lnTo>
                    <a:lnTo>
                      <a:pt x="349" y="493"/>
                    </a:lnTo>
                    <a:lnTo>
                      <a:pt x="343" y="493"/>
                    </a:lnTo>
                    <a:lnTo>
                      <a:pt x="337" y="493"/>
                    </a:lnTo>
                    <a:lnTo>
                      <a:pt x="331" y="493"/>
                    </a:lnTo>
                    <a:lnTo>
                      <a:pt x="325" y="493"/>
                    </a:lnTo>
                    <a:lnTo>
                      <a:pt x="325" y="487"/>
                    </a:lnTo>
                    <a:lnTo>
                      <a:pt x="325" y="481"/>
                    </a:lnTo>
                    <a:lnTo>
                      <a:pt x="331" y="481"/>
                    </a:lnTo>
                    <a:lnTo>
                      <a:pt x="337" y="481"/>
                    </a:lnTo>
                    <a:lnTo>
                      <a:pt x="337" y="475"/>
                    </a:lnTo>
                    <a:lnTo>
                      <a:pt x="331" y="475"/>
                    </a:lnTo>
                    <a:lnTo>
                      <a:pt x="325" y="469"/>
                    </a:lnTo>
                    <a:lnTo>
                      <a:pt x="325" y="451"/>
                    </a:lnTo>
                    <a:lnTo>
                      <a:pt x="319" y="427"/>
                    </a:lnTo>
                    <a:lnTo>
                      <a:pt x="313" y="403"/>
                    </a:lnTo>
                    <a:lnTo>
                      <a:pt x="301" y="385"/>
                    </a:lnTo>
                    <a:lnTo>
                      <a:pt x="295" y="379"/>
                    </a:lnTo>
                    <a:lnTo>
                      <a:pt x="289" y="385"/>
                    </a:lnTo>
                    <a:lnTo>
                      <a:pt x="265" y="391"/>
                    </a:lnTo>
                    <a:lnTo>
                      <a:pt x="259" y="397"/>
                    </a:lnTo>
                    <a:lnTo>
                      <a:pt x="259" y="403"/>
                    </a:lnTo>
                    <a:lnTo>
                      <a:pt x="253" y="403"/>
                    </a:lnTo>
                    <a:lnTo>
                      <a:pt x="253" y="409"/>
                    </a:lnTo>
                    <a:lnTo>
                      <a:pt x="247" y="409"/>
                    </a:lnTo>
                    <a:lnTo>
                      <a:pt x="247" y="415"/>
                    </a:lnTo>
                    <a:lnTo>
                      <a:pt x="241" y="427"/>
                    </a:lnTo>
                    <a:lnTo>
                      <a:pt x="229" y="433"/>
                    </a:lnTo>
                    <a:lnTo>
                      <a:pt x="211" y="445"/>
                    </a:lnTo>
                    <a:lnTo>
                      <a:pt x="211" y="451"/>
                    </a:lnTo>
                    <a:lnTo>
                      <a:pt x="205" y="451"/>
                    </a:lnTo>
                    <a:lnTo>
                      <a:pt x="193" y="445"/>
                    </a:lnTo>
                    <a:lnTo>
                      <a:pt x="187" y="439"/>
                    </a:lnTo>
                    <a:lnTo>
                      <a:pt x="181" y="445"/>
                    </a:lnTo>
                    <a:lnTo>
                      <a:pt x="169" y="439"/>
                    </a:lnTo>
                    <a:lnTo>
                      <a:pt x="169" y="445"/>
                    </a:lnTo>
                    <a:lnTo>
                      <a:pt x="157" y="445"/>
                    </a:lnTo>
                    <a:lnTo>
                      <a:pt x="151" y="439"/>
                    </a:lnTo>
                    <a:lnTo>
                      <a:pt x="151" y="427"/>
                    </a:lnTo>
                    <a:lnTo>
                      <a:pt x="157" y="415"/>
                    </a:lnTo>
                    <a:lnTo>
                      <a:pt x="151" y="403"/>
                    </a:lnTo>
                    <a:lnTo>
                      <a:pt x="151" y="397"/>
                    </a:lnTo>
                    <a:lnTo>
                      <a:pt x="157" y="391"/>
                    </a:lnTo>
                    <a:lnTo>
                      <a:pt x="157" y="385"/>
                    </a:lnTo>
                    <a:lnTo>
                      <a:pt x="157" y="373"/>
                    </a:lnTo>
                    <a:lnTo>
                      <a:pt x="145" y="373"/>
                    </a:lnTo>
                    <a:lnTo>
                      <a:pt x="115" y="379"/>
                    </a:lnTo>
                    <a:lnTo>
                      <a:pt x="103" y="379"/>
                    </a:lnTo>
                    <a:lnTo>
                      <a:pt x="91" y="373"/>
                    </a:lnTo>
                    <a:lnTo>
                      <a:pt x="91" y="355"/>
                    </a:lnTo>
                    <a:lnTo>
                      <a:pt x="91" y="337"/>
                    </a:lnTo>
                    <a:lnTo>
                      <a:pt x="91" y="331"/>
                    </a:lnTo>
                    <a:lnTo>
                      <a:pt x="84" y="325"/>
                    </a:lnTo>
                    <a:lnTo>
                      <a:pt x="72" y="307"/>
                    </a:lnTo>
                    <a:lnTo>
                      <a:pt x="60" y="301"/>
                    </a:lnTo>
                    <a:lnTo>
                      <a:pt x="30" y="283"/>
                    </a:lnTo>
                    <a:lnTo>
                      <a:pt x="0" y="265"/>
                    </a:lnTo>
                    <a:lnTo>
                      <a:pt x="0" y="259"/>
                    </a:lnTo>
                    <a:lnTo>
                      <a:pt x="6" y="253"/>
                    </a:lnTo>
                    <a:lnTo>
                      <a:pt x="6" y="241"/>
                    </a:lnTo>
                    <a:lnTo>
                      <a:pt x="12" y="235"/>
                    </a:lnTo>
                    <a:lnTo>
                      <a:pt x="12" y="229"/>
                    </a:lnTo>
                    <a:lnTo>
                      <a:pt x="12" y="217"/>
                    </a:lnTo>
                    <a:lnTo>
                      <a:pt x="18" y="199"/>
                    </a:lnTo>
                    <a:lnTo>
                      <a:pt x="24" y="187"/>
                    </a:lnTo>
                    <a:lnTo>
                      <a:pt x="30" y="181"/>
                    </a:lnTo>
                    <a:lnTo>
                      <a:pt x="60" y="175"/>
                    </a:lnTo>
                    <a:lnTo>
                      <a:pt x="72" y="175"/>
                    </a:lnTo>
                    <a:lnTo>
                      <a:pt x="84" y="169"/>
                    </a:lnTo>
                    <a:lnTo>
                      <a:pt x="103" y="144"/>
                    </a:lnTo>
                    <a:lnTo>
                      <a:pt x="109" y="132"/>
                    </a:lnTo>
                    <a:lnTo>
                      <a:pt x="97" y="102"/>
                    </a:lnTo>
                    <a:lnTo>
                      <a:pt x="91" y="78"/>
                    </a:lnTo>
                    <a:lnTo>
                      <a:pt x="91" y="72"/>
                    </a:lnTo>
                    <a:lnTo>
                      <a:pt x="84" y="72"/>
                    </a:lnTo>
                    <a:lnTo>
                      <a:pt x="60" y="72"/>
                    </a:lnTo>
                    <a:lnTo>
                      <a:pt x="60" y="60"/>
                    </a:lnTo>
                    <a:close/>
                  </a:path>
                </a:pathLst>
              </a:custGeom>
              <a:solidFill>
                <a:schemeClr val="accent6">
                  <a:lumMod val="20000"/>
                  <a:lumOff val="80000"/>
                </a:schemeClr>
              </a:solidFill>
              <a:ln w="9525">
                <a:solidFill>
                  <a:srgbClr val="808080"/>
                </a:solidFill>
                <a:round/>
                <a:headEnd/>
                <a:tailEnd/>
              </a:ln>
            </p:spPr>
            <p:txBody>
              <a:bodyPr/>
              <a:lstStyle/>
              <a:p>
                <a:pPr fontAlgn="base">
                  <a:spcBef>
                    <a:spcPct val="0"/>
                  </a:spcBef>
                  <a:spcAft>
                    <a:spcPct val="0"/>
                  </a:spcAft>
                  <a:buClrTx/>
                  <a:buFontTx/>
                  <a:buNone/>
                </a:pPr>
                <a:endParaRPr lang="en-US" sz="1600" kern="1200" dirty="0">
                  <a:latin typeface="Arial" charset="0"/>
                  <a:ea typeface="+mn-ea"/>
                  <a:cs typeface="+mn-cs"/>
                </a:endParaRPr>
              </a:p>
            </p:txBody>
          </p:sp>
          <p:sp>
            <p:nvSpPr>
              <p:cNvPr id="118" name="Freeform 60"/>
              <p:cNvSpPr>
                <a:spLocks/>
              </p:cNvSpPr>
              <p:nvPr/>
            </p:nvSpPr>
            <p:spPr bwMode="auto">
              <a:xfrm>
                <a:off x="558800" y="4362450"/>
                <a:ext cx="965200" cy="1270000"/>
              </a:xfrm>
              <a:custGeom>
                <a:avLst/>
                <a:gdLst>
                  <a:gd name="T0" fmla="*/ 66 w 608"/>
                  <a:gd name="T1" fmla="*/ 0 h 800"/>
                  <a:gd name="T2" fmla="*/ 163 w 608"/>
                  <a:gd name="T3" fmla="*/ 0 h 800"/>
                  <a:gd name="T4" fmla="*/ 241 w 608"/>
                  <a:gd name="T5" fmla="*/ 0 h 800"/>
                  <a:gd name="T6" fmla="*/ 343 w 608"/>
                  <a:gd name="T7" fmla="*/ 0 h 800"/>
                  <a:gd name="T8" fmla="*/ 446 w 608"/>
                  <a:gd name="T9" fmla="*/ 0 h 800"/>
                  <a:gd name="T10" fmla="*/ 542 w 608"/>
                  <a:gd name="T11" fmla="*/ 0 h 800"/>
                  <a:gd name="T12" fmla="*/ 524 w 608"/>
                  <a:gd name="T13" fmla="*/ 169 h 800"/>
                  <a:gd name="T14" fmla="*/ 482 w 608"/>
                  <a:gd name="T15" fmla="*/ 211 h 800"/>
                  <a:gd name="T16" fmla="*/ 452 w 608"/>
                  <a:gd name="T17" fmla="*/ 391 h 800"/>
                  <a:gd name="T18" fmla="*/ 434 w 608"/>
                  <a:gd name="T19" fmla="*/ 421 h 800"/>
                  <a:gd name="T20" fmla="*/ 409 w 608"/>
                  <a:gd name="T21" fmla="*/ 451 h 800"/>
                  <a:gd name="T22" fmla="*/ 428 w 608"/>
                  <a:gd name="T23" fmla="*/ 511 h 800"/>
                  <a:gd name="T24" fmla="*/ 482 w 608"/>
                  <a:gd name="T25" fmla="*/ 535 h 800"/>
                  <a:gd name="T26" fmla="*/ 524 w 608"/>
                  <a:gd name="T27" fmla="*/ 560 h 800"/>
                  <a:gd name="T28" fmla="*/ 548 w 608"/>
                  <a:gd name="T29" fmla="*/ 584 h 800"/>
                  <a:gd name="T30" fmla="*/ 560 w 608"/>
                  <a:gd name="T31" fmla="*/ 614 h 800"/>
                  <a:gd name="T32" fmla="*/ 596 w 608"/>
                  <a:gd name="T33" fmla="*/ 632 h 800"/>
                  <a:gd name="T34" fmla="*/ 596 w 608"/>
                  <a:gd name="T35" fmla="*/ 662 h 800"/>
                  <a:gd name="T36" fmla="*/ 542 w 608"/>
                  <a:gd name="T37" fmla="*/ 674 h 800"/>
                  <a:gd name="T38" fmla="*/ 530 w 608"/>
                  <a:gd name="T39" fmla="*/ 710 h 800"/>
                  <a:gd name="T40" fmla="*/ 506 w 608"/>
                  <a:gd name="T41" fmla="*/ 752 h 800"/>
                  <a:gd name="T42" fmla="*/ 494 w 608"/>
                  <a:gd name="T43" fmla="*/ 746 h 800"/>
                  <a:gd name="T44" fmla="*/ 440 w 608"/>
                  <a:gd name="T45" fmla="*/ 728 h 800"/>
                  <a:gd name="T46" fmla="*/ 391 w 608"/>
                  <a:gd name="T47" fmla="*/ 698 h 800"/>
                  <a:gd name="T48" fmla="*/ 385 w 608"/>
                  <a:gd name="T49" fmla="*/ 674 h 800"/>
                  <a:gd name="T50" fmla="*/ 391 w 608"/>
                  <a:gd name="T51" fmla="*/ 650 h 800"/>
                  <a:gd name="T52" fmla="*/ 379 w 608"/>
                  <a:gd name="T53" fmla="*/ 620 h 800"/>
                  <a:gd name="T54" fmla="*/ 373 w 608"/>
                  <a:gd name="T55" fmla="*/ 614 h 800"/>
                  <a:gd name="T56" fmla="*/ 355 w 608"/>
                  <a:gd name="T57" fmla="*/ 644 h 800"/>
                  <a:gd name="T58" fmla="*/ 331 w 608"/>
                  <a:gd name="T59" fmla="*/ 656 h 800"/>
                  <a:gd name="T60" fmla="*/ 307 w 608"/>
                  <a:gd name="T61" fmla="*/ 674 h 800"/>
                  <a:gd name="T62" fmla="*/ 289 w 608"/>
                  <a:gd name="T63" fmla="*/ 704 h 800"/>
                  <a:gd name="T64" fmla="*/ 223 w 608"/>
                  <a:gd name="T65" fmla="*/ 734 h 800"/>
                  <a:gd name="T66" fmla="*/ 121 w 608"/>
                  <a:gd name="T67" fmla="*/ 770 h 800"/>
                  <a:gd name="T68" fmla="*/ 115 w 608"/>
                  <a:gd name="T69" fmla="*/ 794 h 800"/>
                  <a:gd name="T70" fmla="*/ 91 w 608"/>
                  <a:gd name="T71" fmla="*/ 794 h 800"/>
                  <a:gd name="T72" fmla="*/ 66 w 608"/>
                  <a:gd name="T73" fmla="*/ 764 h 800"/>
                  <a:gd name="T74" fmla="*/ 66 w 608"/>
                  <a:gd name="T75" fmla="*/ 704 h 800"/>
                  <a:gd name="T76" fmla="*/ 42 w 608"/>
                  <a:gd name="T77" fmla="*/ 680 h 800"/>
                  <a:gd name="T78" fmla="*/ 36 w 608"/>
                  <a:gd name="T79" fmla="*/ 656 h 800"/>
                  <a:gd name="T80" fmla="*/ 30 w 608"/>
                  <a:gd name="T81" fmla="*/ 626 h 800"/>
                  <a:gd name="T82" fmla="*/ 42 w 608"/>
                  <a:gd name="T83" fmla="*/ 590 h 800"/>
                  <a:gd name="T84" fmla="*/ 66 w 608"/>
                  <a:gd name="T85" fmla="*/ 572 h 800"/>
                  <a:gd name="T86" fmla="*/ 91 w 608"/>
                  <a:gd name="T87" fmla="*/ 542 h 800"/>
                  <a:gd name="T88" fmla="*/ 97 w 608"/>
                  <a:gd name="T89" fmla="*/ 517 h 800"/>
                  <a:gd name="T90" fmla="*/ 109 w 608"/>
                  <a:gd name="T91" fmla="*/ 487 h 800"/>
                  <a:gd name="T92" fmla="*/ 109 w 608"/>
                  <a:gd name="T93" fmla="*/ 451 h 800"/>
                  <a:gd name="T94" fmla="*/ 121 w 608"/>
                  <a:gd name="T95" fmla="*/ 415 h 800"/>
                  <a:gd name="T96" fmla="*/ 115 w 608"/>
                  <a:gd name="T97" fmla="*/ 385 h 800"/>
                  <a:gd name="T98" fmla="*/ 115 w 608"/>
                  <a:gd name="T99" fmla="*/ 349 h 800"/>
                  <a:gd name="T100" fmla="*/ 133 w 608"/>
                  <a:gd name="T101" fmla="*/ 325 h 800"/>
                  <a:gd name="T102" fmla="*/ 103 w 608"/>
                  <a:gd name="T103" fmla="*/ 307 h 800"/>
                  <a:gd name="T104" fmla="*/ 103 w 608"/>
                  <a:gd name="T105" fmla="*/ 331 h 800"/>
                  <a:gd name="T106" fmla="*/ 72 w 608"/>
                  <a:gd name="T107" fmla="*/ 319 h 800"/>
                  <a:gd name="T108" fmla="*/ 54 w 608"/>
                  <a:gd name="T109" fmla="*/ 301 h 800"/>
                  <a:gd name="T110" fmla="*/ 66 w 608"/>
                  <a:gd name="T111" fmla="*/ 277 h 800"/>
                  <a:gd name="T112" fmla="*/ 60 w 608"/>
                  <a:gd name="T113" fmla="*/ 241 h 800"/>
                  <a:gd name="T114" fmla="*/ 115 w 608"/>
                  <a:gd name="T115" fmla="*/ 217 h 800"/>
                  <a:gd name="T116" fmla="*/ 175 w 608"/>
                  <a:gd name="T117" fmla="*/ 235 h 800"/>
                  <a:gd name="T118" fmla="*/ 151 w 608"/>
                  <a:gd name="T119" fmla="*/ 175 h 800"/>
                  <a:gd name="T120" fmla="*/ 72 w 608"/>
                  <a:gd name="T121" fmla="*/ 91 h 800"/>
                  <a:gd name="T122" fmla="*/ 0 w 608"/>
                  <a:gd name="T123" fmla="*/ 6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8" h="800">
                    <a:moveTo>
                      <a:pt x="0" y="0"/>
                    </a:moveTo>
                    <a:lnTo>
                      <a:pt x="18" y="0"/>
                    </a:lnTo>
                    <a:lnTo>
                      <a:pt x="24" y="0"/>
                    </a:lnTo>
                    <a:lnTo>
                      <a:pt x="30" y="0"/>
                    </a:lnTo>
                    <a:lnTo>
                      <a:pt x="42" y="0"/>
                    </a:lnTo>
                    <a:lnTo>
                      <a:pt x="48" y="0"/>
                    </a:lnTo>
                    <a:lnTo>
                      <a:pt x="54" y="0"/>
                    </a:lnTo>
                    <a:lnTo>
                      <a:pt x="66" y="0"/>
                    </a:lnTo>
                    <a:lnTo>
                      <a:pt x="91" y="0"/>
                    </a:lnTo>
                    <a:lnTo>
                      <a:pt x="103" y="0"/>
                    </a:lnTo>
                    <a:lnTo>
                      <a:pt x="115" y="0"/>
                    </a:lnTo>
                    <a:lnTo>
                      <a:pt x="133" y="0"/>
                    </a:lnTo>
                    <a:lnTo>
                      <a:pt x="139" y="0"/>
                    </a:lnTo>
                    <a:lnTo>
                      <a:pt x="145" y="0"/>
                    </a:lnTo>
                    <a:lnTo>
                      <a:pt x="151" y="0"/>
                    </a:lnTo>
                    <a:lnTo>
                      <a:pt x="163" y="0"/>
                    </a:lnTo>
                    <a:lnTo>
                      <a:pt x="169" y="0"/>
                    </a:lnTo>
                    <a:lnTo>
                      <a:pt x="193" y="0"/>
                    </a:lnTo>
                    <a:lnTo>
                      <a:pt x="199" y="0"/>
                    </a:lnTo>
                    <a:lnTo>
                      <a:pt x="205" y="0"/>
                    </a:lnTo>
                    <a:lnTo>
                      <a:pt x="217" y="0"/>
                    </a:lnTo>
                    <a:lnTo>
                      <a:pt x="223" y="0"/>
                    </a:lnTo>
                    <a:lnTo>
                      <a:pt x="235" y="0"/>
                    </a:lnTo>
                    <a:lnTo>
                      <a:pt x="241" y="0"/>
                    </a:lnTo>
                    <a:lnTo>
                      <a:pt x="259" y="0"/>
                    </a:lnTo>
                    <a:lnTo>
                      <a:pt x="271" y="0"/>
                    </a:lnTo>
                    <a:lnTo>
                      <a:pt x="277" y="0"/>
                    </a:lnTo>
                    <a:lnTo>
                      <a:pt x="283" y="0"/>
                    </a:lnTo>
                    <a:lnTo>
                      <a:pt x="289" y="0"/>
                    </a:lnTo>
                    <a:lnTo>
                      <a:pt x="295" y="0"/>
                    </a:lnTo>
                    <a:lnTo>
                      <a:pt x="319" y="0"/>
                    </a:lnTo>
                    <a:lnTo>
                      <a:pt x="343" y="0"/>
                    </a:lnTo>
                    <a:lnTo>
                      <a:pt x="355" y="0"/>
                    </a:lnTo>
                    <a:lnTo>
                      <a:pt x="367" y="0"/>
                    </a:lnTo>
                    <a:lnTo>
                      <a:pt x="379" y="0"/>
                    </a:lnTo>
                    <a:lnTo>
                      <a:pt x="385" y="0"/>
                    </a:lnTo>
                    <a:lnTo>
                      <a:pt x="391" y="0"/>
                    </a:lnTo>
                    <a:lnTo>
                      <a:pt x="416" y="0"/>
                    </a:lnTo>
                    <a:lnTo>
                      <a:pt x="428" y="0"/>
                    </a:lnTo>
                    <a:lnTo>
                      <a:pt x="446" y="0"/>
                    </a:lnTo>
                    <a:lnTo>
                      <a:pt x="458" y="0"/>
                    </a:lnTo>
                    <a:lnTo>
                      <a:pt x="464" y="0"/>
                    </a:lnTo>
                    <a:lnTo>
                      <a:pt x="470" y="0"/>
                    </a:lnTo>
                    <a:lnTo>
                      <a:pt x="476" y="0"/>
                    </a:lnTo>
                    <a:lnTo>
                      <a:pt x="494" y="0"/>
                    </a:lnTo>
                    <a:lnTo>
                      <a:pt x="518" y="0"/>
                    </a:lnTo>
                    <a:lnTo>
                      <a:pt x="530" y="0"/>
                    </a:lnTo>
                    <a:lnTo>
                      <a:pt x="542" y="0"/>
                    </a:lnTo>
                    <a:lnTo>
                      <a:pt x="536" y="24"/>
                    </a:lnTo>
                    <a:lnTo>
                      <a:pt x="524" y="66"/>
                    </a:lnTo>
                    <a:lnTo>
                      <a:pt x="518" y="72"/>
                    </a:lnTo>
                    <a:lnTo>
                      <a:pt x="500" y="97"/>
                    </a:lnTo>
                    <a:lnTo>
                      <a:pt x="500" y="109"/>
                    </a:lnTo>
                    <a:lnTo>
                      <a:pt x="512" y="127"/>
                    </a:lnTo>
                    <a:lnTo>
                      <a:pt x="518" y="145"/>
                    </a:lnTo>
                    <a:lnTo>
                      <a:pt x="524" y="169"/>
                    </a:lnTo>
                    <a:lnTo>
                      <a:pt x="530" y="175"/>
                    </a:lnTo>
                    <a:lnTo>
                      <a:pt x="530" y="193"/>
                    </a:lnTo>
                    <a:lnTo>
                      <a:pt x="524" y="199"/>
                    </a:lnTo>
                    <a:lnTo>
                      <a:pt x="518" y="205"/>
                    </a:lnTo>
                    <a:lnTo>
                      <a:pt x="512" y="211"/>
                    </a:lnTo>
                    <a:lnTo>
                      <a:pt x="488" y="205"/>
                    </a:lnTo>
                    <a:lnTo>
                      <a:pt x="482" y="205"/>
                    </a:lnTo>
                    <a:lnTo>
                      <a:pt x="482" y="211"/>
                    </a:lnTo>
                    <a:lnTo>
                      <a:pt x="464" y="235"/>
                    </a:lnTo>
                    <a:lnTo>
                      <a:pt x="458" y="247"/>
                    </a:lnTo>
                    <a:lnTo>
                      <a:pt x="428" y="295"/>
                    </a:lnTo>
                    <a:lnTo>
                      <a:pt x="428" y="331"/>
                    </a:lnTo>
                    <a:lnTo>
                      <a:pt x="428" y="349"/>
                    </a:lnTo>
                    <a:lnTo>
                      <a:pt x="440" y="361"/>
                    </a:lnTo>
                    <a:lnTo>
                      <a:pt x="452" y="373"/>
                    </a:lnTo>
                    <a:lnTo>
                      <a:pt x="452" y="391"/>
                    </a:lnTo>
                    <a:lnTo>
                      <a:pt x="458" y="397"/>
                    </a:lnTo>
                    <a:lnTo>
                      <a:pt x="464" y="403"/>
                    </a:lnTo>
                    <a:lnTo>
                      <a:pt x="458" y="421"/>
                    </a:lnTo>
                    <a:lnTo>
                      <a:pt x="452" y="421"/>
                    </a:lnTo>
                    <a:lnTo>
                      <a:pt x="446" y="427"/>
                    </a:lnTo>
                    <a:lnTo>
                      <a:pt x="440" y="427"/>
                    </a:lnTo>
                    <a:lnTo>
                      <a:pt x="434" y="427"/>
                    </a:lnTo>
                    <a:lnTo>
                      <a:pt x="434" y="421"/>
                    </a:lnTo>
                    <a:lnTo>
                      <a:pt x="428" y="427"/>
                    </a:lnTo>
                    <a:lnTo>
                      <a:pt x="422" y="427"/>
                    </a:lnTo>
                    <a:lnTo>
                      <a:pt x="422" y="433"/>
                    </a:lnTo>
                    <a:lnTo>
                      <a:pt x="416" y="433"/>
                    </a:lnTo>
                    <a:lnTo>
                      <a:pt x="416" y="439"/>
                    </a:lnTo>
                    <a:lnTo>
                      <a:pt x="409" y="439"/>
                    </a:lnTo>
                    <a:lnTo>
                      <a:pt x="409" y="445"/>
                    </a:lnTo>
                    <a:lnTo>
                      <a:pt x="409" y="451"/>
                    </a:lnTo>
                    <a:lnTo>
                      <a:pt x="403" y="457"/>
                    </a:lnTo>
                    <a:lnTo>
                      <a:pt x="403" y="463"/>
                    </a:lnTo>
                    <a:lnTo>
                      <a:pt x="403" y="475"/>
                    </a:lnTo>
                    <a:lnTo>
                      <a:pt x="397" y="487"/>
                    </a:lnTo>
                    <a:lnTo>
                      <a:pt x="397" y="493"/>
                    </a:lnTo>
                    <a:lnTo>
                      <a:pt x="403" y="505"/>
                    </a:lnTo>
                    <a:lnTo>
                      <a:pt x="416" y="511"/>
                    </a:lnTo>
                    <a:lnTo>
                      <a:pt x="428" y="511"/>
                    </a:lnTo>
                    <a:lnTo>
                      <a:pt x="434" y="511"/>
                    </a:lnTo>
                    <a:lnTo>
                      <a:pt x="434" y="523"/>
                    </a:lnTo>
                    <a:lnTo>
                      <a:pt x="428" y="535"/>
                    </a:lnTo>
                    <a:lnTo>
                      <a:pt x="434" y="542"/>
                    </a:lnTo>
                    <a:lnTo>
                      <a:pt x="440" y="542"/>
                    </a:lnTo>
                    <a:lnTo>
                      <a:pt x="446" y="535"/>
                    </a:lnTo>
                    <a:lnTo>
                      <a:pt x="470" y="535"/>
                    </a:lnTo>
                    <a:lnTo>
                      <a:pt x="482" y="535"/>
                    </a:lnTo>
                    <a:lnTo>
                      <a:pt x="494" y="535"/>
                    </a:lnTo>
                    <a:lnTo>
                      <a:pt x="506" y="554"/>
                    </a:lnTo>
                    <a:lnTo>
                      <a:pt x="512" y="548"/>
                    </a:lnTo>
                    <a:lnTo>
                      <a:pt x="518" y="548"/>
                    </a:lnTo>
                    <a:lnTo>
                      <a:pt x="518" y="554"/>
                    </a:lnTo>
                    <a:lnTo>
                      <a:pt x="524" y="548"/>
                    </a:lnTo>
                    <a:lnTo>
                      <a:pt x="524" y="554"/>
                    </a:lnTo>
                    <a:lnTo>
                      <a:pt x="524" y="560"/>
                    </a:lnTo>
                    <a:lnTo>
                      <a:pt x="524" y="566"/>
                    </a:lnTo>
                    <a:lnTo>
                      <a:pt x="524" y="572"/>
                    </a:lnTo>
                    <a:lnTo>
                      <a:pt x="530" y="572"/>
                    </a:lnTo>
                    <a:lnTo>
                      <a:pt x="530" y="578"/>
                    </a:lnTo>
                    <a:lnTo>
                      <a:pt x="536" y="578"/>
                    </a:lnTo>
                    <a:lnTo>
                      <a:pt x="542" y="578"/>
                    </a:lnTo>
                    <a:lnTo>
                      <a:pt x="548" y="578"/>
                    </a:lnTo>
                    <a:lnTo>
                      <a:pt x="548" y="584"/>
                    </a:lnTo>
                    <a:lnTo>
                      <a:pt x="554" y="584"/>
                    </a:lnTo>
                    <a:lnTo>
                      <a:pt x="554" y="590"/>
                    </a:lnTo>
                    <a:lnTo>
                      <a:pt x="554" y="596"/>
                    </a:lnTo>
                    <a:lnTo>
                      <a:pt x="548" y="596"/>
                    </a:lnTo>
                    <a:lnTo>
                      <a:pt x="554" y="602"/>
                    </a:lnTo>
                    <a:lnTo>
                      <a:pt x="554" y="608"/>
                    </a:lnTo>
                    <a:lnTo>
                      <a:pt x="554" y="614"/>
                    </a:lnTo>
                    <a:lnTo>
                      <a:pt x="560" y="614"/>
                    </a:lnTo>
                    <a:lnTo>
                      <a:pt x="566" y="614"/>
                    </a:lnTo>
                    <a:lnTo>
                      <a:pt x="572" y="614"/>
                    </a:lnTo>
                    <a:lnTo>
                      <a:pt x="572" y="620"/>
                    </a:lnTo>
                    <a:lnTo>
                      <a:pt x="578" y="626"/>
                    </a:lnTo>
                    <a:lnTo>
                      <a:pt x="578" y="632"/>
                    </a:lnTo>
                    <a:lnTo>
                      <a:pt x="584" y="632"/>
                    </a:lnTo>
                    <a:lnTo>
                      <a:pt x="590" y="632"/>
                    </a:lnTo>
                    <a:lnTo>
                      <a:pt x="596" y="632"/>
                    </a:lnTo>
                    <a:lnTo>
                      <a:pt x="596" y="626"/>
                    </a:lnTo>
                    <a:lnTo>
                      <a:pt x="602" y="626"/>
                    </a:lnTo>
                    <a:lnTo>
                      <a:pt x="602" y="632"/>
                    </a:lnTo>
                    <a:lnTo>
                      <a:pt x="602" y="638"/>
                    </a:lnTo>
                    <a:lnTo>
                      <a:pt x="602" y="644"/>
                    </a:lnTo>
                    <a:lnTo>
                      <a:pt x="608" y="644"/>
                    </a:lnTo>
                    <a:lnTo>
                      <a:pt x="608" y="662"/>
                    </a:lnTo>
                    <a:lnTo>
                      <a:pt x="596" y="662"/>
                    </a:lnTo>
                    <a:lnTo>
                      <a:pt x="584" y="662"/>
                    </a:lnTo>
                    <a:lnTo>
                      <a:pt x="578" y="662"/>
                    </a:lnTo>
                    <a:lnTo>
                      <a:pt x="572" y="674"/>
                    </a:lnTo>
                    <a:lnTo>
                      <a:pt x="578" y="680"/>
                    </a:lnTo>
                    <a:lnTo>
                      <a:pt x="572" y="686"/>
                    </a:lnTo>
                    <a:lnTo>
                      <a:pt x="566" y="680"/>
                    </a:lnTo>
                    <a:lnTo>
                      <a:pt x="554" y="674"/>
                    </a:lnTo>
                    <a:lnTo>
                      <a:pt x="542" y="674"/>
                    </a:lnTo>
                    <a:lnTo>
                      <a:pt x="536" y="674"/>
                    </a:lnTo>
                    <a:lnTo>
                      <a:pt x="536" y="680"/>
                    </a:lnTo>
                    <a:lnTo>
                      <a:pt x="530" y="686"/>
                    </a:lnTo>
                    <a:lnTo>
                      <a:pt x="530" y="692"/>
                    </a:lnTo>
                    <a:lnTo>
                      <a:pt x="530" y="698"/>
                    </a:lnTo>
                    <a:lnTo>
                      <a:pt x="536" y="704"/>
                    </a:lnTo>
                    <a:lnTo>
                      <a:pt x="530" y="704"/>
                    </a:lnTo>
                    <a:lnTo>
                      <a:pt x="530" y="710"/>
                    </a:lnTo>
                    <a:lnTo>
                      <a:pt x="530" y="716"/>
                    </a:lnTo>
                    <a:lnTo>
                      <a:pt x="524" y="716"/>
                    </a:lnTo>
                    <a:lnTo>
                      <a:pt x="524" y="722"/>
                    </a:lnTo>
                    <a:lnTo>
                      <a:pt x="518" y="728"/>
                    </a:lnTo>
                    <a:lnTo>
                      <a:pt x="518" y="734"/>
                    </a:lnTo>
                    <a:lnTo>
                      <a:pt x="512" y="740"/>
                    </a:lnTo>
                    <a:lnTo>
                      <a:pt x="506" y="746"/>
                    </a:lnTo>
                    <a:lnTo>
                      <a:pt x="506" y="752"/>
                    </a:lnTo>
                    <a:lnTo>
                      <a:pt x="512" y="752"/>
                    </a:lnTo>
                    <a:lnTo>
                      <a:pt x="506" y="752"/>
                    </a:lnTo>
                    <a:lnTo>
                      <a:pt x="506" y="758"/>
                    </a:lnTo>
                    <a:lnTo>
                      <a:pt x="500" y="764"/>
                    </a:lnTo>
                    <a:lnTo>
                      <a:pt x="494" y="764"/>
                    </a:lnTo>
                    <a:lnTo>
                      <a:pt x="494" y="758"/>
                    </a:lnTo>
                    <a:lnTo>
                      <a:pt x="494" y="752"/>
                    </a:lnTo>
                    <a:lnTo>
                      <a:pt x="494" y="746"/>
                    </a:lnTo>
                    <a:lnTo>
                      <a:pt x="494" y="740"/>
                    </a:lnTo>
                    <a:lnTo>
                      <a:pt x="488" y="740"/>
                    </a:lnTo>
                    <a:lnTo>
                      <a:pt x="482" y="740"/>
                    </a:lnTo>
                    <a:lnTo>
                      <a:pt x="482" y="734"/>
                    </a:lnTo>
                    <a:lnTo>
                      <a:pt x="476" y="734"/>
                    </a:lnTo>
                    <a:lnTo>
                      <a:pt x="470" y="734"/>
                    </a:lnTo>
                    <a:lnTo>
                      <a:pt x="452" y="728"/>
                    </a:lnTo>
                    <a:lnTo>
                      <a:pt x="440" y="728"/>
                    </a:lnTo>
                    <a:lnTo>
                      <a:pt x="434" y="722"/>
                    </a:lnTo>
                    <a:lnTo>
                      <a:pt x="428" y="716"/>
                    </a:lnTo>
                    <a:lnTo>
                      <a:pt x="422" y="722"/>
                    </a:lnTo>
                    <a:lnTo>
                      <a:pt x="422" y="698"/>
                    </a:lnTo>
                    <a:lnTo>
                      <a:pt x="416" y="698"/>
                    </a:lnTo>
                    <a:lnTo>
                      <a:pt x="409" y="698"/>
                    </a:lnTo>
                    <a:lnTo>
                      <a:pt x="397" y="698"/>
                    </a:lnTo>
                    <a:lnTo>
                      <a:pt x="391" y="698"/>
                    </a:lnTo>
                    <a:lnTo>
                      <a:pt x="385" y="698"/>
                    </a:lnTo>
                    <a:lnTo>
                      <a:pt x="391" y="692"/>
                    </a:lnTo>
                    <a:lnTo>
                      <a:pt x="391" y="686"/>
                    </a:lnTo>
                    <a:lnTo>
                      <a:pt x="385" y="686"/>
                    </a:lnTo>
                    <a:lnTo>
                      <a:pt x="379" y="686"/>
                    </a:lnTo>
                    <a:lnTo>
                      <a:pt x="379" y="680"/>
                    </a:lnTo>
                    <a:lnTo>
                      <a:pt x="385" y="680"/>
                    </a:lnTo>
                    <a:lnTo>
                      <a:pt x="385" y="674"/>
                    </a:lnTo>
                    <a:lnTo>
                      <a:pt x="391" y="674"/>
                    </a:lnTo>
                    <a:lnTo>
                      <a:pt x="391" y="668"/>
                    </a:lnTo>
                    <a:lnTo>
                      <a:pt x="385" y="668"/>
                    </a:lnTo>
                    <a:lnTo>
                      <a:pt x="385" y="662"/>
                    </a:lnTo>
                    <a:lnTo>
                      <a:pt x="391" y="662"/>
                    </a:lnTo>
                    <a:lnTo>
                      <a:pt x="391" y="656"/>
                    </a:lnTo>
                    <a:lnTo>
                      <a:pt x="397" y="656"/>
                    </a:lnTo>
                    <a:lnTo>
                      <a:pt x="391" y="650"/>
                    </a:lnTo>
                    <a:lnTo>
                      <a:pt x="385" y="650"/>
                    </a:lnTo>
                    <a:lnTo>
                      <a:pt x="385" y="644"/>
                    </a:lnTo>
                    <a:lnTo>
                      <a:pt x="391" y="644"/>
                    </a:lnTo>
                    <a:lnTo>
                      <a:pt x="391" y="638"/>
                    </a:lnTo>
                    <a:lnTo>
                      <a:pt x="385" y="632"/>
                    </a:lnTo>
                    <a:lnTo>
                      <a:pt x="385" y="626"/>
                    </a:lnTo>
                    <a:lnTo>
                      <a:pt x="385" y="620"/>
                    </a:lnTo>
                    <a:lnTo>
                      <a:pt x="379" y="620"/>
                    </a:lnTo>
                    <a:lnTo>
                      <a:pt x="379" y="614"/>
                    </a:lnTo>
                    <a:lnTo>
                      <a:pt x="385" y="614"/>
                    </a:lnTo>
                    <a:lnTo>
                      <a:pt x="385" y="608"/>
                    </a:lnTo>
                    <a:lnTo>
                      <a:pt x="385" y="602"/>
                    </a:lnTo>
                    <a:lnTo>
                      <a:pt x="385" y="608"/>
                    </a:lnTo>
                    <a:lnTo>
                      <a:pt x="379" y="608"/>
                    </a:lnTo>
                    <a:lnTo>
                      <a:pt x="379" y="614"/>
                    </a:lnTo>
                    <a:lnTo>
                      <a:pt x="373" y="614"/>
                    </a:lnTo>
                    <a:lnTo>
                      <a:pt x="373" y="620"/>
                    </a:lnTo>
                    <a:lnTo>
                      <a:pt x="367" y="620"/>
                    </a:lnTo>
                    <a:lnTo>
                      <a:pt x="361" y="620"/>
                    </a:lnTo>
                    <a:lnTo>
                      <a:pt x="361" y="626"/>
                    </a:lnTo>
                    <a:lnTo>
                      <a:pt x="355" y="626"/>
                    </a:lnTo>
                    <a:lnTo>
                      <a:pt x="355" y="632"/>
                    </a:lnTo>
                    <a:lnTo>
                      <a:pt x="355" y="638"/>
                    </a:lnTo>
                    <a:lnTo>
                      <a:pt x="355" y="644"/>
                    </a:lnTo>
                    <a:lnTo>
                      <a:pt x="349" y="644"/>
                    </a:lnTo>
                    <a:lnTo>
                      <a:pt x="349" y="638"/>
                    </a:lnTo>
                    <a:lnTo>
                      <a:pt x="349" y="644"/>
                    </a:lnTo>
                    <a:lnTo>
                      <a:pt x="343" y="644"/>
                    </a:lnTo>
                    <a:lnTo>
                      <a:pt x="343" y="650"/>
                    </a:lnTo>
                    <a:lnTo>
                      <a:pt x="337" y="650"/>
                    </a:lnTo>
                    <a:lnTo>
                      <a:pt x="331" y="650"/>
                    </a:lnTo>
                    <a:lnTo>
                      <a:pt x="331" y="656"/>
                    </a:lnTo>
                    <a:lnTo>
                      <a:pt x="325" y="656"/>
                    </a:lnTo>
                    <a:lnTo>
                      <a:pt x="319" y="656"/>
                    </a:lnTo>
                    <a:lnTo>
                      <a:pt x="319" y="662"/>
                    </a:lnTo>
                    <a:lnTo>
                      <a:pt x="313" y="662"/>
                    </a:lnTo>
                    <a:lnTo>
                      <a:pt x="313" y="668"/>
                    </a:lnTo>
                    <a:lnTo>
                      <a:pt x="307" y="668"/>
                    </a:lnTo>
                    <a:lnTo>
                      <a:pt x="313" y="668"/>
                    </a:lnTo>
                    <a:lnTo>
                      <a:pt x="307" y="674"/>
                    </a:lnTo>
                    <a:lnTo>
                      <a:pt x="307" y="680"/>
                    </a:lnTo>
                    <a:lnTo>
                      <a:pt x="313" y="686"/>
                    </a:lnTo>
                    <a:lnTo>
                      <a:pt x="307" y="686"/>
                    </a:lnTo>
                    <a:lnTo>
                      <a:pt x="307" y="692"/>
                    </a:lnTo>
                    <a:lnTo>
                      <a:pt x="301" y="692"/>
                    </a:lnTo>
                    <a:lnTo>
                      <a:pt x="301" y="698"/>
                    </a:lnTo>
                    <a:lnTo>
                      <a:pt x="295" y="698"/>
                    </a:lnTo>
                    <a:lnTo>
                      <a:pt x="289" y="704"/>
                    </a:lnTo>
                    <a:lnTo>
                      <a:pt x="283" y="704"/>
                    </a:lnTo>
                    <a:lnTo>
                      <a:pt x="277" y="704"/>
                    </a:lnTo>
                    <a:lnTo>
                      <a:pt x="271" y="704"/>
                    </a:lnTo>
                    <a:lnTo>
                      <a:pt x="271" y="710"/>
                    </a:lnTo>
                    <a:lnTo>
                      <a:pt x="265" y="710"/>
                    </a:lnTo>
                    <a:lnTo>
                      <a:pt x="247" y="722"/>
                    </a:lnTo>
                    <a:lnTo>
                      <a:pt x="229" y="734"/>
                    </a:lnTo>
                    <a:lnTo>
                      <a:pt x="223" y="734"/>
                    </a:lnTo>
                    <a:lnTo>
                      <a:pt x="211" y="752"/>
                    </a:lnTo>
                    <a:lnTo>
                      <a:pt x="205" y="752"/>
                    </a:lnTo>
                    <a:lnTo>
                      <a:pt x="169" y="752"/>
                    </a:lnTo>
                    <a:lnTo>
                      <a:pt x="151" y="758"/>
                    </a:lnTo>
                    <a:lnTo>
                      <a:pt x="139" y="758"/>
                    </a:lnTo>
                    <a:lnTo>
                      <a:pt x="127" y="764"/>
                    </a:lnTo>
                    <a:lnTo>
                      <a:pt x="127" y="770"/>
                    </a:lnTo>
                    <a:lnTo>
                      <a:pt x="121" y="770"/>
                    </a:lnTo>
                    <a:lnTo>
                      <a:pt x="115" y="770"/>
                    </a:lnTo>
                    <a:lnTo>
                      <a:pt x="121" y="770"/>
                    </a:lnTo>
                    <a:lnTo>
                      <a:pt x="115" y="776"/>
                    </a:lnTo>
                    <a:lnTo>
                      <a:pt x="121" y="776"/>
                    </a:lnTo>
                    <a:lnTo>
                      <a:pt x="115" y="776"/>
                    </a:lnTo>
                    <a:lnTo>
                      <a:pt x="115" y="782"/>
                    </a:lnTo>
                    <a:lnTo>
                      <a:pt x="115" y="788"/>
                    </a:lnTo>
                    <a:lnTo>
                      <a:pt x="115" y="794"/>
                    </a:lnTo>
                    <a:lnTo>
                      <a:pt x="109" y="794"/>
                    </a:lnTo>
                    <a:lnTo>
                      <a:pt x="109" y="800"/>
                    </a:lnTo>
                    <a:lnTo>
                      <a:pt x="109" y="794"/>
                    </a:lnTo>
                    <a:lnTo>
                      <a:pt x="109" y="800"/>
                    </a:lnTo>
                    <a:lnTo>
                      <a:pt x="103" y="800"/>
                    </a:lnTo>
                    <a:lnTo>
                      <a:pt x="97" y="800"/>
                    </a:lnTo>
                    <a:lnTo>
                      <a:pt x="97" y="794"/>
                    </a:lnTo>
                    <a:lnTo>
                      <a:pt x="91" y="794"/>
                    </a:lnTo>
                    <a:lnTo>
                      <a:pt x="91" y="788"/>
                    </a:lnTo>
                    <a:lnTo>
                      <a:pt x="91" y="776"/>
                    </a:lnTo>
                    <a:lnTo>
                      <a:pt x="85" y="776"/>
                    </a:lnTo>
                    <a:lnTo>
                      <a:pt x="85" y="770"/>
                    </a:lnTo>
                    <a:lnTo>
                      <a:pt x="85" y="764"/>
                    </a:lnTo>
                    <a:lnTo>
                      <a:pt x="79" y="764"/>
                    </a:lnTo>
                    <a:lnTo>
                      <a:pt x="72" y="770"/>
                    </a:lnTo>
                    <a:lnTo>
                      <a:pt x="66" y="764"/>
                    </a:lnTo>
                    <a:lnTo>
                      <a:pt x="66" y="770"/>
                    </a:lnTo>
                    <a:lnTo>
                      <a:pt x="60" y="770"/>
                    </a:lnTo>
                    <a:lnTo>
                      <a:pt x="60" y="764"/>
                    </a:lnTo>
                    <a:lnTo>
                      <a:pt x="54" y="764"/>
                    </a:lnTo>
                    <a:lnTo>
                      <a:pt x="60" y="740"/>
                    </a:lnTo>
                    <a:lnTo>
                      <a:pt x="60" y="716"/>
                    </a:lnTo>
                    <a:lnTo>
                      <a:pt x="66" y="710"/>
                    </a:lnTo>
                    <a:lnTo>
                      <a:pt x="66" y="704"/>
                    </a:lnTo>
                    <a:lnTo>
                      <a:pt x="60" y="704"/>
                    </a:lnTo>
                    <a:lnTo>
                      <a:pt x="60" y="698"/>
                    </a:lnTo>
                    <a:lnTo>
                      <a:pt x="60" y="692"/>
                    </a:lnTo>
                    <a:lnTo>
                      <a:pt x="60" y="686"/>
                    </a:lnTo>
                    <a:lnTo>
                      <a:pt x="54" y="686"/>
                    </a:lnTo>
                    <a:lnTo>
                      <a:pt x="48" y="686"/>
                    </a:lnTo>
                    <a:lnTo>
                      <a:pt x="42" y="686"/>
                    </a:lnTo>
                    <a:lnTo>
                      <a:pt x="42" y="680"/>
                    </a:lnTo>
                    <a:lnTo>
                      <a:pt x="42" y="674"/>
                    </a:lnTo>
                    <a:lnTo>
                      <a:pt x="42" y="668"/>
                    </a:lnTo>
                    <a:lnTo>
                      <a:pt x="42" y="662"/>
                    </a:lnTo>
                    <a:lnTo>
                      <a:pt x="42" y="656"/>
                    </a:lnTo>
                    <a:lnTo>
                      <a:pt x="42" y="650"/>
                    </a:lnTo>
                    <a:lnTo>
                      <a:pt x="36" y="656"/>
                    </a:lnTo>
                    <a:lnTo>
                      <a:pt x="36" y="650"/>
                    </a:lnTo>
                    <a:lnTo>
                      <a:pt x="36" y="656"/>
                    </a:lnTo>
                    <a:lnTo>
                      <a:pt x="30" y="656"/>
                    </a:lnTo>
                    <a:lnTo>
                      <a:pt x="30" y="650"/>
                    </a:lnTo>
                    <a:lnTo>
                      <a:pt x="24" y="650"/>
                    </a:lnTo>
                    <a:lnTo>
                      <a:pt x="24" y="644"/>
                    </a:lnTo>
                    <a:lnTo>
                      <a:pt x="30" y="638"/>
                    </a:lnTo>
                    <a:lnTo>
                      <a:pt x="30" y="632"/>
                    </a:lnTo>
                    <a:lnTo>
                      <a:pt x="36" y="626"/>
                    </a:lnTo>
                    <a:lnTo>
                      <a:pt x="30" y="626"/>
                    </a:lnTo>
                    <a:lnTo>
                      <a:pt x="30" y="620"/>
                    </a:lnTo>
                    <a:lnTo>
                      <a:pt x="24" y="620"/>
                    </a:lnTo>
                    <a:lnTo>
                      <a:pt x="24" y="614"/>
                    </a:lnTo>
                    <a:lnTo>
                      <a:pt x="18" y="614"/>
                    </a:lnTo>
                    <a:lnTo>
                      <a:pt x="18" y="608"/>
                    </a:lnTo>
                    <a:lnTo>
                      <a:pt x="24" y="602"/>
                    </a:lnTo>
                    <a:lnTo>
                      <a:pt x="36" y="596"/>
                    </a:lnTo>
                    <a:lnTo>
                      <a:pt x="42" y="590"/>
                    </a:lnTo>
                    <a:lnTo>
                      <a:pt x="42" y="584"/>
                    </a:lnTo>
                    <a:lnTo>
                      <a:pt x="48" y="578"/>
                    </a:lnTo>
                    <a:lnTo>
                      <a:pt x="48" y="572"/>
                    </a:lnTo>
                    <a:lnTo>
                      <a:pt x="54" y="572"/>
                    </a:lnTo>
                    <a:lnTo>
                      <a:pt x="60" y="572"/>
                    </a:lnTo>
                    <a:lnTo>
                      <a:pt x="60" y="578"/>
                    </a:lnTo>
                    <a:lnTo>
                      <a:pt x="66" y="578"/>
                    </a:lnTo>
                    <a:lnTo>
                      <a:pt x="66" y="572"/>
                    </a:lnTo>
                    <a:lnTo>
                      <a:pt x="72" y="572"/>
                    </a:lnTo>
                    <a:lnTo>
                      <a:pt x="72" y="566"/>
                    </a:lnTo>
                    <a:lnTo>
                      <a:pt x="72" y="560"/>
                    </a:lnTo>
                    <a:lnTo>
                      <a:pt x="79" y="560"/>
                    </a:lnTo>
                    <a:lnTo>
                      <a:pt x="85" y="554"/>
                    </a:lnTo>
                    <a:lnTo>
                      <a:pt x="85" y="548"/>
                    </a:lnTo>
                    <a:lnTo>
                      <a:pt x="91" y="548"/>
                    </a:lnTo>
                    <a:lnTo>
                      <a:pt x="91" y="542"/>
                    </a:lnTo>
                    <a:lnTo>
                      <a:pt x="97" y="542"/>
                    </a:lnTo>
                    <a:lnTo>
                      <a:pt x="97" y="535"/>
                    </a:lnTo>
                    <a:lnTo>
                      <a:pt x="103" y="535"/>
                    </a:lnTo>
                    <a:lnTo>
                      <a:pt x="103" y="529"/>
                    </a:lnTo>
                    <a:lnTo>
                      <a:pt x="97" y="529"/>
                    </a:lnTo>
                    <a:lnTo>
                      <a:pt x="91" y="523"/>
                    </a:lnTo>
                    <a:lnTo>
                      <a:pt x="91" y="517"/>
                    </a:lnTo>
                    <a:lnTo>
                      <a:pt x="97" y="517"/>
                    </a:lnTo>
                    <a:lnTo>
                      <a:pt x="97" y="511"/>
                    </a:lnTo>
                    <a:lnTo>
                      <a:pt x="97" y="505"/>
                    </a:lnTo>
                    <a:lnTo>
                      <a:pt x="103" y="505"/>
                    </a:lnTo>
                    <a:lnTo>
                      <a:pt x="103" y="499"/>
                    </a:lnTo>
                    <a:lnTo>
                      <a:pt x="103" y="493"/>
                    </a:lnTo>
                    <a:lnTo>
                      <a:pt x="109" y="493"/>
                    </a:lnTo>
                    <a:lnTo>
                      <a:pt x="103" y="493"/>
                    </a:lnTo>
                    <a:lnTo>
                      <a:pt x="109" y="487"/>
                    </a:lnTo>
                    <a:lnTo>
                      <a:pt x="103" y="481"/>
                    </a:lnTo>
                    <a:lnTo>
                      <a:pt x="103" y="475"/>
                    </a:lnTo>
                    <a:lnTo>
                      <a:pt x="103" y="469"/>
                    </a:lnTo>
                    <a:lnTo>
                      <a:pt x="109" y="469"/>
                    </a:lnTo>
                    <a:lnTo>
                      <a:pt x="109" y="463"/>
                    </a:lnTo>
                    <a:lnTo>
                      <a:pt x="103" y="463"/>
                    </a:lnTo>
                    <a:lnTo>
                      <a:pt x="109" y="457"/>
                    </a:lnTo>
                    <a:lnTo>
                      <a:pt x="109" y="451"/>
                    </a:lnTo>
                    <a:lnTo>
                      <a:pt x="109" y="445"/>
                    </a:lnTo>
                    <a:lnTo>
                      <a:pt x="115" y="445"/>
                    </a:lnTo>
                    <a:lnTo>
                      <a:pt x="115" y="439"/>
                    </a:lnTo>
                    <a:lnTo>
                      <a:pt x="115" y="433"/>
                    </a:lnTo>
                    <a:lnTo>
                      <a:pt x="115" y="427"/>
                    </a:lnTo>
                    <a:lnTo>
                      <a:pt x="121" y="427"/>
                    </a:lnTo>
                    <a:lnTo>
                      <a:pt x="121" y="421"/>
                    </a:lnTo>
                    <a:lnTo>
                      <a:pt x="121" y="415"/>
                    </a:lnTo>
                    <a:lnTo>
                      <a:pt x="127" y="415"/>
                    </a:lnTo>
                    <a:lnTo>
                      <a:pt x="127" y="409"/>
                    </a:lnTo>
                    <a:lnTo>
                      <a:pt x="127" y="403"/>
                    </a:lnTo>
                    <a:lnTo>
                      <a:pt x="127" y="397"/>
                    </a:lnTo>
                    <a:lnTo>
                      <a:pt x="121" y="397"/>
                    </a:lnTo>
                    <a:lnTo>
                      <a:pt x="121" y="391"/>
                    </a:lnTo>
                    <a:lnTo>
                      <a:pt x="115" y="391"/>
                    </a:lnTo>
                    <a:lnTo>
                      <a:pt x="115" y="385"/>
                    </a:lnTo>
                    <a:lnTo>
                      <a:pt x="109" y="385"/>
                    </a:lnTo>
                    <a:lnTo>
                      <a:pt x="109" y="379"/>
                    </a:lnTo>
                    <a:lnTo>
                      <a:pt x="115" y="379"/>
                    </a:lnTo>
                    <a:lnTo>
                      <a:pt x="109" y="373"/>
                    </a:lnTo>
                    <a:lnTo>
                      <a:pt x="109" y="367"/>
                    </a:lnTo>
                    <a:lnTo>
                      <a:pt x="109" y="361"/>
                    </a:lnTo>
                    <a:lnTo>
                      <a:pt x="115" y="355"/>
                    </a:lnTo>
                    <a:lnTo>
                      <a:pt x="115" y="349"/>
                    </a:lnTo>
                    <a:lnTo>
                      <a:pt x="121" y="349"/>
                    </a:lnTo>
                    <a:lnTo>
                      <a:pt x="121" y="343"/>
                    </a:lnTo>
                    <a:lnTo>
                      <a:pt x="121" y="337"/>
                    </a:lnTo>
                    <a:lnTo>
                      <a:pt x="127" y="337"/>
                    </a:lnTo>
                    <a:lnTo>
                      <a:pt x="127" y="331"/>
                    </a:lnTo>
                    <a:lnTo>
                      <a:pt x="133" y="331"/>
                    </a:lnTo>
                    <a:lnTo>
                      <a:pt x="127" y="325"/>
                    </a:lnTo>
                    <a:lnTo>
                      <a:pt x="133" y="325"/>
                    </a:lnTo>
                    <a:lnTo>
                      <a:pt x="133" y="319"/>
                    </a:lnTo>
                    <a:lnTo>
                      <a:pt x="127" y="319"/>
                    </a:lnTo>
                    <a:lnTo>
                      <a:pt x="127" y="313"/>
                    </a:lnTo>
                    <a:lnTo>
                      <a:pt x="127" y="307"/>
                    </a:lnTo>
                    <a:lnTo>
                      <a:pt x="121" y="307"/>
                    </a:lnTo>
                    <a:lnTo>
                      <a:pt x="115" y="307"/>
                    </a:lnTo>
                    <a:lnTo>
                      <a:pt x="109" y="307"/>
                    </a:lnTo>
                    <a:lnTo>
                      <a:pt x="103" y="307"/>
                    </a:lnTo>
                    <a:lnTo>
                      <a:pt x="103" y="313"/>
                    </a:lnTo>
                    <a:lnTo>
                      <a:pt x="109" y="313"/>
                    </a:lnTo>
                    <a:lnTo>
                      <a:pt x="109" y="319"/>
                    </a:lnTo>
                    <a:lnTo>
                      <a:pt x="103" y="319"/>
                    </a:lnTo>
                    <a:lnTo>
                      <a:pt x="103" y="325"/>
                    </a:lnTo>
                    <a:lnTo>
                      <a:pt x="109" y="325"/>
                    </a:lnTo>
                    <a:lnTo>
                      <a:pt x="103" y="325"/>
                    </a:lnTo>
                    <a:lnTo>
                      <a:pt x="103" y="331"/>
                    </a:lnTo>
                    <a:lnTo>
                      <a:pt x="97" y="331"/>
                    </a:lnTo>
                    <a:lnTo>
                      <a:pt x="91" y="325"/>
                    </a:lnTo>
                    <a:lnTo>
                      <a:pt x="85" y="325"/>
                    </a:lnTo>
                    <a:lnTo>
                      <a:pt x="85" y="331"/>
                    </a:lnTo>
                    <a:lnTo>
                      <a:pt x="79" y="331"/>
                    </a:lnTo>
                    <a:lnTo>
                      <a:pt x="79" y="325"/>
                    </a:lnTo>
                    <a:lnTo>
                      <a:pt x="79" y="319"/>
                    </a:lnTo>
                    <a:lnTo>
                      <a:pt x="72" y="319"/>
                    </a:lnTo>
                    <a:lnTo>
                      <a:pt x="72" y="313"/>
                    </a:lnTo>
                    <a:lnTo>
                      <a:pt x="66" y="319"/>
                    </a:lnTo>
                    <a:lnTo>
                      <a:pt x="66" y="313"/>
                    </a:lnTo>
                    <a:lnTo>
                      <a:pt x="66" y="307"/>
                    </a:lnTo>
                    <a:lnTo>
                      <a:pt x="60" y="307"/>
                    </a:lnTo>
                    <a:lnTo>
                      <a:pt x="54" y="301"/>
                    </a:lnTo>
                    <a:lnTo>
                      <a:pt x="54" y="307"/>
                    </a:lnTo>
                    <a:lnTo>
                      <a:pt x="54" y="301"/>
                    </a:lnTo>
                    <a:lnTo>
                      <a:pt x="48" y="301"/>
                    </a:lnTo>
                    <a:lnTo>
                      <a:pt x="48" y="295"/>
                    </a:lnTo>
                    <a:lnTo>
                      <a:pt x="54" y="295"/>
                    </a:lnTo>
                    <a:lnTo>
                      <a:pt x="54" y="289"/>
                    </a:lnTo>
                    <a:lnTo>
                      <a:pt x="60" y="289"/>
                    </a:lnTo>
                    <a:lnTo>
                      <a:pt x="60" y="283"/>
                    </a:lnTo>
                    <a:lnTo>
                      <a:pt x="60" y="277"/>
                    </a:lnTo>
                    <a:lnTo>
                      <a:pt x="66" y="277"/>
                    </a:lnTo>
                    <a:lnTo>
                      <a:pt x="72" y="277"/>
                    </a:lnTo>
                    <a:lnTo>
                      <a:pt x="72" y="271"/>
                    </a:lnTo>
                    <a:lnTo>
                      <a:pt x="72" y="265"/>
                    </a:lnTo>
                    <a:lnTo>
                      <a:pt x="72" y="259"/>
                    </a:lnTo>
                    <a:lnTo>
                      <a:pt x="66" y="259"/>
                    </a:lnTo>
                    <a:lnTo>
                      <a:pt x="66" y="253"/>
                    </a:lnTo>
                    <a:lnTo>
                      <a:pt x="60" y="247"/>
                    </a:lnTo>
                    <a:lnTo>
                      <a:pt x="60" y="241"/>
                    </a:lnTo>
                    <a:lnTo>
                      <a:pt x="72" y="241"/>
                    </a:lnTo>
                    <a:lnTo>
                      <a:pt x="79" y="241"/>
                    </a:lnTo>
                    <a:lnTo>
                      <a:pt x="85" y="235"/>
                    </a:lnTo>
                    <a:lnTo>
                      <a:pt x="91" y="235"/>
                    </a:lnTo>
                    <a:lnTo>
                      <a:pt x="97" y="223"/>
                    </a:lnTo>
                    <a:lnTo>
                      <a:pt x="103" y="217"/>
                    </a:lnTo>
                    <a:lnTo>
                      <a:pt x="109" y="217"/>
                    </a:lnTo>
                    <a:lnTo>
                      <a:pt x="115" y="217"/>
                    </a:lnTo>
                    <a:lnTo>
                      <a:pt x="115" y="223"/>
                    </a:lnTo>
                    <a:lnTo>
                      <a:pt x="121" y="235"/>
                    </a:lnTo>
                    <a:lnTo>
                      <a:pt x="127" y="235"/>
                    </a:lnTo>
                    <a:lnTo>
                      <a:pt x="133" y="241"/>
                    </a:lnTo>
                    <a:lnTo>
                      <a:pt x="139" y="235"/>
                    </a:lnTo>
                    <a:lnTo>
                      <a:pt x="157" y="235"/>
                    </a:lnTo>
                    <a:lnTo>
                      <a:pt x="163" y="235"/>
                    </a:lnTo>
                    <a:lnTo>
                      <a:pt x="175" y="235"/>
                    </a:lnTo>
                    <a:lnTo>
                      <a:pt x="187" y="235"/>
                    </a:lnTo>
                    <a:lnTo>
                      <a:pt x="193" y="229"/>
                    </a:lnTo>
                    <a:lnTo>
                      <a:pt x="187" y="211"/>
                    </a:lnTo>
                    <a:lnTo>
                      <a:pt x="187" y="205"/>
                    </a:lnTo>
                    <a:lnTo>
                      <a:pt x="187" y="199"/>
                    </a:lnTo>
                    <a:lnTo>
                      <a:pt x="175" y="193"/>
                    </a:lnTo>
                    <a:lnTo>
                      <a:pt x="163" y="181"/>
                    </a:lnTo>
                    <a:lnTo>
                      <a:pt x="151" y="175"/>
                    </a:lnTo>
                    <a:lnTo>
                      <a:pt x="127" y="157"/>
                    </a:lnTo>
                    <a:lnTo>
                      <a:pt x="127" y="151"/>
                    </a:lnTo>
                    <a:lnTo>
                      <a:pt x="127" y="139"/>
                    </a:lnTo>
                    <a:lnTo>
                      <a:pt x="127" y="121"/>
                    </a:lnTo>
                    <a:lnTo>
                      <a:pt x="121" y="109"/>
                    </a:lnTo>
                    <a:lnTo>
                      <a:pt x="109" y="103"/>
                    </a:lnTo>
                    <a:lnTo>
                      <a:pt x="85" y="103"/>
                    </a:lnTo>
                    <a:lnTo>
                      <a:pt x="72" y="91"/>
                    </a:lnTo>
                    <a:lnTo>
                      <a:pt x="66" y="72"/>
                    </a:lnTo>
                    <a:lnTo>
                      <a:pt x="66" y="54"/>
                    </a:lnTo>
                    <a:lnTo>
                      <a:pt x="60" y="48"/>
                    </a:lnTo>
                    <a:lnTo>
                      <a:pt x="54" y="42"/>
                    </a:lnTo>
                    <a:lnTo>
                      <a:pt x="24" y="24"/>
                    </a:lnTo>
                    <a:lnTo>
                      <a:pt x="24" y="18"/>
                    </a:lnTo>
                    <a:lnTo>
                      <a:pt x="12" y="12"/>
                    </a:lnTo>
                    <a:lnTo>
                      <a:pt x="0" y="6"/>
                    </a:lnTo>
                    <a:lnTo>
                      <a:pt x="0" y="0"/>
                    </a:lnTo>
                    <a:close/>
                  </a:path>
                </a:pathLst>
              </a:custGeom>
              <a:solidFill>
                <a:schemeClr val="accent1"/>
              </a:solidFill>
              <a:ln w="9525">
                <a:solidFill>
                  <a:srgbClr val="808080"/>
                </a:solidFill>
                <a:round/>
                <a:headEnd/>
                <a:tailEnd/>
              </a:ln>
            </p:spPr>
            <p:txBody>
              <a:bodyPr/>
              <a:lstStyle/>
              <a:p>
                <a:pPr fontAlgn="base">
                  <a:spcBef>
                    <a:spcPct val="0"/>
                  </a:spcBef>
                  <a:spcAft>
                    <a:spcPct val="0"/>
                  </a:spcAft>
                  <a:buClrTx/>
                  <a:buFontTx/>
                  <a:buNone/>
                </a:pPr>
                <a:endParaRPr lang="en-US" sz="1600" kern="1200" dirty="0">
                  <a:latin typeface="Arial" charset="0"/>
                  <a:ea typeface="+mn-ea"/>
                  <a:cs typeface="+mn-cs"/>
                </a:endParaRPr>
              </a:p>
            </p:txBody>
          </p:sp>
          <p:sp>
            <p:nvSpPr>
              <p:cNvPr id="119" name="Freeform 61"/>
              <p:cNvSpPr>
                <a:spLocks/>
              </p:cNvSpPr>
              <p:nvPr/>
            </p:nvSpPr>
            <p:spPr bwMode="auto">
              <a:xfrm>
                <a:off x="-395287" y="4295775"/>
                <a:ext cx="1260475" cy="1193800"/>
              </a:xfrm>
              <a:custGeom>
                <a:avLst/>
                <a:gdLst>
                  <a:gd name="T0" fmla="*/ 673 w 794"/>
                  <a:gd name="T1" fmla="*/ 133 h 752"/>
                  <a:gd name="T2" fmla="*/ 776 w 794"/>
                  <a:gd name="T3" fmla="*/ 235 h 752"/>
                  <a:gd name="T4" fmla="*/ 734 w 794"/>
                  <a:gd name="T5" fmla="*/ 283 h 752"/>
                  <a:gd name="T6" fmla="*/ 680 w 794"/>
                  <a:gd name="T7" fmla="*/ 283 h 752"/>
                  <a:gd name="T8" fmla="*/ 667 w 794"/>
                  <a:gd name="T9" fmla="*/ 319 h 752"/>
                  <a:gd name="T10" fmla="*/ 655 w 794"/>
                  <a:gd name="T11" fmla="*/ 343 h 752"/>
                  <a:gd name="T12" fmla="*/ 686 w 794"/>
                  <a:gd name="T13" fmla="*/ 373 h 752"/>
                  <a:gd name="T14" fmla="*/ 710 w 794"/>
                  <a:gd name="T15" fmla="*/ 355 h 752"/>
                  <a:gd name="T16" fmla="*/ 734 w 794"/>
                  <a:gd name="T17" fmla="*/ 367 h 752"/>
                  <a:gd name="T18" fmla="*/ 710 w 794"/>
                  <a:gd name="T19" fmla="*/ 403 h 752"/>
                  <a:gd name="T20" fmla="*/ 728 w 794"/>
                  <a:gd name="T21" fmla="*/ 439 h 752"/>
                  <a:gd name="T22" fmla="*/ 716 w 794"/>
                  <a:gd name="T23" fmla="*/ 487 h 752"/>
                  <a:gd name="T24" fmla="*/ 710 w 794"/>
                  <a:gd name="T25" fmla="*/ 529 h 752"/>
                  <a:gd name="T26" fmla="*/ 692 w 794"/>
                  <a:gd name="T27" fmla="*/ 565 h 752"/>
                  <a:gd name="T28" fmla="*/ 680 w 794"/>
                  <a:gd name="T29" fmla="*/ 602 h 752"/>
                  <a:gd name="T30" fmla="*/ 649 w 794"/>
                  <a:gd name="T31" fmla="*/ 620 h 752"/>
                  <a:gd name="T32" fmla="*/ 595 w 794"/>
                  <a:gd name="T33" fmla="*/ 638 h 752"/>
                  <a:gd name="T34" fmla="*/ 553 w 794"/>
                  <a:gd name="T35" fmla="*/ 644 h 752"/>
                  <a:gd name="T36" fmla="*/ 565 w 794"/>
                  <a:gd name="T37" fmla="*/ 674 h 752"/>
                  <a:gd name="T38" fmla="*/ 529 w 794"/>
                  <a:gd name="T39" fmla="*/ 686 h 752"/>
                  <a:gd name="T40" fmla="*/ 493 w 794"/>
                  <a:gd name="T41" fmla="*/ 710 h 752"/>
                  <a:gd name="T42" fmla="*/ 457 w 794"/>
                  <a:gd name="T43" fmla="*/ 722 h 752"/>
                  <a:gd name="T44" fmla="*/ 415 w 794"/>
                  <a:gd name="T45" fmla="*/ 698 h 752"/>
                  <a:gd name="T46" fmla="*/ 367 w 794"/>
                  <a:gd name="T47" fmla="*/ 692 h 752"/>
                  <a:gd name="T48" fmla="*/ 343 w 794"/>
                  <a:gd name="T49" fmla="*/ 710 h 752"/>
                  <a:gd name="T50" fmla="*/ 318 w 794"/>
                  <a:gd name="T51" fmla="*/ 734 h 752"/>
                  <a:gd name="T52" fmla="*/ 288 w 794"/>
                  <a:gd name="T53" fmla="*/ 734 h 752"/>
                  <a:gd name="T54" fmla="*/ 264 w 794"/>
                  <a:gd name="T55" fmla="*/ 692 h 752"/>
                  <a:gd name="T56" fmla="*/ 222 w 794"/>
                  <a:gd name="T57" fmla="*/ 716 h 752"/>
                  <a:gd name="T58" fmla="*/ 180 w 794"/>
                  <a:gd name="T59" fmla="*/ 728 h 752"/>
                  <a:gd name="T60" fmla="*/ 144 w 794"/>
                  <a:gd name="T61" fmla="*/ 698 h 752"/>
                  <a:gd name="T62" fmla="*/ 162 w 794"/>
                  <a:gd name="T63" fmla="*/ 656 h 752"/>
                  <a:gd name="T64" fmla="*/ 162 w 794"/>
                  <a:gd name="T65" fmla="*/ 632 h 752"/>
                  <a:gd name="T66" fmla="*/ 162 w 794"/>
                  <a:gd name="T67" fmla="*/ 614 h 752"/>
                  <a:gd name="T68" fmla="*/ 168 w 794"/>
                  <a:gd name="T69" fmla="*/ 577 h 752"/>
                  <a:gd name="T70" fmla="*/ 174 w 794"/>
                  <a:gd name="T71" fmla="*/ 541 h 752"/>
                  <a:gd name="T72" fmla="*/ 150 w 794"/>
                  <a:gd name="T73" fmla="*/ 517 h 752"/>
                  <a:gd name="T74" fmla="*/ 132 w 794"/>
                  <a:gd name="T75" fmla="*/ 481 h 752"/>
                  <a:gd name="T76" fmla="*/ 102 w 794"/>
                  <a:gd name="T77" fmla="*/ 457 h 752"/>
                  <a:gd name="T78" fmla="*/ 72 w 794"/>
                  <a:gd name="T79" fmla="*/ 457 h 752"/>
                  <a:gd name="T80" fmla="*/ 36 w 794"/>
                  <a:gd name="T81" fmla="*/ 403 h 752"/>
                  <a:gd name="T82" fmla="*/ 54 w 794"/>
                  <a:gd name="T83" fmla="*/ 349 h 752"/>
                  <a:gd name="T84" fmla="*/ 42 w 794"/>
                  <a:gd name="T85" fmla="*/ 289 h 752"/>
                  <a:gd name="T86" fmla="*/ 12 w 794"/>
                  <a:gd name="T87" fmla="*/ 253 h 752"/>
                  <a:gd name="T88" fmla="*/ 24 w 794"/>
                  <a:gd name="T89" fmla="*/ 211 h 752"/>
                  <a:gd name="T90" fmla="*/ 12 w 794"/>
                  <a:gd name="T91" fmla="*/ 187 h 752"/>
                  <a:gd name="T92" fmla="*/ 60 w 794"/>
                  <a:gd name="T93" fmla="*/ 181 h 752"/>
                  <a:gd name="T94" fmla="*/ 90 w 794"/>
                  <a:gd name="T95" fmla="*/ 145 h 752"/>
                  <a:gd name="T96" fmla="*/ 84 w 794"/>
                  <a:gd name="T97" fmla="*/ 108 h 752"/>
                  <a:gd name="T98" fmla="*/ 96 w 794"/>
                  <a:gd name="T99" fmla="*/ 54 h 752"/>
                  <a:gd name="T100" fmla="*/ 132 w 794"/>
                  <a:gd name="T101" fmla="*/ 30 h 752"/>
                  <a:gd name="T102" fmla="*/ 168 w 794"/>
                  <a:gd name="T103" fmla="*/ 24 h 752"/>
                  <a:gd name="T104" fmla="*/ 216 w 794"/>
                  <a:gd name="T105" fmla="*/ 72 h 752"/>
                  <a:gd name="T106" fmla="*/ 258 w 794"/>
                  <a:gd name="T107" fmla="*/ 114 h 752"/>
                  <a:gd name="T108" fmla="*/ 282 w 794"/>
                  <a:gd name="T109" fmla="*/ 78 h 752"/>
                  <a:gd name="T110" fmla="*/ 318 w 794"/>
                  <a:gd name="T111" fmla="*/ 54 h 752"/>
                  <a:gd name="T112" fmla="*/ 391 w 794"/>
                  <a:gd name="T113" fmla="*/ 60 h 752"/>
                  <a:gd name="T114" fmla="*/ 463 w 794"/>
                  <a:gd name="T115" fmla="*/ 66 h 752"/>
                  <a:gd name="T116" fmla="*/ 535 w 794"/>
                  <a:gd name="T117" fmla="*/ 54 h 752"/>
                  <a:gd name="T118" fmla="*/ 565 w 794"/>
                  <a:gd name="T119" fmla="*/ 12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4" h="752">
                    <a:moveTo>
                      <a:pt x="601" y="42"/>
                    </a:moveTo>
                    <a:lnTo>
                      <a:pt x="601" y="48"/>
                    </a:lnTo>
                    <a:lnTo>
                      <a:pt x="613" y="54"/>
                    </a:lnTo>
                    <a:lnTo>
                      <a:pt x="625" y="60"/>
                    </a:lnTo>
                    <a:lnTo>
                      <a:pt x="625" y="66"/>
                    </a:lnTo>
                    <a:lnTo>
                      <a:pt x="655" y="84"/>
                    </a:lnTo>
                    <a:lnTo>
                      <a:pt x="661" y="90"/>
                    </a:lnTo>
                    <a:lnTo>
                      <a:pt x="667" y="96"/>
                    </a:lnTo>
                    <a:lnTo>
                      <a:pt x="667" y="114"/>
                    </a:lnTo>
                    <a:lnTo>
                      <a:pt x="673" y="133"/>
                    </a:lnTo>
                    <a:lnTo>
                      <a:pt x="686" y="145"/>
                    </a:lnTo>
                    <a:lnTo>
                      <a:pt x="710" y="145"/>
                    </a:lnTo>
                    <a:lnTo>
                      <a:pt x="722" y="151"/>
                    </a:lnTo>
                    <a:lnTo>
                      <a:pt x="728" y="163"/>
                    </a:lnTo>
                    <a:lnTo>
                      <a:pt x="728" y="181"/>
                    </a:lnTo>
                    <a:lnTo>
                      <a:pt x="728" y="193"/>
                    </a:lnTo>
                    <a:lnTo>
                      <a:pt x="728" y="199"/>
                    </a:lnTo>
                    <a:lnTo>
                      <a:pt x="752" y="217"/>
                    </a:lnTo>
                    <a:lnTo>
                      <a:pt x="764" y="223"/>
                    </a:lnTo>
                    <a:lnTo>
                      <a:pt x="776" y="235"/>
                    </a:lnTo>
                    <a:lnTo>
                      <a:pt x="788" y="241"/>
                    </a:lnTo>
                    <a:lnTo>
                      <a:pt x="788" y="247"/>
                    </a:lnTo>
                    <a:lnTo>
                      <a:pt x="788" y="253"/>
                    </a:lnTo>
                    <a:lnTo>
                      <a:pt x="794" y="271"/>
                    </a:lnTo>
                    <a:lnTo>
                      <a:pt x="788" y="277"/>
                    </a:lnTo>
                    <a:lnTo>
                      <a:pt x="776" y="277"/>
                    </a:lnTo>
                    <a:lnTo>
                      <a:pt x="764" y="277"/>
                    </a:lnTo>
                    <a:lnTo>
                      <a:pt x="758" y="277"/>
                    </a:lnTo>
                    <a:lnTo>
                      <a:pt x="740" y="277"/>
                    </a:lnTo>
                    <a:lnTo>
                      <a:pt x="734" y="283"/>
                    </a:lnTo>
                    <a:lnTo>
                      <a:pt x="728" y="277"/>
                    </a:lnTo>
                    <a:lnTo>
                      <a:pt x="722" y="277"/>
                    </a:lnTo>
                    <a:lnTo>
                      <a:pt x="716" y="265"/>
                    </a:lnTo>
                    <a:lnTo>
                      <a:pt x="716" y="259"/>
                    </a:lnTo>
                    <a:lnTo>
                      <a:pt x="710" y="259"/>
                    </a:lnTo>
                    <a:lnTo>
                      <a:pt x="704" y="259"/>
                    </a:lnTo>
                    <a:lnTo>
                      <a:pt x="698" y="265"/>
                    </a:lnTo>
                    <a:lnTo>
                      <a:pt x="692" y="277"/>
                    </a:lnTo>
                    <a:lnTo>
                      <a:pt x="686" y="277"/>
                    </a:lnTo>
                    <a:lnTo>
                      <a:pt x="680" y="283"/>
                    </a:lnTo>
                    <a:lnTo>
                      <a:pt x="673" y="283"/>
                    </a:lnTo>
                    <a:lnTo>
                      <a:pt x="661" y="283"/>
                    </a:lnTo>
                    <a:lnTo>
                      <a:pt x="661" y="289"/>
                    </a:lnTo>
                    <a:lnTo>
                      <a:pt x="667" y="295"/>
                    </a:lnTo>
                    <a:lnTo>
                      <a:pt x="667" y="301"/>
                    </a:lnTo>
                    <a:lnTo>
                      <a:pt x="673" y="301"/>
                    </a:lnTo>
                    <a:lnTo>
                      <a:pt x="673" y="307"/>
                    </a:lnTo>
                    <a:lnTo>
                      <a:pt x="673" y="313"/>
                    </a:lnTo>
                    <a:lnTo>
                      <a:pt x="673" y="319"/>
                    </a:lnTo>
                    <a:lnTo>
                      <a:pt x="667" y="319"/>
                    </a:lnTo>
                    <a:lnTo>
                      <a:pt x="661" y="319"/>
                    </a:lnTo>
                    <a:lnTo>
                      <a:pt x="661" y="325"/>
                    </a:lnTo>
                    <a:lnTo>
                      <a:pt x="661" y="331"/>
                    </a:lnTo>
                    <a:lnTo>
                      <a:pt x="655" y="331"/>
                    </a:lnTo>
                    <a:lnTo>
                      <a:pt x="655" y="337"/>
                    </a:lnTo>
                    <a:lnTo>
                      <a:pt x="649" y="337"/>
                    </a:lnTo>
                    <a:lnTo>
                      <a:pt x="649" y="343"/>
                    </a:lnTo>
                    <a:lnTo>
                      <a:pt x="655" y="343"/>
                    </a:lnTo>
                    <a:lnTo>
                      <a:pt x="655" y="349"/>
                    </a:lnTo>
                    <a:lnTo>
                      <a:pt x="655" y="343"/>
                    </a:lnTo>
                    <a:lnTo>
                      <a:pt x="661" y="349"/>
                    </a:lnTo>
                    <a:lnTo>
                      <a:pt x="667" y="349"/>
                    </a:lnTo>
                    <a:lnTo>
                      <a:pt x="667" y="355"/>
                    </a:lnTo>
                    <a:lnTo>
                      <a:pt x="667" y="361"/>
                    </a:lnTo>
                    <a:lnTo>
                      <a:pt x="673" y="355"/>
                    </a:lnTo>
                    <a:lnTo>
                      <a:pt x="673" y="361"/>
                    </a:lnTo>
                    <a:lnTo>
                      <a:pt x="680" y="361"/>
                    </a:lnTo>
                    <a:lnTo>
                      <a:pt x="680" y="367"/>
                    </a:lnTo>
                    <a:lnTo>
                      <a:pt x="680" y="373"/>
                    </a:lnTo>
                    <a:lnTo>
                      <a:pt x="686" y="373"/>
                    </a:lnTo>
                    <a:lnTo>
                      <a:pt x="686" y="367"/>
                    </a:lnTo>
                    <a:lnTo>
                      <a:pt x="692" y="367"/>
                    </a:lnTo>
                    <a:lnTo>
                      <a:pt x="698" y="373"/>
                    </a:lnTo>
                    <a:lnTo>
                      <a:pt x="704" y="373"/>
                    </a:lnTo>
                    <a:lnTo>
                      <a:pt x="704" y="367"/>
                    </a:lnTo>
                    <a:lnTo>
                      <a:pt x="710" y="367"/>
                    </a:lnTo>
                    <a:lnTo>
                      <a:pt x="704" y="367"/>
                    </a:lnTo>
                    <a:lnTo>
                      <a:pt x="704" y="361"/>
                    </a:lnTo>
                    <a:lnTo>
                      <a:pt x="710" y="361"/>
                    </a:lnTo>
                    <a:lnTo>
                      <a:pt x="710" y="355"/>
                    </a:lnTo>
                    <a:lnTo>
                      <a:pt x="704" y="355"/>
                    </a:lnTo>
                    <a:lnTo>
                      <a:pt x="704" y="349"/>
                    </a:lnTo>
                    <a:lnTo>
                      <a:pt x="710" y="349"/>
                    </a:lnTo>
                    <a:lnTo>
                      <a:pt x="716" y="349"/>
                    </a:lnTo>
                    <a:lnTo>
                      <a:pt x="722" y="349"/>
                    </a:lnTo>
                    <a:lnTo>
                      <a:pt x="728" y="349"/>
                    </a:lnTo>
                    <a:lnTo>
                      <a:pt x="728" y="355"/>
                    </a:lnTo>
                    <a:lnTo>
                      <a:pt x="728" y="361"/>
                    </a:lnTo>
                    <a:lnTo>
                      <a:pt x="734" y="361"/>
                    </a:lnTo>
                    <a:lnTo>
                      <a:pt x="734" y="367"/>
                    </a:lnTo>
                    <a:lnTo>
                      <a:pt x="728" y="367"/>
                    </a:lnTo>
                    <a:lnTo>
                      <a:pt x="734" y="373"/>
                    </a:lnTo>
                    <a:lnTo>
                      <a:pt x="728" y="373"/>
                    </a:lnTo>
                    <a:lnTo>
                      <a:pt x="728" y="379"/>
                    </a:lnTo>
                    <a:lnTo>
                      <a:pt x="722" y="379"/>
                    </a:lnTo>
                    <a:lnTo>
                      <a:pt x="722" y="385"/>
                    </a:lnTo>
                    <a:lnTo>
                      <a:pt x="722" y="391"/>
                    </a:lnTo>
                    <a:lnTo>
                      <a:pt x="716" y="391"/>
                    </a:lnTo>
                    <a:lnTo>
                      <a:pt x="716" y="397"/>
                    </a:lnTo>
                    <a:lnTo>
                      <a:pt x="710" y="403"/>
                    </a:lnTo>
                    <a:lnTo>
                      <a:pt x="710" y="409"/>
                    </a:lnTo>
                    <a:lnTo>
                      <a:pt x="710" y="415"/>
                    </a:lnTo>
                    <a:lnTo>
                      <a:pt x="716" y="421"/>
                    </a:lnTo>
                    <a:lnTo>
                      <a:pt x="710" y="421"/>
                    </a:lnTo>
                    <a:lnTo>
                      <a:pt x="710" y="427"/>
                    </a:lnTo>
                    <a:lnTo>
                      <a:pt x="716" y="427"/>
                    </a:lnTo>
                    <a:lnTo>
                      <a:pt x="716" y="433"/>
                    </a:lnTo>
                    <a:lnTo>
                      <a:pt x="722" y="433"/>
                    </a:lnTo>
                    <a:lnTo>
                      <a:pt x="722" y="439"/>
                    </a:lnTo>
                    <a:lnTo>
                      <a:pt x="728" y="439"/>
                    </a:lnTo>
                    <a:lnTo>
                      <a:pt x="728" y="445"/>
                    </a:lnTo>
                    <a:lnTo>
                      <a:pt x="728" y="451"/>
                    </a:lnTo>
                    <a:lnTo>
                      <a:pt x="728" y="457"/>
                    </a:lnTo>
                    <a:lnTo>
                      <a:pt x="722" y="457"/>
                    </a:lnTo>
                    <a:lnTo>
                      <a:pt x="722" y="463"/>
                    </a:lnTo>
                    <a:lnTo>
                      <a:pt x="722" y="469"/>
                    </a:lnTo>
                    <a:lnTo>
                      <a:pt x="716" y="469"/>
                    </a:lnTo>
                    <a:lnTo>
                      <a:pt x="716" y="475"/>
                    </a:lnTo>
                    <a:lnTo>
                      <a:pt x="716" y="481"/>
                    </a:lnTo>
                    <a:lnTo>
                      <a:pt x="716" y="487"/>
                    </a:lnTo>
                    <a:lnTo>
                      <a:pt x="710" y="487"/>
                    </a:lnTo>
                    <a:lnTo>
                      <a:pt x="710" y="493"/>
                    </a:lnTo>
                    <a:lnTo>
                      <a:pt x="710" y="499"/>
                    </a:lnTo>
                    <a:lnTo>
                      <a:pt x="704" y="505"/>
                    </a:lnTo>
                    <a:lnTo>
                      <a:pt x="710" y="505"/>
                    </a:lnTo>
                    <a:lnTo>
                      <a:pt x="710" y="511"/>
                    </a:lnTo>
                    <a:lnTo>
                      <a:pt x="704" y="511"/>
                    </a:lnTo>
                    <a:lnTo>
                      <a:pt x="704" y="517"/>
                    </a:lnTo>
                    <a:lnTo>
                      <a:pt x="704" y="523"/>
                    </a:lnTo>
                    <a:lnTo>
                      <a:pt x="710" y="529"/>
                    </a:lnTo>
                    <a:lnTo>
                      <a:pt x="704" y="535"/>
                    </a:lnTo>
                    <a:lnTo>
                      <a:pt x="710" y="535"/>
                    </a:lnTo>
                    <a:lnTo>
                      <a:pt x="704" y="535"/>
                    </a:lnTo>
                    <a:lnTo>
                      <a:pt x="704" y="541"/>
                    </a:lnTo>
                    <a:lnTo>
                      <a:pt x="704" y="547"/>
                    </a:lnTo>
                    <a:lnTo>
                      <a:pt x="698" y="547"/>
                    </a:lnTo>
                    <a:lnTo>
                      <a:pt x="698" y="553"/>
                    </a:lnTo>
                    <a:lnTo>
                      <a:pt x="698" y="559"/>
                    </a:lnTo>
                    <a:lnTo>
                      <a:pt x="692" y="559"/>
                    </a:lnTo>
                    <a:lnTo>
                      <a:pt x="692" y="565"/>
                    </a:lnTo>
                    <a:lnTo>
                      <a:pt x="698" y="571"/>
                    </a:lnTo>
                    <a:lnTo>
                      <a:pt x="704" y="571"/>
                    </a:lnTo>
                    <a:lnTo>
                      <a:pt x="704" y="577"/>
                    </a:lnTo>
                    <a:lnTo>
                      <a:pt x="698" y="577"/>
                    </a:lnTo>
                    <a:lnTo>
                      <a:pt x="698" y="584"/>
                    </a:lnTo>
                    <a:lnTo>
                      <a:pt x="692" y="584"/>
                    </a:lnTo>
                    <a:lnTo>
                      <a:pt x="692" y="590"/>
                    </a:lnTo>
                    <a:lnTo>
                      <a:pt x="686" y="590"/>
                    </a:lnTo>
                    <a:lnTo>
                      <a:pt x="686" y="596"/>
                    </a:lnTo>
                    <a:lnTo>
                      <a:pt x="680" y="602"/>
                    </a:lnTo>
                    <a:lnTo>
                      <a:pt x="673" y="602"/>
                    </a:lnTo>
                    <a:lnTo>
                      <a:pt x="673" y="608"/>
                    </a:lnTo>
                    <a:lnTo>
                      <a:pt x="673" y="614"/>
                    </a:lnTo>
                    <a:lnTo>
                      <a:pt x="667" y="614"/>
                    </a:lnTo>
                    <a:lnTo>
                      <a:pt x="667" y="620"/>
                    </a:lnTo>
                    <a:lnTo>
                      <a:pt x="661" y="620"/>
                    </a:lnTo>
                    <a:lnTo>
                      <a:pt x="661" y="614"/>
                    </a:lnTo>
                    <a:lnTo>
                      <a:pt x="655" y="614"/>
                    </a:lnTo>
                    <a:lnTo>
                      <a:pt x="649" y="614"/>
                    </a:lnTo>
                    <a:lnTo>
                      <a:pt x="649" y="620"/>
                    </a:lnTo>
                    <a:lnTo>
                      <a:pt x="643" y="626"/>
                    </a:lnTo>
                    <a:lnTo>
                      <a:pt x="643" y="632"/>
                    </a:lnTo>
                    <a:lnTo>
                      <a:pt x="637" y="638"/>
                    </a:lnTo>
                    <a:lnTo>
                      <a:pt x="625" y="644"/>
                    </a:lnTo>
                    <a:lnTo>
                      <a:pt x="619" y="650"/>
                    </a:lnTo>
                    <a:lnTo>
                      <a:pt x="613" y="650"/>
                    </a:lnTo>
                    <a:lnTo>
                      <a:pt x="607" y="650"/>
                    </a:lnTo>
                    <a:lnTo>
                      <a:pt x="607" y="644"/>
                    </a:lnTo>
                    <a:lnTo>
                      <a:pt x="601" y="644"/>
                    </a:lnTo>
                    <a:lnTo>
                      <a:pt x="595" y="638"/>
                    </a:lnTo>
                    <a:lnTo>
                      <a:pt x="589" y="638"/>
                    </a:lnTo>
                    <a:lnTo>
                      <a:pt x="583" y="638"/>
                    </a:lnTo>
                    <a:lnTo>
                      <a:pt x="577" y="638"/>
                    </a:lnTo>
                    <a:lnTo>
                      <a:pt x="571" y="638"/>
                    </a:lnTo>
                    <a:lnTo>
                      <a:pt x="565" y="638"/>
                    </a:lnTo>
                    <a:lnTo>
                      <a:pt x="559" y="638"/>
                    </a:lnTo>
                    <a:lnTo>
                      <a:pt x="553" y="638"/>
                    </a:lnTo>
                    <a:lnTo>
                      <a:pt x="553" y="644"/>
                    </a:lnTo>
                    <a:lnTo>
                      <a:pt x="547" y="644"/>
                    </a:lnTo>
                    <a:lnTo>
                      <a:pt x="553" y="644"/>
                    </a:lnTo>
                    <a:lnTo>
                      <a:pt x="553" y="650"/>
                    </a:lnTo>
                    <a:lnTo>
                      <a:pt x="559" y="650"/>
                    </a:lnTo>
                    <a:lnTo>
                      <a:pt x="559" y="656"/>
                    </a:lnTo>
                    <a:lnTo>
                      <a:pt x="559" y="662"/>
                    </a:lnTo>
                    <a:lnTo>
                      <a:pt x="565" y="662"/>
                    </a:lnTo>
                    <a:lnTo>
                      <a:pt x="571" y="662"/>
                    </a:lnTo>
                    <a:lnTo>
                      <a:pt x="565" y="668"/>
                    </a:lnTo>
                    <a:lnTo>
                      <a:pt x="565" y="674"/>
                    </a:lnTo>
                    <a:lnTo>
                      <a:pt x="565" y="668"/>
                    </a:lnTo>
                    <a:lnTo>
                      <a:pt x="565" y="674"/>
                    </a:lnTo>
                    <a:lnTo>
                      <a:pt x="565" y="680"/>
                    </a:lnTo>
                    <a:lnTo>
                      <a:pt x="559" y="680"/>
                    </a:lnTo>
                    <a:lnTo>
                      <a:pt x="559" y="686"/>
                    </a:lnTo>
                    <a:lnTo>
                      <a:pt x="553" y="686"/>
                    </a:lnTo>
                    <a:lnTo>
                      <a:pt x="547" y="686"/>
                    </a:lnTo>
                    <a:lnTo>
                      <a:pt x="547" y="680"/>
                    </a:lnTo>
                    <a:lnTo>
                      <a:pt x="547" y="686"/>
                    </a:lnTo>
                    <a:lnTo>
                      <a:pt x="541" y="686"/>
                    </a:lnTo>
                    <a:lnTo>
                      <a:pt x="535" y="686"/>
                    </a:lnTo>
                    <a:lnTo>
                      <a:pt x="529" y="686"/>
                    </a:lnTo>
                    <a:lnTo>
                      <a:pt x="529" y="692"/>
                    </a:lnTo>
                    <a:lnTo>
                      <a:pt x="523" y="692"/>
                    </a:lnTo>
                    <a:lnTo>
                      <a:pt x="523" y="698"/>
                    </a:lnTo>
                    <a:lnTo>
                      <a:pt x="517" y="698"/>
                    </a:lnTo>
                    <a:lnTo>
                      <a:pt x="511" y="698"/>
                    </a:lnTo>
                    <a:lnTo>
                      <a:pt x="505" y="698"/>
                    </a:lnTo>
                    <a:lnTo>
                      <a:pt x="505" y="704"/>
                    </a:lnTo>
                    <a:lnTo>
                      <a:pt x="499" y="704"/>
                    </a:lnTo>
                    <a:lnTo>
                      <a:pt x="499" y="710"/>
                    </a:lnTo>
                    <a:lnTo>
                      <a:pt x="493" y="710"/>
                    </a:lnTo>
                    <a:lnTo>
                      <a:pt x="493" y="716"/>
                    </a:lnTo>
                    <a:lnTo>
                      <a:pt x="499" y="716"/>
                    </a:lnTo>
                    <a:lnTo>
                      <a:pt x="493" y="722"/>
                    </a:lnTo>
                    <a:lnTo>
                      <a:pt x="493" y="728"/>
                    </a:lnTo>
                    <a:lnTo>
                      <a:pt x="487" y="728"/>
                    </a:lnTo>
                    <a:lnTo>
                      <a:pt x="481" y="728"/>
                    </a:lnTo>
                    <a:lnTo>
                      <a:pt x="475" y="728"/>
                    </a:lnTo>
                    <a:lnTo>
                      <a:pt x="469" y="722"/>
                    </a:lnTo>
                    <a:lnTo>
                      <a:pt x="463" y="722"/>
                    </a:lnTo>
                    <a:lnTo>
                      <a:pt x="457" y="722"/>
                    </a:lnTo>
                    <a:lnTo>
                      <a:pt x="451" y="716"/>
                    </a:lnTo>
                    <a:lnTo>
                      <a:pt x="445" y="716"/>
                    </a:lnTo>
                    <a:lnTo>
                      <a:pt x="439" y="716"/>
                    </a:lnTo>
                    <a:lnTo>
                      <a:pt x="439" y="710"/>
                    </a:lnTo>
                    <a:lnTo>
                      <a:pt x="433" y="710"/>
                    </a:lnTo>
                    <a:lnTo>
                      <a:pt x="427" y="710"/>
                    </a:lnTo>
                    <a:lnTo>
                      <a:pt x="427" y="704"/>
                    </a:lnTo>
                    <a:lnTo>
                      <a:pt x="421" y="704"/>
                    </a:lnTo>
                    <a:lnTo>
                      <a:pt x="421" y="698"/>
                    </a:lnTo>
                    <a:lnTo>
                      <a:pt x="415" y="698"/>
                    </a:lnTo>
                    <a:lnTo>
                      <a:pt x="409" y="698"/>
                    </a:lnTo>
                    <a:lnTo>
                      <a:pt x="403" y="698"/>
                    </a:lnTo>
                    <a:lnTo>
                      <a:pt x="397" y="698"/>
                    </a:lnTo>
                    <a:lnTo>
                      <a:pt x="397" y="692"/>
                    </a:lnTo>
                    <a:lnTo>
                      <a:pt x="391" y="692"/>
                    </a:lnTo>
                    <a:lnTo>
                      <a:pt x="385" y="692"/>
                    </a:lnTo>
                    <a:lnTo>
                      <a:pt x="379" y="692"/>
                    </a:lnTo>
                    <a:lnTo>
                      <a:pt x="379" y="698"/>
                    </a:lnTo>
                    <a:lnTo>
                      <a:pt x="373" y="692"/>
                    </a:lnTo>
                    <a:lnTo>
                      <a:pt x="367" y="692"/>
                    </a:lnTo>
                    <a:lnTo>
                      <a:pt x="373" y="692"/>
                    </a:lnTo>
                    <a:lnTo>
                      <a:pt x="373" y="698"/>
                    </a:lnTo>
                    <a:lnTo>
                      <a:pt x="367" y="698"/>
                    </a:lnTo>
                    <a:lnTo>
                      <a:pt x="361" y="698"/>
                    </a:lnTo>
                    <a:lnTo>
                      <a:pt x="361" y="704"/>
                    </a:lnTo>
                    <a:lnTo>
                      <a:pt x="361" y="698"/>
                    </a:lnTo>
                    <a:lnTo>
                      <a:pt x="355" y="698"/>
                    </a:lnTo>
                    <a:lnTo>
                      <a:pt x="355" y="704"/>
                    </a:lnTo>
                    <a:lnTo>
                      <a:pt x="349" y="710"/>
                    </a:lnTo>
                    <a:lnTo>
                      <a:pt x="343" y="710"/>
                    </a:lnTo>
                    <a:lnTo>
                      <a:pt x="337" y="710"/>
                    </a:lnTo>
                    <a:lnTo>
                      <a:pt x="337" y="716"/>
                    </a:lnTo>
                    <a:lnTo>
                      <a:pt x="330" y="722"/>
                    </a:lnTo>
                    <a:lnTo>
                      <a:pt x="337" y="722"/>
                    </a:lnTo>
                    <a:lnTo>
                      <a:pt x="330" y="722"/>
                    </a:lnTo>
                    <a:lnTo>
                      <a:pt x="337" y="722"/>
                    </a:lnTo>
                    <a:lnTo>
                      <a:pt x="330" y="728"/>
                    </a:lnTo>
                    <a:lnTo>
                      <a:pt x="324" y="728"/>
                    </a:lnTo>
                    <a:lnTo>
                      <a:pt x="324" y="734"/>
                    </a:lnTo>
                    <a:lnTo>
                      <a:pt x="318" y="734"/>
                    </a:lnTo>
                    <a:lnTo>
                      <a:pt x="318" y="740"/>
                    </a:lnTo>
                    <a:lnTo>
                      <a:pt x="312" y="740"/>
                    </a:lnTo>
                    <a:lnTo>
                      <a:pt x="312" y="746"/>
                    </a:lnTo>
                    <a:lnTo>
                      <a:pt x="312" y="752"/>
                    </a:lnTo>
                    <a:lnTo>
                      <a:pt x="306" y="752"/>
                    </a:lnTo>
                    <a:lnTo>
                      <a:pt x="300" y="752"/>
                    </a:lnTo>
                    <a:lnTo>
                      <a:pt x="294" y="752"/>
                    </a:lnTo>
                    <a:lnTo>
                      <a:pt x="288" y="746"/>
                    </a:lnTo>
                    <a:lnTo>
                      <a:pt x="288" y="740"/>
                    </a:lnTo>
                    <a:lnTo>
                      <a:pt x="288" y="734"/>
                    </a:lnTo>
                    <a:lnTo>
                      <a:pt x="282" y="734"/>
                    </a:lnTo>
                    <a:lnTo>
                      <a:pt x="282" y="728"/>
                    </a:lnTo>
                    <a:lnTo>
                      <a:pt x="282" y="722"/>
                    </a:lnTo>
                    <a:lnTo>
                      <a:pt x="282" y="716"/>
                    </a:lnTo>
                    <a:lnTo>
                      <a:pt x="282" y="710"/>
                    </a:lnTo>
                    <a:lnTo>
                      <a:pt x="276" y="710"/>
                    </a:lnTo>
                    <a:lnTo>
                      <a:pt x="270" y="710"/>
                    </a:lnTo>
                    <a:lnTo>
                      <a:pt x="264" y="704"/>
                    </a:lnTo>
                    <a:lnTo>
                      <a:pt x="264" y="698"/>
                    </a:lnTo>
                    <a:lnTo>
                      <a:pt x="264" y="692"/>
                    </a:lnTo>
                    <a:lnTo>
                      <a:pt x="258" y="692"/>
                    </a:lnTo>
                    <a:lnTo>
                      <a:pt x="252" y="692"/>
                    </a:lnTo>
                    <a:lnTo>
                      <a:pt x="246" y="692"/>
                    </a:lnTo>
                    <a:lnTo>
                      <a:pt x="240" y="692"/>
                    </a:lnTo>
                    <a:lnTo>
                      <a:pt x="234" y="692"/>
                    </a:lnTo>
                    <a:lnTo>
                      <a:pt x="228" y="698"/>
                    </a:lnTo>
                    <a:lnTo>
                      <a:pt x="228" y="704"/>
                    </a:lnTo>
                    <a:lnTo>
                      <a:pt x="228" y="710"/>
                    </a:lnTo>
                    <a:lnTo>
                      <a:pt x="222" y="710"/>
                    </a:lnTo>
                    <a:lnTo>
                      <a:pt x="222" y="716"/>
                    </a:lnTo>
                    <a:lnTo>
                      <a:pt x="216" y="716"/>
                    </a:lnTo>
                    <a:lnTo>
                      <a:pt x="216" y="722"/>
                    </a:lnTo>
                    <a:lnTo>
                      <a:pt x="210" y="728"/>
                    </a:lnTo>
                    <a:lnTo>
                      <a:pt x="204" y="728"/>
                    </a:lnTo>
                    <a:lnTo>
                      <a:pt x="204" y="734"/>
                    </a:lnTo>
                    <a:lnTo>
                      <a:pt x="198" y="728"/>
                    </a:lnTo>
                    <a:lnTo>
                      <a:pt x="198" y="734"/>
                    </a:lnTo>
                    <a:lnTo>
                      <a:pt x="192" y="734"/>
                    </a:lnTo>
                    <a:lnTo>
                      <a:pt x="186" y="734"/>
                    </a:lnTo>
                    <a:lnTo>
                      <a:pt x="180" y="728"/>
                    </a:lnTo>
                    <a:lnTo>
                      <a:pt x="174" y="728"/>
                    </a:lnTo>
                    <a:lnTo>
                      <a:pt x="174" y="722"/>
                    </a:lnTo>
                    <a:lnTo>
                      <a:pt x="174" y="716"/>
                    </a:lnTo>
                    <a:lnTo>
                      <a:pt x="168" y="716"/>
                    </a:lnTo>
                    <a:lnTo>
                      <a:pt x="168" y="710"/>
                    </a:lnTo>
                    <a:lnTo>
                      <a:pt x="162" y="710"/>
                    </a:lnTo>
                    <a:lnTo>
                      <a:pt x="156" y="710"/>
                    </a:lnTo>
                    <a:lnTo>
                      <a:pt x="150" y="710"/>
                    </a:lnTo>
                    <a:lnTo>
                      <a:pt x="150" y="704"/>
                    </a:lnTo>
                    <a:lnTo>
                      <a:pt x="144" y="698"/>
                    </a:lnTo>
                    <a:lnTo>
                      <a:pt x="144" y="692"/>
                    </a:lnTo>
                    <a:lnTo>
                      <a:pt x="150" y="692"/>
                    </a:lnTo>
                    <a:lnTo>
                      <a:pt x="150" y="686"/>
                    </a:lnTo>
                    <a:lnTo>
                      <a:pt x="156" y="686"/>
                    </a:lnTo>
                    <a:lnTo>
                      <a:pt x="156" y="680"/>
                    </a:lnTo>
                    <a:lnTo>
                      <a:pt x="156" y="674"/>
                    </a:lnTo>
                    <a:lnTo>
                      <a:pt x="156" y="668"/>
                    </a:lnTo>
                    <a:lnTo>
                      <a:pt x="156" y="662"/>
                    </a:lnTo>
                    <a:lnTo>
                      <a:pt x="156" y="656"/>
                    </a:lnTo>
                    <a:lnTo>
                      <a:pt x="162" y="656"/>
                    </a:lnTo>
                    <a:lnTo>
                      <a:pt x="162" y="662"/>
                    </a:lnTo>
                    <a:lnTo>
                      <a:pt x="162" y="656"/>
                    </a:lnTo>
                    <a:lnTo>
                      <a:pt x="168" y="656"/>
                    </a:lnTo>
                    <a:lnTo>
                      <a:pt x="168" y="650"/>
                    </a:lnTo>
                    <a:lnTo>
                      <a:pt x="168" y="644"/>
                    </a:lnTo>
                    <a:lnTo>
                      <a:pt x="174" y="644"/>
                    </a:lnTo>
                    <a:lnTo>
                      <a:pt x="174" y="638"/>
                    </a:lnTo>
                    <a:lnTo>
                      <a:pt x="168" y="638"/>
                    </a:lnTo>
                    <a:lnTo>
                      <a:pt x="168" y="632"/>
                    </a:lnTo>
                    <a:lnTo>
                      <a:pt x="162" y="632"/>
                    </a:lnTo>
                    <a:lnTo>
                      <a:pt x="168" y="632"/>
                    </a:lnTo>
                    <a:lnTo>
                      <a:pt x="162" y="632"/>
                    </a:lnTo>
                    <a:lnTo>
                      <a:pt x="162" y="626"/>
                    </a:lnTo>
                    <a:lnTo>
                      <a:pt x="162" y="632"/>
                    </a:lnTo>
                    <a:lnTo>
                      <a:pt x="156" y="632"/>
                    </a:lnTo>
                    <a:lnTo>
                      <a:pt x="156" y="626"/>
                    </a:lnTo>
                    <a:lnTo>
                      <a:pt x="162" y="626"/>
                    </a:lnTo>
                    <a:lnTo>
                      <a:pt x="162" y="620"/>
                    </a:lnTo>
                    <a:lnTo>
                      <a:pt x="156" y="614"/>
                    </a:lnTo>
                    <a:lnTo>
                      <a:pt x="162" y="614"/>
                    </a:lnTo>
                    <a:lnTo>
                      <a:pt x="162" y="608"/>
                    </a:lnTo>
                    <a:lnTo>
                      <a:pt x="156" y="602"/>
                    </a:lnTo>
                    <a:lnTo>
                      <a:pt x="156" y="596"/>
                    </a:lnTo>
                    <a:lnTo>
                      <a:pt x="156" y="590"/>
                    </a:lnTo>
                    <a:lnTo>
                      <a:pt x="162" y="590"/>
                    </a:lnTo>
                    <a:lnTo>
                      <a:pt x="168" y="590"/>
                    </a:lnTo>
                    <a:lnTo>
                      <a:pt x="168" y="584"/>
                    </a:lnTo>
                    <a:lnTo>
                      <a:pt x="162" y="584"/>
                    </a:lnTo>
                    <a:lnTo>
                      <a:pt x="168" y="584"/>
                    </a:lnTo>
                    <a:lnTo>
                      <a:pt x="168" y="577"/>
                    </a:lnTo>
                    <a:lnTo>
                      <a:pt x="168" y="571"/>
                    </a:lnTo>
                    <a:lnTo>
                      <a:pt x="162" y="571"/>
                    </a:lnTo>
                    <a:lnTo>
                      <a:pt x="162" y="565"/>
                    </a:lnTo>
                    <a:lnTo>
                      <a:pt x="162" y="559"/>
                    </a:lnTo>
                    <a:lnTo>
                      <a:pt x="168" y="553"/>
                    </a:lnTo>
                    <a:lnTo>
                      <a:pt x="162" y="553"/>
                    </a:lnTo>
                    <a:lnTo>
                      <a:pt x="168" y="553"/>
                    </a:lnTo>
                    <a:lnTo>
                      <a:pt x="174" y="553"/>
                    </a:lnTo>
                    <a:lnTo>
                      <a:pt x="174" y="547"/>
                    </a:lnTo>
                    <a:lnTo>
                      <a:pt x="174" y="541"/>
                    </a:lnTo>
                    <a:lnTo>
                      <a:pt x="168" y="541"/>
                    </a:lnTo>
                    <a:lnTo>
                      <a:pt x="168" y="547"/>
                    </a:lnTo>
                    <a:lnTo>
                      <a:pt x="162" y="547"/>
                    </a:lnTo>
                    <a:lnTo>
                      <a:pt x="162" y="541"/>
                    </a:lnTo>
                    <a:lnTo>
                      <a:pt x="162" y="535"/>
                    </a:lnTo>
                    <a:lnTo>
                      <a:pt x="162" y="529"/>
                    </a:lnTo>
                    <a:lnTo>
                      <a:pt x="156" y="529"/>
                    </a:lnTo>
                    <a:lnTo>
                      <a:pt x="156" y="523"/>
                    </a:lnTo>
                    <a:lnTo>
                      <a:pt x="156" y="517"/>
                    </a:lnTo>
                    <a:lnTo>
                      <a:pt x="150" y="517"/>
                    </a:lnTo>
                    <a:lnTo>
                      <a:pt x="144" y="517"/>
                    </a:lnTo>
                    <a:lnTo>
                      <a:pt x="144" y="511"/>
                    </a:lnTo>
                    <a:lnTo>
                      <a:pt x="138" y="505"/>
                    </a:lnTo>
                    <a:lnTo>
                      <a:pt x="144" y="505"/>
                    </a:lnTo>
                    <a:lnTo>
                      <a:pt x="144" y="499"/>
                    </a:lnTo>
                    <a:lnTo>
                      <a:pt x="138" y="499"/>
                    </a:lnTo>
                    <a:lnTo>
                      <a:pt x="138" y="493"/>
                    </a:lnTo>
                    <a:lnTo>
                      <a:pt x="138" y="487"/>
                    </a:lnTo>
                    <a:lnTo>
                      <a:pt x="138" y="481"/>
                    </a:lnTo>
                    <a:lnTo>
                      <a:pt x="132" y="481"/>
                    </a:lnTo>
                    <a:lnTo>
                      <a:pt x="126" y="475"/>
                    </a:lnTo>
                    <a:lnTo>
                      <a:pt x="126" y="469"/>
                    </a:lnTo>
                    <a:lnTo>
                      <a:pt x="126" y="463"/>
                    </a:lnTo>
                    <a:lnTo>
                      <a:pt x="120" y="469"/>
                    </a:lnTo>
                    <a:lnTo>
                      <a:pt x="120" y="463"/>
                    </a:lnTo>
                    <a:lnTo>
                      <a:pt x="120" y="457"/>
                    </a:lnTo>
                    <a:lnTo>
                      <a:pt x="114" y="463"/>
                    </a:lnTo>
                    <a:lnTo>
                      <a:pt x="108" y="463"/>
                    </a:lnTo>
                    <a:lnTo>
                      <a:pt x="108" y="457"/>
                    </a:lnTo>
                    <a:lnTo>
                      <a:pt x="102" y="457"/>
                    </a:lnTo>
                    <a:lnTo>
                      <a:pt x="96" y="457"/>
                    </a:lnTo>
                    <a:lnTo>
                      <a:pt x="96" y="463"/>
                    </a:lnTo>
                    <a:lnTo>
                      <a:pt x="96" y="469"/>
                    </a:lnTo>
                    <a:lnTo>
                      <a:pt x="90" y="469"/>
                    </a:lnTo>
                    <a:lnTo>
                      <a:pt x="90" y="475"/>
                    </a:lnTo>
                    <a:lnTo>
                      <a:pt x="84" y="475"/>
                    </a:lnTo>
                    <a:lnTo>
                      <a:pt x="78" y="475"/>
                    </a:lnTo>
                    <a:lnTo>
                      <a:pt x="78" y="469"/>
                    </a:lnTo>
                    <a:lnTo>
                      <a:pt x="72" y="463"/>
                    </a:lnTo>
                    <a:lnTo>
                      <a:pt x="72" y="457"/>
                    </a:lnTo>
                    <a:lnTo>
                      <a:pt x="72" y="451"/>
                    </a:lnTo>
                    <a:lnTo>
                      <a:pt x="72" y="445"/>
                    </a:lnTo>
                    <a:lnTo>
                      <a:pt x="72" y="439"/>
                    </a:lnTo>
                    <a:lnTo>
                      <a:pt x="66" y="439"/>
                    </a:lnTo>
                    <a:lnTo>
                      <a:pt x="60" y="433"/>
                    </a:lnTo>
                    <a:lnTo>
                      <a:pt x="54" y="433"/>
                    </a:lnTo>
                    <a:lnTo>
                      <a:pt x="54" y="427"/>
                    </a:lnTo>
                    <a:lnTo>
                      <a:pt x="48" y="421"/>
                    </a:lnTo>
                    <a:lnTo>
                      <a:pt x="42" y="415"/>
                    </a:lnTo>
                    <a:lnTo>
                      <a:pt x="36" y="403"/>
                    </a:lnTo>
                    <a:lnTo>
                      <a:pt x="36" y="397"/>
                    </a:lnTo>
                    <a:lnTo>
                      <a:pt x="42" y="391"/>
                    </a:lnTo>
                    <a:lnTo>
                      <a:pt x="48" y="385"/>
                    </a:lnTo>
                    <a:lnTo>
                      <a:pt x="54" y="379"/>
                    </a:lnTo>
                    <a:lnTo>
                      <a:pt x="60" y="373"/>
                    </a:lnTo>
                    <a:lnTo>
                      <a:pt x="60" y="367"/>
                    </a:lnTo>
                    <a:lnTo>
                      <a:pt x="60" y="361"/>
                    </a:lnTo>
                    <a:lnTo>
                      <a:pt x="60" y="355"/>
                    </a:lnTo>
                    <a:lnTo>
                      <a:pt x="60" y="349"/>
                    </a:lnTo>
                    <a:lnTo>
                      <a:pt x="54" y="349"/>
                    </a:lnTo>
                    <a:lnTo>
                      <a:pt x="48" y="343"/>
                    </a:lnTo>
                    <a:lnTo>
                      <a:pt x="48" y="337"/>
                    </a:lnTo>
                    <a:lnTo>
                      <a:pt x="48" y="331"/>
                    </a:lnTo>
                    <a:lnTo>
                      <a:pt x="54" y="319"/>
                    </a:lnTo>
                    <a:lnTo>
                      <a:pt x="54" y="313"/>
                    </a:lnTo>
                    <a:lnTo>
                      <a:pt x="54" y="307"/>
                    </a:lnTo>
                    <a:lnTo>
                      <a:pt x="48" y="301"/>
                    </a:lnTo>
                    <a:lnTo>
                      <a:pt x="48" y="295"/>
                    </a:lnTo>
                    <a:lnTo>
                      <a:pt x="48" y="289"/>
                    </a:lnTo>
                    <a:lnTo>
                      <a:pt x="42" y="289"/>
                    </a:lnTo>
                    <a:lnTo>
                      <a:pt x="42" y="283"/>
                    </a:lnTo>
                    <a:lnTo>
                      <a:pt x="36" y="283"/>
                    </a:lnTo>
                    <a:lnTo>
                      <a:pt x="30" y="277"/>
                    </a:lnTo>
                    <a:lnTo>
                      <a:pt x="30" y="271"/>
                    </a:lnTo>
                    <a:lnTo>
                      <a:pt x="30" y="265"/>
                    </a:lnTo>
                    <a:lnTo>
                      <a:pt x="24" y="265"/>
                    </a:lnTo>
                    <a:lnTo>
                      <a:pt x="18" y="265"/>
                    </a:lnTo>
                    <a:lnTo>
                      <a:pt x="18" y="259"/>
                    </a:lnTo>
                    <a:lnTo>
                      <a:pt x="12" y="259"/>
                    </a:lnTo>
                    <a:lnTo>
                      <a:pt x="12" y="253"/>
                    </a:lnTo>
                    <a:lnTo>
                      <a:pt x="12" y="247"/>
                    </a:lnTo>
                    <a:lnTo>
                      <a:pt x="6" y="247"/>
                    </a:lnTo>
                    <a:lnTo>
                      <a:pt x="6" y="241"/>
                    </a:lnTo>
                    <a:lnTo>
                      <a:pt x="6" y="235"/>
                    </a:lnTo>
                    <a:lnTo>
                      <a:pt x="6" y="229"/>
                    </a:lnTo>
                    <a:lnTo>
                      <a:pt x="12" y="229"/>
                    </a:lnTo>
                    <a:lnTo>
                      <a:pt x="12" y="223"/>
                    </a:lnTo>
                    <a:lnTo>
                      <a:pt x="18" y="223"/>
                    </a:lnTo>
                    <a:lnTo>
                      <a:pt x="18" y="217"/>
                    </a:lnTo>
                    <a:lnTo>
                      <a:pt x="24" y="211"/>
                    </a:lnTo>
                    <a:lnTo>
                      <a:pt x="18" y="211"/>
                    </a:lnTo>
                    <a:lnTo>
                      <a:pt x="12" y="211"/>
                    </a:lnTo>
                    <a:lnTo>
                      <a:pt x="18" y="205"/>
                    </a:lnTo>
                    <a:lnTo>
                      <a:pt x="12" y="205"/>
                    </a:lnTo>
                    <a:lnTo>
                      <a:pt x="6" y="199"/>
                    </a:lnTo>
                    <a:lnTo>
                      <a:pt x="6" y="193"/>
                    </a:lnTo>
                    <a:lnTo>
                      <a:pt x="0" y="193"/>
                    </a:lnTo>
                    <a:lnTo>
                      <a:pt x="0" y="187"/>
                    </a:lnTo>
                    <a:lnTo>
                      <a:pt x="6" y="187"/>
                    </a:lnTo>
                    <a:lnTo>
                      <a:pt x="12" y="187"/>
                    </a:lnTo>
                    <a:lnTo>
                      <a:pt x="18" y="187"/>
                    </a:lnTo>
                    <a:lnTo>
                      <a:pt x="24" y="187"/>
                    </a:lnTo>
                    <a:lnTo>
                      <a:pt x="30" y="193"/>
                    </a:lnTo>
                    <a:lnTo>
                      <a:pt x="36" y="199"/>
                    </a:lnTo>
                    <a:lnTo>
                      <a:pt x="42" y="193"/>
                    </a:lnTo>
                    <a:lnTo>
                      <a:pt x="42" y="187"/>
                    </a:lnTo>
                    <a:lnTo>
                      <a:pt x="48" y="187"/>
                    </a:lnTo>
                    <a:lnTo>
                      <a:pt x="54" y="187"/>
                    </a:lnTo>
                    <a:lnTo>
                      <a:pt x="60" y="187"/>
                    </a:lnTo>
                    <a:lnTo>
                      <a:pt x="60" y="181"/>
                    </a:lnTo>
                    <a:lnTo>
                      <a:pt x="60" y="175"/>
                    </a:lnTo>
                    <a:lnTo>
                      <a:pt x="66" y="175"/>
                    </a:lnTo>
                    <a:lnTo>
                      <a:pt x="72" y="169"/>
                    </a:lnTo>
                    <a:lnTo>
                      <a:pt x="78" y="169"/>
                    </a:lnTo>
                    <a:lnTo>
                      <a:pt x="78" y="163"/>
                    </a:lnTo>
                    <a:lnTo>
                      <a:pt x="84" y="163"/>
                    </a:lnTo>
                    <a:lnTo>
                      <a:pt x="84" y="157"/>
                    </a:lnTo>
                    <a:lnTo>
                      <a:pt x="84" y="151"/>
                    </a:lnTo>
                    <a:lnTo>
                      <a:pt x="84" y="145"/>
                    </a:lnTo>
                    <a:lnTo>
                      <a:pt x="90" y="145"/>
                    </a:lnTo>
                    <a:lnTo>
                      <a:pt x="90" y="139"/>
                    </a:lnTo>
                    <a:lnTo>
                      <a:pt x="90" y="133"/>
                    </a:lnTo>
                    <a:lnTo>
                      <a:pt x="84" y="133"/>
                    </a:lnTo>
                    <a:lnTo>
                      <a:pt x="78" y="133"/>
                    </a:lnTo>
                    <a:lnTo>
                      <a:pt x="78" y="126"/>
                    </a:lnTo>
                    <a:lnTo>
                      <a:pt x="84" y="126"/>
                    </a:lnTo>
                    <a:lnTo>
                      <a:pt x="78" y="126"/>
                    </a:lnTo>
                    <a:lnTo>
                      <a:pt x="78" y="120"/>
                    </a:lnTo>
                    <a:lnTo>
                      <a:pt x="84" y="114"/>
                    </a:lnTo>
                    <a:lnTo>
                      <a:pt x="84" y="108"/>
                    </a:lnTo>
                    <a:lnTo>
                      <a:pt x="78" y="108"/>
                    </a:lnTo>
                    <a:lnTo>
                      <a:pt x="78" y="102"/>
                    </a:lnTo>
                    <a:lnTo>
                      <a:pt x="84" y="102"/>
                    </a:lnTo>
                    <a:lnTo>
                      <a:pt x="84" y="96"/>
                    </a:lnTo>
                    <a:lnTo>
                      <a:pt x="84" y="90"/>
                    </a:lnTo>
                    <a:lnTo>
                      <a:pt x="84" y="84"/>
                    </a:lnTo>
                    <a:lnTo>
                      <a:pt x="90" y="78"/>
                    </a:lnTo>
                    <a:lnTo>
                      <a:pt x="96" y="72"/>
                    </a:lnTo>
                    <a:lnTo>
                      <a:pt x="96" y="60"/>
                    </a:lnTo>
                    <a:lnTo>
                      <a:pt x="96" y="54"/>
                    </a:lnTo>
                    <a:lnTo>
                      <a:pt x="96" y="48"/>
                    </a:lnTo>
                    <a:lnTo>
                      <a:pt x="102" y="48"/>
                    </a:lnTo>
                    <a:lnTo>
                      <a:pt x="102" y="42"/>
                    </a:lnTo>
                    <a:lnTo>
                      <a:pt x="102" y="36"/>
                    </a:lnTo>
                    <a:lnTo>
                      <a:pt x="108" y="36"/>
                    </a:lnTo>
                    <a:lnTo>
                      <a:pt x="114" y="36"/>
                    </a:lnTo>
                    <a:lnTo>
                      <a:pt x="120" y="36"/>
                    </a:lnTo>
                    <a:lnTo>
                      <a:pt x="126" y="36"/>
                    </a:lnTo>
                    <a:lnTo>
                      <a:pt x="132" y="36"/>
                    </a:lnTo>
                    <a:lnTo>
                      <a:pt x="132" y="30"/>
                    </a:lnTo>
                    <a:lnTo>
                      <a:pt x="132" y="24"/>
                    </a:lnTo>
                    <a:lnTo>
                      <a:pt x="138" y="24"/>
                    </a:lnTo>
                    <a:lnTo>
                      <a:pt x="138" y="18"/>
                    </a:lnTo>
                    <a:lnTo>
                      <a:pt x="144" y="18"/>
                    </a:lnTo>
                    <a:lnTo>
                      <a:pt x="144" y="12"/>
                    </a:lnTo>
                    <a:lnTo>
                      <a:pt x="150" y="12"/>
                    </a:lnTo>
                    <a:lnTo>
                      <a:pt x="156" y="12"/>
                    </a:lnTo>
                    <a:lnTo>
                      <a:pt x="162" y="12"/>
                    </a:lnTo>
                    <a:lnTo>
                      <a:pt x="162" y="18"/>
                    </a:lnTo>
                    <a:lnTo>
                      <a:pt x="168" y="24"/>
                    </a:lnTo>
                    <a:lnTo>
                      <a:pt x="168" y="30"/>
                    </a:lnTo>
                    <a:lnTo>
                      <a:pt x="174" y="36"/>
                    </a:lnTo>
                    <a:lnTo>
                      <a:pt x="180" y="42"/>
                    </a:lnTo>
                    <a:lnTo>
                      <a:pt x="186" y="48"/>
                    </a:lnTo>
                    <a:lnTo>
                      <a:pt x="186" y="54"/>
                    </a:lnTo>
                    <a:lnTo>
                      <a:pt x="192" y="54"/>
                    </a:lnTo>
                    <a:lnTo>
                      <a:pt x="198" y="60"/>
                    </a:lnTo>
                    <a:lnTo>
                      <a:pt x="204" y="60"/>
                    </a:lnTo>
                    <a:lnTo>
                      <a:pt x="210" y="66"/>
                    </a:lnTo>
                    <a:lnTo>
                      <a:pt x="216" y="72"/>
                    </a:lnTo>
                    <a:lnTo>
                      <a:pt x="228" y="78"/>
                    </a:lnTo>
                    <a:lnTo>
                      <a:pt x="228" y="84"/>
                    </a:lnTo>
                    <a:lnTo>
                      <a:pt x="234" y="84"/>
                    </a:lnTo>
                    <a:lnTo>
                      <a:pt x="234" y="90"/>
                    </a:lnTo>
                    <a:lnTo>
                      <a:pt x="240" y="90"/>
                    </a:lnTo>
                    <a:lnTo>
                      <a:pt x="240" y="96"/>
                    </a:lnTo>
                    <a:lnTo>
                      <a:pt x="246" y="102"/>
                    </a:lnTo>
                    <a:lnTo>
                      <a:pt x="252" y="108"/>
                    </a:lnTo>
                    <a:lnTo>
                      <a:pt x="252" y="114"/>
                    </a:lnTo>
                    <a:lnTo>
                      <a:pt x="258" y="114"/>
                    </a:lnTo>
                    <a:lnTo>
                      <a:pt x="258" y="120"/>
                    </a:lnTo>
                    <a:lnTo>
                      <a:pt x="264" y="120"/>
                    </a:lnTo>
                    <a:lnTo>
                      <a:pt x="264" y="114"/>
                    </a:lnTo>
                    <a:lnTo>
                      <a:pt x="264" y="108"/>
                    </a:lnTo>
                    <a:lnTo>
                      <a:pt x="264" y="102"/>
                    </a:lnTo>
                    <a:lnTo>
                      <a:pt x="270" y="102"/>
                    </a:lnTo>
                    <a:lnTo>
                      <a:pt x="270" y="96"/>
                    </a:lnTo>
                    <a:lnTo>
                      <a:pt x="276" y="90"/>
                    </a:lnTo>
                    <a:lnTo>
                      <a:pt x="276" y="84"/>
                    </a:lnTo>
                    <a:lnTo>
                      <a:pt x="282" y="78"/>
                    </a:lnTo>
                    <a:lnTo>
                      <a:pt x="288" y="72"/>
                    </a:lnTo>
                    <a:lnTo>
                      <a:pt x="294" y="72"/>
                    </a:lnTo>
                    <a:lnTo>
                      <a:pt x="294" y="66"/>
                    </a:lnTo>
                    <a:lnTo>
                      <a:pt x="294" y="60"/>
                    </a:lnTo>
                    <a:lnTo>
                      <a:pt x="294" y="54"/>
                    </a:lnTo>
                    <a:lnTo>
                      <a:pt x="300" y="54"/>
                    </a:lnTo>
                    <a:lnTo>
                      <a:pt x="306" y="60"/>
                    </a:lnTo>
                    <a:lnTo>
                      <a:pt x="312" y="60"/>
                    </a:lnTo>
                    <a:lnTo>
                      <a:pt x="312" y="54"/>
                    </a:lnTo>
                    <a:lnTo>
                      <a:pt x="318" y="54"/>
                    </a:lnTo>
                    <a:lnTo>
                      <a:pt x="324" y="54"/>
                    </a:lnTo>
                    <a:lnTo>
                      <a:pt x="330" y="54"/>
                    </a:lnTo>
                    <a:lnTo>
                      <a:pt x="337" y="54"/>
                    </a:lnTo>
                    <a:lnTo>
                      <a:pt x="343" y="54"/>
                    </a:lnTo>
                    <a:lnTo>
                      <a:pt x="355" y="54"/>
                    </a:lnTo>
                    <a:lnTo>
                      <a:pt x="361" y="54"/>
                    </a:lnTo>
                    <a:lnTo>
                      <a:pt x="367" y="54"/>
                    </a:lnTo>
                    <a:lnTo>
                      <a:pt x="373" y="54"/>
                    </a:lnTo>
                    <a:lnTo>
                      <a:pt x="385" y="60"/>
                    </a:lnTo>
                    <a:lnTo>
                      <a:pt x="391" y="60"/>
                    </a:lnTo>
                    <a:lnTo>
                      <a:pt x="397" y="66"/>
                    </a:lnTo>
                    <a:lnTo>
                      <a:pt x="409" y="66"/>
                    </a:lnTo>
                    <a:lnTo>
                      <a:pt x="415" y="66"/>
                    </a:lnTo>
                    <a:lnTo>
                      <a:pt x="427" y="66"/>
                    </a:lnTo>
                    <a:lnTo>
                      <a:pt x="433" y="72"/>
                    </a:lnTo>
                    <a:lnTo>
                      <a:pt x="439" y="66"/>
                    </a:lnTo>
                    <a:lnTo>
                      <a:pt x="445" y="66"/>
                    </a:lnTo>
                    <a:lnTo>
                      <a:pt x="451" y="66"/>
                    </a:lnTo>
                    <a:lnTo>
                      <a:pt x="457" y="66"/>
                    </a:lnTo>
                    <a:lnTo>
                      <a:pt x="463" y="66"/>
                    </a:lnTo>
                    <a:lnTo>
                      <a:pt x="469" y="66"/>
                    </a:lnTo>
                    <a:lnTo>
                      <a:pt x="475" y="66"/>
                    </a:lnTo>
                    <a:lnTo>
                      <a:pt x="481" y="60"/>
                    </a:lnTo>
                    <a:lnTo>
                      <a:pt x="487" y="60"/>
                    </a:lnTo>
                    <a:lnTo>
                      <a:pt x="493" y="60"/>
                    </a:lnTo>
                    <a:lnTo>
                      <a:pt x="493" y="54"/>
                    </a:lnTo>
                    <a:lnTo>
                      <a:pt x="511" y="54"/>
                    </a:lnTo>
                    <a:lnTo>
                      <a:pt x="517" y="54"/>
                    </a:lnTo>
                    <a:lnTo>
                      <a:pt x="523" y="54"/>
                    </a:lnTo>
                    <a:lnTo>
                      <a:pt x="535" y="54"/>
                    </a:lnTo>
                    <a:lnTo>
                      <a:pt x="541" y="54"/>
                    </a:lnTo>
                    <a:lnTo>
                      <a:pt x="547" y="54"/>
                    </a:lnTo>
                    <a:lnTo>
                      <a:pt x="547" y="36"/>
                    </a:lnTo>
                    <a:lnTo>
                      <a:pt x="541" y="24"/>
                    </a:lnTo>
                    <a:lnTo>
                      <a:pt x="547" y="18"/>
                    </a:lnTo>
                    <a:lnTo>
                      <a:pt x="553" y="6"/>
                    </a:lnTo>
                    <a:lnTo>
                      <a:pt x="559" y="6"/>
                    </a:lnTo>
                    <a:lnTo>
                      <a:pt x="565" y="0"/>
                    </a:lnTo>
                    <a:lnTo>
                      <a:pt x="565" y="6"/>
                    </a:lnTo>
                    <a:lnTo>
                      <a:pt x="565" y="12"/>
                    </a:lnTo>
                    <a:lnTo>
                      <a:pt x="565" y="18"/>
                    </a:lnTo>
                    <a:lnTo>
                      <a:pt x="565" y="24"/>
                    </a:lnTo>
                    <a:lnTo>
                      <a:pt x="559" y="36"/>
                    </a:lnTo>
                    <a:lnTo>
                      <a:pt x="565" y="42"/>
                    </a:lnTo>
                    <a:lnTo>
                      <a:pt x="589" y="42"/>
                    </a:lnTo>
                    <a:lnTo>
                      <a:pt x="601" y="42"/>
                    </a:lnTo>
                    <a:close/>
                  </a:path>
                </a:pathLst>
              </a:custGeom>
              <a:solidFill>
                <a:schemeClr val="accent6">
                  <a:lumMod val="20000"/>
                  <a:lumOff val="80000"/>
                </a:schemeClr>
              </a:solidFill>
              <a:ln w="9525">
                <a:solidFill>
                  <a:srgbClr val="808080"/>
                </a:solidFill>
                <a:round/>
                <a:headEnd/>
                <a:tailEnd/>
              </a:ln>
            </p:spPr>
            <p:txBody>
              <a:bodyPr/>
              <a:lstStyle/>
              <a:p>
                <a:pPr fontAlgn="base">
                  <a:spcBef>
                    <a:spcPct val="0"/>
                  </a:spcBef>
                  <a:spcAft>
                    <a:spcPct val="0"/>
                  </a:spcAft>
                  <a:buClrTx/>
                  <a:buFontTx/>
                  <a:buNone/>
                </a:pPr>
                <a:endParaRPr lang="en-US" sz="1600" kern="1200" dirty="0">
                  <a:latin typeface="Arial" charset="0"/>
                  <a:ea typeface="+mn-ea"/>
                  <a:cs typeface="+mn-cs"/>
                </a:endParaRPr>
              </a:p>
            </p:txBody>
          </p:sp>
          <p:sp>
            <p:nvSpPr>
              <p:cNvPr id="120" name="Freeform 62"/>
              <p:cNvSpPr>
                <a:spLocks/>
              </p:cNvSpPr>
              <p:nvPr/>
            </p:nvSpPr>
            <p:spPr bwMode="auto">
              <a:xfrm>
                <a:off x="693738" y="5202238"/>
                <a:ext cx="1308100" cy="831850"/>
              </a:xfrm>
              <a:custGeom>
                <a:avLst/>
                <a:gdLst>
                  <a:gd name="T0" fmla="*/ 601 w 824"/>
                  <a:gd name="T1" fmla="*/ 0 h 524"/>
                  <a:gd name="T2" fmla="*/ 667 w 824"/>
                  <a:gd name="T3" fmla="*/ 6 h 524"/>
                  <a:gd name="T4" fmla="*/ 722 w 824"/>
                  <a:gd name="T5" fmla="*/ 49 h 524"/>
                  <a:gd name="T6" fmla="*/ 782 w 824"/>
                  <a:gd name="T7" fmla="*/ 19 h 524"/>
                  <a:gd name="T8" fmla="*/ 812 w 824"/>
                  <a:gd name="T9" fmla="*/ 43 h 524"/>
                  <a:gd name="T10" fmla="*/ 818 w 824"/>
                  <a:gd name="T11" fmla="*/ 91 h 524"/>
                  <a:gd name="T12" fmla="*/ 800 w 824"/>
                  <a:gd name="T13" fmla="*/ 121 h 524"/>
                  <a:gd name="T14" fmla="*/ 770 w 824"/>
                  <a:gd name="T15" fmla="*/ 151 h 524"/>
                  <a:gd name="T16" fmla="*/ 734 w 824"/>
                  <a:gd name="T17" fmla="*/ 163 h 524"/>
                  <a:gd name="T18" fmla="*/ 686 w 824"/>
                  <a:gd name="T19" fmla="*/ 175 h 524"/>
                  <a:gd name="T20" fmla="*/ 643 w 824"/>
                  <a:gd name="T21" fmla="*/ 193 h 524"/>
                  <a:gd name="T22" fmla="*/ 655 w 824"/>
                  <a:gd name="T23" fmla="*/ 205 h 524"/>
                  <a:gd name="T24" fmla="*/ 655 w 824"/>
                  <a:gd name="T25" fmla="*/ 241 h 524"/>
                  <a:gd name="T26" fmla="*/ 674 w 824"/>
                  <a:gd name="T27" fmla="*/ 277 h 524"/>
                  <a:gd name="T28" fmla="*/ 643 w 824"/>
                  <a:gd name="T29" fmla="*/ 325 h 524"/>
                  <a:gd name="T30" fmla="*/ 619 w 824"/>
                  <a:gd name="T31" fmla="*/ 361 h 524"/>
                  <a:gd name="T32" fmla="*/ 625 w 824"/>
                  <a:gd name="T33" fmla="*/ 403 h 524"/>
                  <a:gd name="T34" fmla="*/ 613 w 824"/>
                  <a:gd name="T35" fmla="*/ 463 h 524"/>
                  <a:gd name="T36" fmla="*/ 565 w 824"/>
                  <a:gd name="T37" fmla="*/ 470 h 524"/>
                  <a:gd name="T38" fmla="*/ 529 w 824"/>
                  <a:gd name="T39" fmla="*/ 500 h 524"/>
                  <a:gd name="T40" fmla="*/ 481 w 824"/>
                  <a:gd name="T41" fmla="*/ 512 h 524"/>
                  <a:gd name="T42" fmla="*/ 481 w 824"/>
                  <a:gd name="T43" fmla="*/ 482 h 524"/>
                  <a:gd name="T44" fmla="*/ 475 w 824"/>
                  <a:gd name="T45" fmla="*/ 451 h 524"/>
                  <a:gd name="T46" fmla="*/ 475 w 824"/>
                  <a:gd name="T47" fmla="*/ 415 h 524"/>
                  <a:gd name="T48" fmla="*/ 439 w 824"/>
                  <a:gd name="T49" fmla="*/ 421 h 524"/>
                  <a:gd name="T50" fmla="*/ 403 w 824"/>
                  <a:gd name="T51" fmla="*/ 427 h 524"/>
                  <a:gd name="T52" fmla="*/ 385 w 824"/>
                  <a:gd name="T53" fmla="*/ 451 h 524"/>
                  <a:gd name="T54" fmla="*/ 385 w 824"/>
                  <a:gd name="T55" fmla="*/ 482 h 524"/>
                  <a:gd name="T56" fmla="*/ 343 w 824"/>
                  <a:gd name="T57" fmla="*/ 482 h 524"/>
                  <a:gd name="T58" fmla="*/ 318 w 824"/>
                  <a:gd name="T59" fmla="*/ 524 h 524"/>
                  <a:gd name="T60" fmla="*/ 270 w 824"/>
                  <a:gd name="T61" fmla="*/ 506 h 524"/>
                  <a:gd name="T62" fmla="*/ 240 w 824"/>
                  <a:gd name="T63" fmla="*/ 476 h 524"/>
                  <a:gd name="T64" fmla="*/ 204 w 824"/>
                  <a:gd name="T65" fmla="*/ 457 h 524"/>
                  <a:gd name="T66" fmla="*/ 186 w 824"/>
                  <a:gd name="T67" fmla="*/ 482 h 524"/>
                  <a:gd name="T68" fmla="*/ 168 w 824"/>
                  <a:gd name="T69" fmla="*/ 512 h 524"/>
                  <a:gd name="T70" fmla="*/ 132 w 824"/>
                  <a:gd name="T71" fmla="*/ 488 h 524"/>
                  <a:gd name="T72" fmla="*/ 84 w 824"/>
                  <a:gd name="T73" fmla="*/ 463 h 524"/>
                  <a:gd name="T74" fmla="*/ 72 w 824"/>
                  <a:gd name="T75" fmla="*/ 409 h 524"/>
                  <a:gd name="T76" fmla="*/ 78 w 824"/>
                  <a:gd name="T77" fmla="*/ 355 h 524"/>
                  <a:gd name="T78" fmla="*/ 36 w 824"/>
                  <a:gd name="T79" fmla="*/ 355 h 524"/>
                  <a:gd name="T80" fmla="*/ 0 w 824"/>
                  <a:gd name="T81" fmla="*/ 355 h 524"/>
                  <a:gd name="T82" fmla="*/ 24 w 824"/>
                  <a:gd name="T83" fmla="*/ 319 h 524"/>
                  <a:gd name="T84" fmla="*/ 54 w 824"/>
                  <a:gd name="T85" fmla="*/ 307 h 524"/>
                  <a:gd name="T86" fmla="*/ 42 w 824"/>
                  <a:gd name="T87" fmla="*/ 283 h 524"/>
                  <a:gd name="T88" fmla="*/ 24 w 824"/>
                  <a:gd name="T89" fmla="*/ 271 h 524"/>
                  <a:gd name="T90" fmla="*/ 36 w 824"/>
                  <a:gd name="T91" fmla="*/ 241 h 524"/>
                  <a:gd name="T92" fmla="*/ 162 w 824"/>
                  <a:gd name="T93" fmla="*/ 193 h 524"/>
                  <a:gd name="T94" fmla="*/ 222 w 824"/>
                  <a:gd name="T95" fmla="*/ 163 h 524"/>
                  <a:gd name="T96" fmla="*/ 234 w 824"/>
                  <a:gd name="T97" fmla="*/ 127 h 524"/>
                  <a:gd name="T98" fmla="*/ 270 w 824"/>
                  <a:gd name="T99" fmla="*/ 115 h 524"/>
                  <a:gd name="T100" fmla="*/ 294 w 824"/>
                  <a:gd name="T101" fmla="*/ 79 h 524"/>
                  <a:gd name="T102" fmla="*/ 306 w 824"/>
                  <a:gd name="T103" fmla="*/ 109 h 524"/>
                  <a:gd name="T104" fmla="*/ 306 w 824"/>
                  <a:gd name="T105" fmla="*/ 139 h 524"/>
                  <a:gd name="T106" fmla="*/ 306 w 824"/>
                  <a:gd name="T107" fmla="*/ 169 h 524"/>
                  <a:gd name="T108" fmla="*/ 385 w 824"/>
                  <a:gd name="T109" fmla="*/ 205 h 524"/>
                  <a:gd name="T110" fmla="*/ 415 w 824"/>
                  <a:gd name="T111" fmla="*/ 235 h 524"/>
                  <a:gd name="T112" fmla="*/ 439 w 824"/>
                  <a:gd name="T113" fmla="*/ 187 h 524"/>
                  <a:gd name="T114" fmla="*/ 457 w 824"/>
                  <a:gd name="T115" fmla="*/ 145 h 524"/>
                  <a:gd name="T116" fmla="*/ 523 w 824"/>
                  <a:gd name="T117" fmla="*/ 115 h 524"/>
                  <a:gd name="T118" fmla="*/ 493 w 824"/>
                  <a:gd name="T119" fmla="*/ 97 h 524"/>
                  <a:gd name="T120" fmla="*/ 469 w 824"/>
                  <a:gd name="T121" fmla="*/ 61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4" h="524">
                    <a:moveTo>
                      <a:pt x="469" y="55"/>
                    </a:moveTo>
                    <a:lnTo>
                      <a:pt x="475" y="43"/>
                    </a:lnTo>
                    <a:lnTo>
                      <a:pt x="505" y="31"/>
                    </a:lnTo>
                    <a:lnTo>
                      <a:pt x="517" y="13"/>
                    </a:lnTo>
                    <a:lnTo>
                      <a:pt x="523" y="13"/>
                    </a:lnTo>
                    <a:lnTo>
                      <a:pt x="529" y="13"/>
                    </a:lnTo>
                    <a:lnTo>
                      <a:pt x="547" y="13"/>
                    </a:lnTo>
                    <a:lnTo>
                      <a:pt x="571" y="6"/>
                    </a:lnTo>
                    <a:lnTo>
                      <a:pt x="595" y="0"/>
                    </a:lnTo>
                    <a:lnTo>
                      <a:pt x="601" y="0"/>
                    </a:lnTo>
                    <a:lnTo>
                      <a:pt x="607" y="13"/>
                    </a:lnTo>
                    <a:lnTo>
                      <a:pt x="613" y="19"/>
                    </a:lnTo>
                    <a:lnTo>
                      <a:pt x="619" y="31"/>
                    </a:lnTo>
                    <a:lnTo>
                      <a:pt x="625" y="43"/>
                    </a:lnTo>
                    <a:lnTo>
                      <a:pt x="631" y="43"/>
                    </a:lnTo>
                    <a:lnTo>
                      <a:pt x="637" y="31"/>
                    </a:lnTo>
                    <a:lnTo>
                      <a:pt x="655" y="13"/>
                    </a:lnTo>
                    <a:lnTo>
                      <a:pt x="661" y="6"/>
                    </a:lnTo>
                    <a:lnTo>
                      <a:pt x="667" y="0"/>
                    </a:lnTo>
                    <a:lnTo>
                      <a:pt x="667" y="6"/>
                    </a:lnTo>
                    <a:lnTo>
                      <a:pt x="674" y="6"/>
                    </a:lnTo>
                    <a:lnTo>
                      <a:pt x="674" y="13"/>
                    </a:lnTo>
                    <a:lnTo>
                      <a:pt x="680" y="13"/>
                    </a:lnTo>
                    <a:lnTo>
                      <a:pt x="680" y="19"/>
                    </a:lnTo>
                    <a:lnTo>
                      <a:pt x="686" y="19"/>
                    </a:lnTo>
                    <a:lnTo>
                      <a:pt x="686" y="25"/>
                    </a:lnTo>
                    <a:lnTo>
                      <a:pt x="686" y="31"/>
                    </a:lnTo>
                    <a:lnTo>
                      <a:pt x="692" y="43"/>
                    </a:lnTo>
                    <a:lnTo>
                      <a:pt x="698" y="49"/>
                    </a:lnTo>
                    <a:lnTo>
                      <a:pt x="722" y="49"/>
                    </a:lnTo>
                    <a:lnTo>
                      <a:pt x="746" y="43"/>
                    </a:lnTo>
                    <a:lnTo>
                      <a:pt x="752" y="43"/>
                    </a:lnTo>
                    <a:lnTo>
                      <a:pt x="758" y="31"/>
                    </a:lnTo>
                    <a:lnTo>
                      <a:pt x="758" y="19"/>
                    </a:lnTo>
                    <a:lnTo>
                      <a:pt x="764" y="0"/>
                    </a:lnTo>
                    <a:lnTo>
                      <a:pt x="764" y="6"/>
                    </a:lnTo>
                    <a:lnTo>
                      <a:pt x="770" y="6"/>
                    </a:lnTo>
                    <a:lnTo>
                      <a:pt x="776" y="6"/>
                    </a:lnTo>
                    <a:lnTo>
                      <a:pt x="782" y="13"/>
                    </a:lnTo>
                    <a:lnTo>
                      <a:pt x="782" y="19"/>
                    </a:lnTo>
                    <a:lnTo>
                      <a:pt x="788" y="19"/>
                    </a:lnTo>
                    <a:lnTo>
                      <a:pt x="788" y="25"/>
                    </a:lnTo>
                    <a:lnTo>
                      <a:pt x="794" y="19"/>
                    </a:lnTo>
                    <a:lnTo>
                      <a:pt x="812" y="19"/>
                    </a:lnTo>
                    <a:lnTo>
                      <a:pt x="812" y="25"/>
                    </a:lnTo>
                    <a:lnTo>
                      <a:pt x="806" y="25"/>
                    </a:lnTo>
                    <a:lnTo>
                      <a:pt x="806" y="31"/>
                    </a:lnTo>
                    <a:lnTo>
                      <a:pt x="806" y="37"/>
                    </a:lnTo>
                    <a:lnTo>
                      <a:pt x="812" y="37"/>
                    </a:lnTo>
                    <a:lnTo>
                      <a:pt x="812" y="43"/>
                    </a:lnTo>
                    <a:lnTo>
                      <a:pt x="818" y="43"/>
                    </a:lnTo>
                    <a:lnTo>
                      <a:pt x="824" y="49"/>
                    </a:lnTo>
                    <a:lnTo>
                      <a:pt x="824" y="55"/>
                    </a:lnTo>
                    <a:lnTo>
                      <a:pt x="824" y="61"/>
                    </a:lnTo>
                    <a:lnTo>
                      <a:pt x="824" y="67"/>
                    </a:lnTo>
                    <a:lnTo>
                      <a:pt x="818" y="67"/>
                    </a:lnTo>
                    <a:lnTo>
                      <a:pt x="818" y="73"/>
                    </a:lnTo>
                    <a:lnTo>
                      <a:pt x="818" y="79"/>
                    </a:lnTo>
                    <a:lnTo>
                      <a:pt x="818" y="85"/>
                    </a:lnTo>
                    <a:lnTo>
                      <a:pt x="818" y="91"/>
                    </a:lnTo>
                    <a:lnTo>
                      <a:pt x="818" y="97"/>
                    </a:lnTo>
                    <a:lnTo>
                      <a:pt x="824" y="103"/>
                    </a:lnTo>
                    <a:lnTo>
                      <a:pt x="818" y="103"/>
                    </a:lnTo>
                    <a:lnTo>
                      <a:pt x="818" y="97"/>
                    </a:lnTo>
                    <a:lnTo>
                      <a:pt x="812" y="97"/>
                    </a:lnTo>
                    <a:lnTo>
                      <a:pt x="806" y="103"/>
                    </a:lnTo>
                    <a:lnTo>
                      <a:pt x="806" y="109"/>
                    </a:lnTo>
                    <a:lnTo>
                      <a:pt x="806" y="115"/>
                    </a:lnTo>
                    <a:lnTo>
                      <a:pt x="800" y="115"/>
                    </a:lnTo>
                    <a:lnTo>
                      <a:pt x="800" y="121"/>
                    </a:lnTo>
                    <a:lnTo>
                      <a:pt x="788" y="127"/>
                    </a:lnTo>
                    <a:lnTo>
                      <a:pt x="788" y="133"/>
                    </a:lnTo>
                    <a:lnTo>
                      <a:pt x="794" y="133"/>
                    </a:lnTo>
                    <a:lnTo>
                      <a:pt x="794" y="139"/>
                    </a:lnTo>
                    <a:lnTo>
                      <a:pt x="788" y="139"/>
                    </a:lnTo>
                    <a:lnTo>
                      <a:pt x="782" y="139"/>
                    </a:lnTo>
                    <a:lnTo>
                      <a:pt x="782" y="145"/>
                    </a:lnTo>
                    <a:lnTo>
                      <a:pt x="782" y="151"/>
                    </a:lnTo>
                    <a:lnTo>
                      <a:pt x="776" y="151"/>
                    </a:lnTo>
                    <a:lnTo>
                      <a:pt x="770" y="151"/>
                    </a:lnTo>
                    <a:lnTo>
                      <a:pt x="764" y="151"/>
                    </a:lnTo>
                    <a:lnTo>
                      <a:pt x="764" y="157"/>
                    </a:lnTo>
                    <a:lnTo>
                      <a:pt x="764" y="163"/>
                    </a:lnTo>
                    <a:lnTo>
                      <a:pt x="758" y="163"/>
                    </a:lnTo>
                    <a:lnTo>
                      <a:pt x="752" y="163"/>
                    </a:lnTo>
                    <a:lnTo>
                      <a:pt x="746" y="163"/>
                    </a:lnTo>
                    <a:lnTo>
                      <a:pt x="740" y="163"/>
                    </a:lnTo>
                    <a:lnTo>
                      <a:pt x="740" y="157"/>
                    </a:lnTo>
                    <a:lnTo>
                      <a:pt x="740" y="163"/>
                    </a:lnTo>
                    <a:lnTo>
                      <a:pt x="734" y="163"/>
                    </a:lnTo>
                    <a:lnTo>
                      <a:pt x="728" y="163"/>
                    </a:lnTo>
                    <a:lnTo>
                      <a:pt x="722" y="163"/>
                    </a:lnTo>
                    <a:lnTo>
                      <a:pt x="716" y="163"/>
                    </a:lnTo>
                    <a:lnTo>
                      <a:pt x="710" y="169"/>
                    </a:lnTo>
                    <a:lnTo>
                      <a:pt x="710" y="163"/>
                    </a:lnTo>
                    <a:lnTo>
                      <a:pt x="704" y="169"/>
                    </a:lnTo>
                    <a:lnTo>
                      <a:pt x="698" y="169"/>
                    </a:lnTo>
                    <a:lnTo>
                      <a:pt x="692" y="169"/>
                    </a:lnTo>
                    <a:lnTo>
                      <a:pt x="686" y="169"/>
                    </a:lnTo>
                    <a:lnTo>
                      <a:pt x="686" y="175"/>
                    </a:lnTo>
                    <a:lnTo>
                      <a:pt x="680" y="175"/>
                    </a:lnTo>
                    <a:lnTo>
                      <a:pt x="674" y="175"/>
                    </a:lnTo>
                    <a:lnTo>
                      <a:pt x="674" y="181"/>
                    </a:lnTo>
                    <a:lnTo>
                      <a:pt x="667" y="181"/>
                    </a:lnTo>
                    <a:lnTo>
                      <a:pt x="667" y="187"/>
                    </a:lnTo>
                    <a:lnTo>
                      <a:pt x="661" y="187"/>
                    </a:lnTo>
                    <a:lnTo>
                      <a:pt x="661" y="193"/>
                    </a:lnTo>
                    <a:lnTo>
                      <a:pt x="655" y="193"/>
                    </a:lnTo>
                    <a:lnTo>
                      <a:pt x="649" y="193"/>
                    </a:lnTo>
                    <a:lnTo>
                      <a:pt x="643" y="193"/>
                    </a:lnTo>
                    <a:lnTo>
                      <a:pt x="643" y="199"/>
                    </a:lnTo>
                    <a:lnTo>
                      <a:pt x="637" y="193"/>
                    </a:lnTo>
                    <a:lnTo>
                      <a:pt x="631" y="193"/>
                    </a:lnTo>
                    <a:lnTo>
                      <a:pt x="631" y="199"/>
                    </a:lnTo>
                    <a:lnTo>
                      <a:pt x="637" y="199"/>
                    </a:lnTo>
                    <a:lnTo>
                      <a:pt x="643" y="205"/>
                    </a:lnTo>
                    <a:lnTo>
                      <a:pt x="643" y="199"/>
                    </a:lnTo>
                    <a:lnTo>
                      <a:pt x="643" y="205"/>
                    </a:lnTo>
                    <a:lnTo>
                      <a:pt x="649" y="205"/>
                    </a:lnTo>
                    <a:lnTo>
                      <a:pt x="655" y="205"/>
                    </a:lnTo>
                    <a:lnTo>
                      <a:pt x="655" y="211"/>
                    </a:lnTo>
                    <a:lnTo>
                      <a:pt x="661" y="211"/>
                    </a:lnTo>
                    <a:lnTo>
                      <a:pt x="655" y="211"/>
                    </a:lnTo>
                    <a:lnTo>
                      <a:pt x="661" y="211"/>
                    </a:lnTo>
                    <a:lnTo>
                      <a:pt x="655" y="217"/>
                    </a:lnTo>
                    <a:lnTo>
                      <a:pt x="655" y="223"/>
                    </a:lnTo>
                    <a:lnTo>
                      <a:pt x="655" y="229"/>
                    </a:lnTo>
                    <a:lnTo>
                      <a:pt x="655" y="235"/>
                    </a:lnTo>
                    <a:lnTo>
                      <a:pt x="649" y="235"/>
                    </a:lnTo>
                    <a:lnTo>
                      <a:pt x="655" y="241"/>
                    </a:lnTo>
                    <a:lnTo>
                      <a:pt x="661" y="241"/>
                    </a:lnTo>
                    <a:lnTo>
                      <a:pt x="667" y="241"/>
                    </a:lnTo>
                    <a:lnTo>
                      <a:pt x="667" y="247"/>
                    </a:lnTo>
                    <a:lnTo>
                      <a:pt x="667" y="253"/>
                    </a:lnTo>
                    <a:lnTo>
                      <a:pt x="674" y="253"/>
                    </a:lnTo>
                    <a:lnTo>
                      <a:pt x="667" y="259"/>
                    </a:lnTo>
                    <a:lnTo>
                      <a:pt x="667" y="265"/>
                    </a:lnTo>
                    <a:lnTo>
                      <a:pt x="667" y="271"/>
                    </a:lnTo>
                    <a:lnTo>
                      <a:pt x="674" y="271"/>
                    </a:lnTo>
                    <a:lnTo>
                      <a:pt x="674" y="277"/>
                    </a:lnTo>
                    <a:lnTo>
                      <a:pt x="667" y="277"/>
                    </a:lnTo>
                    <a:lnTo>
                      <a:pt x="667" y="283"/>
                    </a:lnTo>
                    <a:lnTo>
                      <a:pt x="661" y="283"/>
                    </a:lnTo>
                    <a:lnTo>
                      <a:pt x="661" y="289"/>
                    </a:lnTo>
                    <a:lnTo>
                      <a:pt x="655" y="295"/>
                    </a:lnTo>
                    <a:lnTo>
                      <a:pt x="661" y="307"/>
                    </a:lnTo>
                    <a:lnTo>
                      <a:pt x="661" y="313"/>
                    </a:lnTo>
                    <a:lnTo>
                      <a:pt x="655" y="313"/>
                    </a:lnTo>
                    <a:lnTo>
                      <a:pt x="649" y="319"/>
                    </a:lnTo>
                    <a:lnTo>
                      <a:pt x="643" y="325"/>
                    </a:lnTo>
                    <a:lnTo>
                      <a:pt x="643" y="331"/>
                    </a:lnTo>
                    <a:lnTo>
                      <a:pt x="643" y="337"/>
                    </a:lnTo>
                    <a:lnTo>
                      <a:pt x="637" y="337"/>
                    </a:lnTo>
                    <a:lnTo>
                      <a:pt x="631" y="337"/>
                    </a:lnTo>
                    <a:lnTo>
                      <a:pt x="631" y="343"/>
                    </a:lnTo>
                    <a:lnTo>
                      <a:pt x="619" y="343"/>
                    </a:lnTo>
                    <a:lnTo>
                      <a:pt x="613" y="343"/>
                    </a:lnTo>
                    <a:lnTo>
                      <a:pt x="613" y="349"/>
                    </a:lnTo>
                    <a:lnTo>
                      <a:pt x="613" y="355"/>
                    </a:lnTo>
                    <a:lnTo>
                      <a:pt x="619" y="361"/>
                    </a:lnTo>
                    <a:lnTo>
                      <a:pt x="613" y="361"/>
                    </a:lnTo>
                    <a:lnTo>
                      <a:pt x="613" y="367"/>
                    </a:lnTo>
                    <a:lnTo>
                      <a:pt x="619" y="367"/>
                    </a:lnTo>
                    <a:lnTo>
                      <a:pt x="619" y="373"/>
                    </a:lnTo>
                    <a:lnTo>
                      <a:pt x="619" y="379"/>
                    </a:lnTo>
                    <a:lnTo>
                      <a:pt x="625" y="385"/>
                    </a:lnTo>
                    <a:lnTo>
                      <a:pt x="631" y="385"/>
                    </a:lnTo>
                    <a:lnTo>
                      <a:pt x="625" y="391"/>
                    </a:lnTo>
                    <a:lnTo>
                      <a:pt x="625" y="397"/>
                    </a:lnTo>
                    <a:lnTo>
                      <a:pt x="625" y="403"/>
                    </a:lnTo>
                    <a:lnTo>
                      <a:pt x="619" y="403"/>
                    </a:lnTo>
                    <a:lnTo>
                      <a:pt x="619" y="409"/>
                    </a:lnTo>
                    <a:lnTo>
                      <a:pt x="619" y="415"/>
                    </a:lnTo>
                    <a:lnTo>
                      <a:pt x="619" y="427"/>
                    </a:lnTo>
                    <a:lnTo>
                      <a:pt x="619" y="433"/>
                    </a:lnTo>
                    <a:lnTo>
                      <a:pt x="619" y="439"/>
                    </a:lnTo>
                    <a:lnTo>
                      <a:pt x="619" y="445"/>
                    </a:lnTo>
                    <a:lnTo>
                      <a:pt x="619" y="451"/>
                    </a:lnTo>
                    <a:lnTo>
                      <a:pt x="613" y="457"/>
                    </a:lnTo>
                    <a:lnTo>
                      <a:pt x="613" y="463"/>
                    </a:lnTo>
                    <a:lnTo>
                      <a:pt x="613" y="470"/>
                    </a:lnTo>
                    <a:lnTo>
                      <a:pt x="607" y="470"/>
                    </a:lnTo>
                    <a:lnTo>
                      <a:pt x="601" y="463"/>
                    </a:lnTo>
                    <a:lnTo>
                      <a:pt x="595" y="463"/>
                    </a:lnTo>
                    <a:lnTo>
                      <a:pt x="589" y="463"/>
                    </a:lnTo>
                    <a:lnTo>
                      <a:pt x="583" y="463"/>
                    </a:lnTo>
                    <a:lnTo>
                      <a:pt x="577" y="463"/>
                    </a:lnTo>
                    <a:lnTo>
                      <a:pt x="577" y="470"/>
                    </a:lnTo>
                    <a:lnTo>
                      <a:pt x="571" y="470"/>
                    </a:lnTo>
                    <a:lnTo>
                      <a:pt x="565" y="470"/>
                    </a:lnTo>
                    <a:lnTo>
                      <a:pt x="559" y="470"/>
                    </a:lnTo>
                    <a:lnTo>
                      <a:pt x="553" y="470"/>
                    </a:lnTo>
                    <a:lnTo>
                      <a:pt x="553" y="476"/>
                    </a:lnTo>
                    <a:lnTo>
                      <a:pt x="547" y="482"/>
                    </a:lnTo>
                    <a:lnTo>
                      <a:pt x="541" y="482"/>
                    </a:lnTo>
                    <a:lnTo>
                      <a:pt x="541" y="488"/>
                    </a:lnTo>
                    <a:lnTo>
                      <a:pt x="535" y="488"/>
                    </a:lnTo>
                    <a:lnTo>
                      <a:pt x="535" y="494"/>
                    </a:lnTo>
                    <a:lnTo>
                      <a:pt x="535" y="500"/>
                    </a:lnTo>
                    <a:lnTo>
                      <a:pt x="529" y="500"/>
                    </a:lnTo>
                    <a:lnTo>
                      <a:pt x="523" y="500"/>
                    </a:lnTo>
                    <a:lnTo>
                      <a:pt x="523" y="506"/>
                    </a:lnTo>
                    <a:lnTo>
                      <a:pt x="517" y="512"/>
                    </a:lnTo>
                    <a:lnTo>
                      <a:pt x="517" y="518"/>
                    </a:lnTo>
                    <a:lnTo>
                      <a:pt x="511" y="518"/>
                    </a:lnTo>
                    <a:lnTo>
                      <a:pt x="505" y="518"/>
                    </a:lnTo>
                    <a:lnTo>
                      <a:pt x="499" y="518"/>
                    </a:lnTo>
                    <a:lnTo>
                      <a:pt x="493" y="512"/>
                    </a:lnTo>
                    <a:lnTo>
                      <a:pt x="487" y="512"/>
                    </a:lnTo>
                    <a:lnTo>
                      <a:pt x="481" y="512"/>
                    </a:lnTo>
                    <a:lnTo>
                      <a:pt x="481" y="506"/>
                    </a:lnTo>
                    <a:lnTo>
                      <a:pt x="475" y="506"/>
                    </a:lnTo>
                    <a:lnTo>
                      <a:pt x="475" y="500"/>
                    </a:lnTo>
                    <a:lnTo>
                      <a:pt x="469" y="494"/>
                    </a:lnTo>
                    <a:lnTo>
                      <a:pt x="475" y="494"/>
                    </a:lnTo>
                    <a:lnTo>
                      <a:pt x="481" y="494"/>
                    </a:lnTo>
                    <a:lnTo>
                      <a:pt x="481" y="488"/>
                    </a:lnTo>
                    <a:lnTo>
                      <a:pt x="481" y="482"/>
                    </a:lnTo>
                    <a:lnTo>
                      <a:pt x="487" y="482"/>
                    </a:lnTo>
                    <a:lnTo>
                      <a:pt x="481" y="482"/>
                    </a:lnTo>
                    <a:lnTo>
                      <a:pt x="481" y="476"/>
                    </a:lnTo>
                    <a:lnTo>
                      <a:pt x="487" y="476"/>
                    </a:lnTo>
                    <a:lnTo>
                      <a:pt x="487" y="470"/>
                    </a:lnTo>
                    <a:lnTo>
                      <a:pt x="481" y="470"/>
                    </a:lnTo>
                    <a:lnTo>
                      <a:pt x="481" y="463"/>
                    </a:lnTo>
                    <a:lnTo>
                      <a:pt x="487" y="463"/>
                    </a:lnTo>
                    <a:lnTo>
                      <a:pt x="487" y="457"/>
                    </a:lnTo>
                    <a:lnTo>
                      <a:pt x="481" y="457"/>
                    </a:lnTo>
                    <a:lnTo>
                      <a:pt x="475" y="457"/>
                    </a:lnTo>
                    <a:lnTo>
                      <a:pt x="475" y="451"/>
                    </a:lnTo>
                    <a:lnTo>
                      <a:pt x="469" y="451"/>
                    </a:lnTo>
                    <a:lnTo>
                      <a:pt x="469" y="445"/>
                    </a:lnTo>
                    <a:lnTo>
                      <a:pt x="475" y="445"/>
                    </a:lnTo>
                    <a:lnTo>
                      <a:pt x="475" y="439"/>
                    </a:lnTo>
                    <a:lnTo>
                      <a:pt x="475" y="433"/>
                    </a:lnTo>
                    <a:lnTo>
                      <a:pt x="481" y="433"/>
                    </a:lnTo>
                    <a:lnTo>
                      <a:pt x="481" y="427"/>
                    </a:lnTo>
                    <a:lnTo>
                      <a:pt x="475" y="427"/>
                    </a:lnTo>
                    <a:lnTo>
                      <a:pt x="475" y="421"/>
                    </a:lnTo>
                    <a:lnTo>
                      <a:pt x="475" y="415"/>
                    </a:lnTo>
                    <a:lnTo>
                      <a:pt x="475" y="409"/>
                    </a:lnTo>
                    <a:lnTo>
                      <a:pt x="469" y="409"/>
                    </a:lnTo>
                    <a:lnTo>
                      <a:pt x="463" y="409"/>
                    </a:lnTo>
                    <a:lnTo>
                      <a:pt x="463" y="415"/>
                    </a:lnTo>
                    <a:lnTo>
                      <a:pt x="457" y="415"/>
                    </a:lnTo>
                    <a:lnTo>
                      <a:pt x="451" y="421"/>
                    </a:lnTo>
                    <a:lnTo>
                      <a:pt x="451" y="415"/>
                    </a:lnTo>
                    <a:lnTo>
                      <a:pt x="445" y="415"/>
                    </a:lnTo>
                    <a:lnTo>
                      <a:pt x="439" y="415"/>
                    </a:lnTo>
                    <a:lnTo>
                      <a:pt x="439" y="421"/>
                    </a:lnTo>
                    <a:lnTo>
                      <a:pt x="439" y="433"/>
                    </a:lnTo>
                    <a:lnTo>
                      <a:pt x="439" y="439"/>
                    </a:lnTo>
                    <a:lnTo>
                      <a:pt x="433" y="445"/>
                    </a:lnTo>
                    <a:lnTo>
                      <a:pt x="427" y="445"/>
                    </a:lnTo>
                    <a:lnTo>
                      <a:pt x="421" y="439"/>
                    </a:lnTo>
                    <a:lnTo>
                      <a:pt x="415" y="439"/>
                    </a:lnTo>
                    <a:lnTo>
                      <a:pt x="409" y="439"/>
                    </a:lnTo>
                    <a:lnTo>
                      <a:pt x="409" y="433"/>
                    </a:lnTo>
                    <a:lnTo>
                      <a:pt x="403" y="433"/>
                    </a:lnTo>
                    <a:lnTo>
                      <a:pt x="403" y="427"/>
                    </a:lnTo>
                    <a:lnTo>
                      <a:pt x="397" y="427"/>
                    </a:lnTo>
                    <a:lnTo>
                      <a:pt x="397" y="421"/>
                    </a:lnTo>
                    <a:lnTo>
                      <a:pt x="391" y="421"/>
                    </a:lnTo>
                    <a:lnTo>
                      <a:pt x="391" y="427"/>
                    </a:lnTo>
                    <a:lnTo>
                      <a:pt x="391" y="433"/>
                    </a:lnTo>
                    <a:lnTo>
                      <a:pt x="385" y="439"/>
                    </a:lnTo>
                    <a:lnTo>
                      <a:pt x="391" y="439"/>
                    </a:lnTo>
                    <a:lnTo>
                      <a:pt x="391" y="445"/>
                    </a:lnTo>
                    <a:lnTo>
                      <a:pt x="391" y="451"/>
                    </a:lnTo>
                    <a:lnTo>
                      <a:pt x="385" y="451"/>
                    </a:lnTo>
                    <a:lnTo>
                      <a:pt x="385" y="457"/>
                    </a:lnTo>
                    <a:lnTo>
                      <a:pt x="385" y="463"/>
                    </a:lnTo>
                    <a:lnTo>
                      <a:pt x="391" y="463"/>
                    </a:lnTo>
                    <a:lnTo>
                      <a:pt x="397" y="470"/>
                    </a:lnTo>
                    <a:lnTo>
                      <a:pt x="391" y="470"/>
                    </a:lnTo>
                    <a:lnTo>
                      <a:pt x="397" y="470"/>
                    </a:lnTo>
                    <a:lnTo>
                      <a:pt x="397" y="476"/>
                    </a:lnTo>
                    <a:lnTo>
                      <a:pt x="391" y="476"/>
                    </a:lnTo>
                    <a:lnTo>
                      <a:pt x="391" y="482"/>
                    </a:lnTo>
                    <a:lnTo>
                      <a:pt x="385" y="482"/>
                    </a:lnTo>
                    <a:lnTo>
                      <a:pt x="385" y="488"/>
                    </a:lnTo>
                    <a:lnTo>
                      <a:pt x="379" y="482"/>
                    </a:lnTo>
                    <a:lnTo>
                      <a:pt x="373" y="482"/>
                    </a:lnTo>
                    <a:lnTo>
                      <a:pt x="373" y="476"/>
                    </a:lnTo>
                    <a:lnTo>
                      <a:pt x="367" y="476"/>
                    </a:lnTo>
                    <a:lnTo>
                      <a:pt x="367" y="482"/>
                    </a:lnTo>
                    <a:lnTo>
                      <a:pt x="361" y="482"/>
                    </a:lnTo>
                    <a:lnTo>
                      <a:pt x="355" y="482"/>
                    </a:lnTo>
                    <a:lnTo>
                      <a:pt x="349" y="482"/>
                    </a:lnTo>
                    <a:lnTo>
                      <a:pt x="343" y="482"/>
                    </a:lnTo>
                    <a:lnTo>
                      <a:pt x="337" y="482"/>
                    </a:lnTo>
                    <a:lnTo>
                      <a:pt x="331" y="488"/>
                    </a:lnTo>
                    <a:lnTo>
                      <a:pt x="324" y="494"/>
                    </a:lnTo>
                    <a:lnTo>
                      <a:pt x="324" y="500"/>
                    </a:lnTo>
                    <a:lnTo>
                      <a:pt x="331" y="500"/>
                    </a:lnTo>
                    <a:lnTo>
                      <a:pt x="331" y="506"/>
                    </a:lnTo>
                    <a:lnTo>
                      <a:pt x="331" y="512"/>
                    </a:lnTo>
                    <a:lnTo>
                      <a:pt x="331" y="518"/>
                    </a:lnTo>
                    <a:lnTo>
                      <a:pt x="324" y="524"/>
                    </a:lnTo>
                    <a:lnTo>
                      <a:pt x="318" y="524"/>
                    </a:lnTo>
                    <a:lnTo>
                      <a:pt x="312" y="518"/>
                    </a:lnTo>
                    <a:lnTo>
                      <a:pt x="312" y="512"/>
                    </a:lnTo>
                    <a:lnTo>
                      <a:pt x="306" y="512"/>
                    </a:lnTo>
                    <a:lnTo>
                      <a:pt x="300" y="512"/>
                    </a:lnTo>
                    <a:lnTo>
                      <a:pt x="300" y="506"/>
                    </a:lnTo>
                    <a:lnTo>
                      <a:pt x="294" y="506"/>
                    </a:lnTo>
                    <a:lnTo>
                      <a:pt x="288" y="506"/>
                    </a:lnTo>
                    <a:lnTo>
                      <a:pt x="282" y="506"/>
                    </a:lnTo>
                    <a:lnTo>
                      <a:pt x="276" y="500"/>
                    </a:lnTo>
                    <a:lnTo>
                      <a:pt x="270" y="506"/>
                    </a:lnTo>
                    <a:lnTo>
                      <a:pt x="270" y="500"/>
                    </a:lnTo>
                    <a:lnTo>
                      <a:pt x="264" y="500"/>
                    </a:lnTo>
                    <a:lnTo>
                      <a:pt x="258" y="500"/>
                    </a:lnTo>
                    <a:lnTo>
                      <a:pt x="252" y="500"/>
                    </a:lnTo>
                    <a:lnTo>
                      <a:pt x="252" y="494"/>
                    </a:lnTo>
                    <a:lnTo>
                      <a:pt x="252" y="488"/>
                    </a:lnTo>
                    <a:lnTo>
                      <a:pt x="252" y="482"/>
                    </a:lnTo>
                    <a:lnTo>
                      <a:pt x="246" y="482"/>
                    </a:lnTo>
                    <a:lnTo>
                      <a:pt x="246" y="476"/>
                    </a:lnTo>
                    <a:lnTo>
                      <a:pt x="240" y="476"/>
                    </a:lnTo>
                    <a:lnTo>
                      <a:pt x="240" y="463"/>
                    </a:lnTo>
                    <a:lnTo>
                      <a:pt x="234" y="463"/>
                    </a:lnTo>
                    <a:lnTo>
                      <a:pt x="228" y="463"/>
                    </a:lnTo>
                    <a:lnTo>
                      <a:pt x="222" y="463"/>
                    </a:lnTo>
                    <a:lnTo>
                      <a:pt x="216" y="470"/>
                    </a:lnTo>
                    <a:lnTo>
                      <a:pt x="210" y="463"/>
                    </a:lnTo>
                    <a:lnTo>
                      <a:pt x="210" y="470"/>
                    </a:lnTo>
                    <a:lnTo>
                      <a:pt x="204" y="470"/>
                    </a:lnTo>
                    <a:lnTo>
                      <a:pt x="204" y="463"/>
                    </a:lnTo>
                    <a:lnTo>
                      <a:pt x="204" y="457"/>
                    </a:lnTo>
                    <a:lnTo>
                      <a:pt x="198" y="457"/>
                    </a:lnTo>
                    <a:lnTo>
                      <a:pt x="198" y="463"/>
                    </a:lnTo>
                    <a:lnTo>
                      <a:pt x="192" y="470"/>
                    </a:lnTo>
                    <a:lnTo>
                      <a:pt x="186" y="470"/>
                    </a:lnTo>
                    <a:lnTo>
                      <a:pt x="186" y="476"/>
                    </a:lnTo>
                    <a:lnTo>
                      <a:pt x="180" y="476"/>
                    </a:lnTo>
                    <a:lnTo>
                      <a:pt x="186" y="476"/>
                    </a:lnTo>
                    <a:lnTo>
                      <a:pt x="186" y="482"/>
                    </a:lnTo>
                    <a:lnTo>
                      <a:pt x="180" y="482"/>
                    </a:lnTo>
                    <a:lnTo>
                      <a:pt x="186" y="482"/>
                    </a:lnTo>
                    <a:lnTo>
                      <a:pt x="186" y="488"/>
                    </a:lnTo>
                    <a:lnTo>
                      <a:pt x="180" y="488"/>
                    </a:lnTo>
                    <a:lnTo>
                      <a:pt x="180" y="494"/>
                    </a:lnTo>
                    <a:lnTo>
                      <a:pt x="174" y="494"/>
                    </a:lnTo>
                    <a:lnTo>
                      <a:pt x="180" y="494"/>
                    </a:lnTo>
                    <a:lnTo>
                      <a:pt x="180" y="500"/>
                    </a:lnTo>
                    <a:lnTo>
                      <a:pt x="174" y="500"/>
                    </a:lnTo>
                    <a:lnTo>
                      <a:pt x="168" y="500"/>
                    </a:lnTo>
                    <a:lnTo>
                      <a:pt x="168" y="506"/>
                    </a:lnTo>
                    <a:lnTo>
                      <a:pt x="168" y="512"/>
                    </a:lnTo>
                    <a:lnTo>
                      <a:pt x="162" y="512"/>
                    </a:lnTo>
                    <a:lnTo>
                      <a:pt x="156" y="518"/>
                    </a:lnTo>
                    <a:lnTo>
                      <a:pt x="150" y="518"/>
                    </a:lnTo>
                    <a:lnTo>
                      <a:pt x="144" y="524"/>
                    </a:lnTo>
                    <a:lnTo>
                      <a:pt x="138" y="518"/>
                    </a:lnTo>
                    <a:lnTo>
                      <a:pt x="144" y="512"/>
                    </a:lnTo>
                    <a:lnTo>
                      <a:pt x="144" y="506"/>
                    </a:lnTo>
                    <a:lnTo>
                      <a:pt x="138" y="500"/>
                    </a:lnTo>
                    <a:lnTo>
                      <a:pt x="138" y="494"/>
                    </a:lnTo>
                    <a:lnTo>
                      <a:pt x="132" y="488"/>
                    </a:lnTo>
                    <a:lnTo>
                      <a:pt x="120" y="488"/>
                    </a:lnTo>
                    <a:lnTo>
                      <a:pt x="114" y="488"/>
                    </a:lnTo>
                    <a:lnTo>
                      <a:pt x="114" y="482"/>
                    </a:lnTo>
                    <a:lnTo>
                      <a:pt x="108" y="476"/>
                    </a:lnTo>
                    <a:lnTo>
                      <a:pt x="108" y="470"/>
                    </a:lnTo>
                    <a:lnTo>
                      <a:pt x="102" y="476"/>
                    </a:lnTo>
                    <a:lnTo>
                      <a:pt x="96" y="476"/>
                    </a:lnTo>
                    <a:lnTo>
                      <a:pt x="90" y="476"/>
                    </a:lnTo>
                    <a:lnTo>
                      <a:pt x="84" y="470"/>
                    </a:lnTo>
                    <a:lnTo>
                      <a:pt x="84" y="463"/>
                    </a:lnTo>
                    <a:lnTo>
                      <a:pt x="84" y="457"/>
                    </a:lnTo>
                    <a:lnTo>
                      <a:pt x="78" y="451"/>
                    </a:lnTo>
                    <a:lnTo>
                      <a:pt x="78" y="445"/>
                    </a:lnTo>
                    <a:lnTo>
                      <a:pt x="78" y="439"/>
                    </a:lnTo>
                    <a:lnTo>
                      <a:pt x="78" y="433"/>
                    </a:lnTo>
                    <a:lnTo>
                      <a:pt x="72" y="427"/>
                    </a:lnTo>
                    <a:lnTo>
                      <a:pt x="78" y="421"/>
                    </a:lnTo>
                    <a:lnTo>
                      <a:pt x="72" y="415"/>
                    </a:lnTo>
                    <a:lnTo>
                      <a:pt x="78" y="409"/>
                    </a:lnTo>
                    <a:lnTo>
                      <a:pt x="72" y="409"/>
                    </a:lnTo>
                    <a:lnTo>
                      <a:pt x="72" y="403"/>
                    </a:lnTo>
                    <a:lnTo>
                      <a:pt x="72" y="397"/>
                    </a:lnTo>
                    <a:lnTo>
                      <a:pt x="72" y="391"/>
                    </a:lnTo>
                    <a:lnTo>
                      <a:pt x="78" y="391"/>
                    </a:lnTo>
                    <a:lnTo>
                      <a:pt x="78" y="385"/>
                    </a:lnTo>
                    <a:lnTo>
                      <a:pt x="78" y="379"/>
                    </a:lnTo>
                    <a:lnTo>
                      <a:pt x="78" y="373"/>
                    </a:lnTo>
                    <a:lnTo>
                      <a:pt x="78" y="367"/>
                    </a:lnTo>
                    <a:lnTo>
                      <a:pt x="78" y="361"/>
                    </a:lnTo>
                    <a:lnTo>
                      <a:pt x="78" y="355"/>
                    </a:lnTo>
                    <a:lnTo>
                      <a:pt x="72" y="355"/>
                    </a:lnTo>
                    <a:lnTo>
                      <a:pt x="72" y="349"/>
                    </a:lnTo>
                    <a:lnTo>
                      <a:pt x="66" y="343"/>
                    </a:lnTo>
                    <a:lnTo>
                      <a:pt x="60" y="343"/>
                    </a:lnTo>
                    <a:lnTo>
                      <a:pt x="54" y="349"/>
                    </a:lnTo>
                    <a:lnTo>
                      <a:pt x="54" y="343"/>
                    </a:lnTo>
                    <a:lnTo>
                      <a:pt x="48" y="343"/>
                    </a:lnTo>
                    <a:lnTo>
                      <a:pt x="42" y="343"/>
                    </a:lnTo>
                    <a:lnTo>
                      <a:pt x="42" y="349"/>
                    </a:lnTo>
                    <a:lnTo>
                      <a:pt x="36" y="355"/>
                    </a:lnTo>
                    <a:lnTo>
                      <a:pt x="36" y="361"/>
                    </a:lnTo>
                    <a:lnTo>
                      <a:pt x="36" y="367"/>
                    </a:lnTo>
                    <a:lnTo>
                      <a:pt x="30" y="361"/>
                    </a:lnTo>
                    <a:lnTo>
                      <a:pt x="24" y="367"/>
                    </a:lnTo>
                    <a:lnTo>
                      <a:pt x="18" y="367"/>
                    </a:lnTo>
                    <a:lnTo>
                      <a:pt x="12" y="367"/>
                    </a:lnTo>
                    <a:lnTo>
                      <a:pt x="6" y="367"/>
                    </a:lnTo>
                    <a:lnTo>
                      <a:pt x="0" y="367"/>
                    </a:lnTo>
                    <a:lnTo>
                      <a:pt x="0" y="361"/>
                    </a:lnTo>
                    <a:lnTo>
                      <a:pt x="0" y="355"/>
                    </a:lnTo>
                    <a:lnTo>
                      <a:pt x="6" y="355"/>
                    </a:lnTo>
                    <a:lnTo>
                      <a:pt x="6" y="349"/>
                    </a:lnTo>
                    <a:lnTo>
                      <a:pt x="12" y="343"/>
                    </a:lnTo>
                    <a:lnTo>
                      <a:pt x="12" y="337"/>
                    </a:lnTo>
                    <a:lnTo>
                      <a:pt x="18" y="331"/>
                    </a:lnTo>
                    <a:lnTo>
                      <a:pt x="18" y="337"/>
                    </a:lnTo>
                    <a:lnTo>
                      <a:pt x="24" y="337"/>
                    </a:lnTo>
                    <a:lnTo>
                      <a:pt x="24" y="331"/>
                    </a:lnTo>
                    <a:lnTo>
                      <a:pt x="24" y="325"/>
                    </a:lnTo>
                    <a:lnTo>
                      <a:pt x="24" y="319"/>
                    </a:lnTo>
                    <a:lnTo>
                      <a:pt x="30" y="319"/>
                    </a:lnTo>
                    <a:lnTo>
                      <a:pt x="36" y="313"/>
                    </a:lnTo>
                    <a:lnTo>
                      <a:pt x="36" y="319"/>
                    </a:lnTo>
                    <a:lnTo>
                      <a:pt x="42" y="313"/>
                    </a:lnTo>
                    <a:lnTo>
                      <a:pt x="36" y="313"/>
                    </a:lnTo>
                    <a:lnTo>
                      <a:pt x="36" y="307"/>
                    </a:lnTo>
                    <a:lnTo>
                      <a:pt x="42" y="301"/>
                    </a:lnTo>
                    <a:lnTo>
                      <a:pt x="48" y="301"/>
                    </a:lnTo>
                    <a:lnTo>
                      <a:pt x="48" y="307"/>
                    </a:lnTo>
                    <a:lnTo>
                      <a:pt x="54" y="307"/>
                    </a:lnTo>
                    <a:lnTo>
                      <a:pt x="60" y="307"/>
                    </a:lnTo>
                    <a:lnTo>
                      <a:pt x="60" y="301"/>
                    </a:lnTo>
                    <a:lnTo>
                      <a:pt x="60" y="295"/>
                    </a:lnTo>
                    <a:lnTo>
                      <a:pt x="54" y="295"/>
                    </a:lnTo>
                    <a:lnTo>
                      <a:pt x="54" y="289"/>
                    </a:lnTo>
                    <a:lnTo>
                      <a:pt x="60" y="289"/>
                    </a:lnTo>
                    <a:lnTo>
                      <a:pt x="60" y="283"/>
                    </a:lnTo>
                    <a:lnTo>
                      <a:pt x="54" y="283"/>
                    </a:lnTo>
                    <a:lnTo>
                      <a:pt x="48" y="283"/>
                    </a:lnTo>
                    <a:lnTo>
                      <a:pt x="42" y="283"/>
                    </a:lnTo>
                    <a:lnTo>
                      <a:pt x="36" y="283"/>
                    </a:lnTo>
                    <a:lnTo>
                      <a:pt x="36" y="277"/>
                    </a:lnTo>
                    <a:lnTo>
                      <a:pt x="30" y="277"/>
                    </a:lnTo>
                    <a:lnTo>
                      <a:pt x="30" y="271"/>
                    </a:lnTo>
                    <a:lnTo>
                      <a:pt x="36" y="271"/>
                    </a:lnTo>
                    <a:lnTo>
                      <a:pt x="30" y="271"/>
                    </a:lnTo>
                    <a:lnTo>
                      <a:pt x="30" y="265"/>
                    </a:lnTo>
                    <a:lnTo>
                      <a:pt x="24" y="271"/>
                    </a:lnTo>
                    <a:lnTo>
                      <a:pt x="24" y="265"/>
                    </a:lnTo>
                    <a:lnTo>
                      <a:pt x="24" y="271"/>
                    </a:lnTo>
                    <a:lnTo>
                      <a:pt x="24" y="265"/>
                    </a:lnTo>
                    <a:lnTo>
                      <a:pt x="30" y="265"/>
                    </a:lnTo>
                    <a:lnTo>
                      <a:pt x="30" y="259"/>
                    </a:lnTo>
                    <a:lnTo>
                      <a:pt x="30" y="253"/>
                    </a:lnTo>
                    <a:lnTo>
                      <a:pt x="30" y="247"/>
                    </a:lnTo>
                    <a:lnTo>
                      <a:pt x="36" y="247"/>
                    </a:lnTo>
                    <a:lnTo>
                      <a:pt x="30" y="247"/>
                    </a:lnTo>
                    <a:lnTo>
                      <a:pt x="36" y="241"/>
                    </a:lnTo>
                    <a:lnTo>
                      <a:pt x="30" y="241"/>
                    </a:lnTo>
                    <a:lnTo>
                      <a:pt x="36" y="241"/>
                    </a:lnTo>
                    <a:lnTo>
                      <a:pt x="42" y="241"/>
                    </a:lnTo>
                    <a:lnTo>
                      <a:pt x="42" y="235"/>
                    </a:lnTo>
                    <a:lnTo>
                      <a:pt x="54" y="229"/>
                    </a:lnTo>
                    <a:lnTo>
                      <a:pt x="66" y="229"/>
                    </a:lnTo>
                    <a:lnTo>
                      <a:pt x="84" y="223"/>
                    </a:lnTo>
                    <a:lnTo>
                      <a:pt x="120" y="223"/>
                    </a:lnTo>
                    <a:lnTo>
                      <a:pt x="126" y="223"/>
                    </a:lnTo>
                    <a:lnTo>
                      <a:pt x="138" y="205"/>
                    </a:lnTo>
                    <a:lnTo>
                      <a:pt x="144" y="205"/>
                    </a:lnTo>
                    <a:lnTo>
                      <a:pt x="162" y="193"/>
                    </a:lnTo>
                    <a:lnTo>
                      <a:pt x="180" y="181"/>
                    </a:lnTo>
                    <a:lnTo>
                      <a:pt x="186" y="181"/>
                    </a:lnTo>
                    <a:lnTo>
                      <a:pt x="186" y="175"/>
                    </a:lnTo>
                    <a:lnTo>
                      <a:pt x="192" y="175"/>
                    </a:lnTo>
                    <a:lnTo>
                      <a:pt x="198" y="175"/>
                    </a:lnTo>
                    <a:lnTo>
                      <a:pt x="204" y="175"/>
                    </a:lnTo>
                    <a:lnTo>
                      <a:pt x="210" y="169"/>
                    </a:lnTo>
                    <a:lnTo>
                      <a:pt x="216" y="169"/>
                    </a:lnTo>
                    <a:lnTo>
                      <a:pt x="216" y="163"/>
                    </a:lnTo>
                    <a:lnTo>
                      <a:pt x="222" y="163"/>
                    </a:lnTo>
                    <a:lnTo>
                      <a:pt x="222" y="157"/>
                    </a:lnTo>
                    <a:lnTo>
                      <a:pt x="228" y="157"/>
                    </a:lnTo>
                    <a:lnTo>
                      <a:pt x="222" y="151"/>
                    </a:lnTo>
                    <a:lnTo>
                      <a:pt x="222" y="145"/>
                    </a:lnTo>
                    <a:lnTo>
                      <a:pt x="228" y="139"/>
                    </a:lnTo>
                    <a:lnTo>
                      <a:pt x="222" y="139"/>
                    </a:lnTo>
                    <a:lnTo>
                      <a:pt x="228" y="139"/>
                    </a:lnTo>
                    <a:lnTo>
                      <a:pt x="228" y="133"/>
                    </a:lnTo>
                    <a:lnTo>
                      <a:pt x="234" y="133"/>
                    </a:lnTo>
                    <a:lnTo>
                      <a:pt x="234" y="127"/>
                    </a:lnTo>
                    <a:lnTo>
                      <a:pt x="240" y="127"/>
                    </a:lnTo>
                    <a:lnTo>
                      <a:pt x="246" y="127"/>
                    </a:lnTo>
                    <a:lnTo>
                      <a:pt x="246" y="121"/>
                    </a:lnTo>
                    <a:lnTo>
                      <a:pt x="252" y="121"/>
                    </a:lnTo>
                    <a:lnTo>
                      <a:pt x="258" y="121"/>
                    </a:lnTo>
                    <a:lnTo>
                      <a:pt x="258" y="115"/>
                    </a:lnTo>
                    <a:lnTo>
                      <a:pt x="264" y="115"/>
                    </a:lnTo>
                    <a:lnTo>
                      <a:pt x="264" y="109"/>
                    </a:lnTo>
                    <a:lnTo>
                      <a:pt x="264" y="115"/>
                    </a:lnTo>
                    <a:lnTo>
                      <a:pt x="270" y="115"/>
                    </a:lnTo>
                    <a:lnTo>
                      <a:pt x="270" y="109"/>
                    </a:lnTo>
                    <a:lnTo>
                      <a:pt x="270" y="103"/>
                    </a:lnTo>
                    <a:lnTo>
                      <a:pt x="270" y="97"/>
                    </a:lnTo>
                    <a:lnTo>
                      <a:pt x="276" y="97"/>
                    </a:lnTo>
                    <a:lnTo>
                      <a:pt x="276" y="91"/>
                    </a:lnTo>
                    <a:lnTo>
                      <a:pt x="282" y="91"/>
                    </a:lnTo>
                    <a:lnTo>
                      <a:pt x="288" y="91"/>
                    </a:lnTo>
                    <a:lnTo>
                      <a:pt x="288" y="85"/>
                    </a:lnTo>
                    <a:lnTo>
                      <a:pt x="294" y="85"/>
                    </a:lnTo>
                    <a:lnTo>
                      <a:pt x="294" y="79"/>
                    </a:lnTo>
                    <a:lnTo>
                      <a:pt x="300" y="79"/>
                    </a:lnTo>
                    <a:lnTo>
                      <a:pt x="300" y="73"/>
                    </a:lnTo>
                    <a:lnTo>
                      <a:pt x="300" y="79"/>
                    </a:lnTo>
                    <a:lnTo>
                      <a:pt x="300" y="85"/>
                    </a:lnTo>
                    <a:lnTo>
                      <a:pt x="294" y="85"/>
                    </a:lnTo>
                    <a:lnTo>
                      <a:pt x="294" y="91"/>
                    </a:lnTo>
                    <a:lnTo>
                      <a:pt x="300" y="91"/>
                    </a:lnTo>
                    <a:lnTo>
                      <a:pt x="300" y="97"/>
                    </a:lnTo>
                    <a:lnTo>
                      <a:pt x="300" y="103"/>
                    </a:lnTo>
                    <a:lnTo>
                      <a:pt x="306" y="109"/>
                    </a:lnTo>
                    <a:lnTo>
                      <a:pt x="306" y="115"/>
                    </a:lnTo>
                    <a:lnTo>
                      <a:pt x="300" y="115"/>
                    </a:lnTo>
                    <a:lnTo>
                      <a:pt x="300" y="121"/>
                    </a:lnTo>
                    <a:lnTo>
                      <a:pt x="306" y="121"/>
                    </a:lnTo>
                    <a:lnTo>
                      <a:pt x="312" y="127"/>
                    </a:lnTo>
                    <a:lnTo>
                      <a:pt x="306" y="127"/>
                    </a:lnTo>
                    <a:lnTo>
                      <a:pt x="306" y="133"/>
                    </a:lnTo>
                    <a:lnTo>
                      <a:pt x="300" y="133"/>
                    </a:lnTo>
                    <a:lnTo>
                      <a:pt x="300" y="139"/>
                    </a:lnTo>
                    <a:lnTo>
                      <a:pt x="306" y="139"/>
                    </a:lnTo>
                    <a:lnTo>
                      <a:pt x="306" y="145"/>
                    </a:lnTo>
                    <a:lnTo>
                      <a:pt x="300" y="145"/>
                    </a:lnTo>
                    <a:lnTo>
                      <a:pt x="300" y="151"/>
                    </a:lnTo>
                    <a:lnTo>
                      <a:pt x="294" y="151"/>
                    </a:lnTo>
                    <a:lnTo>
                      <a:pt x="294" y="157"/>
                    </a:lnTo>
                    <a:lnTo>
                      <a:pt x="300" y="157"/>
                    </a:lnTo>
                    <a:lnTo>
                      <a:pt x="306" y="157"/>
                    </a:lnTo>
                    <a:lnTo>
                      <a:pt x="306" y="163"/>
                    </a:lnTo>
                    <a:lnTo>
                      <a:pt x="300" y="169"/>
                    </a:lnTo>
                    <a:lnTo>
                      <a:pt x="306" y="169"/>
                    </a:lnTo>
                    <a:lnTo>
                      <a:pt x="312" y="169"/>
                    </a:lnTo>
                    <a:lnTo>
                      <a:pt x="324" y="169"/>
                    </a:lnTo>
                    <a:lnTo>
                      <a:pt x="331" y="169"/>
                    </a:lnTo>
                    <a:lnTo>
                      <a:pt x="337" y="169"/>
                    </a:lnTo>
                    <a:lnTo>
                      <a:pt x="337" y="193"/>
                    </a:lnTo>
                    <a:lnTo>
                      <a:pt x="343" y="187"/>
                    </a:lnTo>
                    <a:lnTo>
                      <a:pt x="349" y="193"/>
                    </a:lnTo>
                    <a:lnTo>
                      <a:pt x="355" y="199"/>
                    </a:lnTo>
                    <a:lnTo>
                      <a:pt x="367" y="199"/>
                    </a:lnTo>
                    <a:lnTo>
                      <a:pt x="385" y="205"/>
                    </a:lnTo>
                    <a:lnTo>
                      <a:pt x="391" y="205"/>
                    </a:lnTo>
                    <a:lnTo>
                      <a:pt x="397" y="205"/>
                    </a:lnTo>
                    <a:lnTo>
                      <a:pt x="397" y="211"/>
                    </a:lnTo>
                    <a:lnTo>
                      <a:pt x="403" y="211"/>
                    </a:lnTo>
                    <a:lnTo>
                      <a:pt x="409" y="211"/>
                    </a:lnTo>
                    <a:lnTo>
                      <a:pt x="409" y="217"/>
                    </a:lnTo>
                    <a:lnTo>
                      <a:pt x="409" y="223"/>
                    </a:lnTo>
                    <a:lnTo>
                      <a:pt x="409" y="229"/>
                    </a:lnTo>
                    <a:lnTo>
                      <a:pt x="409" y="235"/>
                    </a:lnTo>
                    <a:lnTo>
                      <a:pt x="415" y="235"/>
                    </a:lnTo>
                    <a:lnTo>
                      <a:pt x="421" y="229"/>
                    </a:lnTo>
                    <a:lnTo>
                      <a:pt x="421" y="223"/>
                    </a:lnTo>
                    <a:lnTo>
                      <a:pt x="427" y="223"/>
                    </a:lnTo>
                    <a:lnTo>
                      <a:pt x="421" y="223"/>
                    </a:lnTo>
                    <a:lnTo>
                      <a:pt x="421" y="217"/>
                    </a:lnTo>
                    <a:lnTo>
                      <a:pt x="427" y="211"/>
                    </a:lnTo>
                    <a:lnTo>
                      <a:pt x="433" y="205"/>
                    </a:lnTo>
                    <a:lnTo>
                      <a:pt x="433" y="199"/>
                    </a:lnTo>
                    <a:lnTo>
                      <a:pt x="439" y="193"/>
                    </a:lnTo>
                    <a:lnTo>
                      <a:pt x="439" y="187"/>
                    </a:lnTo>
                    <a:lnTo>
                      <a:pt x="445" y="187"/>
                    </a:lnTo>
                    <a:lnTo>
                      <a:pt x="445" y="181"/>
                    </a:lnTo>
                    <a:lnTo>
                      <a:pt x="445" y="175"/>
                    </a:lnTo>
                    <a:lnTo>
                      <a:pt x="451" y="175"/>
                    </a:lnTo>
                    <a:lnTo>
                      <a:pt x="445" y="169"/>
                    </a:lnTo>
                    <a:lnTo>
                      <a:pt x="445" y="163"/>
                    </a:lnTo>
                    <a:lnTo>
                      <a:pt x="445" y="157"/>
                    </a:lnTo>
                    <a:lnTo>
                      <a:pt x="451" y="151"/>
                    </a:lnTo>
                    <a:lnTo>
                      <a:pt x="451" y="145"/>
                    </a:lnTo>
                    <a:lnTo>
                      <a:pt x="457" y="145"/>
                    </a:lnTo>
                    <a:lnTo>
                      <a:pt x="469" y="145"/>
                    </a:lnTo>
                    <a:lnTo>
                      <a:pt x="481" y="151"/>
                    </a:lnTo>
                    <a:lnTo>
                      <a:pt x="487" y="157"/>
                    </a:lnTo>
                    <a:lnTo>
                      <a:pt x="493" y="151"/>
                    </a:lnTo>
                    <a:lnTo>
                      <a:pt x="487" y="145"/>
                    </a:lnTo>
                    <a:lnTo>
                      <a:pt x="493" y="133"/>
                    </a:lnTo>
                    <a:lnTo>
                      <a:pt x="499" y="133"/>
                    </a:lnTo>
                    <a:lnTo>
                      <a:pt x="511" y="133"/>
                    </a:lnTo>
                    <a:lnTo>
                      <a:pt x="523" y="133"/>
                    </a:lnTo>
                    <a:lnTo>
                      <a:pt x="523" y="115"/>
                    </a:lnTo>
                    <a:lnTo>
                      <a:pt x="517" y="115"/>
                    </a:lnTo>
                    <a:lnTo>
                      <a:pt x="517" y="109"/>
                    </a:lnTo>
                    <a:lnTo>
                      <a:pt x="517" y="103"/>
                    </a:lnTo>
                    <a:lnTo>
                      <a:pt x="517" y="97"/>
                    </a:lnTo>
                    <a:lnTo>
                      <a:pt x="511" y="97"/>
                    </a:lnTo>
                    <a:lnTo>
                      <a:pt x="511" y="103"/>
                    </a:lnTo>
                    <a:lnTo>
                      <a:pt x="505" y="103"/>
                    </a:lnTo>
                    <a:lnTo>
                      <a:pt x="499" y="103"/>
                    </a:lnTo>
                    <a:lnTo>
                      <a:pt x="493" y="103"/>
                    </a:lnTo>
                    <a:lnTo>
                      <a:pt x="493" y="97"/>
                    </a:lnTo>
                    <a:lnTo>
                      <a:pt x="487" y="91"/>
                    </a:lnTo>
                    <a:lnTo>
                      <a:pt x="487" y="85"/>
                    </a:lnTo>
                    <a:lnTo>
                      <a:pt x="481" y="85"/>
                    </a:lnTo>
                    <a:lnTo>
                      <a:pt x="475" y="85"/>
                    </a:lnTo>
                    <a:lnTo>
                      <a:pt x="469" y="85"/>
                    </a:lnTo>
                    <a:lnTo>
                      <a:pt x="469" y="79"/>
                    </a:lnTo>
                    <a:lnTo>
                      <a:pt x="469" y="73"/>
                    </a:lnTo>
                    <a:lnTo>
                      <a:pt x="463" y="67"/>
                    </a:lnTo>
                    <a:lnTo>
                      <a:pt x="469" y="67"/>
                    </a:lnTo>
                    <a:lnTo>
                      <a:pt x="469" y="61"/>
                    </a:lnTo>
                    <a:lnTo>
                      <a:pt x="469" y="55"/>
                    </a:lnTo>
                    <a:close/>
                  </a:path>
                </a:pathLst>
              </a:custGeom>
              <a:solidFill>
                <a:schemeClr val="accent3"/>
              </a:solidFill>
              <a:ln w="9525">
                <a:solidFill>
                  <a:srgbClr val="808080"/>
                </a:solidFill>
                <a:round/>
                <a:headEnd/>
                <a:tailEnd/>
              </a:ln>
            </p:spPr>
            <p:txBody>
              <a:bodyPr/>
              <a:lstStyle/>
              <a:p>
                <a:pPr fontAlgn="base">
                  <a:spcBef>
                    <a:spcPct val="0"/>
                  </a:spcBef>
                  <a:spcAft>
                    <a:spcPct val="0"/>
                  </a:spcAft>
                  <a:buClrTx/>
                  <a:buFontTx/>
                  <a:buNone/>
                </a:pPr>
                <a:endParaRPr lang="en-US" sz="1600" kern="1200" dirty="0">
                  <a:latin typeface="Arial" charset="0"/>
                  <a:ea typeface="+mn-ea"/>
                  <a:cs typeface="+mn-cs"/>
                </a:endParaRPr>
              </a:p>
            </p:txBody>
          </p:sp>
          <p:sp>
            <p:nvSpPr>
              <p:cNvPr id="121" name="Freeform 63"/>
              <p:cNvSpPr>
                <a:spLocks/>
              </p:cNvSpPr>
              <p:nvPr/>
            </p:nvSpPr>
            <p:spPr bwMode="auto">
              <a:xfrm>
                <a:off x="1189038" y="4343400"/>
                <a:ext cx="946150" cy="946150"/>
              </a:xfrm>
              <a:custGeom>
                <a:avLst/>
                <a:gdLst>
                  <a:gd name="T0" fmla="*/ 175 w 596"/>
                  <a:gd name="T1" fmla="*/ 12 h 596"/>
                  <a:gd name="T2" fmla="*/ 205 w 596"/>
                  <a:gd name="T3" fmla="*/ 12 h 596"/>
                  <a:gd name="T4" fmla="*/ 265 w 596"/>
                  <a:gd name="T5" fmla="*/ 12 h 596"/>
                  <a:gd name="T6" fmla="*/ 295 w 596"/>
                  <a:gd name="T7" fmla="*/ 12 h 596"/>
                  <a:gd name="T8" fmla="*/ 331 w 596"/>
                  <a:gd name="T9" fmla="*/ 12 h 596"/>
                  <a:gd name="T10" fmla="*/ 368 w 596"/>
                  <a:gd name="T11" fmla="*/ 42 h 596"/>
                  <a:gd name="T12" fmla="*/ 343 w 596"/>
                  <a:gd name="T13" fmla="*/ 115 h 596"/>
                  <a:gd name="T14" fmla="*/ 289 w 596"/>
                  <a:gd name="T15" fmla="*/ 139 h 596"/>
                  <a:gd name="T16" fmla="*/ 277 w 596"/>
                  <a:gd name="T17" fmla="*/ 181 h 596"/>
                  <a:gd name="T18" fmla="*/ 301 w 596"/>
                  <a:gd name="T19" fmla="*/ 223 h 596"/>
                  <a:gd name="T20" fmla="*/ 362 w 596"/>
                  <a:gd name="T21" fmla="*/ 271 h 596"/>
                  <a:gd name="T22" fmla="*/ 374 w 596"/>
                  <a:gd name="T23" fmla="*/ 319 h 596"/>
                  <a:gd name="T24" fmla="*/ 428 w 596"/>
                  <a:gd name="T25" fmla="*/ 325 h 596"/>
                  <a:gd name="T26" fmla="*/ 428 w 596"/>
                  <a:gd name="T27" fmla="*/ 355 h 596"/>
                  <a:gd name="T28" fmla="*/ 440 w 596"/>
                  <a:gd name="T29" fmla="*/ 385 h 596"/>
                  <a:gd name="T30" fmla="*/ 464 w 596"/>
                  <a:gd name="T31" fmla="*/ 385 h 596"/>
                  <a:gd name="T32" fmla="*/ 500 w 596"/>
                  <a:gd name="T33" fmla="*/ 373 h 596"/>
                  <a:gd name="T34" fmla="*/ 524 w 596"/>
                  <a:gd name="T35" fmla="*/ 349 h 596"/>
                  <a:gd name="T36" fmla="*/ 536 w 596"/>
                  <a:gd name="T37" fmla="*/ 331 h 596"/>
                  <a:gd name="T38" fmla="*/ 584 w 596"/>
                  <a:gd name="T39" fmla="*/ 343 h 596"/>
                  <a:gd name="T40" fmla="*/ 590 w 596"/>
                  <a:gd name="T41" fmla="*/ 409 h 596"/>
                  <a:gd name="T42" fmla="*/ 578 w 596"/>
                  <a:gd name="T43" fmla="*/ 427 h 596"/>
                  <a:gd name="T44" fmla="*/ 566 w 596"/>
                  <a:gd name="T45" fmla="*/ 439 h 596"/>
                  <a:gd name="T46" fmla="*/ 554 w 596"/>
                  <a:gd name="T47" fmla="*/ 451 h 596"/>
                  <a:gd name="T48" fmla="*/ 542 w 596"/>
                  <a:gd name="T49" fmla="*/ 469 h 596"/>
                  <a:gd name="T50" fmla="*/ 524 w 596"/>
                  <a:gd name="T51" fmla="*/ 481 h 596"/>
                  <a:gd name="T52" fmla="*/ 536 w 596"/>
                  <a:gd name="T53" fmla="*/ 499 h 596"/>
                  <a:gd name="T54" fmla="*/ 548 w 596"/>
                  <a:gd name="T55" fmla="*/ 517 h 596"/>
                  <a:gd name="T56" fmla="*/ 548 w 596"/>
                  <a:gd name="T57" fmla="*/ 541 h 596"/>
                  <a:gd name="T58" fmla="*/ 542 w 596"/>
                  <a:gd name="T59" fmla="*/ 566 h 596"/>
                  <a:gd name="T60" fmla="*/ 524 w 596"/>
                  <a:gd name="T61" fmla="*/ 560 h 596"/>
                  <a:gd name="T62" fmla="*/ 500 w 596"/>
                  <a:gd name="T63" fmla="*/ 560 h 596"/>
                  <a:gd name="T64" fmla="*/ 470 w 596"/>
                  <a:gd name="T65" fmla="*/ 560 h 596"/>
                  <a:gd name="T66" fmla="*/ 452 w 596"/>
                  <a:gd name="T67" fmla="*/ 547 h 596"/>
                  <a:gd name="T68" fmla="*/ 440 w 596"/>
                  <a:gd name="T69" fmla="*/ 584 h 596"/>
                  <a:gd name="T70" fmla="*/ 380 w 596"/>
                  <a:gd name="T71" fmla="*/ 584 h 596"/>
                  <a:gd name="T72" fmla="*/ 368 w 596"/>
                  <a:gd name="T73" fmla="*/ 560 h 596"/>
                  <a:gd name="T74" fmla="*/ 355 w 596"/>
                  <a:gd name="T75" fmla="*/ 547 h 596"/>
                  <a:gd name="T76" fmla="*/ 325 w 596"/>
                  <a:gd name="T77" fmla="*/ 572 h 596"/>
                  <a:gd name="T78" fmla="*/ 301 w 596"/>
                  <a:gd name="T79" fmla="*/ 560 h 596"/>
                  <a:gd name="T80" fmla="*/ 259 w 596"/>
                  <a:gd name="T81" fmla="*/ 547 h 596"/>
                  <a:gd name="T82" fmla="*/ 205 w 596"/>
                  <a:gd name="T83" fmla="*/ 554 h 596"/>
                  <a:gd name="T84" fmla="*/ 151 w 596"/>
                  <a:gd name="T85" fmla="*/ 596 h 596"/>
                  <a:gd name="T86" fmla="*/ 133 w 596"/>
                  <a:gd name="T87" fmla="*/ 590 h 596"/>
                  <a:gd name="T88" fmla="*/ 127 w 596"/>
                  <a:gd name="T89" fmla="*/ 572 h 596"/>
                  <a:gd name="T90" fmla="*/ 121 w 596"/>
                  <a:gd name="T91" fmla="*/ 560 h 596"/>
                  <a:gd name="T92" fmla="*/ 85 w 596"/>
                  <a:gd name="T93" fmla="*/ 547 h 596"/>
                  <a:gd name="T94" fmla="*/ 37 w 596"/>
                  <a:gd name="T95" fmla="*/ 554 h 596"/>
                  <a:gd name="T96" fmla="*/ 31 w 596"/>
                  <a:gd name="T97" fmla="*/ 523 h 596"/>
                  <a:gd name="T98" fmla="*/ 0 w 596"/>
                  <a:gd name="T99" fmla="*/ 499 h 596"/>
                  <a:gd name="T100" fmla="*/ 12 w 596"/>
                  <a:gd name="T101" fmla="*/ 463 h 596"/>
                  <a:gd name="T102" fmla="*/ 19 w 596"/>
                  <a:gd name="T103" fmla="*/ 445 h 596"/>
                  <a:gd name="T104" fmla="*/ 37 w 596"/>
                  <a:gd name="T105" fmla="*/ 433 h 596"/>
                  <a:gd name="T106" fmla="*/ 55 w 596"/>
                  <a:gd name="T107" fmla="*/ 433 h 596"/>
                  <a:gd name="T108" fmla="*/ 55 w 596"/>
                  <a:gd name="T109" fmla="*/ 403 h 596"/>
                  <a:gd name="T110" fmla="*/ 31 w 596"/>
                  <a:gd name="T111" fmla="*/ 343 h 596"/>
                  <a:gd name="T112" fmla="*/ 85 w 596"/>
                  <a:gd name="T113" fmla="*/ 223 h 596"/>
                  <a:gd name="T114" fmla="*/ 121 w 596"/>
                  <a:gd name="T115" fmla="*/ 217 h 596"/>
                  <a:gd name="T116" fmla="*/ 127 w 596"/>
                  <a:gd name="T117" fmla="*/ 181 h 596"/>
                  <a:gd name="T118" fmla="*/ 103 w 596"/>
                  <a:gd name="T119" fmla="*/ 109 h 596"/>
                  <a:gd name="T120" fmla="*/ 145 w 596"/>
                  <a:gd name="T121" fmla="*/ 12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96" h="596">
                    <a:moveTo>
                      <a:pt x="145" y="12"/>
                    </a:moveTo>
                    <a:lnTo>
                      <a:pt x="157" y="12"/>
                    </a:lnTo>
                    <a:lnTo>
                      <a:pt x="169" y="12"/>
                    </a:lnTo>
                    <a:lnTo>
                      <a:pt x="175" y="12"/>
                    </a:lnTo>
                    <a:lnTo>
                      <a:pt x="181" y="12"/>
                    </a:lnTo>
                    <a:lnTo>
                      <a:pt x="193" y="12"/>
                    </a:lnTo>
                    <a:lnTo>
                      <a:pt x="199" y="12"/>
                    </a:lnTo>
                    <a:lnTo>
                      <a:pt x="205" y="12"/>
                    </a:lnTo>
                    <a:lnTo>
                      <a:pt x="223" y="12"/>
                    </a:lnTo>
                    <a:lnTo>
                      <a:pt x="241" y="12"/>
                    </a:lnTo>
                    <a:lnTo>
                      <a:pt x="247" y="12"/>
                    </a:lnTo>
                    <a:lnTo>
                      <a:pt x="265" y="12"/>
                    </a:lnTo>
                    <a:lnTo>
                      <a:pt x="271" y="12"/>
                    </a:lnTo>
                    <a:lnTo>
                      <a:pt x="283" y="12"/>
                    </a:lnTo>
                    <a:lnTo>
                      <a:pt x="289" y="12"/>
                    </a:lnTo>
                    <a:lnTo>
                      <a:pt x="295" y="12"/>
                    </a:lnTo>
                    <a:lnTo>
                      <a:pt x="301" y="12"/>
                    </a:lnTo>
                    <a:lnTo>
                      <a:pt x="301" y="6"/>
                    </a:lnTo>
                    <a:lnTo>
                      <a:pt x="331" y="0"/>
                    </a:lnTo>
                    <a:lnTo>
                      <a:pt x="331" y="12"/>
                    </a:lnTo>
                    <a:lnTo>
                      <a:pt x="355" y="12"/>
                    </a:lnTo>
                    <a:lnTo>
                      <a:pt x="362" y="12"/>
                    </a:lnTo>
                    <a:lnTo>
                      <a:pt x="362" y="18"/>
                    </a:lnTo>
                    <a:lnTo>
                      <a:pt x="368" y="42"/>
                    </a:lnTo>
                    <a:lnTo>
                      <a:pt x="380" y="72"/>
                    </a:lnTo>
                    <a:lnTo>
                      <a:pt x="374" y="84"/>
                    </a:lnTo>
                    <a:lnTo>
                      <a:pt x="355" y="109"/>
                    </a:lnTo>
                    <a:lnTo>
                      <a:pt x="343" y="115"/>
                    </a:lnTo>
                    <a:lnTo>
                      <a:pt x="331" y="115"/>
                    </a:lnTo>
                    <a:lnTo>
                      <a:pt x="301" y="121"/>
                    </a:lnTo>
                    <a:lnTo>
                      <a:pt x="295" y="127"/>
                    </a:lnTo>
                    <a:lnTo>
                      <a:pt x="289" y="139"/>
                    </a:lnTo>
                    <a:lnTo>
                      <a:pt x="283" y="157"/>
                    </a:lnTo>
                    <a:lnTo>
                      <a:pt x="283" y="169"/>
                    </a:lnTo>
                    <a:lnTo>
                      <a:pt x="283" y="175"/>
                    </a:lnTo>
                    <a:lnTo>
                      <a:pt x="277" y="181"/>
                    </a:lnTo>
                    <a:lnTo>
                      <a:pt x="277" y="193"/>
                    </a:lnTo>
                    <a:lnTo>
                      <a:pt x="271" y="199"/>
                    </a:lnTo>
                    <a:lnTo>
                      <a:pt x="271" y="205"/>
                    </a:lnTo>
                    <a:lnTo>
                      <a:pt x="301" y="223"/>
                    </a:lnTo>
                    <a:lnTo>
                      <a:pt x="331" y="241"/>
                    </a:lnTo>
                    <a:lnTo>
                      <a:pt x="343" y="247"/>
                    </a:lnTo>
                    <a:lnTo>
                      <a:pt x="355" y="265"/>
                    </a:lnTo>
                    <a:lnTo>
                      <a:pt x="362" y="271"/>
                    </a:lnTo>
                    <a:lnTo>
                      <a:pt x="362" y="277"/>
                    </a:lnTo>
                    <a:lnTo>
                      <a:pt x="362" y="295"/>
                    </a:lnTo>
                    <a:lnTo>
                      <a:pt x="362" y="313"/>
                    </a:lnTo>
                    <a:lnTo>
                      <a:pt x="374" y="319"/>
                    </a:lnTo>
                    <a:lnTo>
                      <a:pt x="386" y="319"/>
                    </a:lnTo>
                    <a:lnTo>
                      <a:pt x="416" y="313"/>
                    </a:lnTo>
                    <a:lnTo>
                      <a:pt x="428" y="313"/>
                    </a:lnTo>
                    <a:lnTo>
                      <a:pt x="428" y="325"/>
                    </a:lnTo>
                    <a:lnTo>
                      <a:pt x="428" y="331"/>
                    </a:lnTo>
                    <a:lnTo>
                      <a:pt x="422" y="337"/>
                    </a:lnTo>
                    <a:lnTo>
                      <a:pt x="422" y="343"/>
                    </a:lnTo>
                    <a:lnTo>
                      <a:pt x="428" y="355"/>
                    </a:lnTo>
                    <a:lnTo>
                      <a:pt x="422" y="367"/>
                    </a:lnTo>
                    <a:lnTo>
                      <a:pt x="422" y="379"/>
                    </a:lnTo>
                    <a:lnTo>
                      <a:pt x="428" y="385"/>
                    </a:lnTo>
                    <a:lnTo>
                      <a:pt x="440" y="385"/>
                    </a:lnTo>
                    <a:lnTo>
                      <a:pt x="440" y="379"/>
                    </a:lnTo>
                    <a:lnTo>
                      <a:pt x="452" y="385"/>
                    </a:lnTo>
                    <a:lnTo>
                      <a:pt x="458" y="379"/>
                    </a:lnTo>
                    <a:lnTo>
                      <a:pt x="464" y="385"/>
                    </a:lnTo>
                    <a:lnTo>
                      <a:pt x="476" y="391"/>
                    </a:lnTo>
                    <a:lnTo>
                      <a:pt x="482" y="391"/>
                    </a:lnTo>
                    <a:lnTo>
                      <a:pt x="482" y="385"/>
                    </a:lnTo>
                    <a:lnTo>
                      <a:pt x="500" y="373"/>
                    </a:lnTo>
                    <a:lnTo>
                      <a:pt x="512" y="367"/>
                    </a:lnTo>
                    <a:lnTo>
                      <a:pt x="518" y="355"/>
                    </a:lnTo>
                    <a:lnTo>
                      <a:pt x="518" y="349"/>
                    </a:lnTo>
                    <a:lnTo>
                      <a:pt x="524" y="349"/>
                    </a:lnTo>
                    <a:lnTo>
                      <a:pt x="524" y="343"/>
                    </a:lnTo>
                    <a:lnTo>
                      <a:pt x="530" y="343"/>
                    </a:lnTo>
                    <a:lnTo>
                      <a:pt x="530" y="337"/>
                    </a:lnTo>
                    <a:lnTo>
                      <a:pt x="536" y="331"/>
                    </a:lnTo>
                    <a:lnTo>
                      <a:pt x="560" y="325"/>
                    </a:lnTo>
                    <a:lnTo>
                      <a:pt x="566" y="319"/>
                    </a:lnTo>
                    <a:lnTo>
                      <a:pt x="572" y="325"/>
                    </a:lnTo>
                    <a:lnTo>
                      <a:pt x="584" y="343"/>
                    </a:lnTo>
                    <a:lnTo>
                      <a:pt x="590" y="367"/>
                    </a:lnTo>
                    <a:lnTo>
                      <a:pt x="596" y="391"/>
                    </a:lnTo>
                    <a:lnTo>
                      <a:pt x="596" y="409"/>
                    </a:lnTo>
                    <a:lnTo>
                      <a:pt x="590" y="409"/>
                    </a:lnTo>
                    <a:lnTo>
                      <a:pt x="596" y="415"/>
                    </a:lnTo>
                    <a:lnTo>
                      <a:pt x="590" y="421"/>
                    </a:lnTo>
                    <a:lnTo>
                      <a:pt x="584" y="421"/>
                    </a:lnTo>
                    <a:lnTo>
                      <a:pt x="578" y="427"/>
                    </a:lnTo>
                    <a:lnTo>
                      <a:pt x="572" y="427"/>
                    </a:lnTo>
                    <a:lnTo>
                      <a:pt x="572" y="433"/>
                    </a:lnTo>
                    <a:lnTo>
                      <a:pt x="566" y="433"/>
                    </a:lnTo>
                    <a:lnTo>
                      <a:pt x="566" y="439"/>
                    </a:lnTo>
                    <a:lnTo>
                      <a:pt x="566" y="445"/>
                    </a:lnTo>
                    <a:lnTo>
                      <a:pt x="560" y="445"/>
                    </a:lnTo>
                    <a:lnTo>
                      <a:pt x="560" y="451"/>
                    </a:lnTo>
                    <a:lnTo>
                      <a:pt x="554" y="451"/>
                    </a:lnTo>
                    <a:lnTo>
                      <a:pt x="548" y="451"/>
                    </a:lnTo>
                    <a:lnTo>
                      <a:pt x="548" y="457"/>
                    </a:lnTo>
                    <a:lnTo>
                      <a:pt x="542" y="463"/>
                    </a:lnTo>
                    <a:lnTo>
                      <a:pt x="542" y="469"/>
                    </a:lnTo>
                    <a:lnTo>
                      <a:pt x="536" y="469"/>
                    </a:lnTo>
                    <a:lnTo>
                      <a:pt x="530" y="475"/>
                    </a:lnTo>
                    <a:lnTo>
                      <a:pt x="524" y="475"/>
                    </a:lnTo>
                    <a:lnTo>
                      <a:pt x="524" y="481"/>
                    </a:lnTo>
                    <a:lnTo>
                      <a:pt x="524" y="487"/>
                    </a:lnTo>
                    <a:lnTo>
                      <a:pt x="530" y="487"/>
                    </a:lnTo>
                    <a:lnTo>
                      <a:pt x="530" y="493"/>
                    </a:lnTo>
                    <a:lnTo>
                      <a:pt x="536" y="499"/>
                    </a:lnTo>
                    <a:lnTo>
                      <a:pt x="536" y="505"/>
                    </a:lnTo>
                    <a:lnTo>
                      <a:pt x="542" y="511"/>
                    </a:lnTo>
                    <a:lnTo>
                      <a:pt x="542" y="517"/>
                    </a:lnTo>
                    <a:lnTo>
                      <a:pt x="548" y="517"/>
                    </a:lnTo>
                    <a:lnTo>
                      <a:pt x="548" y="523"/>
                    </a:lnTo>
                    <a:lnTo>
                      <a:pt x="542" y="529"/>
                    </a:lnTo>
                    <a:lnTo>
                      <a:pt x="542" y="535"/>
                    </a:lnTo>
                    <a:lnTo>
                      <a:pt x="548" y="541"/>
                    </a:lnTo>
                    <a:lnTo>
                      <a:pt x="548" y="547"/>
                    </a:lnTo>
                    <a:lnTo>
                      <a:pt x="548" y="554"/>
                    </a:lnTo>
                    <a:lnTo>
                      <a:pt x="542" y="560"/>
                    </a:lnTo>
                    <a:lnTo>
                      <a:pt x="542" y="566"/>
                    </a:lnTo>
                    <a:lnTo>
                      <a:pt x="536" y="566"/>
                    </a:lnTo>
                    <a:lnTo>
                      <a:pt x="530" y="566"/>
                    </a:lnTo>
                    <a:lnTo>
                      <a:pt x="524" y="566"/>
                    </a:lnTo>
                    <a:lnTo>
                      <a:pt x="524" y="560"/>
                    </a:lnTo>
                    <a:lnTo>
                      <a:pt x="518" y="560"/>
                    </a:lnTo>
                    <a:lnTo>
                      <a:pt x="512" y="560"/>
                    </a:lnTo>
                    <a:lnTo>
                      <a:pt x="506" y="560"/>
                    </a:lnTo>
                    <a:lnTo>
                      <a:pt x="500" y="560"/>
                    </a:lnTo>
                    <a:lnTo>
                      <a:pt x="482" y="560"/>
                    </a:lnTo>
                    <a:lnTo>
                      <a:pt x="476" y="566"/>
                    </a:lnTo>
                    <a:lnTo>
                      <a:pt x="476" y="560"/>
                    </a:lnTo>
                    <a:lnTo>
                      <a:pt x="470" y="560"/>
                    </a:lnTo>
                    <a:lnTo>
                      <a:pt x="470" y="554"/>
                    </a:lnTo>
                    <a:lnTo>
                      <a:pt x="464" y="547"/>
                    </a:lnTo>
                    <a:lnTo>
                      <a:pt x="458" y="547"/>
                    </a:lnTo>
                    <a:lnTo>
                      <a:pt x="452" y="547"/>
                    </a:lnTo>
                    <a:lnTo>
                      <a:pt x="452" y="541"/>
                    </a:lnTo>
                    <a:lnTo>
                      <a:pt x="446" y="560"/>
                    </a:lnTo>
                    <a:lnTo>
                      <a:pt x="446" y="572"/>
                    </a:lnTo>
                    <a:lnTo>
                      <a:pt x="440" y="584"/>
                    </a:lnTo>
                    <a:lnTo>
                      <a:pt x="434" y="584"/>
                    </a:lnTo>
                    <a:lnTo>
                      <a:pt x="410" y="590"/>
                    </a:lnTo>
                    <a:lnTo>
                      <a:pt x="386" y="590"/>
                    </a:lnTo>
                    <a:lnTo>
                      <a:pt x="380" y="584"/>
                    </a:lnTo>
                    <a:lnTo>
                      <a:pt x="374" y="572"/>
                    </a:lnTo>
                    <a:lnTo>
                      <a:pt x="374" y="566"/>
                    </a:lnTo>
                    <a:lnTo>
                      <a:pt x="374" y="560"/>
                    </a:lnTo>
                    <a:lnTo>
                      <a:pt x="368" y="560"/>
                    </a:lnTo>
                    <a:lnTo>
                      <a:pt x="368" y="554"/>
                    </a:lnTo>
                    <a:lnTo>
                      <a:pt x="362" y="554"/>
                    </a:lnTo>
                    <a:lnTo>
                      <a:pt x="362" y="547"/>
                    </a:lnTo>
                    <a:lnTo>
                      <a:pt x="355" y="547"/>
                    </a:lnTo>
                    <a:lnTo>
                      <a:pt x="355" y="541"/>
                    </a:lnTo>
                    <a:lnTo>
                      <a:pt x="349" y="547"/>
                    </a:lnTo>
                    <a:lnTo>
                      <a:pt x="343" y="554"/>
                    </a:lnTo>
                    <a:lnTo>
                      <a:pt x="325" y="572"/>
                    </a:lnTo>
                    <a:lnTo>
                      <a:pt x="319" y="584"/>
                    </a:lnTo>
                    <a:lnTo>
                      <a:pt x="313" y="584"/>
                    </a:lnTo>
                    <a:lnTo>
                      <a:pt x="307" y="572"/>
                    </a:lnTo>
                    <a:lnTo>
                      <a:pt x="301" y="560"/>
                    </a:lnTo>
                    <a:lnTo>
                      <a:pt x="295" y="554"/>
                    </a:lnTo>
                    <a:lnTo>
                      <a:pt x="289" y="541"/>
                    </a:lnTo>
                    <a:lnTo>
                      <a:pt x="283" y="541"/>
                    </a:lnTo>
                    <a:lnTo>
                      <a:pt x="259" y="547"/>
                    </a:lnTo>
                    <a:lnTo>
                      <a:pt x="235" y="554"/>
                    </a:lnTo>
                    <a:lnTo>
                      <a:pt x="217" y="554"/>
                    </a:lnTo>
                    <a:lnTo>
                      <a:pt x="211" y="554"/>
                    </a:lnTo>
                    <a:lnTo>
                      <a:pt x="205" y="554"/>
                    </a:lnTo>
                    <a:lnTo>
                      <a:pt x="193" y="572"/>
                    </a:lnTo>
                    <a:lnTo>
                      <a:pt x="163" y="584"/>
                    </a:lnTo>
                    <a:lnTo>
                      <a:pt x="157" y="596"/>
                    </a:lnTo>
                    <a:lnTo>
                      <a:pt x="151" y="596"/>
                    </a:lnTo>
                    <a:lnTo>
                      <a:pt x="151" y="590"/>
                    </a:lnTo>
                    <a:lnTo>
                      <a:pt x="145" y="590"/>
                    </a:lnTo>
                    <a:lnTo>
                      <a:pt x="139" y="590"/>
                    </a:lnTo>
                    <a:lnTo>
                      <a:pt x="133" y="590"/>
                    </a:lnTo>
                    <a:lnTo>
                      <a:pt x="133" y="584"/>
                    </a:lnTo>
                    <a:lnTo>
                      <a:pt x="127" y="584"/>
                    </a:lnTo>
                    <a:lnTo>
                      <a:pt x="127" y="578"/>
                    </a:lnTo>
                    <a:lnTo>
                      <a:pt x="127" y="572"/>
                    </a:lnTo>
                    <a:lnTo>
                      <a:pt x="127" y="566"/>
                    </a:lnTo>
                    <a:lnTo>
                      <a:pt x="127" y="560"/>
                    </a:lnTo>
                    <a:lnTo>
                      <a:pt x="121" y="566"/>
                    </a:lnTo>
                    <a:lnTo>
                      <a:pt x="121" y="560"/>
                    </a:lnTo>
                    <a:lnTo>
                      <a:pt x="115" y="560"/>
                    </a:lnTo>
                    <a:lnTo>
                      <a:pt x="109" y="566"/>
                    </a:lnTo>
                    <a:lnTo>
                      <a:pt x="97" y="547"/>
                    </a:lnTo>
                    <a:lnTo>
                      <a:pt x="85" y="547"/>
                    </a:lnTo>
                    <a:lnTo>
                      <a:pt x="73" y="547"/>
                    </a:lnTo>
                    <a:lnTo>
                      <a:pt x="49" y="547"/>
                    </a:lnTo>
                    <a:lnTo>
                      <a:pt x="43" y="554"/>
                    </a:lnTo>
                    <a:lnTo>
                      <a:pt x="37" y="554"/>
                    </a:lnTo>
                    <a:lnTo>
                      <a:pt x="31" y="547"/>
                    </a:lnTo>
                    <a:lnTo>
                      <a:pt x="37" y="535"/>
                    </a:lnTo>
                    <a:lnTo>
                      <a:pt x="37" y="523"/>
                    </a:lnTo>
                    <a:lnTo>
                      <a:pt x="31" y="523"/>
                    </a:lnTo>
                    <a:lnTo>
                      <a:pt x="19" y="523"/>
                    </a:lnTo>
                    <a:lnTo>
                      <a:pt x="6" y="517"/>
                    </a:lnTo>
                    <a:lnTo>
                      <a:pt x="0" y="505"/>
                    </a:lnTo>
                    <a:lnTo>
                      <a:pt x="0" y="499"/>
                    </a:lnTo>
                    <a:lnTo>
                      <a:pt x="6" y="487"/>
                    </a:lnTo>
                    <a:lnTo>
                      <a:pt x="6" y="475"/>
                    </a:lnTo>
                    <a:lnTo>
                      <a:pt x="6" y="469"/>
                    </a:lnTo>
                    <a:lnTo>
                      <a:pt x="12" y="463"/>
                    </a:lnTo>
                    <a:lnTo>
                      <a:pt x="12" y="457"/>
                    </a:lnTo>
                    <a:lnTo>
                      <a:pt x="12" y="451"/>
                    </a:lnTo>
                    <a:lnTo>
                      <a:pt x="19" y="451"/>
                    </a:lnTo>
                    <a:lnTo>
                      <a:pt x="19" y="445"/>
                    </a:lnTo>
                    <a:lnTo>
                      <a:pt x="25" y="445"/>
                    </a:lnTo>
                    <a:lnTo>
                      <a:pt x="25" y="439"/>
                    </a:lnTo>
                    <a:lnTo>
                      <a:pt x="31" y="439"/>
                    </a:lnTo>
                    <a:lnTo>
                      <a:pt x="37" y="433"/>
                    </a:lnTo>
                    <a:lnTo>
                      <a:pt x="37" y="439"/>
                    </a:lnTo>
                    <a:lnTo>
                      <a:pt x="43" y="439"/>
                    </a:lnTo>
                    <a:lnTo>
                      <a:pt x="49" y="439"/>
                    </a:lnTo>
                    <a:lnTo>
                      <a:pt x="55" y="433"/>
                    </a:lnTo>
                    <a:lnTo>
                      <a:pt x="61" y="433"/>
                    </a:lnTo>
                    <a:lnTo>
                      <a:pt x="67" y="415"/>
                    </a:lnTo>
                    <a:lnTo>
                      <a:pt x="61" y="409"/>
                    </a:lnTo>
                    <a:lnTo>
                      <a:pt x="55" y="403"/>
                    </a:lnTo>
                    <a:lnTo>
                      <a:pt x="55" y="385"/>
                    </a:lnTo>
                    <a:lnTo>
                      <a:pt x="43" y="373"/>
                    </a:lnTo>
                    <a:lnTo>
                      <a:pt x="31" y="361"/>
                    </a:lnTo>
                    <a:lnTo>
                      <a:pt x="31" y="343"/>
                    </a:lnTo>
                    <a:lnTo>
                      <a:pt x="31" y="307"/>
                    </a:lnTo>
                    <a:lnTo>
                      <a:pt x="61" y="259"/>
                    </a:lnTo>
                    <a:lnTo>
                      <a:pt x="67" y="247"/>
                    </a:lnTo>
                    <a:lnTo>
                      <a:pt x="85" y="223"/>
                    </a:lnTo>
                    <a:lnTo>
                      <a:pt x="85" y="217"/>
                    </a:lnTo>
                    <a:lnTo>
                      <a:pt x="91" y="217"/>
                    </a:lnTo>
                    <a:lnTo>
                      <a:pt x="115" y="223"/>
                    </a:lnTo>
                    <a:lnTo>
                      <a:pt x="121" y="217"/>
                    </a:lnTo>
                    <a:lnTo>
                      <a:pt x="127" y="211"/>
                    </a:lnTo>
                    <a:lnTo>
                      <a:pt x="133" y="205"/>
                    </a:lnTo>
                    <a:lnTo>
                      <a:pt x="133" y="187"/>
                    </a:lnTo>
                    <a:lnTo>
                      <a:pt x="127" y="181"/>
                    </a:lnTo>
                    <a:lnTo>
                      <a:pt x="121" y="157"/>
                    </a:lnTo>
                    <a:lnTo>
                      <a:pt x="115" y="139"/>
                    </a:lnTo>
                    <a:lnTo>
                      <a:pt x="103" y="121"/>
                    </a:lnTo>
                    <a:lnTo>
                      <a:pt x="103" y="109"/>
                    </a:lnTo>
                    <a:lnTo>
                      <a:pt x="121" y="84"/>
                    </a:lnTo>
                    <a:lnTo>
                      <a:pt x="127" y="78"/>
                    </a:lnTo>
                    <a:lnTo>
                      <a:pt x="139" y="36"/>
                    </a:lnTo>
                    <a:lnTo>
                      <a:pt x="145" y="12"/>
                    </a:lnTo>
                    <a:close/>
                  </a:path>
                </a:pathLst>
              </a:custGeom>
              <a:solidFill>
                <a:schemeClr val="accent2"/>
              </a:solidFill>
              <a:ln w="9525">
                <a:solidFill>
                  <a:srgbClr val="808080"/>
                </a:solidFill>
                <a:round/>
                <a:headEnd/>
                <a:tailEnd/>
              </a:ln>
            </p:spPr>
            <p:txBody>
              <a:bodyPr/>
              <a:lstStyle/>
              <a:p>
                <a:pPr fontAlgn="base">
                  <a:spcBef>
                    <a:spcPct val="0"/>
                  </a:spcBef>
                  <a:spcAft>
                    <a:spcPct val="0"/>
                  </a:spcAft>
                  <a:buClrTx/>
                  <a:buFontTx/>
                  <a:buNone/>
                </a:pPr>
                <a:endParaRPr lang="en-US" sz="1600" kern="1200" dirty="0">
                  <a:latin typeface="Arial" charset="0"/>
                  <a:ea typeface="+mn-ea"/>
                  <a:cs typeface="+mn-cs"/>
                </a:endParaRPr>
              </a:p>
            </p:txBody>
          </p:sp>
          <p:sp>
            <p:nvSpPr>
              <p:cNvPr id="122" name="Freeform 64"/>
              <p:cNvSpPr>
                <a:spLocks/>
              </p:cNvSpPr>
              <p:nvPr/>
            </p:nvSpPr>
            <p:spPr bwMode="auto">
              <a:xfrm>
                <a:off x="2822575" y="3227388"/>
                <a:ext cx="1825625" cy="1308100"/>
              </a:xfrm>
              <a:custGeom>
                <a:avLst/>
                <a:gdLst>
                  <a:gd name="T0" fmla="*/ 386 w 1150"/>
                  <a:gd name="T1" fmla="*/ 126 h 824"/>
                  <a:gd name="T2" fmla="*/ 572 w 1150"/>
                  <a:gd name="T3" fmla="*/ 264 h 824"/>
                  <a:gd name="T4" fmla="*/ 807 w 1150"/>
                  <a:gd name="T5" fmla="*/ 198 h 824"/>
                  <a:gd name="T6" fmla="*/ 1150 w 1150"/>
                  <a:gd name="T7" fmla="*/ 228 h 824"/>
                  <a:gd name="T8" fmla="*/ 1150 w 1150"/>
                  <a:gd name="T9" fmla="*/ 258 h 824"/>
                  <a:gd name="T10" fmla="*/ 1150 w 1150"/>
                  <a:gd name="T11" fmla="*/ 288 h 824"/>
                  <a:gd name="T12" fmla="*/ 1150 w 1150"/>
                  <a:gd name="T13" fmla="*/ 318 h 824"/>
                  <a:gd name="T14" fmla="*/ 1150 w 1150"/>
                  <a:gd name="T15" fmla="*/ 336 h 824"/>
                  <a:gd name="T16" fmla="*/ 1150 w 1150"/>
                  <a:gd name="T17" fmla="*/ 373 h 824"/>
                  <a:gd name="T18" fmla="*/ 1150 w 1150"/>
                  <a:gd name="T19" fmla="*/ 397 h 824"/>
                  <a:gd name="T20" fmla="*/ 1144 w 1150"/>
                  <a:gd name="T21" fmla="*/ 415 h 824"/>
                  <a:gd name="T22" fmla="*/ 1114 w 1150"/>
                  <a:gd name="T23" fmla="*/ 433 h 824"/>
                  <a:gd name="T24" fmla="*/ 1114 w 1150"/>
                  <a:gd name="T25" fmla="*/ 463 h 824"/>
                  <a:gd name="T26" fmla="*/ 1114 w 1150"/>
                  <a:gd name="T27" fmla="*/ 493 h 824"/>
                  <a:gd name="T28" fmla="*/ 1114 w 1150"/>
                  <a:gd name="T29" fmla="*/ 517 h 824"/>
                  <a:gd name="T30" fmla="*/ 1114 w 1150"/>
                  <a:gd name="T31" fmla="*/ 541 h 824"/>
                  <a:gd name="T32" fmla="*/ 1114 w 1150"/>
                  <a:gd name="T33" fmla="*/ 565 h 824"/>
                  <a:gd name="T34" fmla="*/ 1108 w 1150"/>
                  <a:gd name="T35" fmla="*/ 583 h 824"/>
                  <a:gd name="T36" fmla="*/ 1096 w 1150"/>
                  <a:gd name="T37" fmla="*/ 601 h 824"/>
                  <a:gd name="T38" fmla="*/ 1102 w 1150"/>
                  <a:gd name="T39" fmla="*/ 619 h 824"/>
                  <a:gd name="T40" fmla="*/ 1090 w 1150"/>
                  <a:gd name="T41" fmla="*/ 631 h 824"/>
                  <a:gd name="T42" fmla="*/ 1084 w 1150"/>
                  <a:gd name="T43" fmla="*/ 655 h 824"/>
                  <a:gd name="T44" fmla="*/ 1078 w 1150"/>
                  <a:gd name="T45" fmla="*/ 679 h 824"/>
                  <a:gd name="T46" fmla="*/ 1054 w 1150"/>
                  <a:gd name="T47" fmla="*/ 679 h 824"/>
                  <a:gd name="T48" fmla="*/ 1042 w 1150"/>
                  <a:gd name="T49" fmla="*/ 691 h 824"/>
                  <a:gd name="T50" fmla="*/ 1023 w 1150"/>
                  <a:gd name="T51" fmla="*/ 709 h 824"/>
                  <a:gd name="T52" fmla="*/ 1011 w 1150"/>
                  <a:gd name="T53" fmla="*/ 727 h 824"/>
                  <a:gd name="T54" fmla="*/ 993 w 1150"/>
                  <a:gd name="T55" fmla="*/ 745 h 824"/>
                  <a:gd name="T56" fmla="*/ 957 w 1150"/>
                  <a:gd name="T57" fmla="*/ 745 h 824"/>
                  <a:gd name="T58" fmla="*/ 927 w 1150"/>
                  <a:gd name="T59" fmla="*/ 745 h 824"/>
                  <a:gd name="T60" fmla="*/ 891 w 1150"/>
                  <a:gd name="T61" fmla="*/ 745 h 824"/>
                  <a:gd name="T62" fmla="*/ 855 w 1150"/>
                  <a:gd name="T63" fmla="*/ 739 h 824"/>
                  <a:gd name="T64" fmla="*/ 831 w 1150"/>
                  <a:gd name="T65" fmla="*/ 739 h 824"/>
                  <a:gd name="T66" fmla="*/ 801 w 1150"/>
                  <a:gd name="T67" fmla="*/ 745 h 824"/>
                  <a:gd name="T68" fmla="*/ 777 w 1150"/>
                  <a:gd name="T69" fmla="*/ 745 h 824"/>
                  <a:gd name="T70" fmla="*/ 747 w 1150"/>
                  <a:gd name="T71" fmla="*/ 745 h 824"/>
                  <a:gd name="T72" fmla="*/ 717 w 1150"/>
                  <a:gd name="T73" fmla="*/ 751 h 824"/>
                  <a:gd name="T74" fmla="*/ 674 w 1150"/>
                  <a:gd name="T75" fmla="*/ 751 h 824"/>
                  <a:gd name="T76" fmla="*/ 638 w 1150"/>
                  <a:gd name="T77" fmla="*/ 757 h 824"/>
                  <a:gd name="T78" fmla="*/ 614 w 1150"/>
                  <a:gd name="T79" fmla="*/ 757 h 824"/>
                  <a:gd name="T80" fmla="*/ 584 w 1150"/>
                  <a:gd name="T81" fmla="*/ 763 h 824"/>
                  <a:gd name="T82" fmla="*/ 572 w 1150"/>
                  <a:gd name="T83" fmla="*/ 775 h 824"/>
                  <a:gd name="T84" fmla="*/ 548 w 1150"/>
                  <a:gd name="T85" fmla="*/ 793 h 824"/>
                  <a:gd name="T86" fmla="*/ 530 w 1150"/>
                  <a:gd name="T87" fmla="*/ 806 h 824"/>
                  <a:gd name="T88" fmla="*/ 506 w 1150"/>
                  <a:gd name="T89" fmla="*/ 818 h 824"/>
                  <a:gd name="T90" fmla="*/ 482 w 1150"/>
                  <a:gd name="T91" fmla="*/ 824 h 824"/>
                  <a:gd name="T92" fmla="*/ 458 w 1150"/>
                  <a:gd name="T93" fmla="*/ 824 h 824"/>
                  <a:gd name="T94" fmla="*/ 440 w 1150"/>
                  <a:gd name="T95" fmla="*/ 818 h 824"/>
                  <a:gd name="T96" fmla="*/ 416 w 1150"/>
                  <a:gd name="T97" fmla="*/ 818 h 824"/>
                  <a:gd name="T98" fmla="*/ 392 w 1150"/>
                  <a:gd name="T99" fmla="*/ 818 h 824"/>
                  <a:gd name="T100" fmla="*/ 362 w 1150"/>
                  <a:gd name="T101" fmla="*/ 818 h 824"/>
                  <a:gd name="T102" fmla="*/ 337 w 1150"/>
                  <a:gd name="T103" fmla="*/ 818 h 824"/>
                  <a:gd name="T104" fmla="*/ 307 w 1150"/>
                  <a:gd name="T105" fmla="*/ 806 h 824"/>
                  <a:gd name="T106" fmla="*/ 283 w 1150"/>
                  <a:gd name="T107" fmla="*/ 799 h 824"/>
                  <a:gd name="T108" fmla="*/ 253 w 1150"/>
                  <a:gd name="T109" fmla="*/ 812 h 824"/>
                  <a:gd name="T110" fmla="*/ 223 w 1150"/>
                  <a:gd name="T111" fmla="*/ 727 h 824"/>
                  <a:gd name="T112" fmla="*/ 211 w 1150"/>
                  <a:gd name="T113" fmla="*/ 667 h 824"/>
                  <a:gd name="T114" fmla="*/ 199 w 1150"/>
                  <a:gd name="T115" fmla="*/ 571 h 824"/>
                  <a:gd name="T116" fmla="*/ 199 w 1150"/>
                  <a:gd name="T117" fmla="*/ 451 h 824"/>
                  <a:gd name="T118" fmla="*/ 115 w 1150"/>
                  <a:gd name="T119" fmla="*/ 427 h 824"/>
                  <a:gd name="T120" fmla="*/ 19 w 1150"/>
                  <a:gd name="T121" fmla="*/ 391 h 824"/>
                  <a:gd name="T122" fmla="*/ 115 w 1150"/>
                  <a:gd name="T123" fmla="*/ 234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50" h="824">
                    <a:moveTo>
                      <a:pt x="163" y="0"/>
                    </a:moveTo>
                    <a:lnTo>
                      <a:pt x="301" y="36"/>
                    </a:lnTo>
                    <a:lnTo>
                      <a:pt x="343" y="48"/>
                    </a:lnTo>
                    <a:lnTo>
                      <a:pt x="386" y="126"/>
                    </a:lnTo>
                    <a:lnTo>
                      <a:pt x="422" y="180"/>
                    </a:lnTo>
                    <a:lnTo>
                      <a:pt x="452" y="210"/>
                    </a:lnTo>
                    <a:lnTo>
                      <a:pt x="518" y="240"/>
                    </a:lnTo>
                    <a:lnTo>
                      <a:pt x="572" y="264"/>
                    </a:lnTo>
                    <a:lnTo>
                      <a:pt x="674" y="240"/>
                    </a:lnTo>
                    <a:lnTo>
                      <a:pt x="711" y="198"/>
                    </a:lnTo>
                    <a:lnTo>
                      <a:pt x="765" y="198"/>
                    </a:lnTo>
                    <a:lnTo>
                      <a:pt x="807" y="198"/>
                    </a:lnTo>
                    <a:lnTo>
                      <a:pt x="951" y="204"/>
                    </a:lnTo>
                    <a:lnTo>
                      <a:pt x="1150" y="210"/>
                    </a:lnTo>
                    <a:lnTo>
                      <a:pt x="1150" y="216"/>
                    </a:lnTo>
                    <a:lnTo>
                      <a:pt x="1150" y="228"/>
                    </a:lnTo>
                    <a:lnTo>
                      <a:pt x="1150" y="240"/>
                    </a:lnTo>
                    <a:lnTo>
                      <a:pt x="1150" y="246"/>
                    </a:lnTo>
                    <a:lnTo>
                      <a:pt x="1150" y="252"/>
                    </a:lnTo>
                    <a:lnTo>
                      <a:pt x="1150" y="258"/>
                    </a:lnTo>
                    <a:lnTo>
                      <a:pt x="1150" y="270"/>
                    </a:lnTo>
                    <a:lnTo>
                      <a:pt x="1150" y="276"/>
                    </a:lnTo>
                    <a:lnTo>
                      <a:pt x="1150" y="282"/>
                    </a:lnTo>
                    <a:lnTo>
                      <a:pt x="1150" y="288"/>
                    </a:lnTo>
                    <a:lnTo>
                      <a:pt x="1150" y="300"/>
                    </a:lnTo>
                    <a:lnTo>
                      <a:pt x="1150" y="306"/>
                    </a:lnTo>
                    <a:lnTo>
                      <a:pt x="1150" y="312"/>
                    </a:lnTo>
                    <a:lnTo>
                      <a:pt x="1150" y="318"/>
                    </a:lnTo>
                    <a:lnTo>
                      <a:pt x="1150" y="324"/>
                    </a:lnTo>
                    <a:lnTo>
                      <a:pt x="1150" y="330"/>
                    </a:lnTo>
                    <a:lnTo>
                      <a:pt x="1144" y="336"/>
                    </a:lnTo>
                    <a:lnTo>
                      <a:pt x="1150" y="336"/>
                    </a:lnTo>
                    <a:lnTo>
                      <a:pt x="1150" y="349"/>
                    </a:lnTo>
                    <a:lnTo>
                      <a:pt x="1150" y="355"/>
                    </a:lnTo>
                    <a:lnTo>
                      <a:pt x="1150" y="367"/>
                    </a:lnTo>
                    <a:lnTo>
                      <a:pt x="1150" y="373"/>
                    </a:lnTo>
                    <a:lnTo>
                      <a:pt x="1150" y="379"/>
                    </a:lnTo>
                    <a:lnTo>
                      <a:pt x="1150" y="385"/>
                    </a:lnTo>
                    <a:lnTo>
                      <a:pt x="1150" y="391"/>
                    </a:lnTo>
                    <a:lnTo>
                      <a:pt x="1150" y="397"/>
                    </a:lnTo>
                    <a:lnTo>
                      <a:pt x="1150" y="403"/>
                    </a:lnTo>
                    <a:lnTo>
                      <a:pt x="1150" y="409"/>
                    </a:lnTo>
                    <a:lnTo>
                      <a:pt x="1150" y="415"/>
                    </a:lnTo>
                    <a:lnTo>
                      <a:pt x="1144" y="415"/>
                    </a:lnTo>
                    <a:lnTo>
                      <a:pt x="1132" y="421"/>
                    </a:lnTo>
                    <a:lnTo>
                      <a:pt x="1126" y="427"/>
                    </a:lnTo>
                    <a:lnTo>
                      <a:pt x="1120" y="427"/>
                    </a:lnTo>
                    <a:lnTo>
                      <a:pt x="1114" y="433"/>
                    </a:lnTo>
                    <a:lnTo>
                      <a:pt x="1114" y="439"/>
                    </a:lnTo>
                    <a:lnTo>
                      <a:pt x="1114" y="451"/>
                    </a:lnTo>
                    <a:lnTo>
                      <a:pt x="1114" y="457"/>
                    </a:lnTo>
                    <a:lnTo>
                      <a:pt x="1114" y="463"/>
                    </a:lnTo>
                    <a:lnTo>
                      <a:pt x="1114" y="469"/>
                    </a:lnTo>
                    <a:lnTo>
                      <a:pt x="1114" y="481"/>
                    </a:lnTo>
                    <a:lnTo>
                      <a:pt x="1114" y="487"/>
                    </a:lnTo>
                    <a:lnTo>
                      <a:pt x="1114" y="493"/>
                    </a:lnTo>
                    <a:lnTo>
                      <a:pt x="1114" y="499"/>
                    </a:lnTo>
                    <a:lnTo>
                      <a:pt x="1114" y="505"/>
                    </a:lnTo>
                    <a:lnTo>
                      <a:pt x="1114" y="511"/>
                    </a:lnTo>
                    <a:lnTo>
                      <a:pt x="1114" y="517"/>
                    </a:lnTo>
                    <a:lnTo>
                      <a:pt x="1114" y="523"/>
                    </a:lnTo>
                    <a:lnTo>
                      <a:pt x="1114" y="529"/>
                    </a:lnTo>
                    <a:lnTo>
                      <a:pt x="1114" y="535"/>
                    </a:lnTo>
                    <a:lnTo>
                      <a:pt x="1114" y="541"/>
                    </a:lnTo>
                    <a:lnTo>
                      <a:pt x="1114" y="547"/>
                    </a:lnTo>
                    <a:lnTo>
                      <a:pt x="1114" y="553"/>
                    </a:lnTo>
                    <a:lnTo>
                      <a:pt x="1114" y="559"/>
                    </a:lnTo>
                    <a:lnTo>
                      <a:pt x="1114" y="565"/>
                    </a:lnTo>
                    <a:lnTo>
                      <a:pt x="1108" y="565"/>
                    </a:lnTo>
                    <a:lnTo>
                      <a:pt x="1108" y="571"/>
                    </a:lnTo>
                    <a:lnTo>
                      <a:pt x="1108" y="577"/>
                    </a:lnTo>
                    <a:lnTo>
                      <a:pt x="1108" y="583"/>
                    </a:lnTo>
                    <a:lnTo>
                      <a:pt x="1102" y="589"/>
                    </a:lnTo>
                    <a:lnTo>
                      <a:pt x="1102" y="595"/>
                    </a:lnTo>
                    <a:lnTo>
                      <a:pt x="1102" y="601"/>
                    </a:lnTo>
                    <a:lnTo>
                      <a:pt x="1096" y="601"/>
                    </a:lnTo>
                    <a:lnTo>
                      <a:pt x="1102" y="601"/>
                    </a:lnTo>
                    <a:lnTo>
                      <a:pt x="1102" y="607"/>
                    </a:lnTo>
                    <a:lnTo>
                      <a:pt x="1102" y="613"/>
                    </a:lnTo>
                    <a:lnTo>
                      <a:pt x="1102" y="619"/>
                    </a:lnTo>
                    <a:lnTo>
                      <a:pt x="1096" y="619"/>
                    </a:lnTo>
                    <a:lnTo>
                      <a:pt x="1096" y="625"/>
                    </a:lnTo>
                    <a:lnTo>
                      <a:pt x="1090" y="625"/>
                    </a:lnTo>
                    <a:lnTo>
                      <a:pt x="1090" y="631"/>
                    </a:lnTo>
                    <a:lnTo>
                      <a:pt x="1084" y="637"/>
                    </a:lnTo>
                    <a:lnTo>
                      <a:pt x="1084" y="643"/>
                    </a:lnTo>
                    <a:lnTo>
                      <a:pt x="1084" y="649"/>
                    </a:lnTo>
                    <a:lnTo>
                      <a:pt x="1084" y="655"/>
                    </a:lnTo>
                    <a:lnTo>
                      <a:pt x="1084" y="661"/>
                    </a:lnTo>
                    <a:lnTo>
                      <a:pt x="1078" y="667"/>
                    </a:lnTo>
                    <a:lnTo>
                      <a:pt x="1078" y="673"/>
                    </a:lnTo>
                    <a:lnTo>
                      <a:pt x="1078" y="679"/>
                    </a:lnTo>
                    <a:lnTo>
                      <a:pt x="1072" y="679"/>
                    </a:lnTo>
                    <a:lnTo>
                      <a:pt x="1066" y="679"/>
                    </a:lnTo>
                    <a:lnTo>
                      <a:pt x="1060" y="679"/>
                    </a:lnTo>
                    <a:lnTo>
                      <a:pt x="1054" y="679"/>
                    </a:lnTo>
                    <a:lnTo>
                      <a:pt x="1054" y="685"/>
                    </a:lnTo>
                    <a:lnTo>
                      <a:pt x="1048" y="685"/>
                    </a:lnTo>
                    <a:lnTo>
                      <a:pt x="1042" y="685"/>
                    </a:lnTo>
                    <a:lnTo>
                      <a:pt x="1042" y="691"/>
                    </a:lnTo>
                    <a:lnTo>
                      <a:pt x="1036" y="691"/>
                    </a:lnTo>
                    <a:lnTo>
                      <a:pt x="1030" y="697"/>
                    </a:lnTo>
                    <a:lnTo>
                      <a:pt x="1030" y="703"/>
                    </a:lnTo>
                    <a:lnTo>
                      <a:pt x="1023" y="709"/>
                    </a:lnTo>
                    <a:lnTo>
                      <a:pt x="1017" y="715"/>
                    </a:lnTo>
                    <a:lnTo>
                      <a:pt x="1011" y="715"/>
                    </a:lnTo>
                    <a:lnTo>
                      <a:pt x="1011" y="721"/>
                    </a:lnTo>
                    <a:lnTo>
                      <a:pt x="1011" y="727"/>
                    </a:lnTo>
                    <a:lnTo>
                      <a:pt x="1011" y="733"/>
                    </a:lnTo>
                    <a:lnTo>
                      <a:pt x="1011" y="739"/>
                    </a:lnTo>
                    <a:lnTo>
                      <a:pt x="1011" y="745"/>
                    </a:lnTo>
                    <a:lnTo>
                      <a:pt x="993" y="745"/>
                    </a:lnTo>
                    <a:lnTo>
                      <a:pt x="987" y="745"/>
                    </a:lnTo>
                    <a:lnTo>
                      <a:pt x="981" y="745"/>
                    </a:lnTo>
                    <a:lnTo>
                      <a:pt x="969" y="745"/>
                    </a:lnTo>
                    <a:lnTo>
                      <a:pt x="957" y="745"/>
                    </a:lnTo>
                    <a:lnTo>
                      <a:pt x="951" y="745"/>
                    </a:lnTo>
                    <a:lnTo>
                      <a:pt x="939" y="745"/>
                    </a:lnTo>
                    <a:lnTo>
                      <a:pt x="933" y="745"/>
                    </a:lnTo>
                    <a:lnTo>
                      <a:pt x="927" y="745"/>
                    </a:lnTo>
                    <a:lnTo>
                      <a:pt x="921" y="745"/>
                    </a:lnTo>
                    <a:lnTo>
                      <a:pt x="909" y="745"/>
                    </a:lnTo>
                    <a:lnTo>
                      <a:pt x="903" y="745"/>
                    </a:lnTo>
                    <a:lnTo>
                      <a:pt x="891" y="745"/>
                    </a:lnTo>
                    <a:lnTo>
                      <a:pt x="879" y="745"/>
                    </a:lnTo>
                    <a:lnTo>
                      <a:pt x="873" y="745"/>
                    </a:lnTo>
                    <a:lnTo>
                      <a:pt x="867" y="739"/>
                    </a:lnTo>
                    <a:lnTo>
                      <a:pt x="855" y="739"/>
                    </a:lnTo>
                    <a:lnTo>
                      <a:pt x="849" y="739"/>
                    </a:lnTo>
                    <a:lnTo>
                      <a:pt x="843" y="739"/>
                    </a:lnTo>
                    <a:lnTo>
                      <a:pt x="837" y="739"/>
                    </a:lnTo>
                    <a:lnTo>
                      <a:pt x="831" y="739"/>
                    </a:lnTo>
                    <a:lnTo>
                      <a:pt x="819" y="739"/>
                    </a:lnTo>
                    <a:lnTo>
                      <a:pt x="813" y="739"/>
                    </a:lnTo>
                    <a:lnTo>
                      <a:pt x="807" y="745"/>
                    </a:lnTo>
                    <a:lnTo>
                      <a:pt x="801" y="745"/>
                    </a:lnTo>
                    <a:lnTo>
                      <a:pt x="795" y="745"/>
                    </a:lnTo>
                    <a:lnTo>
                      <a:pt x="789" y="745"/>
                    </a:lnTo>
                    <a:lnTo>
                      <a:pt x="783" y="745"/>
                    </a:lnTo>
                    <a:lnTo>
                      <a:pt x="777" y="745"/>
                    </a:lnTo>
                    <a:lnTo>
                      <a:pt x="765" y="745"/>
                    </a:lnTo>
                    <a:lnTo>
                      <a:pt x="759" y="745"/>
                    </a:lnTo>
                    <a:lnTo>
                      <a:pt x="753" y="745"/>
                    </a:lnTo>
                    <a:lnTo>
                      <a:pt x="747" y="745"/>
                    </a:lnTo>
                    <a:lnTo>
                      <a:pt x="741" y="745"/>
                    </a:lnTo>
                    <a:lnTo>
                      <a:pt x="729" y="751"/>
                    </a:lnTo>
                    <a:lnTo>
                      <a:pt x="723" y="751"/>
                    </a:lnTo>
                    <a:lnTo>
                      <a:pt x="717" y="751"/>
                    </a:lnTo>
                    <a:lnTo>
                      <a:pt x="705" y="751"/>
                    </a:lnTo>
                    <a:lnTo>
                      <a:pt x="699" y="751"/>
                    </a:lnTo>
                    <a:lnTo>
                      <a:pt x="693" y="751"/>
                    </a:lnTo>
                    <a:lnTo>
                      <a:pt x="674" y="751"/>
                    </a:lnTo>
                    <a:lnTo>
                      <a:pt x="668" y="757"/>
                    </a:lnTo>
                    <a:lnTo>
                      <a:pt x="662" y="757"/>
                    </a:lnTo>
                    <a:lnTo>
                      <a:pt x="656" y="757"/>
                    </a:lnTo>
                    <a:lnTo>
                      <a:pt x="638" y="757"/>
                    </a:lnTo>
                    <a:lnTo>
                      <a:pt x="632" y="757"/>
                    </a:lnTo>
                    <a:lnTo>
                      <a:pt x="626" y="757"/>
                    </a:lnTo>
                    <a:lnTo>
                      <a:pt x="620" y="757"/>
                    </a:lnTo>
                    <a:lnTo>
                      <a:pt x="614" y="757"/>
                    </a:lnTo>
                    <a:lnTo>
                      <a:pt x="608" y="757"/>
                    </a:lnTo>
                    <a:lnTo>
                      <a:pt x="602" y="757"/>
                    </a:lnTo>
                    <a:lnTo>
                      <a:pt x="596" y="757"/>
                    </a:lnTo>
                    <a:lnTo>
                      <a:pt x="584" y="763"/>
                    </a:lnTo>
                    <a:lnTo>
                      <a:pt x="578" y="763"/>
                    </a:lnTo>
                    <a:lnTo>
                      <a:pt x="578" y="769"/>
                    </a:lnTo>
                    <a:lnTo>
                      <a:pt x="572" y="769"/>
                    </a:lnTo>
                    <a:lnTo>
                      <a:pt x="572" y="775"/>
                    </a:lnTo>
                    <a:lnTo>
                      <a:pt x="566" y="775"/>
                    </a:lnTo>
                    <a:lnTo>
                      <a:pt x="560" y="781"/>
                    </a:lnTo>
                    <a:lnTo>
                      <a:pt x="554" y="787"/>
                    </a:lnTo>
                    <a:lnTo>
                      <a:pt x="548" y="793"/>
                    </a:lnTo>
                    <a:lnTo>
                      <a:pt x="542" y="799"/>
                    </a:lnTo>
                    <a:lnTo>
                      <a:pt x="536" y="799"/>
                    </a:lnTo>
                    <a:lnTo>
                      <a:pt x="536" y="806"/>
                    </a:lnTo>
                    <a:lnTo>
                      <a:pt x="530" y="806"/>
                    </a:lnTo>
                    <a:lnTo>
                      <a:pt x="524" y="812"/>
                    </a:lnTo>
                    <a:lnTo>
                      <a:pt x="518" y="818"/>
                    </a:lnTo>
                    <a:lnTo>
                      <a:pt x="512" y="818"/>
                    </a:lnTo>
                    <a:lnTo>
                      <a:pt x="506" y="818"/>
                    </a:lnTo>
                    <a:lnTo>
                      <a:pt x="500" y="818"/>
                    </a:lnTo>
                    <a:lnTo>
                      <a:pt x="494" y="818"/>
                    </a:lnTo>
                    <a:lnTo>
                      <a:pt x="488" y="818"/>
                    </a:lnTo>
                    <a:lnTo>
                      <a:pt x="482" y="824"/>
                    </a:lnTo>
                    <a:lnTo>
                      <a:pt x="476" y="824"/>
                    </a:lnTo>
                    <a:lnTo>
                      <a:pt x="470" y="824"/>
                    </a:lnTo>
                    <a:lnTo>
                      <a:pt x="464" y="824"/>
                    </a:lnTo>
                    <a:lnTo>
                      <a:pt x="458" y="824"/>
                    </a:lnTo>
                    <a:lnTo>
                      <a:pt x="452" y="824"/>
                    </a:lnTo>
                    <a:lnTo>
                      <a:pt x="452" y="818"/>
                    </a:lnTo>
                    <a:lnTo>
                      <a:pt x="446" y="818"/>
                    </a:lnTo>
                    <a:lnTo>
                      <a:pt x="440" y="818"/>
                    </a:lnTo>
                    <a:lnTo>
                      <a:pt x="434" y="818"/>
                    </a:lnTo>
                    <a:lnTo>
                      <a:pt x="428" y="812"/>
                    </a:lnTo>
                    <a:lnTo>
                      <a:pt x="422" y="818"/>
                    </a:lnTo>
                    <a:lnTo>
                      <a:pt x="416" y="818"/>
                    </a:lnTo>
                    <a:lnTo>
                      <a:pt x="410" y="818"/>
                    </a:lnTo>
                    <a:lnTo>
                      <a:pt x="404" y="818"/>
                    </a:lnTo>
                    <a:lnTo>
                      <a:pt x="398" y="818"/>
                    </a:lnTo>
                    <a:lnTo>
                      <a:pt x="392" y="818"/>
                    </a:lnTo>
                    <a:lnTo>
                      <a:pt x="386" y="818"/>
                    </a:lnTo>
                    <a:lnTo>
                      <a:pt x="374" y="818"/>
                    </a:lnTo>
                    <a:lnTo>
                      <a:pt x="368" y="818"/>
                    </a:lnTo>
                    <a:lnTo>
                      <a:pt x="362" y="818"/>
                    </a:lnTo>
                    <a:lnTo>
                      <a:pt x="356" y="818"/>
                    </a:lnTo>
                    <a:lnTo>
                      <a:pt x="350" y="818"/>
                    </a:lnTo>
                    <a:lnTo>
                      <a:pt x="343" y="818"/>
                    </a:lnTo>
                    <a:lnTo>
                      <a:pt x="337" y="818"/>
                    </a:lnTo>
                    <a:lnTo>
                      <a:pt x="331" y="818"/>
                    </a:lnTo>
                    <a:lnTo>
                      <a:pt x="325" y="812"/>
                    </a:lnTo>
                    <a:lnTo>
                      <a:pt x="313" y="812"/>
                    </a:lnTo>
                    <a:lnTo>
                      <a:pt x="307" y="806"/>
                    </a:lnTo>
                    <a:lnTo>
                      <a:pt x="301" y="806"/>
                    </a:lnTo>
                    <a:lnTo>
                      <a:pt x="295" y="806"/>
                    </a:lnTo>
                    <a:lnTo>
                      <a:pt x="289" y="799"/>
                    </a:lnTo>
                    <a:lnTo>
                      <a:pt x="283" y="799"/>
                    </a:lnTo>
                    <a:lnTo>
                      <a:pt x="277" y="799"/>
                    </a:lnTo>
                    <a:lnTo>
                      <a:pt x="271" y="806"/>
                    </a:lnTo>
                    <a:lnTo>
                      <a:pt x="259" y="812"/>
                    </a:lnTo>
                    <a:lnTo>
                      <a:pt x="253" y="812"/>
                    </a:lnTo>
                    <a:lnTo>
                      <a:pt x="253" y="806"/>
                    </a:lnTo>
                    <a:lnTo>
                      <a:pt x="247" y="799"/>
                    </a:lnTo>
                    <a:lnTo>
                      <a:pt x="241" y="799"/>
                    </a:lnTo>
                    <a:lnTo>
                      <a:pt x="223" y="727"/>
                    </a:lnTo>
                    <a:lnTo>
                      <a:pt x="223" y="715"/>
                    </a:lnTo>
                    <a:lnTo>
                      <a:pt x="211" y="679"/>
                    </a:lnTo>
                    <a:lnTo>
                      <a:pt x="211" y="673"/>
                    </a:lnTo>
                    <a:lnTo>
                      <a:pt x="211" y="667"/>
                    </a:lnTo>
                    <a:lnTo>
                      <a:pt x="205" y="655"/>
                    </a:lnTo>
                    <a:lnTo>
                      <a:pt x="205" y="643"/>
                    </a:lnTo>
                    <a:lnTo>
                      <a:pt x="199" y="607"/>
                    </a:lnTo>
                    <a:lnTo>
                      <a:pt x="199" y="571"/>
                    </a:lnTo>
                    <a:lnTo>
                      <a:pt x="199" y="547"/>
                    </a:lnTo>
                    <a:lnTo>
                      <a:pt x="193" y="493"/>
                    </a:lnTo>
                    <a:lnTo>
                      <a:pt x="199" y="469"/>
                    </a:lnTo>
                    <a:lnTo>
                      <a:pt x="199" y="451"/>
                    </a:lnTo>
                    <a:lnTo>
                      <a:pt x="199" y="445"/>
                    </a:lnTo>
                    <a:lnTo>
                      <a:pt x="199" y="433"/>
                    </a:lnTo>
                    <a:lnTo>
                      <a:pt x="175" y="433"/>
                    </a:lnTo>
                    <a:lnTo>
                      <a:pt x="115" y="427"/>
                    </a:lnTo>
                    <a:lnTo>
                      <a:pt x="31" y="421"/>
                    </a:lnTo>
                    <a:lnTo>
                      <a:pt x="25" y="409"/>
                    </a:lnTo>
                    <a:lnTo>
                      <a:pt x="25" y="403"/>
                    </a:lnTo>
                    <a:lnTo>
                      <a:pt x="19" y="391"/>
                    </a:lnTo>
                    <a:lnTo>
                      <a:pt x="13" y="361"/>
                    </a:lnTo>
                    <a:lnTo>
                      <a:pt x="0" y="312"/>
                    </a:lnTo>
                    <a:lnTo>
                      <a:pt x="19" y="300"/>
                    </a:lnTo>
                    <a:lnTo>
                      <a:pt x="115" y="234"/>
                    </a:lnTo>
                    <a:lnTo>
                      <a:pt x="151" y="210"/>
                    </a:lnTo>
                    <a:lnTo>
                      <a:pt x="163" y="0"/>
                    </a:lnTo>
                    <a:close/>
                  </a:path>
                </a:pathLst>
              </a:custGeom>
              <a:solidFill>
                <a:schemeClr val="accent6">
                  <a:lumMod val="20000"/>
                  <a:lumOff val="80000"/>
                </a:schemeClr>
              </a:solidFill>
              <a:ln w="9525">
                <a:solidFill>
                  <a:srgbClr val="808080"/>
                </a:solidFill>
                <a:round/>
                <a:headEnd/>
                <a:tailEnd/>
              </a:ln>
            </p:spPr>
            <p:txBody>
              <a:bodyPr/>
              <a:lstStyle/>
              <a:p>
                <a:pPr fontAlgn="base">
                  <a:spcBef>
                    <a:spcPct val="0"/>
                  </a:spcBef>
                  <a:spcAft>
                    <a:spcPct val="0"/>
                  </a:spcAft>
                  <a:buClrTx/>
                  <a:buFontTx/>
                  <a:buNone/>
                </a:pPr>
                <a:endParaRPr lang="en-US" sz="1600" kern="1200" dirty="0">
                  <a:latin typeface="Arial" charset="0"/>
                  <a:ea typeface="+mn-ea"/>
                  <a:cs typeface="+mn-cs"/>
                </a:endParaRPr>
              </a:p>
            </p:txBody>
          </p:sp>
          <p:sp>
            <p:nvSpPr>
              <p:cNvPr id="123" name="Freeform 65"/>
              <p:cNvSpPr>
                <a:spLocks/>
              </p:cNvSpPr>
              <p:nvPr/>
            </p:nvSpPr>
            <p:spPr bwMode="auto">
              <a:xfrm>
                <a:off x="2717800" y="2290763"/>
                <a:ext cx="1930400" cy="1355725"/>
              </a:xfrm>
              <a:custGeom>
                <a:avLst/>
                <a:gdLst>
                  <a:gd name="T0" fmla="*/ 428 w 1216"/>
                  <a:gd name="T1" fmla="*/ 37 h 854"/>
                  <a:gd name="T2" fmla="*/ 446 w 1216"/>
                  <a:gd name="T3" fmla="*/ 49 h 854"/>
                  <a:gd name="T4" fmla="*/ 470 w 1216"/>
                  <a:gd name="T5" fmla="*/ 67 h 854"/>
                  <a:gd name="T6" fmla="*/ 500 w 1216"/>
                  <a:gd name="T7" fmla="*/ 85 h 854"/>
                  <a:gd name="T8" fmla="*/ 536 w 1216"/>
                  <a:gd name="T9" fmla="*/ 109 h 854"/>
                  <a:gd name="T10" fmla="*/ 578 w 1216"/>
                  <a:gd name="T11" fmla="*/ 139 h 854"/>
                  <a:gd name="T12" fmla="*/ 620 w 1216"/>
                  <a:gd name="T13" fmla="*/ 169 h 854"/>
                  <a:gd name="T14" fmla="*/ 626 w 1216"/>
                  <a:gd name="T15" fmla="*/ 187 h 854"/>
                  <a:gd name="T16" fmla="*/ 626 w 1216"/>
                  <a:gd name="T17" fmla="*/ 217 h 854"/>
                  <a:gd name="T18" fmla="*/ 620 w 1216"/>
                  <a:gd name="T19" fmla="*/ 241 h 854"/>
                  <a:gd name="T20" fmla="*/ 638 w 1216"/>
                  <a:gd name="T21" fmla="*/ 241 h 854"/>
                  <a:gd name="T22" fmla="*/ 656 w 1216"/>
                  <a:gd name="T23" fmla="*/ 247 h 854"/>
                  <a:gd name="T24" fmla="*/ 668 w 1216"/>
                  <a:gd name="T25" fmla="*/ 259 h 854"/>
                  <a:gd name="T26" fmla="*/ 692 w 1216"/>
                  <a:gd name="T27" fmla="*/ 265 h 854"/>
                  <a:gd name="T28" fmla="*/ 716 w 1216"/>
                  <a:gd name="T29" fmla="*/ 283 h 854"/>
                  <a:gd name="T30" fmla="*/ 722 w 1216"/>
                  <a:gd name="T31" fmla="*/ 313 h 854"/>
                  <a:gd name="T32" fmla="*/ 740 w 1216"/>
                  <a:gd name="T33" fmla="*/ 325 h 854"/>
                  <a:gd name="T34" fmla="*/ 759 w 1216"/>
                  <a:gd name="T35" fmla="*/ 331 h 854"/>
                  <a:gd name="T36" fmla="*/ 777 w 1216"/>
                  <a:gd name="T37" fmla="*/ 343 h 854"/>
                  <a:gd name="T38" fmla="*/ 801 w 1216"/>
                  <a:gd name="T39" fmla="*/ 349 h 854"/>
                  <a:gd name="T40" fmla="*/ 813 w 1216"/>
                  <a:gd name="T41" fmla="*/ 337 h 854"/>
                  <a:gd name="T42" fmla="*/ 837 w 1216"/>
                  <a:gd name="T43" fmla="*/ 343 h 854"/>
                  <a:gd name="T44" fmla="*/ 849 w 1216"/>
                  <a:gd name="T45" fmla="*/ 361 h 854"/>
                  <a:gd name="T46" fmla="*/ 861 w 1216"/>
                  <a:gd name="T47" fmla="*/ 385 h 854"/>
                  <a:gd name="T48" fmla="*/ 879 w 1216"/>
                  <a:gd name="T49" fmla="*/ 385 h 854"/>
                  <a:gd name="T50" fmla="*/ 897 w 1216"/>
                  <a:gd name="T51" fmla="*/ 391 h 854"/>
                  <a:gd name="T52" fmla="*/ 927 w 1216"/>
                  <a:gd name="T53" fmla="*/ 397 h 854"/>
                  <a:gd name="T54" fmla="*/ 951 w 1216"/>
                  <a:gd name="T55" fmla="*/ 403 h 854"/>
                  <a:gd name="T56" fmla="*/ 975 w 1216"/>
                  <a:gd name="T57" fmla="*/ 409 h 854"/>
                  <a:gd name="T58" fmla="*/ 993 w 1216"/>
                  <a:gd name="T59" fmla="*/ 421 h 854"/>
                  <a:gd name="T60" fmla="*/ 1017 w 1216"/>
                  <a:gd name="T61" fmla="*/ 427 h 854"/>
                  <a:gd name="T62" fmla="*/ 1017 w 1216"/>
                  <a:gd name="T63" fmla="*/ 451 h 854"/>
                  <a:gd name="T64" fmla="*/ 1017 w 1216"/>
                  <a:gd name="T65" fmla="*/ 475 h 854"/>
                  <a:gd name="T66" fmla="*/ 1023 w 1216"/>
                  <a:gd name="T67" fmla="*/ 500 h 854"/>
                  <a:gd name="T68" fmla="*/ 1029 w 1216"/>
                  <a:gd name="T69" fmla="*/ 512 h 854"/>
                  <a:gd name="T70" fmla="*/ 1017 w 1216"/>
                  <a:gd name="T71" fmla="*/ 530 h 854"/>
                  <a:gd name="T72" fmla="*/ 1005 w 1216"/>
                  <a:gd name="T73" fmla="*/ 548 h 854"/>
                  <a:gd name="T74" fmla="*/ 993 w 1216"/>
                  <a:gd name="T75" fmla="*/ 566 h 854"/>
                  <a:gd name="T76" fmla="*/ 1005 w 1216"/>
                  <a:gd name="T77" fmla="*/ 578 h 854"/>
                  <a:gd name="T78" fmla="*/ 1023 w 1216"/>
                  <a:gd name="T79" fmla="*/ 590 h 854"/>
                  <a:gd name="T80" fmla="*/ 1035 w 1216"/>
                  <a:gd name="T81" fmla="*/ 602 h 854"/>
                  <a:gd name="T82" fmla="*/ 1053 w 1216"/>
                  <a:gd name="T83" fmla="*/ 602 h 854"/>
                  <a:gd name="T84" fmla="*/ 1077 w 1216"/>
                  <a:gd name="T85" fmla="*/ 602 h 854"/>
                  <a:gd name="T86" fmla="*/ 1108 w 1216"/>
                  <a:gd name="T87" fmla="*/ 590 h 854"/>
                  <a:gd name="T88" fmla="*/ 1144 w 1216"/>
                  <a:gd name="T89" fmla="*/ 584 h 854"/>
                  <a:gd name="T90" fmla="*/ 1174 w 1216"/>
                  <a:gd name="T91" fmla="*/ 578 h 854"/>
                  <a:gd name="T92" fmla="*/ 1204 w 1216"/>
                  <a:gd name="T93" fmla="*/ 572 h 854"/>
                  <a:gd name="T94" fmla="*/ 1216 w 1216"/>
                  <a:gd name="T95" fmla="*/ 596 h 854"/>
                  <a:gd name="T96" fmla="*/ 1216 w 1216"/>
                  <a:gd name="T97" fmla="*/ 638 h 854"/>
                  <a:gd name="T98" fmla="*/ 1216 w 1216"/>
                  <a:gd name="T99" fmla="*/ 680 h 854"/>
                  <a:gd name="T100" fmla="*/ 1216 w 1216"/>
                  <a:gd name="T101" fmla="*/ 722 h 854"/>
                  <a:gd name="T102" fmla="*/ 1216 w 1216"/>
                  <a:gd name="T103" fmla="*/ 752 h 854"/>
                  <a:gd name="T104" fmla="*/ 1216 w 1216"/>
                  <a:gd name="T105" fmla="*/ 794 h 854"/>
                  <a:gd name="T106" fmla="*/ 831 w 1216"/>
                  <a:gd name="T107" fmla="*/ 788 h 854"/>
                  <a:gd name="T108" fmla="*/ 584 w 1216"/>
                  <a:gd name="T109" fmla="*/ 830 h 854"/>
                  <a:gd name="T110" fmla="*/ 409 w 1216"/>
                  <a:gd name="T111" fmla="*/ 638 h 854"/>
                  <a:gd name="T112" fmla="*/ 0 w 1216"/>
                  <a:gd name="T113" fmla="*/ 397 h 854"/>
                  <a:gd name="T114" fmla="*/ 397 w 1216"/>
                  <a:gd name="T115" fmla="*/ 0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16" h="854">
                    <a:moveTo>
                      <a:pt x="397" y="0"/>
                    </a:moveTo>
                    <a:lnTo>
                      <a:pt x="397" y="18"/>
                    </a:lnTo>
                    <a:lnTo>
                      <a:pt x="409" y="24"/>
                    </a:lnTo>
                    <a:lnTo>
                      <a:pt x="428" y="37"/>
                    </a:lnTo>
                    <a:lnTo>
                      <a:pt x="434" y="37"/>
                    </a:lnTo>
                    <a:lnTo>
                      <a:pt x="440" y="43"/>
                    </a:lnTo>
                    <a:lnTo>
                      <a:pt x="440" y="49"/>
                    </a:lnTo>
                    <a:lnTo>
                      <a:pt x="446" y="49"/>
                    </a:lnTo>
                    <a:lnTo>
                      <a:pt x="452" y="55"/>
                    </a:lnTo>
                    <a:lnTo>
                      <a:pt x="458" y="55"/>
                    </a:lnTo>
                    <a:lnTo>
                      <a:pt x="464" y="61"/>
                    </a:lnTo>
                    <a:lnTo>
                      <a:pt x="470" y="67"/>
                    </a:lnTo>
                    <a:lnTo>
                      <a:pt x="476" y="67"/>
                    </a:lnTo>
                    <a:lnTo>
                      <a:pt x="482" y="73"/>
                    </a:lnTo>
                    <a:lnTo>
                      <a:pt x="494" y="79"/>
                    </a:lnTo>
                    <a:lnTo>
                      <a:pt x="500" y="85"/>
                    </a:lnTo>
                    <a:lnTo>
                      <a:pt x="506" y="91"/>
                    </a:lnTo>
                    <a:lnTo>
                      <a:pt x="512" y="91"/>
                    </a:lnTo>
                    <a:lnTo>
                      <a:pt x="524" y="97"/>
                    </a:lnTo>
                    <a:lnTo>
                      <a:pt x="536" y="109"/>
                    </a:lnTo>
                    <a:lnTo>
                      <a:pt x="548" y="115"/>
                    </a:lnTo>
                    <a:lnTo>
                      <a:pt x="560" y="127"/>
                    </a:lnTo>
                    <a:lnTo>
                      <a:pt x="572" y="133"/>
                    </a:lnTo>
                    <a:lnTo>
                      <a:pt x="578" y="139"/>
                    </a:lnTo>
                    <a:lnTo>
                      <a:pt x="596" y="151"/>
                    </a:lnTo>
                    <a:lnTo>
                      <a:pt x="614" y="163"/>
                    </a:lnTo>
                    <a:lnTo>
                      <a:pt x="620" y="163"/>
                    </a:lnTo>
                    <a:lnTo>
                      <a:pt x="620" y="169"/>
                    </a:lnTo>
                    <a:lnTo>
                      <a:pt x="626" y="169"/>
                    </a:lnTo>
                    <a:lnTo>
                      <a:pt x="626" y="175"/>
                    </a:lnTo>
                    <a:lnTo>
                      <a:pt x="626" y="181"/>
                    </a:lnTo>
                    <a:lnTo>
                      <a:pt x="626" y="187"/>
                    </a:lnTo>
                    <a:lnTo>
                      <a:pt x="626" y="199"/>
                    </a:lnTo>
                    <a:lnTo>
                      <a:pt x="626" y="205"/>
                    </a:lnTo>
                    <a:lnTo>
                      <a:pt x="626" y="211"/>
                    </a:lnTo>
                    <a:lnTo>
                      <a:pt x="626" y="217"/>
                    </a:lnTo>
                    <a:lnTo>
                      <a:pt x="620" y="223"/>
                    </a:lnTo>
                    <a:lnTo>
                      <a:pt x="620" y="229"/>
                    </a:lnTo>
                    <a:lnTo>
                      <a:pt x="620" y="235"/>
                    </a:lnTo>
                    <a:lnTo>
                      <a:pt x="620" y="241"/>
                    </a:lnTo>
                    <a:lnTo>
                      <a:pt x="626" y="247"/>
                    </a:lnTo>
                    <a:lnTo>
                      <a:pt x="632" y="247"/>
                    </a:lnTo>
                    <a:lnTo>
                      <a:pt x="638" y="247"/>
                    </a:lnTo>
                    <a:lnTo>
                      <a:pt x="638" y="241"/>
                    </a:lnTo>
                    <a:lnTo>
                      <a:pt x="644" y="241"/>
                    </a:lnTo>
                    <a:lnTo>
                      <a:pt x="650" y="241"/>
                    </a:lnTo>
                    <a:lnTo>
                      <a:pt x="650" y="247"/>
                    </a:lnTo>
                    <a:lnTo>
                      <a:pt x="656" y="247"/>
                    </a:lnTo>
                    <a:lnTo>
                      <a:pt x="656" y="253"/>
                    </a:lnTo>
                    <a:lnTo>
                      <a:pt x="656" y="259"/>
                    </a:lnTo>
                    <a:lnTo>
                      <a:pt x="662" y="259"/>
                    </a:lnTo>
                    <a:lnTo>
                      <a:pt x="668" y="259"/>
                    </a:lnTo>
                    <a:lnTo>
                      <a:pt x="674" y="259"/>
                    </a:lnTo>
                    <a:lnTo>
                      <a:pt x="680" y="265"/>
                    </a:lnTo>
                    <a:lnTo>
                      <a:pt x="686" y="265"/>
                    </a:lnTo>
                    <a:lnTo>
                      <a:pt x="692" y="265"/>
                    </a:lnTo>
                    <a:lnTo>
                      <a:pt x="698" y="271"/>
                    </a:lnTo>
                    <a:lnTo>
                      <a:pt x="704" y="271"/>
                    </a:lnTo>
                    <a:lnTo>
                      <a:pt x="710" y="277"/>
                    </a:lnTo>
                    <a:lnTo>
                      <a:pt x="716" y="283"/>
                    </a:lnTo>
                    <a:lnTo>
                      <a:pt x="716" y="295"/>
                    </a:lnTo>
                    <a:lnTo>
                      <a:pt x="716" y="307"/>
                    </a:lnTo>
                    <a:lnTo>
                      <a:pt x="716" y="313"/>
                    </a:lnTo>
                    <a:lnTo>
                      <a:pt x="722" y="313"/>
                    </a:lnTo>
                    <a:lnTo>
                      <a:pt x="728" y="319"/>
                    </a:lnTo>
                    <a:lnTo>
                      <a:pt x="734" y="319"/>
                    </a:lnTo>
                    <a:lnTo>
                      <a:pt x="734" y="325"/>
                    </a:lnTo>
                    <a:lnTo>
                      <a:pt x="740" y="325"/>
                    </a:lnTo>
                    <a:lnTo>
                      <a:pt x="740" y="331"/>
                    </a:lnTo>
                    <a:lnTo>
                      <a:pt x="746" y="331"/>
                    </a:lnTo>
                    <a:lnTo>
                      <a:pt x="752" y="331"/>
                    </a:lnTo>
                    <a:lnTo>
                      <a:pt x="759" y="331"/>
                    </a:lnTo>
                    <a:lnTo>
                      <a:pt x="759" y="337"/>
                    </a:lnTo>
                    <a:lnTo>
                      <a:pt x="765" y="343"/>
                    </a:lnTo>
                    <a:lnTo>
                      <a:pt x="771" y="343"/>
                    </a:lnTo>
                    <a:lnTo>
                      <a:pt x="777" y="343"/>
                    </a:lnTo>
                    <a:lnTo>
                      <a:pt x="783" y="343"/>
                    </a:lnTo>
                    <a:lnTo>
                      <a:pt x="789" y="343"/>
                    </a:lnTo>
                    <a:lnTo>
                      <a:pt x="795" y="349"/>
                    </a:lnTo>
                    <a:lnTo>
                      <a:pt x="801" y="349"/>
                    </a:lnTo>
                    <a:lnTo>
                      <a:pt x="807" y="349"/>
                    </a:lnTo>
                    <a:lnTo>
                      <a:pt x="807" y="343"/>
                    </a:lnTo>
                    <a:lnTo>
                      <a:pt x="813" y="343"/>
                    </a:lnTo>
                    <a:lnTo>
                      <a:pt x="813" y="337"/>
                    </a:lnTo>
                    <a:lnTo>
                      <a:pt x="819" y="337"/>
                    </a:lnTo>
                    <a:lnTo>
                      <a:pt x="825" y="337"/>
                    </a:lnTo>
                    <a:lnTo>
                      <a:pt x="831" y="343"/>
                    </a:lnTo>
                    <a:lnTo>
                      <a:pt x="837" y="343"/>
                    </a:lnTo>
                    <a:lnTo>
                      <a:pt x="837" y="349"/>
                    </a:lnTo>
                    <a:lnTo>
                      <a:pt x="843" y="355"/>
                    </a:lnTo>
                    <a:lnTo>
                      <a:pt x="849" y="355"/>
                    </a:lnTo>
                    <a:lnTo>
                      <a:pt x="849" y="361"/>
                    </a:lnTo>
                    <a:lnTo>
                      <a:pt x="855" y="367"/>
                    </a:lnTo>
                    <a:lnTo>
                      <a:pt x="855" y="373"/>
                    </a:lnTo>
                    <a:lnTo>
                      <a:pt x="861" y="379"/>
                    </a:lnTo>
                    <a:lnTo>
                      <a:pt x="861" y="385"/>
                    </a:lnTo>
                    <a:lnTo>
                      <a:pt x="867" y="385"/>
                    </a:lnTo>
                    <a:lnTo>
                      <a:pt x="873" y="379"/>
                    </a:lnTo>
                    <a:lnTo>
                      <a:pt x="873" y="385"/>
                    </a:lnTo>
                    <a:lnTo>
                      <a:pt x="879" y="385"/>
                    </a:lnTo>
                    <a:lnTo>
                      <a:pt x="879" y="391"/>
                    </a:lnTo>
                    <a:lnTo>
                      <a:pt x="885" y="391"/>
                    </a:lnTo>
                    <a:lnTo>
                      <a:pt x="891" y="391"/>
                    </a:lnTo>
                    <a:lnTo>
                      <a:pt x="897" y="391"/>
                    </a:lnTo>
                    <a:lnTo>
                      <a:pt x="909" y="391"/>
                    </a:lnTo>
                    <a:lnTo>
                      <a:pt x="915" y="391"/>
                    </a:lnTo>
                    <a:lnTo>
                      <a:pt x="921" y="397"/>
                    </a:lnTo>
                    <a:lnTo>
                      <a:pt x="927" y="397"/>
                    </a:lnTo>
                    <a:lnTo>
                      <a:pt x="933" y="397"/>
                    </a:lnTo>
                    <a:lnTo>
                      <a:pt x="939" y="403"/>
                    </a:lnTo>
                    <a:lnTo>
                      <a:pt x="945" y="403"/>
                    </a:lnTo>
                    <a:lnTo>
                      <a:pt x="951" y="403"/>
                    </a:lnTo>
                    <a:lnTo>
                      <a:pt x="957" y="403"/>
                    </a:lnTo>
                    <a:lnTo>
                      <a:pt x="963" y="403"/>
                    </a:lnTo>
                    <a:lnTo>
                      <a:pt x="969" y="403"/>
                    </a:lnTo>
                    <a:lnTo>
                      <a:pt x="975" y="409"/>
                    </a:lnTo>
                    <a:lnTo>
                      <a:pt x="981" y="409"/>
                    </a:lnTo>
                    <a:lnTo>
                      <a:pt x="981" y="415"/>
                    </a:lnTo>
                    <a:lnTo>
                      <a:pt x="987" y="415"/>
                    </a:lnTo>
                    <a:lnTo>
                      <a:pt x="993" y="421"/>
                    </a:lnTo>
                    <a:lnTo>
                      <a:pt x="999" y="427"/>
                    </a:lnTo>
                    <a:lnTo>
                      <a:pt x="1005" y="427"/>
                    </a:lnTo>
                    <a:lnTo>
                      <a:pt x="1011" y="427"/>
                    </a:lnTo>
                    <a:lnTo>
                      <a:pt x="1017" y="427"/>
                    </a:lnTo>
                    <a:lnTo>
                      <a:pt x="1017" y="433"/>
                    </a:lnTo>
                    <a:lnTo>
                      <a:pt x="1017" y="439"/>
                    </a:lnTo>
                    <a:lnTo>
                      <a:pt x="1017" y="445"/>
                    </a:lnTo>
                    <a:lnTo>
                      <a:pt x="1017" y="451"/>
                    </a:lnTo>
                    <a:lnTo>
                      <a:pt x="1017" y="457"/>
                    </a:lnTo>
                    <a:lnTo>
                      <a:pt x="1017" y="463"/>
                    </a:lnTo>
                    <a:lnTo>
                      <a:pt x="1017" y="469"/>
                    </a:lnTo>
                    <a:lnTo>
                      <a:pt x="1017" y="475"/>
                    </a:lnTo>
                    <a:lnTo>
                      <a:pt x="1017" y="482"/>
                    </a:lnTo>
                    <a:lnTo>
                      <a:pt x="1017" y="488"/>
                    </a:lnTo>
                    <a:lnTo>
                      <a:pt x="1023" y="494"/>
                    </a:lnTo>
                    <a:lnTo>
                      <a:pt x="1023" y="500"/>
                    </a:lnTo>
                    <a:lnTo>
                      <a:pt x="1017" y="500"/>
                    </a:lnTo>
                    <a:lnTo>
                      <a:pt x="1023" y="506"/>
                    </a:lnTo>
                    <a:lnTo>
                      <a:pt x="1023" y="512"/>
                    </a:lnTo>
                    <a:lnTo>
                      <a:pt x="1029" y="512"/>
                    </a:lnTo>
                    <a:lnTo>
                      <a:pt x="1029" y="518"/>
                    </a:lnTo>
                    <a:lnTo>
                      <a:pt x="1023" y="518"/>
                    </a:lnTo>
                    <a:lnTo>
                      <a:pt x="1023" y="524"/>
                    </a:lnTo>
                    <a:lnTo>
                      <a:pt x="1017" y="530"/>
                    </a:lnTo>
                    <a:lnTo>
                      <a:pt x="1011" y="536"/>
                    </a:lnTo>
                    <a:lnTo>
                      <a:pt x="1011" y="542"/>
                    </a:lnTo>
                    <a:lnTo>
                      <a:pt x="1011" y="548"/>
                    </a:lnTo>
                    <a:lnTo>
                      <a:pt x="1005" y="548"/>
                    </a:lnTo>
                    <a:lnTo>
                      <a:pt x="1005" y="554"/>
                    </a:lnTo>
                    <a:lnTo>
                      <a:pt x="999" y="560"/>
                    </a:lnTo>
                    <a:lnTo>
                      <a:pt x="993" y="560"/>
                    </a:lnTo>
                    <a:lnTo>
                      <a:pt x="993" y="566"/>
                    </a:lnTo>
                    <a:lnTo>
                      <a:pt x="993" y="572"/>
                    </a:lnTo>
                    <a:lnTo>
                      <a:pt x="999" y="572"/>
                    </a:lnTo>
                    <a:lnTo>
                      <a:pt x="999" y="578"/>
                    </a:lnTo>
                    <a:lnTo>
                      <a:pt x="1005" y="578"/>
                    </a:lnTo>
                    <a:lnTo>
                      <a:pt x="1005" y="584"/>
                    </a:lnTo>
                    <a:lnTo>
                      <a:pt x="1011" y="584"/>
                    </a:lnTo>
                    <a:lnTo>
                      <a:pt x="1017" y="590"/>
                    </a:lnTo>
                    <a:lnTo>
                      <a:pt x="1023" y="590"/>
                    </a:lnTo>
                    <a:lnTo>
                      <a:pt x="1023" y="596"/>
                    </a:lnTo>
                    <a:lnTo>
                      <a:pt x="1029" y="596"/>
                    </a:lnTo>
                    <a:lnTo>
                      <a:pt x="1029" y="602"/>
                    </a:lnTo>
                    <a:lnTo>
                      <a:pt x="1035" y="602"/>
                    </a:lnTo>
                    <a:lnTo>
                      <a:pt x="1035" y="608"/>
                    </a:lnTo>
                    <a:lnTo>
                      <a:pt x="1041" y="608"/>
                    </a:lnTo>
                    <a:lnTo>
                      <a:pt x="1047" y="608"/>
                    </a:lnTo>
                    <a:lnTo>
                      <a:pt x="1053" y="602"/>
                    </a:lnTo>
                    <a:lnTo>
                      <a:pt x="1059" y="602"/>
                    </a:lnTo>
                    <a:lnTo>
                      <a:pt x="1065" y="602"/>
                    </a:lnTo>
                    <a:lnTo>
                      <a:pt x="1071" y="602"/>
                    </a:lnTo>
                    <a:lnTo>
                      <a:pt x="1077" y="602"/>
                    </a:lnTo>
                    <a:lnTo>
                      <a:pt x="1089" y="596"/>
                    </a:lnTo>
                    <a:lnTo>
                      <a:pt x="1096" y="596"/>
                    </a:lnTo>
                    <a:lnTo>
                      <a:pt x="1102" y="596"/>
                    </a:lnTo>
                    <a:lnTo>
                      <a:pt x="1108" y="590"/>
                    </a:lnTo>
                    <a:lnTo>
                      <a:pt x="1114" y="590"/>
                    </a:lnTo>
                    <a:lnTo>
                      <a:pt x="1126" y="590"/>
                    </a:lnTo>
                    <a:lnTo>
                      <a:pt x="1132" y="590"/>
                    </a:lnTo>
                    <a:lnTo>
                      <a:pt x="1144" y="584"/>
                    </a:lnTo>
                    <a:lnTo>
                      <a:pt x="1150" y="584"/>
                    </a:lnTo>
                    <a:lnTo>
                      <a:pt x="1156" y="584"/>
                    </a:lnTo>
                    <a:lnTo>
                      <a:pt x="1162" y="584"/>
                    </a:lnTo>
                    <a:lnTo>
                      <a:pt x="1174" y="578"/>
                    </a:lnTo>
                    <a:lnTo>
                      <a:pt x="1180" y="578"/>
                    </a:lnTo>
                    <a:lnTo>
                      <a:pt x="1186" y="578"/>
                    </a:lnTo>
                    <a:lnTo>
                      <a:pt x="1192" y="578"/>
                    </a:lnTo>
                    <a:lnTo>
                      <a:pt x="1204" y="572"/>
                    </a:lnTo>
                    <a:lnTo>
                      <a:pt x="1210" y="572"/>
                    </a:lnTo>
                    <a:lnTo>
                      <a:pt x="1216" y="572"/>
                    </a:lnTo>
                    <a:lnTo>
                      <a:pt x="1216" y="584"/>
                    </a:lnTo>
                    <a:lnTo>
                      <a:pt x="1216" y="596"/>
                    </a:lnTo>
                    <a:lnTo>
                      <a:pt x="1216" y="602"/>
                    </a:lnTo>
                    <a:lnTo>
                      <a:pt x="1216" y="608"/>
                    </a:lnTo>
                    <a:lnTo>
                      <a:pt x="1216" y="614"/>
                    </a:lnTo>
                    <a:lnTo>
                      <a:pt x="1216" y="638"/>
                    </a:lnTo>
                    <a:lnTo>
                      <a:pt x="1216" y="656"/>
                    </a:lnTo>
                    <a:lnTo>
                      <a:pt x="1216" y="668"/>
                    </a:lnTo>
                    <a:lnTo>
                      <a:pt x="1216" y="674"/>
                    </a:lnTo>
                    <a:lnTo>
                      <a:pt x="1216" y="680"/>
                    </a:lnTo>
                    <a:lnTo>
                      <a:pt x="1216" y="686"/>
                    </a:lnTo>
                    <a:lnTo>
                      <a:pt x="1216" y="698"/>
                    </a:lnTo>
                    <a:lnTo>
                      <a:pt x="1216" y="716"/>
                    </a:lnTo>
                    <a:lnTo>
                      <a:pt x="1216" y="722"/>
                    </a:lnTo>
                    <a:lnTo>
                      <a:pt x="1216" y="728"/>
                    </a:lnTo>
                    <a:lnTo>
                      <a:pt x="1216" y="734"/>
                    </a:lnTo>
                    <a:lnTo>
                      <a:pt x="1216" y="746"/>
                    </a:lnTo>
                    <a:lnTo>
                      <a:pt x="1216" y="752"/>
                    </a:lnTo>
                    <a:lnTo>
                      <a:pt x="1216" y="758"/>
                    </a:lnTo>
                    <a:lnTo>
                      <a:pt x="1216" y="776"/>
                    </a:lnTo>
                    <a:lnTo>
                      <a:pt x="1216" y="788"/>
                    </a:lnTo>
                    <a:lnTo>
                      <a:pt x="1216" y="794"/>
                    </a:lnTo>
                    <a:lnTo>
                      <a:pt x="1216" y="800"/>
                    </a:lnTo>
                    <a:lnTo>
                      <a:pt x="1017" y="794"/>
                    </a:lnTo>
                    <a:lnTo>
                      <a:pt x="873" y="788"/>
                    </a:lnTo>
                    <a:lnTo>
                      <a:pt x="831" y="788"/>
                    </a:lnTo>
                    <a:lnTo>
                      <a:pt x="777" y="788"/>
                    </a:lnTo>
                    <a:lnTo>
                      <a:pt x="740" y="830"/>
                    </a:lnTo>
                    <a:lnTo>
                      <a:pt x="638" y="854"/>
                    </a:lnTo>
                    <a:lnTo>
                      <a:pt x="584" y="830"/>
                    </a:lnTo>
                    <a:lnTo>
                      <a:pt x="518" y="800"/>
                    </a:lnTo>
                    <a:lnTo>
                      <a:pt x="488" y="770"/>
                    </a:lnTo>
                    <a:lnTo>
                      <a:pt x="452" y="716"/>
                    </a:lnTo>
                    <a:lnTo>
                      <a:pt x="409" y="638"/>
                    </a:lnTo>
                    <a:lnTo>
                      <a:pt x="367" y="626"/>
                    </a:lnTo>
                    <a:lnTo>
                      <a:pt x="229" y="590"/>
                    </a:lnTo>
                    <a:lnTo>
                      <a:pt x="211" y="566"/>
                    </a:lnTo>
                    <a:lnTo>
                      <a:pt x="0" y="397"/>
                    </a:lnTo>
                    <a:lnTo>
                      <a:pt x="151" y="313"/>
                    </a:lnTo>
                    <a:lnTo>
                      <a:pt x="223" y="247"/>
                    </a:lnTo>
                    <a:lnTo>
                      <a:pt x="349" y="145"/>
                    </a:lnTo>
                    <a:lnTo>
                      <a:pt x="397" y="0"/>
                    </a:lnTo>
                    <a:close/>
                  </a:path>
                </a:pathLst>
              </a:custGeom>
              <a:solidFill>
                <a:schemeClr val="accent6">
                  <a:lumMod val="20000"/>
                  <a:lumOff val="80000"/>
                </a:schemeClr>
              </a:solidFill>
              <a:ln w="9525">
                <a:solidFill>
                  <a:srgbClr val="808080"/>
                </a:solidFill>
                <a:round/>
                <a:headEnd/>
                <a:tailEnd/>
              </a:ln>
            </p:spPr>
            <p:txBody>
              <a:bodyPr/>
              <a:lstStyle/>
              <a:p>
                <a:pPr fontAlgn="base">
                  <a:spcBef>
                    <a:spcPct val="0"/>
                  </a:spcBef>
                  <a:spcAft>
                    <a:spcPct val="0"/>
                  </a:spcAft>
                  <a:buClrTx/>
                  <a:buFontTx/>
                  <a:buNone/>
                </a:pPr>
                <a:endParaRPr lang="en-US" sz="1600" kern="1200" dirty="0">
                  <a:latin typeface="Arial" charset="0"/>
                  <a:ea typeface="+mn-ea"/>
                  <a:cs typeface="+mn-cs"/>
                </a:endParaRPr>
              </a:p>
            </p:txBody>
          </p:sp>
        </p:grpSp>
        <p:sp>
          <p:nvSpPr>
            <p:cNvPr id="19" name="TextBox 18"/>
            <p:cNvSpPr txBox="1">
              <a:spLocks/>
            </p:cNvSpPr>
            <p:nvPr/>
          </p:nvSpPr>
          <p:spPr>
            <a:xfrm>
              <a:off x="4348101" y="838468"/>
              <a:ext cx="132810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buFontTx/>
                <a:buNone/>
              </a:pPr>
              <a:r>
                <a:rPr lang="en-US" sz="1000" b="1" kern="1200" dirty="0">
                  <a:solidFill>
                    <a:srgbClr val="01632F"/>
                  </a:solidFill>
                  <a:ea typeface="+mn-ea"/>
                  <a:cs typeface="+mn-cs"/>
                </a:rPr>
                <a:t>Mali</a:t>
              </a:r>
            </a:p>
          </p:txBody>
        </p:sp>
      </p:grpSp>
      <p:sp>
        <p:nvSpPr>
          <p:cNvPr id="127" name="Rectangle 126"/>
          <p:cNvSpPr>
            <a:spLocks/>
          </p:cNvSpPr>
          <p:nvPr/>
        </p:nvSpPr>
        <p:spPr>
          <a:xfrm>
            <a:off x="5512028" y="3695305"/>
            <a:ext cx="3923753" cy="3044985"/>
          </a:xfrm>
          <a:prstGeom prst="rect">
            <a:avLst/>
          </a:prstGeom>
          <a:solidFill>
            <a:srgbClr val="F0F6E3">
              <a:alpha val="80000"/>
            </a:srgbClr>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600" kern="1200" dirty="0">
              <a:solidFill>
                <a:srgbClr val="000000"/>
              </a:solidFill>
            </a:endParaRPr>
          </a:p>
        </p:txBody>
      </p:sp>
      <p:sp>
        <p:nvSpPr>
          <p:cNvPr id="128" name="TextBox 127"/>
          <p:cNvSpPr txBox="1">
            <a:spLocks/>
          </p:cNvSpPr>
          <p:nvPr/>
        </p:nvSpPr>
        <p:spPr>
          <a:xfrm>
            <a:off x="5579256" y="3939523"/>
            <a:ext cx="3783339" cy="298543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fontAlgn="base">
              <a:spcBef>
                <a:spcPct val="20000"/>
              </a:spcBef>
              <a:spcAft>
                <a:spcPct val="0"/>
              </a:spcAft>
              <a:buClr>
                <a:srgbClr val="000000"/>
              </a:buClr>
            </a:pPr>
            <a:r>
              <a:rPr lang="en-US" sz="1000" b="1" kern="1200" dirty="0">
                <a:solidFill>
                  <a:srgbClr val="01632F"/>
                </a:solidFill>
                <a:ea typeface="+mn-ea"/>
                <a:cs typeface="+mn-cs"/>
              </a:rPr>
              <a:t>200K farmers </a:t>
            </a:r>
            <a:r>
              <a:rPr lang="en-US" sz="1000" kern="1200" dirty="0">
                <a:ea typeface="+mn-ea"/>
                <a:cs typeface="+mn-cs"/>
              </a:rPr>
              <a:t>focusing on maize, sorghum and cowpea</a:t>
            </a:r>
          </a:p>
          <a:p>
            <a:pPr lvl="2" fontAlgn="base">
              <a:spcBef>
                <a:spcPct val="10000"/>
              </a:spcBef>
              <a:spcAft>
                <a:spcPct val="0"/>
              </a:spcAft>
              <a:buClr>
                <a:srgbClr val="000000"/>
              </a:buClr>
            </a:pPr>
            <a:r>
              <a:rPr lang="en-US" sz="1000" b="1" kern="1200" dirty="0">
                <a:solidFill>
                  <a:srgbClr val="01632F"/>
                </a:solidFill>
                <a:ea typeface="+mn-ea"/>
                <a:cs typeface="+mn-cs"/>
              </a:rPr>
              <a:t>Marketable surplus: </a:t>
            </a:r>
            <a:r>
              <a:rPr lang="en-US" sz="1000" kern="1200" dirty="0">
                <a:solidFill>
                  <a:schemeClr val="tx1"/>
                </a:solidFill>
                <a:ea typeface="+mn-ea"/>
                <a:cs typeface="+mn-cs"/>
              </a:rPr>
              <a:t>680 K MT </a:t>
            </a:r>
            <a:r>
              <a:rPr lang="en-US" sz="1000" kern="1200" dirty="0">
                <a:ea typeface="+mn-ea"/>
                <a:cs typeface="+mn-cs"/>
              </a:rPr>
              <a:t>(30% of national production)</a:t>
            </a:r>
          </a:p>
          <a:p>
            <a:pPr lvl="1" fontAlgn="base">
              <a:spcBef>
                <a:spcPct val="20000"/>
              </a:spcBef>
              <a:spcAft>
                <a:spcPct val="0"/>
              </a:spcAft>
              <a:buClr>
                <a:srgbClr val="000000"/>
              </a:buClr>
            </a:pPr>
            <a:r>
              <a:rPr lang="en-US" sz="1000" kern="1200" dirty="0">
                <a:ea typeface="+mn-ea"/>
                <a:cs typeface="+mn-cs"/>
              </a:rPr>
              <a:t>Sikasso Breadbasket Strategy, promoted by AGRA, was </a:t>
            </a:r>
            <a:r>
              <a:rPr lang="en-US" sz="1000" b="1" kern="1200" dirty="0">
                <a:solidFill>
                  <a:srgbClr val="01632F"/>
                </a:solidFill>
                <a:ea typeface="+mn-ea"/>
                <a:cs typeface="+mn-cs"/>
              </a:rPr>
              <a:t>suspended due to national security issues</a:t>
            </a:r>
            <a:r>
              <a:rPr lang="en-US" sz="1000" kern="1200" dirty="0">
                <a:ea typeface="+mn-ea"/>
                <a:cs typeface="+mn-cs"/>
              </a:rPr>
              <a:t>, but is currently very high on government agenda</a:t>
            </a:r>
          </a:p>
          <a:p>
            <a:pPr lvl="1" fontAlgn="base">
              <a:spcBef>
                <a:spcPct val="20000"/>
              </a:spcBef>
              <a:spcAft>
                <a:spcPct val="0"/>
              </a:spcAft>
              <a:buClr>
                <a:srgbClr val="000000"/>
              </a:buClr>
            </a:pPr>
            <a:r>
              <a:rPr lang="en-US" sz="1000" b="1" kern="1200" dirty="0">
                <a:solidFill>
                  <a:srgbClr val="01632F"/>
                </a:solidFill>
                <a:ea typeface="+mn-ea"/>
                <a:cs typeface="+mn-cs"/>
              </a:rPr>
              <a:t>Cotton industry</a:t>
            </a:r>
            <a:r>
              <a:rPr lang="en-US" sz="1000" kern="1200" dirty="0">
                <a:ea typeface="+mn-ea"/>
                <a:cs typeface="+mn-cs"/>
              </a:rPr>
              <a:t> facilitates fertilizer availability, which benefits increased maize production</a:t>
            </a:r>
          </a:p>
          <a:p>
            <a:pPr lvl="1" fontAlgn="base">
              <a:spcBef>
                <a:spcPct val="20000"/>
              </a:spcBef>
              <a:spcAft>
                <a:spcPct val="0"/>
              </a:spcAft>
              <a:buClr>
                <a:srgbClr val="000000"/>
              </a:buClr>
            </a:pPr>
            <a:r>
              <a:rPr lang="en-US" sz="1000" b="1" kern="1200" dirty="0">
                <a:solidFill>
                  <a:srgbClr val="01632F"/>
                </a:solidFill>
                <a:ea typeface="+mn-ea"/>
                <a:cs typeface="+mn-cs"/>
              </a:rPr>
              <a:t>More agrodealers than rest of country</a:t>
            </a:r>
            <a:r>
              <a:rPr lang="en-US" sz="1000" kern="1200" dirty="0">
                <a:ea typeface="+mn-ea"/>
                <a:cs typeface="+mn-cs"/>
              </a:rPr>
              <a:t>, but small scale </a:t>
            </a:r>
            <a:r>
              <a:rPr lang="en-US" sz="1000" kern="1200" dirty="0" smtClean="0">
                <a:ea typeface="+mn-ea"/>
                <a:cs typeface="+mn-cs"/>
              </a:rPr>
              <a:t>agro-processing</a:t>
            </a:r>
          </a:p>
          <a:p>
            <a:pPr lvl="1" fontAlgn="base">
              <a:spcBef>
                <a:spcPct val="20000"/>
              </a:spcBef>
              <a:spcAft>
                <a:spcPct val="0"/>
              </a:spcAft>
              <a:buClr>
                <a:srgbClr val="000000"/>
              </a:buClr>
            </a:pPr>
            <a:r>
              <a:rPr lang="en-US" sz="1000" kern="1200" dirty="0" smtClean="0">
                <a:solidFill>
                  <a:schemeClr val="tx1"/>
                </a:solidFill>
                <a:ea typeface="+mn-ea"/>
                <a:cs typeface="+mn-cs"/>
              </a:rPr>
              <a:t>High level of mechanization </a:t>
            </a:r>
            <a:endParaRPr lang="en-US" sz="1000" kern="1200" dirty="0">
              <a:solidFill>
                <a:schemeClr val="tx1"/>
              </a:solidFill>
              <a:ea typeface="+mn-ea"/>
              <a:cs typeface="+mn-cs"/>
            </a:endParaRPr>
          </a:p>
          <a:p>
            <a:pPr lvl="1" fontAlgn="base">
              <a:spcBef>
                <a:spcPct val="20000"/>
              </a:spcBef>
              <a:spcAft>
                <a:spcPct val="0"/>
              </a:spcAft>
              <a:buClr>
                <a:srgbClr val="000000"/>
              </a:buClr>
            </a:pPr>
            <a:r>
              <a:rPr lang="en-US" sz="1000" kern="1200" dirty="0">
                <a:ea typeface="+mn-ea"/>
                <a:cs typeface="+mn-cs"/>
              </a:rPr>
              <a:t>Key markets include government (through OPAM), WFP, and private grain traders, but demand is unpredictable</a:t>
            </a:r>
          </a:p>
          <a:p>
            <a:pPr lvl="2" fontAlgn="base">
              <a:spcBef>
                <a:spcPct val="10000"/>
              </a:spcBef>
              <a:spcAft>
                <a:spcPct val="0"/>
              </a:spcAft>
              <a:buClr>
                <a:srgbClr val="000000"/>
              </a:buClr>
            </a:pPr>
            <a:r>
              <a:rPr lang="en-US" sz="1000" b="1" kern="1200" dirty="0">
                <a:solidFill>
                  <a:srgbClr val="01632F"/>
                </a:solidFill>
                <a:ea typeface="+mn-ea"/>
                <a:cs typeface="+mn-cs"/>
              </a:rPr>
              <a:t>Close proximity to Burkina Faso and Guinea</a:t>
            </a:r>
            <a:r>
              <a:rPr lang="en-US" sz="1000" kern="1200" dirty="0">
                <a:ea typeface="+mn-ea"/>
                <a:cs typeface="+mn-cs"/>
              </a:rPr>
              <a:t> could support exports when national surpluses are available</a:t>
            </a:r>
          </a:p>
          <a:p>
            <a:pPr lvl="1" fontAlgn="base">
              <a:spcBef>
                <a:spcPct val="10000"/>
              </a:spcBef>
              <a:spcAft>
                <a:spcPct val="0"/>
              </a:spcAft>
              <a:buClr>
                <a:srgbClr val="000000"/>
              </a:buClr>
            </a:pPr>
            <a:r>
              <a:rPr lang="en-US" sz="1000" kern="1200" dirty="0">
                <a:ea typeface="+mn-ea"/>
                <a:cs typeface="+mn-cs"/>
              </a:rPr>
              <a:t>Poor processing capacity and limited value addition services</a:t>
            </a:r>
          </a:p>
          <a:p>
            <a:pPr lvl="1" fontAlgn="base">
              <a:spcBef>
                <a:spcPct val="10000"/>
              </a:spcBef>
              <a:spcAft>
                <a:spcPct val="0"/>
              </a:spcAft>
              <a:buClr>
                <a:srgbClr val="000000"/>
              </a:buClr>
            </a:pPr>
            <a:r>
              <a:rPr lang="en-US" sz="1000" kern="1200" dirty="0">
                <a:ea typeface="+mn-ea"/>
                <a:cs typeface="+mn-cs"/>
              </a:rPr>
              <a:t>Weak farmer support and extension services leads to low agronomic knowledge and poor PHH techniques</a:t>
            </a:r>
          </a:p>
        </p:txBody>
      </p:sp>
      <p:grpSp>
        <p:nvGrpSpPr>
          <p:cNvPr id="129" name="Group 128"/>
          <p:cNvGrpSpPr>
            <a:grpSpLocks/>
          </p:cNvGrpSpPr>
          <p:nvPr/>
        </p:nvGrpSpPr>
        <p:grpSpPr>
          <a:xfrm>
            <a:off x="5618895" y="3714335"/>
            <a:ext cx="3704062" cy="200255"/>
            <a:chOff x="228600" y="1718507"/>
            <a:chExt cx="7050266" cy="193146"/>
          </a:xfrm>
        </p:grpSpPr>
        <p:sp>
          <p:nvSpPr>
            <p:cNvPr id="130" name="TextBox 129"/>
            <p:cNvSpPr txBox="1"/>
            <p:nvPr>
              <p:custDataLst>
                <p:tags r:id="rId6"/>
              </p:custDataLst>
            </p:nvPr>
          </p:nvSpPr>
          <p:spPr>
            <a:xfrm>
              <a:off x="228600" y="1718507"/>
              <a:ext cx="705026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buFontTx/>
                <a:buNone/>
              </a:pPr>
              <a:r>
                <a:rPr lang="en-US" sz="1000" b="1" kern="1200" dirty="0">
                  <a:solidFill>
                    <a:srgbClr val="01632F"/>
                  </a:solidFill>
                  <a:ea typeface="+mn-ea"/>
                  <a:cs typeface="+mn-cs"/>
                </a:rPr>
                <a:t>Sikasso</a:t>
              </a:r>
              <a:endParaRPr lang="en-US" sz="1000" b="1" kern="1200" dirty="0">
                <a:solidFill>
                  <a:srgbClr val="018942"/>
                </a:solidFill>
                <a:ea typeface="+mn-ea"/>
                <a:cs typeface="+mn-cs"/>
              </a:endParaRPr>
            </a:p>
          </p:txBody>
        </p:sp>
        <p:cxnSp>
          <p:nvCxnSpPr>
            <p:cNvPr id="131" name="Straight Connector 130"/>
            <p:cNvCxnSpPr/>
            <p:nvPr>
              <p:custDataLst>
                <p:tags r:id="rId7"/>
              </p:custDataLst>
            </p:nvPr>
          </p:nvCxnSpPr>
          <p:spPr>
            <a:xfrm>
              <a:off x="228600" y="1911653"/>
              <a:ext cx="7050266"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63" name="TextBox 62"/>
          <p:cNvSpPr txBox="1"/>
          <p:nvPr/>
        </p:nvSpPr>
        <p:spPr>
          <a:xfrm>
            <a:off x="500070" y="6132256"/>
            <a:ext cx="3789507" cy="646331"/>
          </a:xfrm>
          <a:prstGeom prst="rect">
            <a:avLst/>
          </a:prstGeom>
          <a:solidFill>
            <a:schemeClr val="accent1">
              <a:lumMod val="20000"/>
              <a:lumOff val="80000"/>
            </a:schemeClr>
          </a:solidFill>
          <a:ln>
            <a:solidFill>
              <a:schemeClr val="accent3">
                <a:lumMod val="75000"/>
              </a:schemeClr>
            </a:solidFill>
          </a:ln>
        </p:spPr>
        <p:txBody>
          <a:bodyPr wrap="square" rtlCol="0">
            <a:spAutoFit/>
          </a:bodyPr>
          <a:lstStyle/>
          <a:p>
            <a:pPr fontAlgn="base">
              <a:spcBef>
                <a:spcPct val="0"/>
              </a:spcBef>
              <a:spcAft>
                <a:spcPct val="0"/>
              </a:spcAft>
              <a:buClrTx/>
              <a:buFontTx/>
              <a:buNone/>
            </a:pPr>
            <a:r>
              <a:rPr lang="en-US" sz="900" b="1" kern="1200" dirty="0">
                <a:solidFill>
                  <a:srgbClr val="018942">
                    <a:lumMod val="75000"/>
                  </a:srgbClr>
                </a:solidFill>
                <a:latin typeface="Arial" charset="0"/>
                <a:ea typeface="+mn-ea"/>
                <a:cs typeface="+mn-cs"/>
              </a:rPr>
              <a:t>Rice </a:t>
            </a:r>
            <a:r>
              <a:rPr lang="en-US" sz="900" kern="1200" dirty="0">
                <a:latin typeface="Arial" charset="0"/>
                <a:ea typeface="+mn-ea"/>
                <a:cs typeface="+mn-cs"/>
              </a:rPr>
              <a:t>is will be included as a market transition crop with the opportunity to improve the processing industry to meet quality requirement for domestic and export markets. Rice will be promoted in </a:t>
            </a:r>
            <a:r>
              <a:rPr lang="en-US" sz="900" b="1" kern="1200" dirty="0">
                <a:solidFill>
                  <a:srgbClr val="018942">
                    <a:lumMod val="75000"/>
                  </a:srgbClr>
                </a:solidFill>
                <a:latin typeface="Arial" charset="0"/>
                <a:ea typeface="+mn-ea"/>
                <a:cs typeface="+mn-cs"/>
              </a:rPr>
              <a:t>Segou </a:t>
            </a:r>
            <a:r>
              <a:rPr lang="en-US" sz="900" kern="1200" dirty="0">
                <a:latin typeface="Arial" charset="0"/>
                <a:ea typeface="+mn-ea"/>
                <a:cs typeface="+mn-cs"/>
              </a:rPr>
              <a:t>region which has a large</a:t>
            </a:r>
            <a:r>
              <a:rPr lang="en-US" sz="900" b="1" kern="1200" dirty="0">
                <a:solidFill>
                  <a:srgbClr val="018942">
                    <a:lumMod val="75000"/>
                  </a:srgbClr>
                </a:solidFill>
                <a:latin typeface="Arial" charset="0"/>
                <a:ea typeface="+mn-ea"/>
                <a:cs typeface="+mn-cs"/>
              </a:rPr>
              <a:t> irrigation scheme</a:t>
            </a:r>
          </a:p>
        </p:txBody>
      </p:sp>
      <p:sp>
        <p:nvSpPr>
          <p:cNvPr id="7" name="Title 6"/>
          <p:cNvSpPr>
            <a:spLocks noGrp="1"/>
          </p:cNvSpPr>
          <p:nvPr>
            <p:ph type="title"/>
          </p:nvPr>
        </p:nvSpPr>
        <p:spPr>
          <a:xfrm>
            <a:off x="286861" y="109607"/>
            <a:ext cx="7930662" cy="584775"/>
          </a:xfrm>
        </p:spPr>
        <p:txBody>
          <a:bodyPr/>
          <a:lstStyle/>
          <a:p>
            <a:r>
              <a:rPr lang="en-US" dirty="0"/>
              <a:t>AGRA has prioritized three regions in Mali based on impact potential and ease of delivery </a:t>
            </a:r>
          </a:p>
        </p:txBody>
      </p:sp>
    </p:spTree>
    <p:extLst>
      <p:ext uri="{BB962C8B-B14F-4D97-AF65-F5344CB8AC3E}">
        <p14:creationId xmlns:p14="http://schemas.microsoft.com/office/powerpoint/2010/main" val="411503907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2"/>
            </p:custDataLst>
          </p:nvPr>
        </p:nvGraphicFramePr>
        <p:xfrm>
          <a:off x="382467" y="265237"/>
          <a:ext cx="1465" cy="1465"/>
        </p:xfrm>
        <a:graphic>
          <a:graphicData uri="http://schemas.openxmlformats.org/presentationml/2006/ole">
            <mc:AlternateContent xmlns:mc="http://schemas.openxmlformats.org/markup-compatibility/2006">
              <mc:Choice xmlns:v="urn:schemas-microsoft-com:vml" Requires="v">
                <p:oleObj spid="_x0000_s146446" name="think-cell Slide" r:id="rId4" imgW="416" imgH="416" progId="TCLayout.ActiveDocument.1">
                  <p:embed/>
                </p:oleObj>
              </mc:Choice>
              <mc:Fallback>
                <p:oleObj name="think-cell Slide" r:id="rId4" imgW="416" imgH="416" progId="TCLayout.ActiveDocument.1">
                  <p:embed/>
                  <p:pic>
                    <p:nvPicPr>
                      <p:cNvPr id="32" name="Object 31" hidden="1"/>
                      <p:cNvPicPr/>
                      <p:nvPr/>
                    </p:nvPicPr>
                    <p:blipFill>
                      <a:blip r:embed="rId5"/>
                      <a:stretch>
                        <a:fillRect/>
                      </a:stretch>
                    </p:blipFill>
                    <p:spPr>
                      <a:xfrm>
                        <a:off x="382467" y="265237"/>
                        <a:ext cx="1465" cy="1465"/>
                      </a:xfrm>
                      <a:prstGeom prst="rect">
                        <a:avLst/>
                      </a:prstGeom>
                    </p:spPr>
                  </p:pic>
                </p:oleObj>
              </mc:Fallback>
            </mc:AlternateContent>
          </a:graphicData>
        </a:graphic>
      </p:graphicFrame>
      <p:sp>
        <p:nvSpPr>
          <p:cNvPr id="6" name="Title 5"/>
          <p:cNvSpPr>
            <a:spLocks noGrp="1"/>
          </p:cNvSpPr>
          <p:nvPr>
            <p:ph type="title"/>
          </p:nvPr>
        </p:nvSpPr>
        <p:spPr>
          <a:xfrm>
            <a:off x="609600" y="96235"/>
            <a:ext cx="7391400" cy="584775"/>
          </a:xfrm>
        </p:spPr>
        <p:txBody>
          <a:bodyPr/>
          <a:lstStyle/>
          <a:p>
            <a:r>
              <a:rPr lang="en-US" dirty="0"/>
              <a:t>Working with public and private entities, AGRA aims to influence funding to the most impactful projects</a:t>
            </a:r>
            <a:endParaRPr lang="en-US" dirty="0">
              <a:solidFill>
                <a:schemeClr val="tx1"/>
              </a:solidFill>
            </a:endParaRPr>
          </a:p>
        </p:txBody>
      </p:sp>
      <p:sp>
        <p:nvSpPr>
          <p:cNvPr id="8" name="Text Placeholder 7"/>
          <p:cNvSpPr>
            <a:spLocks noGrp="1"/>
          </p:cNvSpPr>
          <p:nvPr>
            <p:ph type="body" sz="quarter" idx="4294967295"/>
          </p:nvPr>
        </p:nvSpPr>
        <p:spPr>
          <a:xfrm>
            <a:off x="219957" y="5901405"/>
            <a:ext cx="8580438" cy="692497"/>
          </a:xfrm>
        </p:spPr>
        <p:txBody>
          <a:bodyPr/>
          <a:lstStyle/>
          <a:p>
            <a:pPr algn="just"/>
            <a:r>
              <a:rPr lang="en-US" sz="900" dirty="0"/>
              <a:t>1: Figure not drawn to scale; 2014 values extrapolated for government and donor funding</a:t>
            </a:r>
          </a:p>
          <a:p>
            <a:pPr algn="just"/>
            <a:r>
              <a:rPr lang="en-US" sz="900" dirty="0"/>
              <a:t>2: ReSAKKS, 2014 data extrapolated over 5 years</a:t>
            </a:r>
          </a:p>
          <a:p>
            <a:pPr algn="just"/>
            <a:r>
              <a:rPr lang="en-US" sz="900" dirty="0"/>
              <a:t>2014 Official Development Assistance (ODA) flows, Other Official Flows (OOFs) and Private Grant/Flows reported by donor countries, multinational organizations and private entities to OECD DAC Directorate for all purposes related to agriculture except forestry and general environment protection extrapolated over 5 years</a:t>
            </a:r>
          </a:p>
          <a:p>
            <a:pPr algn="just"/>
            <a:r>
              <a:rPr lang="en-US" sz="900" dirty="0"/>
              <a:t>3: SOURCE: World Bank (accessed via ReSAKKS); UN FAOSTAT (with data originating from OECD DAC)</a:t>
            </a:r>
          </a:p>
        </p:txBody>
      </p:sp>
      <p:sp>
        <p:nvSpPr>
          <p:cNvPr id="30" name="Rectangle 29"/>
          <p:cNvSpPr/>
          <p:nvPr/>
        </p:nvSpPr>
        <p:spPr>
          <a:xfrm>
            <a:off x="5377948" y="2436372"/>
            <a:ext cx="4255541" cy="2923877"/>
          </a:xfrm>
          <a:prstGeom prst="rect">
            <a:avLst/>
          </a:prstGeom>
        </p:spPr>
        <p:txBody>
          <a:bodyPr wrap="square">
            <a:spAutoFit/>
          </a:bodyPr>
          <a:lstStyle/>
          <a:p>
            <a:pPr marL="263776" indent="-263776" fontAlgn="base">
              <a:spcBef>
                <a:spcPct val="0"/>
              </a:spcBef>
              <a:spcAft>
                <a:spcPts val="554"/>
              </a:spcAft>
              <a:buClrTx/>
              <a:buFont typeface="Arial" panose="020B0604020202020204" pitchFamily="34" charset="0"/>
              <a:buChar char="•"/>
            </a:pPr>
            <a:r>
              <a:rPr lang="en-US" sz="1100" kern="1200" dirty="0">
                <a:latin typeface="Arial" charset="0"/>
                <a:ea typeface="MS Mincho" panose="02020609040205080304" pitchFamily="49" charset="-128"/>
                <a:cs typeface="Arial" panose="020B0604020202020204" pitchFamily="34" charset="0"/>
              </a:rPr>
              <a:t>AGRA’s strategic vision in Mali can only be achieved through strong partnerships with other players in Mali</a:t>
            </a:r>
          </a:p>
          <a:p>
            <a:pPr marL="263776" indent="-263776" fontAlgn="base">
              <a:spcBef>
                <a:spcPct val="0"/>
              </a:spcBef>
              <a:spcAft>
                <a:spcPts val="554"/>
              </a:spcAft>
              <a:buClrTx/>
              <a:buFont typeface="Arial" panose="020B0604020202020204" pitchFamily="34" charset="0"/>
              <a:buChar char="•"/>
            </a:pPr>
            <a:r>
              <a:rPr lang="en-US" sz="1100" kern="1200" dirty="0">
                <a:latin typeface="Arial" charset="0"/>
                <a:ea typeface="MS Mincho" panose="02020609040205080304" pitchFamily="49" charset="-128"/>
                <a:cs typeface="Arial" panose="020B0604020202020204" pitchFamily="34" charset="0"/>
              </a:rPr>
              <a:t>AGRA will prioritize interventions that catalyze and complement funding committed by the Government, private sector, and donors</a:t>
            </a:r>
          </a:p>
          <a:p>
            <a:pPr marL="263776" indent="-263776" fontAlgn="base">
              <a:spcBef>
                <a:spcPct val="0"/>
              </a:spcBef>
              <a:spcAft>
                <a:spcPts val="554"/>
              </a:spcAft>
              <a:buClrTx/>
              <a:buFont typeface="Arial" panose="020B0604020202020204" pitchFamily="34" charset="0"/>
              <a:buChar char="•"/>
            </a:pPr>
            <a:r>
              <a:rPr lang="en-US" sz="1100" kern="1200" dirty="0">
                <a:latin typeface="Arial" charset="0"/>
                <a:ea typeface="MS Mincho" panose="02020609040205080304" pitchFamily="49" charset="-128"/>
                <a:cs typeface="Arial" panose="020B0604020202020204" pitchFamily="34" charset="0"/>
              </a:rPr>
              <a:t>AGRA is committed to:</a:t>
            </a:r>
          </a:p>
          <a:p>
            <a:pPr marL="685817" lvl="1" indent="-263776" fontAlgn="base">
              <a:spcBef>
                <a:spcPct val="0"/>
              </a:spcBef>
              <a:spcAft>
                <a:spcPts val="554"/>
              </a:spcAft>
              <a:buClrTx/>
              <a:buFont typeface="Calibri" panose="020F0502020204030204" pitchFamily="34" charset="0"/>
              <a:buChar char="‒"/>
            </a:pPr>
            <a:r>
              <a:rPr lang="en-US" sz="1100" kern="1200" dirty="0">
                <a:latin typeface="Arial" charset="0"/>
                <a:ea typeface="MS Mincho" panose="02020609040205080304" pitchFamily="49" charset="-128"/>
                <a:cs typeface="Arial" panose="020B0604020202020204" pitchFamily="34" charset="0"/>
              </a:rPr>
              <a:t>Alignment with Government priorities and programs</a:t>
            </a:r>
          </a:p>
          <a:p>
            <a:pPr marL="685817" lvl="1" indent="-263776" fontAlgn="base">
              <a:spcBef>
                <a:spcPct val="0"/>
              </a:spcBef>
              <a:spcAft>
                <a:spcPts val="554"/>
              </a:spcAft>
              <a:buClrTx/>
              <a:buFont typeface="Calibri" panose="020F0502020204030204" pitchFamily="34" charset="0"/>
              <a:buChar char="‒"/>
            </a:pPr>
            <a:r>
              <a:rPr lang="en-US" sz="1100" kern="1200" dirty="0">
                <a:latin typeface="Arial" charset="0"/>
                <a:ea typeface="MS Mincho" panose="02020609040205080304" pitchFamily="49" charset="-128"/>
                <a:cs typeface="Arial" panose="020B0604020202020204" pitchFamily="34" charset="0"/>
              </a:rPr>
              <a:t>Boosting government capacity for strategic planning and implementation</a:t>
            </a:r>
          </a:p>
          <a:p>
            <a:pPr marL="685817" lvl="1" indent="-263776" fontAlgn="base">
              <a:spcBef>
                <a:spcPct val="0"/>
              </a:spcBef>
              <a:spcAft>
                <a:spcPts val="554"/>
              </a:spcAft>
              <a:buClrTx/>
              <a:buFont typeface="Calibri" panose="020F0502020204030204" pitchFamily="34" charset="0"/>
              <a:buChar char="‒"/>
            </a:pPr>
            <a:r>
              <a:rPr lang="en-US" sz="1100" kern="1200" dirty="0">
                <a:latin typeface="Arial" charset="0"/>
                <a:ea typeface="MS Mincho" panose="02020609040205080304" pitchFamily="49" charset="-128"/>
                <a:cs typeface="Arial" panose="020B0604020202020204" pitchFamily="34" charset="0"/>
              </a:rPr>
              <a:t>Participating in and supporting government coordinating mechanisms and effort to mobilize public and private investments</a:t>
            </a:r>
          </a:p>
          <a:p>
            <a:pPr marL="685817" lvl="1" indent="-263776" fontAlgn="base">
              <a:spcBef>
                <a:spcPct val="0"/>
              </a:spcBef>
              <a:spcAft>
                <a:spcPts val="554"/>
              </a:spcAft>
              <a:buClrTx/>
              <a:buFont typeface="Calibri" panose="020F0502020204030204" pitchFamily="34" charset="0"/>
              <a:buChar char="‒"/>
            </a:pPr>
            <a:r>
              <a:rPr lang="en-US" sz="1100" kern="1200" dirty="0">
                <a:latin typeface="Arial" charset="0"/>
                <a:ea typeface="MS Mincho" panose="02020609040205080304" pitchFamily="49" charset="-128"/>
                <a:cs typeface="Arial" panose="020B0604020202020204" pitchFamily="34" charset="0"/>
              </a:rPr>
              <a:t>Catalytic system investments to scale up proven models and technologies </a:t>
            </a:r>
          </a:p>
        </p:txBody>
      </p:sp>
      <p:sp>
        <p:nvSpPr>
          <p:cNvPr id="34" name="Rectangle 33"/>
          <p:cNvSpPr>
            <a:spLocks/>
          </p:cNvSpPr>
          <p:nvPr/>
        </p:nvSpPr>
        <p:spPr>
          <a:xfrm>
            <a:off x="609600" y="1559103"/>
            <a:ext cx="5065834" cy="261610"/>
          </a:xfrm>
          <a:prstGeom prst="rect">
            <a:avLst/>
          </a:prstGeom>
        </p:spPr>
        <p:txBody>
          <a:bodyPr wrap="square">
            <a:spAutoFit/>
          </a:bodyPr>
          <a:lstStyle/>
          <a:p>
            <a:pPr fontAlgn="base">
              <a:spcBef>
                <a:spcPct val="0"/>
              </a:spcBef>
              <a:spcAft>
                <a:spcPts val="554"/>
              </a:spcAft>
              <a:buClrTx/>
            </a:pPr>
            <a:r>
              <a:rPr lang="en-GB" sz="1100" b="1" kern="1200" dirty="0">
                <a:solidFill>
                  <a:srgbClr val="01632F"/>
                </a:solidFill>
                <a:ea typeface="MS Mincho" panose="02020609040205080304" pitchFamily="49" charset="-128"/>
                <a:cs typeface="Arial" panose="020B0604020202020204" pitchFamily="34" charset="0"/>
              </a:rPr>
              <a:t>Projected expenditure and investments</a:t>
            </a:r>
            <a:r>
              <a:rPr lang="en-GB" sz="1600" b="1" kern="1200" baseline="30000" dirty="0">
                <a:solidFill>
                  <a:srgbClr val="01632F"/>
                </a:solidFill>
                <a:ea typeface="MS Mincho" panose="02020609040205080304" pitchFamily="49" charset="-128"/>
                <a:cs typeface="Arial" panose="020B0604020202020204" pitchFamily="34" charset="0"/>
              </a:rPr>
              <a:t>1</a:t>
            </a:r>
            <a:endParaRPr lang="en-US" sz="1600" b="1" kern="1200" baseline="30000" dirty="0">
              <a:solidFill>
                <a:srgbClr val="01632F"/>
              </a:solidFill>
              <a:ea typeface="MS Mincho" panose="02020609040205080304" pitchFamily="49" charset="-128"/>
              <a:cs typeface="Arial" panose="020B0604020202020204" pitchFamily="34" charset="0"/>
            </a:endParaRPr>
          </a:p>
        </p:txBody>
      </p:sp>
      <p:cxnSp>
        <p:nvCxnSpPr>
          <p:cNvPr id="35" name="Straight Connector 34"/>
          <p:cNvCxnSpPr>
            <a:cxnSpLocks/>
          </p:cNvCxnSpPr>
          <p:nvPr/>
        </p:nvCxnSpPr>
        <p:spPr>
          <a:xfrm>
            <a:off x="609600" y="1912070"/>
            <a:ext cx="414658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Google Shape;335;p46"/>
          <p:cNvSpPr/>
          <p:nvPr/>
        </p:nvSpPr>
        <p:spPr>
          <a:xfrm>
            <a:off x="237787" y="887174"/>
            <a:ext cx="9254756" cy="657516"/>
          </a:xfrm>
          <a:prstGeom prst="rect">
            <a:avLst/>
          </a:prstGeom>
          <a:solidFill>
            <a:srgbClr val="C4E0B2"/>
          </a:solidFill>
          <a:ln w="9525" cap="flat" cmpd="sng">
            <a:solidFill>
              <a:srgbClr val="A8D08C"/>
            </a:solidFill>
            <a:prstDash val="solid"/>
            <a:miter lim="800000"/>
            <a:headEnd type="none" w="sm" len="sm"/>
            <a:tailEnd type="none" w="sm" len="sm"/>
          </a:ln>
        </p:spPr>
        <p:txBody>
          <a:bodyPr spcFirstLastPara="1" wrap="square" lIns="91425" tIns="45700" rIns="91425" bIns="45700" anchor="ctr" anchorCtr="0">
            <a:noAutofit/>
          </a:bodyPr>
          <a:lstStyle/>
          <a:p>
            <a:r>
              <a:rPr lang="en-US" sz="1200" dirty="0">
                <a:solidFill>
                  <a:schemeClr val="tx1"/>
                </a:solidFill>
                <a:ea typeface="Calibri"/>
                <a:cs typeface="Calibri"/>
                <a:sym typeface="Calibri"/>
              </a:rPr>
              <a:t>AGRA recognizes the existence of other donors in Mali focusing on the same value chains in the same areas and will complement and leverage the work of other funders to trigger a transformation.  </a:t>
            </a:r>
            <a:endParaRPr sz="1200" dirty="0">
              <a:solidFill>
                <a:schemeClr val="tx1"/>
              </a:solidFill>
              <a:ea typeface="Calibri"/>
              <a:cs typeface="Calibri"/>
              <a:sym typeface="Calibri"/>
            </a:endParaRPr>
          </a:p>
        </p:txBody>
      </p:sp>
      <p:graphicFrame>
        <p:nvGraphicFramePr>
          <p:cNvPr id="2" name="Diagram 1"/>
          <p:cNvGraphicFramePr/>
          <p:nvPr>
            <p:extLst>
              <p:ext uri="{D42A27DB-BD31-4B8C-83A1-F6EECF244321}">
                <p14:modId xmlns:p14="http://schemas.microsoft.com/office/powerpoint/2010/main" val="2646335367"/>
              </p:ext>
            </p:extLst>
          </p:nvPr>
        </p:nvGraphicFramePr>
        <p:xfrm>
          <a:off x="420510" y="2280355"/>
          <a:ext cx="4907845" cy="3300173"/>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317405591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634701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470"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4400"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Results Framework and Targets</a:t>
            </a:r>
          </a:p>
        </p:txBody>
      </p:sp>
    </p:spTree>
    <p:extLst>
      <p:ext uri="{BB962C8B-B14F-4D97-AF65-F5344CB8AC3E}">
        <p14:creationId xmlns:p14="http://schemas.microsoft.com/office/powerpoint/2010/main" val="18986998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495" name="think-cell Slide" r:id="rId5" imgW="327" imgH="327" progId="TCLayout.ActiveDocument.1">
                  <p:embed/>
                </p:oleObj>
              </mc:Choice>
              <mc:Fallback>
                <p:oleObj name="think-cell Slide" r:id="rId5" imgW="327" imgH="327"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200" b="1"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Mali Country Results Framework </a:t>
            </a:r>
          </a:p>
        </p:txBody>
      </p:sp>
      <p:graphicFrame>
        <p:nvGraphicFramePr>
          <p:cNvPr id="7" name="Table 6"/>
          <p:cNvGraphicFramePr>
            <a:graphicFrameLocks noGrp="1"/>
          </p:cNvGraphicFramePr>
          <p:nvPr>
            <p:extLst>
              <p:ext uri="{D42A27DB-BD31-4B8C-83A1-F6EECF244321}">
                <p14:modId xmlns:p14="http://schemas.microsoft.com/office/powerpoint/2010/main" val="1343840837"/>
              </p:ext>
            </p:extLst>
          </p:nvPr>
        </p:nvGraphicFramePr>
        <p:xfrm>
          <a:off x="335818" y="716443"/>
          <a:ext cx="9477884" cy="5504420"/>
        </p:xfrm>
        <a:graphic>
          <a:graphicData uri="http://schemas.openxmlformats.org/drawingml/2006/table">
            <a:tbl>
              <a:tblPr firstRow="1" firstCol="1" bandRow="1"/>
              <a:tblGrid>
                <a:gridCol w="2006788">
                  <a:extLst>
                    <a:ext uri="{9D8B030D-6E8A-4147-A177-3AD203B41FA5}">
                      <a16:colId xmlns="" xmlns:a16="http://schemas.microsoft.com/office/drawing/2014/main" val="20000"/>
                    </a:ext>
                  </a:extLst>
                </a:gridCol>
                <a:gridCol w="2386148">
                  <a:extLst>
                    <a:ext uri="{9D8B030D-6E8A-4147-A177-3AD203B41FA5}">
                      <a16:colId xmlns="" xmlns:a16="http://schemas.microsoft.com/office/drawing/2014/main" val="20001"/>
                    </a:ext>
                  </a:extLst>
                </a:gridCol>
                <a:gridCol w="5084948">
                  <a:extLst>
                    <a:ext uri="{9D8B030D-6E8A-4147-A177-3AD203B41FA5}">
                      <a16:colId xmlns="" xmlns:a16="http://schemas.microsoft.com/office/drawing/2014/main" val="20002"/>
                    </a:ext>
                  </a:extLst>
                </a:gridCol>
              </a:tblGrid>
              <a:tr h="159640">
                <a:tc>
                  <a:txBody>
                    <a:bodyPr/>
                    <a:lstStyle/>
                    <a:p>
                      <a:pPr marL="0" marR="0">
                        <a:lnSpc>
                          <a:spcPct val="107000"/>
                        </a:lnSpc>
                        <a:spcBef>
                          <a:spcPts val="0"/>
                        </a:spcBef>
                        <a:spcAft>
                          <a:spcPts val="0"/>
                        </a:spcAft>
                      </a:pPr>
                      <a:r>
                        <a:rPr lang="en-US" sz="1000" b="1" dirty="0">
                          <a:effectLst/>
                          <a:latin typeface="Arial" panose="020B0604020202020204" pitchFamily="34" charset="0"/>
                          <a:ea typeface="Calibri" panose="020F0502020204030204" pitchFamily="34" charset="0"/>
                        </a:rPr>
                        <a:t>Expected outcomes</a:t>
                      </a: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6EE"/>
                    </a:solidFill>
                  </a:tcPr>
                </a:tc>
                <a:tc>
                  <a:txBody>
                    <a:bodyPr/>
                    <a:lstStyle/>
                    <a:p>
                      <a:pPr marL="0" marR="0">
                        <a:lnSpc>
                          <a:spcPct val="107000"/>
                        </a:lnSpc>
                        <a:spcBef>
                          <a:spcPts val="0"/>
                        </a:spcBef>
                        <a:spcAft>
                          <a:spcPts val="0"/>
                        </a:spcAft>
                      </a:pPr>
                      <a:r>
                        <a:rPr lang="en-US" sz="1000" b="1" dirty="0">
                          <a:effectLst/>
                          <a:latin typeface="Arial" panose="020B0604020202020204" pitchFamily="34" charset="0"/>
                          <a:ea typeface="Calibri" panose="020F0502020204030204" pitchFamily="34" charset="0"/>
                        </a:rPr>
                        <a:t>Country Result area</a:t>
                      </a: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D08D"/>
                    </a:solidFill>
                  </a:tcPr>
                </a:tc>
                <a:tc>
                  <a:txBody>
                    <a:bodyPr/>
                    <a:lstStyle/>
                    <a:p>
                      <a:pPr marL="0" marR="0">
                        <a:lnSpc>
                          <a:spcPct val="107000"/>
                        </a:lnSpc>
                        <a:spcBef>
                          <a:spcPts val="0"/>
                        </a:spcBef>
                        <a:spcAft>
                          <a:spcPts val="0"/>
                        </a:spcAft>
                      </a:pPr>
                      <a:r>
                        <a:rPr lang="en-US" sz="1000" b="1" dirty="0">
                          <a:effectLst/>
                          <a:latin typeface="Arial" panose="020B0604020202020204" pitchFamily="34" charset="0"/>
                          <a:ea typeface="Calibri" panose="020F0502020204030204" pitchFamily="34" charset="0"/>
                        </a:rPr>
                        <a:t>Key interventions</a:t>
                      </a: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 xmlns:a16="http://schemas.microsoft.com/office/drawing/2014/main" val="10000"/>
                  </a:ext>
                </a:extLst>
              </a:tr>
              <a:tr h="311211">
                <a:tc rowSpan="4">
                  <a:txBody>
                    <a:bodyPr/>
                    <a:lstStyle/>
                    <a:p>
                      <a:pPr marL="0" marR="0">
                        <a:lnSpc>
                          <a:spcPct val="107000"/>
                        </a:lnSpc>
                        <a:spcBef>
                          <a:spcPts val="0"/>
                        </a:spcBef>
                        <a:spcAft>
                          <a:spcPts val="0"/>
                        </a:spcAft>
                      </a:pPr>
                      <a:r>
                        <a:rPr lang="en-US" sz="1000" b="0" dirty="0">
                          <a:effectLst/>
                          <a:latin typeface="Arial" panose="020B0604020202020204" pitchFamily="34" charset="0"/>
                          <a:ea typeface="Calibri" panose="020F0502020204030204" pitchFamily="34" charset="0"/>
                        </a:rPr>
                        <a:t>Outcome 1: Strengthened national level agricultural sector system and</a:t>
                      </a:r>
                      <a:r>
                        <a:rPr lang="en-US" sz="1000" b="0" dirty="0">
                          <a:solidFill>
                            <a:srgbClr val="000000"/>
                          </a:solidFill>
                          <a:effectLst/>
                          <a:latin typeface="Arial" panose="020B0604020202020204" pitchFamily="34" charset="0"/>
                          <a:ea typeface="Times New Roman" panose="02020603050405020304" pitchFamily="18" charset="0"/>
                        </a:rPr>
                        <a:t> </a:t>
                      </a:r>
                      <a:r>
                        <a:rPr lang="en-US" sz="1000" b="0" dirty="0">
                          <a:effectLst/>
                          <a:latin typeface="Arial" panose="020B0604020202020204" pitchFamily="34" charset="0"/>
                          <a:ea typeface="Calibri" panose="020F0502020204030204" pitchFamily="34" charset="0"/>
                        </a:rPr>
                        <a:t>Strengthened agricultural enabling policy environment </a:t>
                      </a:r>
                      <a:endParaRPr lang="en-US" sz="10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6EE"/>
                    </a:solidFill>
                  </a:tcPr>
                </a:tc>
                <a:tc rowSpan="4">
                  <a:txBody>
                    <a:bodyPr/>
                    <a:lstStyle/>
                    <a:p>
                      <a:pPr marL="0" marR="0">
                        <a:lnSpc>
                          <a:spcPct val="107000"/>
                        </a:lnSpc>
                        <a:spcBef>
                          <a:spcPts val="0"/>
                        </a:spcBef>
                        <a:spcAft>
                          <a:spcPts val="0"/>
                        </a:spcAft>
                      </a:pPr>
                      <a:r>
                        <a:rPr lang="en-US" sz="1000" b="0" dirty="0">
                          <a:effectLst/>
                          <a:latin typeface="Arial" panose="020B0604020202020204" pitchFamily="34" charset="0"/>
                          <a:ea typeface="Calibri" panose="020F0502020204030204" pitchFamily="34" charset="0"/>
                        </a:rPr>
                        <a:t>Evidence based planning and accountability mechanisms strengthened</a:t>
                      </a:r>
                      <a:endParaRPr lang="en-US" sz="10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D08D"/>
                    </a:solidFill>
                  </a:tcPr>
                </a:tc>
                <a:tc>
                  <a:txBody>
                    <a:bodyPr/>
                    <a:lstStyle/>
                    <a:p>
                      <a:pPr marL="0" marR="0" lvl="0" indent="0" algn="l"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u="none" strike="noStrike" cap="none" noProof="0" dirty="0">
                          <a:solidFill>
                            <a:schemeClr val="tx1"/>
                          </a:solidFill>
                          <a:effectLst/>
                          <a:latin typeface="Arial" panose="020B0604020202020204" pitchFamily="34" charset="0"/>
                          <a:ea typeface="Calibri" panose="020F0502020204030204" pitchFamily="34" charset="0"/>
                          <a:cs typeface="+mn-cs"/>
                          <a:sym typeface="Arial"/>
                        </a:rPr>
                        <a:t>Rationalize and roll out of the existing Input Subsidy Program</a:t>
                      </a:r>
                    </a:p>
                    <a:p>
                      <a:pPr marL="0" marR="0" lvl="0" indent="0" algn="l" defTabSz="74295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0" u="none" strike="noStrike" cap="none" noProof="0" dirty="0">
                        <a:solidFill>
                          <a:schemeClr val="tx1"/>
                        </a:solidFill>
                        <a:effectLst/>
                        <a:latin typeface="Arial" panose="020B0604020202020204" pitchFamily="34" charset="0"/>
                        <a:ea typeface="Calibri" panose="020F0502020204030204" pitchFamily="34" charset="0"/>
                        <a:cs typeface="+mn-cs"/>
                        <a:sym typeface="Arial"/>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 xmlns:a16="http://schemas.microsoft.com/office/drawing/2014/main" val="10001"/>
                  </a:ext>
                </a:extLst>
              </a:tr>
              <a:tr h="233746">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1000" b="0" i="0" u="none" strike="noStrike" cap="none" noProof="0" dirty="0">
                          <a:solidFill>
                            <a:schemeClr val="tx1"/>
                          </a:solidFill>
                          <a:effectLst/>
                          <a:latin typeface="Arial" panose="020B0604020202020204" pitchFamily="34" charset="0"/>
                          <a:ea typeface="Calibri" panose="020F0502020204030204" pitchFamily="34" charset="0"/>
                          <a:cs typeface="+mn-cs"/>
                          <a:sym typeface="Arial"/>
                        </a:rPr>
                        <a:t>Domesticate the ECOWAS seed and fertilizer regulation</a:t>
                      </a:r>
                      <a:endParaRPr lang="en-US" sz="1000" b="0" i="0" u="none" strike="noStrike" cap="none" dirty="0">
                        <a:solidFill>
                          <a:schemeClr val="tx1"/>
                        </a:solidFill>
                        <a:effectLst/>
                        <a:latin typeface="Arial" panose="020B0604020202020204" pitchFamily="34" charset="0"/>
                        <a:ea typeface="Calibri" panose="020F0502020204030204" pitchFamily="34" charset="0"/>
                        <a:cs typeface="+mn-cs"/>
                        <a:sym typeface="Arial"/>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 xmlns:a16="http://schemas.microsoft.com/office/drawing/2014/main" val="10002"/>
                  </a:ext>
                </a:extLst>
              </a:tr>
              <a:tr h="233672">
                <a:tc vMerge="1">
                  <a:txBody>
                    <a:bodyPr/>
                    <a:lstStyle/>
                    <a:p>
                      <a:endParaRPr lang="en-US"/>
                    </a:p>
                  </a:txBody>
                  <a:tcPr/>
                </a:tc>
                <a:tc vMerge="1">
                  <a:txBody>
                    <a:bodyPr/>
                    <a:lstStyle/>
                    <a:p>
                      <a:endParaRPr lang="en-US"/>
                    </a:p>
                  </a:txBody>
                  <a:tcPr/>
                </a:tc>
                <a:tc>
                  <a:txBody>
                    <a:bodyPr/>
                    <a:lstStyle/>
                    <a:p>
                      <a:pPr marL="0" marR="0" lvl="0" indent="0" algn="l" defTabSz="914400" rtl="0" eaLnBrk="1" fontAlgn="auto" latinLnBrk="0" hangingPunct="1">
                        <a:lnSpc>
                          <a:spcPct val="107000"/>
                        </a:lnSpc>
                        <a:spcBef>
                          <a:spcPts val="0"/>
                        </a:spcBef>
                        <a:spcAft>
                          <a:spcPts val="0"/>
                        </a:spcAft>
                        <a:buClr>
                          <a:srgbClr val="000000"/>
                        </a:buClr>
                        <a:buSzTx/>
                        <a:buFont typeface="Arial"/>
                        <a:buNone/>
                        <a:tabLst/>
                        <a:defRPr/>
                      </a:pPr>
                      <a:r>
                        <a:rPr lang="en-US" sz="1000" b="0" i="0" u="none" strike="noStrike" cap="none" noProof="0" dirty="0">
                          <a:solidFill>
                            <a:schemeClr val="tx1"/>
                          </a:solidFill>
                          <a:effectLst/>
                          <a:latin typeface="Arial" panose="020B0604020202020204" pitchFamily="34" charset="0"/>
                          <a:ea typeface="Calibri" panose="020F0502020204030204" pitchFamily="34" charset="0"/>
                          <a:cs typeface="+mn-cs"/>
                          <a:sym typeface="Arial"/>
                        </a:rPr>
                        <a:t>Cascade the PNISA (NAIP) to the subnational level and develop regional investment plans</a:t>
                      </a: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 xmlns:a16="http://schemas.microsoft.com/office/drawing/2014/main" val="10003"/>
                  </a:ext>
                </a:extLst>
              </a:tr>
              <a:tr h="159640">
                <a:tc vMerge="1">
                  <a:txBody>
                    <a:bodyPr/>
                    <a:lstStyle/>
                    <a:p>
                      <a:endParaRPr lang="en-US"/>
                    </a:p>
                  </a:txBody>
                  <a:tcPr/>
                </a:tc>
                <a:tc vMerge="1">
                  <a:txBody>
                    <a:bodyPr/>
                    <a:lstStyle/>
                    <a:p>
                      <a:endParaRPr lang="en-US"/>
                    </a:p>
                  </a:txBody>
                  <a:tcPr/>
                </a:tc>
                <a:tc>
                  <a:txBody>
                    <a:bodyPr/>
                    <a:lstStyle/>
                    <a:p>
                      <a:pPr marL="0" marR="0" lvl="0" indent="0" algn="l"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u="none" strike="noStrike" cap="none" noProof="0" dirty="0">
                          <a:solidFill>
                            <a:schemeClr val="tx1"/>
                          </a:solidFill>
                          <a:effectLst/>
                          <a:latin typeface="Arial" panose="020B0604020202020204" pitchFamily="34" charset="0"/>
                          <a:ea typeface="Calibri" panose="020F0502020204030204" pitchFamily="34" charset="0"/>
                          <a:cs typeface="+mn-cs"/>
                          <a:sym typeface="Arial"/>
                        </a:rPr>
                        <a:t>Strengthen the M&amp;E system of the Ministry of Agriculture through the CPS/SDR</a:t>
                      </a: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 xmlns:a16="http://schemas.microsoft.com/office/drawing/2014/main" val="10004"/>
                  </a:ext>
                </a:extLst>
              </a:tr>
              <a:tr h="179133">
                <a:tc rowSpan="5">
                  <a:txBody>
                    <a:bodyPr/>
                    <a:lstStyle/>
                    <a:p>
                      <a:pPr marL="0" marR="0">
                        <a:lnSpc>
                          <a:spcPct val="107000"/>
                        </a:lnSpc>
                        <a:spcBef>
                          <a:spcPts val="0"/>
                        </a:spcBef>
                        <a:spcAft>
                          <a:spcPts val="0"/>
                        </a:spcAft>
                      </a:pPr>
                      <a:r>
                        <a:rPr lang="en-US" sz="1000" b="0" dirty="0">
                          <a:effectLst/>
                          <a:latin typeface="Arial" panose="020B0604020202020204" pitchFamily="34" charset="0"/>
                          <a:ea typeface="Calibri" panose="020F0502020204030204" pitchFamily="34" charset="0"/>
                        </a:rPr>
                        <a:t>Outcome 2: Strengthened agricultural input systems, technology development and supply chain</a:t>
                      </a:r>
                      <a:endParaRPr lang="en-US" sz="10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6EE"/>
                    </a:solidFill>
                  </a:tcPr>
                </a:tc>
                <a:tc rowSpan="5">
                  <a:txBody>
                    <a:bodyPr/>
                    <a:lstStyle/>
                    <a:p>
                      <a:pPr marL="0" marR="0">
                        <a:lnSpc>
                          <a:spcPct val="107000"/>
                        </a:lnSpc>
                        <a:spcBef>
                          <a:spcPts val="0"/>
                        </a:spcBef>
                        <a:spcAft>
                          <a:spcPts val="0"/>
                        </a:spcAft>
                      </a:pPr>
                      <a:r>
                        <a:rPr lang="en-US" sz="1000" b="0" dirty="0">
                          <a:effectLst/>
                          <a:latin typeface="Arial" panose="020B0604020202020204" pitchFamily="34" charset="0"/>
                          <a:ea typeface="Calibri" panose="020F0502020204030204" pitchFamily="34" charset="0"/>
                        </a:rPr>
                        <a:t>Increased availability and use of seeds and fertilizer for small holder farmers</a:t>
                      </a:r>
                      <a:endParaRPr lang="en-US" sz="10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D08D"/>
                    </a:solidFill>
                  </a:tcPr>
                </a:tc>
                <a:tc>
                  <a:txBody>
                    <a:bodyPr/>
                    <a:lstStyle/>
                    <a:p>
                      <a:pPr marL="0" marR="0">
                        <a:lnSpc>
                          <a:spcPct val="107000"/>
                        </a:lnSpc>
                        <a:spcBef>
                          <a:spcPts val="0"/>
                        </a:spcBef>
                        <a:spcAft>
                          <a:spcPts val="0"/>
                        </a:spcAft>
                      </a:pPr>
                      <a:r>
                        <a:rPr lang="en-US" sz="1000" b="0" i="0" u="none" strike="noStrike" cap="none" dirty="0">
                          <a:solidFill>
                            <a:schemeClr val="tx1"/>
                          </a:solidFill>
                          <a:effectLst/>
                          <a:latin typeface="Arial" panose="020B0604020202020204" pitchFamily="34" charset="0"/>
                          <a:ea typeface="Calibri" panose="020F0502020204030204" pitchFamily="34" charset="0"/>
                          <a:cs typeface="+mn-cs"/>
                          <a:sym typeface="Arial"/>
                        </a:rPr>
                        <a:t>Support the production of early generation seed, and scale up seed production. </a:t>
                      </a: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 xmlns:a16="http://schemas.microsoft.com/office/drawing/2014/main" val="10005"/>
                  </a:ext>
                </a:extLst>
              </a:tr>
              <a:tr h="233672">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1000" b="0" i="0" u="none" strike="noStrike" cap="none" dirty="0">
                          <a:solidFill>
                            <a:schemeClr val="tx1"/>
                          </a:solidFill>
                          <a:effectLst/>
                          <a:latin typeface="Arial" panose="020B0604020202020204" pitchFamily="34" charset="0"/>
                          <a:ea typeface="Calibri" panose="020F0502020204030204" pitchFamily="34" charset="0"/>
                          <a:cs typeface="+mn-cs"/>
                          <a:sym typeface="Arial"/>
                        </a:rPr>
                        <a:t>Support and strengthen seed certification and fertilizer quality control system</a:t>
                      </a: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 xmlns:a16="http://schemas.microsoft.com/office/drawing/2014/main" val="10006"/>
                  </a:ext>
                </a:extLst>
              </a:tr>
              <a:tr h="233672">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1000" b="0" dirty="0">
                          <a:effectLst/>
                          <a:latin typeface="Arial" panose="020B0604020202020204" pitchFamily="34" charset="0"/>
                          <a:ea typeface="Calibri" panose="020F0502020204030204" pitchFamily="34" charset="0"/>
                        </a:rPr>
                        <a:t>Support formulation and production of</a:t>
                      </a:r>
                      <a:r>
                        <a:rPr lang="en-US" sz="1000" b="0" baseline="0" dirty="0">
                          <a:effectLst/>
                          <a:latin typeface="Arial" panose="020B0604020202020204" pitchFamily="34" charset="0"/>
                          <a:ea typeface="Calibri" panose="020F0502020204030204" pitchFamily="34" charset="0"/>
                        </a:rPr>
                        <a:t> crop and soil specific fertilizer blends</a:t>
                      </a:r>
                      <a:endParaRPr lang="en-US" sz="10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 xmlns:a16="http://schemas.microsoft.com/office/drawing/2014/main" val="10007"/>
                  </a:ext>
                </a:extLst>
              </a:tr>
              <a:tr h="318972">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1000" b="0" dirty="0">
                          <a:effectLst/>
                          <a:latin typeface="Arial" panose="020B0604020202020204" pitchFamily="34" charset="0"/>
                          <a:ea typeface="Calibri" panose="020F0502020204030204" pitchFamily="34" charset="0"/>
                        </a:rPr>
                        <a:t>Conduct extension and capacity building activities to increase the use of seeds of improved and climate smart varieties, adapted</a:t>
                      </a:r>
                      <a:r>
                        <a:rPr lang="en-US" sz="1000" b="0" baseline="0" dirty="0">
                          <a:effectLst/>
                          <a:latin typeface="Arial" panose="020B0604020202020204" pitchFamily="34" charset="0"/>
                          <a:ea typeface="Calibri" panose="020F0502020204030204" pitchFamily="34" charset="0"/>
                        </a:rPr>
                        <a:t> </a:t>
                      </a:r>
                      <a:r>
                        <a:rPr lang="en-US" sz="1000" b="0" dirty="0">
                          <a:effectLst/>
                          <a:latin typeface="Arial" panose="020B0604020202020204" pitchFamily="34" charset="0"/>
                          <a:ea typeface="Calibri" panose="020F0502020204030204" pitchFamily="34" charset="0"/>
                        </a:rPr>
                        <a:t>fertilizer blends, water and soils</a:t>
                      </a:r>
                      <a:r>
                        <a:rPr lang="en-US" sz="1000" b="0" baseline="0" dirty="0">
                          <a:effectLst/>
                          <a:latin typeface="Arial" panose="020B0604020202020204" pitchFamily="34" charset="0"/>
                          <a:ea typeface="Calibri" panose="020F0502020204030204" pitchFamily="34" charset="0"/>
                        </a:rPr>
                        <a:t> conservation technics by farmers.</a:t>
                      </a:r>
                      <a:endParaRPr lang="en-US" sz="10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 xmlns:a16="http://schemas.microsoft.com/office/drawing/2014/main" val="10008"/>
                  </a:ext>
                </a:extLst>
              </a:tr>
              <a:tr h="0">
                <a:tc vMerge="1">
                  <a:txBody>
                    <a:bodyPr/>
                    <a:lstStyle/>
                    <a:p>
                      <a:pPr marL="0" marR="0">
                        <a:lnSpc>
                          <a:spcPct val="107000"/>
                        </a:lnSpc>
                        <a:spcBef>
                          <a:spcPts val="0"/>
                        </a:spcBef>
                        <a:spcAft>
                          <a:spcPts val="0"/>
                        </a:spcAft>
                      </a:pPr>
                      <a:endParaRPr lang="en-US" sz="10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6EE"/>
                    </a:solidFill>
                  </a:tcPr>
                </a:tc>
                <a:tc vMerge="1">
                  <a:txBody>
                    <a:bodyPr/>
                    <a:lstStyle/>
                    <a:p>
                      <a:pPr marL="0" marR="0">
                        <a:lnSpc>
                          <a:spcPct val="107000"/>
                        </a:lnSpc>
                        <a:spcBef>
                          <a:spcPts val="0"/>
                        </a:spcBef>
                        <a:spcAft>
                          <a:spcPts val="0"/>
                        </a:spcAft>
                      </a:pPr>
                      <a:endParaRPr lang="en-US" sz="10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D08D"/>
                    </a:solidFill>
                  </a:tcPr>
                </a:tc>
                <a:tc>
                  <a:txBody>
                    <a:bodyPr/>
                    <a:lstStyle/>
                    <a:p>
                      <a:pPr marL="0" marR="0">
                        <a:lnSpc>
                          <a:spcPct val="107000"/>
                        </a:lnSpc>
                        <a:spcBef>
                          <a:spcPts val="0"/>
                        </a:spcBef>
                        <a:spcAft>
                          <a:spcPts val="0"/>
                        </a:spcAft>
                      </a:pPr>
                      <a:r>
                        <a:rPr lang="en-US" sz="1000" b="0" dirty="0">
                          <a:effectLst/>
                          <a:latin typeface="Arial" panose="020B0604020202020204" pitchFamily="34" charset="0"/>
                          <a:ea typeface="Calibri" panose="020F0502020204030204" pitchFamily="34" charset="0"/>
                        </a:rPr>
                        <a:t>Strengthen agro-dealership</a:t>
                      </a:r>
                      <a:r>
                        <a:rPr lang="en-US" sz="1000" b="0" baseline="0" dirty="0">
                          <a:effectLst/>
                          <a:latin typeface="Arial" panose="020B0604020202020204" pitchFamily="34" charset="0"/>
                          <a:ea typeface="Calibri" panose="020F0502020204030204" pitchFamily="34" charset="0"/>
                        </a:rPr>
                        <a:t> to bring agri-inputs close to farmers. </a:t>
                      </a:r>
                      <a:endParaRPr lang="en-US" sz="10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 xmlns:a16="http://schemas.microsoft.com/office/drawing/2014/main" val="1332637893"/>
                  </a:ext>
                </a:extLst>
              </a:tr>
              <a:tr h="669585">
                <a:tc rowSpan="3">
                  <a:txBody>
                    <a:bodyPr/>
                    <a:lstStyle/>
                    <a:p>
                      <a:pPr marL="0" marR="0">
                        <a:lnSpc>
                          <a:spcPct val="107000"/>
                        </a:lnSpc>
                        <a:spcBef>
                          <a:spcPts val="0"/>
                        </a:spcBef>
                        <a:spcAft>
                          <a:spcPts val="0"/>
                        </a:spcAft>
                      </a:pPr>
                      <a:r>
                        <a:rPr lang="en-US" sz="1000" b="0" dirty="0">
                          <a:effectLst/>
                          <a:latin typeface="Arial" panose="020B0604020202020204" pitchFamily="34" charset="0"/>
                          <a:ea typeface="Calibri" panose="020F0502020204030204" pitchFamily="34" charset="0"/>
                        </a:rPr>
                        <a:t>Outcome 3: Increased use of structured markets</a:t>
                      </a:r>
                      <a:endParaRPr lang="en-US" sz="10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6EE"/>
                    </a:solidFill>
                  </a:tcPr>
                </a:tc>
                <a:tc rowSpan="2">
                  <a:txBody>
                    <a:bodyPr/>
                    <a:lstStyle/>
                    <a:p>
                      <a:pPr marL="0" marR="0">
                        <a:lnSpc>
                          <a:spcPct val="107000"/>
                        </a:lnSpc>
                        <a:spcBef>
                          <a:spcPts val="0"/>
                        </a:spcBef>
                        <a:spcAft>
                          <a:spcPts val="0"/>
                        </a:spcAft>
                      </a:pPr>
                      <a:r>
                        <a:rPr lang="en-US" sz="1000" b="0" dirty="0">
                          <a:effectLst/>
                          <a:latin typeface="Arial" panose="020B0604020202020204" pitchFamily="34" charset="0"/>
                          <a:ea typeface="Calibri" panose="020F0502020204030204" pitchFamily="34" charset="0"/>
                        </a:rPr>
                        <a:t>Increased quality of produce  by small holder farmers</a:t>
                      </a:r>
                      <a:endParaRPr lang="en-US" sz="10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D08D"/>
                    </a:solidFill>
                  </a:tcPr>
                </a:tc>
                <a:tc>
                  <a:txBody>
                    <a:bodyPr/>
                    <a:lstStyle/>
                    <a:p>
                      <a:pPr marL="0" marR="0">
                        <a:lnSpc>
                          <a:spcPct val="107000"/>
                        </a:lnSpc>
                        <a:spcBef>
                          <a:spcPts val="0"/>
                        </a:spcBef>
                        <a:spcAft>
                          <a:spcPts val="0"/>
                        </a:spcAft>
                      </a:pPr>
                      <a:r>
                        <a:rPr lang="en-US" sz="1000" b="0" dirty="0">
                          <a:effectLst/>
                          <a:latin typeface="Arial" panose="020B0604020202020204" pitchFamily="34" charset="0"/>
                          <a:ea typeface="Calibri" panose="020F0502020204030204" pitchFamily="34" charset="0"/>
                        </a:rPr>
                        <a:t>Support farm</a:t>
                      </a:r>
                      <a:r>
                        <a:rPr lang="en-US" sz="1000" b="0" baseline="0" dirty="0">
                          <a:effectLst/>
                          <a:latin typeface="Arial" panose="020B0604020202020204" pitchFamily="34" charset="0"/>
                          <a:ea typeface="Calibri" panose="020F0502020204030204" pitchFamily="34" charset="0"/>
                        </a:rPr>
                        <a:t> level aggregation centers with warehouses</a:t>
                      </a:r>
                    </a:p>
                    <a:p>
                      <a:pPr marL="0" marR="0">
                        <a:lnSpc>
                          <a:spcPct val="107000"/>
                        </a:lnSpc>
                        <a:spcBef>
                          <a:spcPts val="0"/>
                        </a:spcBef>
                        <a:spcAft>
                          <a:spcPts val="0"/>
                        </a:spcAft>
                      </a:pPr>
                      <a:r>
                        <a:rPr lang="en-US" sz="1000" b="0" baseline="0" dirty="0">
                          <a:effectLst/>
                          <a:latin typeface="Arial" panose="020B0604020202020204" pitchFamily="34" charset="0"/>
                          <a:ea typeface="Calibri" panose="020F0502020204030204" pitchFamily="34" charset="0"/>
                        </a:rPr>
                        <a:t>Develop youth-led PH processing interventions to provide services to SH</a:t>
                      </a:r>
                    </a:p>
                    <a:p>
                      <a:pPr marL="0" marR="0">
                        <a:lnSpc>
                          <a:spcPct val="107000"/>
                        </a:lnSpc>
                        <a:spcBef>
                          <a:spcPts val="0"/>
                        </a:spcBef>
                        <a:spcAft>
                          <a:spcPts val="0"/>
                        </a:spcAft>
                      </a:pPr>
                      <a:r>
                        <a:rPr lang="en-US" sz="1000" b="0" dirty="0">
                          <a:effectLst/>
                          <a:latin typeface="Arial" panose="020B0604020202020204" pitchFamily="34" charset="0"/>
                          <a:ea typeface="Calibri" panose="020F0502020204030204" pitchFamily="34" charset="0"/>
                        </a:rPr>
                        <a:t>Facilitate access to PHH training, basic commodity handling equipment, enhanced management and linkages to output off-takers and input dealers</a:t>
                      </a:r>
                      <a:endParaRPr lang="en-US" sz="10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 xmlns:a16="http://schemas.microsoft.com/office/drawing/2014/main" val="10009"/>
                  </a:ext>
                </a:extLst>
              </a:tr>
              <a:tr h="236731">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1000" b="0" dirty="0">
                          <a:effectLst/>
                          <a:latin typeface="Arial" panose="020B0604020202020204" pitchFamily="34" charset="0"/>
                          <a:ea typeface="Calibri" panose="020F0502020204030204" pitchFamily="34" charset="0"/>
                        </a:rPr>
                        <a:t>Build capacity of farmers on grain standards and post-harvest loss reduction</a:t>
                      </a:r>
                      <a:endParaRPr lang="en-US" sz="10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 xmlns:a16="http://schemas.microsoft.com/office/drawing/2014/main" val="10010"/>
                  </a:ext>
                </a:extLst>
              </a:tr>
              <a:tr h="435429">
                <a:tc vMerge="1">
                  <a:txBody>
                    <a:bodyPr/>
                    <a:lstStyle/>
                    <a:p>
                      <a:endParaRPr lang="en-US"/>
                    </a:p>
                  </a:txBody>
                  <a:tcPr/>
                </a:tc>
                <a:tc>
                  <a:txBody>
                    <a:bodyPr/>
                    <a:lstStyle/>
                    <a:p>
                      <a:pPr marL="0" marR="0">
                        <a:lnSpc>
                          <a:spcPct val="107000"/>
                        </a:lnSpc>
                        <a:spcBef>
                          <a:spcPts val="0"/>
                        </a:spcBef>
                        <a:spcAft>
                          <a:spcPts val="0"/>
                        </a:spcAft>
                      </a:pPr>
                      <a:r>
                        <a:rPr lang="en-US" sz="1000" b="0" dirty="0">
                          <a:effectLst/>
                          <a:latin typeface="Arial" panose="020B0604020202020204" pitchFamily="34" charset="0"/>
                          <a:ea typeface="Calibri" panose="020F0502020204030204" pitchFamily="34" charset="0"/>
                        </a:rPr>
                        <a:t>Increased capacity of SMEs and FOs to participate in structured markets</a:t>
                      </a:r>
                      <a:endParaRPr lang="en-US" sz="10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D08D"/>
                    </a:solidFill>
                  </a:tcPr>
                </a:tc>
                <a:tc>
                  <a:txBody>
                    <a:bodyPr/>
                    <a:lstStyle/>
                    <a:p>
                      <a:pPr marL="0" marR="0">
                        <a:lnSpc>
                          <a:spcPct val="107000"/>
                        </a:lnSpc>
                        <a:spcBef>
                          <a:spcPts val="0"/>
                        </a:spcBef>
                        <a:spcAft>
                          <a:spcPts val="0"/>
                        </a:spcAft>
                      </a:pPr>
                      <a:r>
                        <a:rPr lang="en-US" sz="1000" b="0" dirty="0">
                          <a:effectLst/>
                          <a:latin typeface="Arial" panose="020B0604020202020204" pitchFamily="34" charset="0"/>
                          <a:ea typeface="Calibri" panose="020F0502020204030204" pitchFamily="34" charset="0"/>
                        </a:rPr>
                        <a:t>Develop integrated value chain system; including forward contracting, pricing, quantity projections, transportation </a:t>
                      </a:r>
                      <a:endParaRPr lang="en-US" sz="1000" b="1" dirty="0">
                        <a:effectLst/>
                        <a:latin typeface="Arial" panose="020B0604020202020204" pitchFamily="34" charset="0"/>
                        <a:ea typeface="Calibri" panose="020F0502020204030204" pitchFamily="34" charset="0"/>
                      </a:endParaRPr>
                    </a:p>
                    <a:p>
                      <a:pPr marL="0" marR="0">
                        <a:lnSpc>
                          <a:spcPct val="107000"/>
                        </a:lnSpc>
                        <a:spcBef>
                          <a:spcPts val="0"/>
                        </a:spcBef>
                        <a:spcAft>
                          <a:spcPts val="0"/>
                        </a:spcAft>
                      </a:pPr>
                      <a:r>
                        <a:rPr lang="en-US" sz="1000" b="0" dirty="0">
                          <a:effectLst/>
                          <a:latin typeface="Arial" panose="020B0604020202020204" pitchFamily="34" charset="0"/>
                          <a:ea typeface="Calibri" panose="020F0502020204030204" pitchFamily="34" charset="0"/>
                        </a:rPr>
                        <a:t> </a:t>
                      </a:r>
                      <a:endParaRPr lang="en-US" sz="10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 xmlns:a16="http://schemas.microsoft.com/office/drawing/2014/main" val="10011"/>
                  </a:ext>
                </a:extLst>
              </a:tr>
              <a:tr h="637942">
                <a:tc>
                  <a:txBody>
                    <a:bodyPr/>
                    <a:lstStyle/>
                    <a:p>
                      <a:pPr marL="0" marR="0">
                        <a:lnSpc>
                          <a:spcPct val="107000"/>
                        </a:lnSpc>
                        <a:spcBef>
                          <a:spcPts val="0"/>
                        </a:spcBef>
                        <a:spcAft>
                          <a:spcPts val="0"/>
                        </a:spcAft>
                      </a:pPr>
                      <a:r>
                        <a:rPr lang="en-US" sz="1000" b="0" dirty="0">
                          <a:effectLst/>
                          <a:latin typeface="Arial" panose="020B0604020202020204" pitchFamily="34" charset="0"/>
                          <a:ea typeface="Calibri" panose="020F0502020204030204" pitchFamily="34" charset="0"/>
                        </a:rPr>
                        <a:t>Outcome 4: Strengthened and expanded business development, financial and risk management services in agriculture value chain</a:t>
                      </a:r>
                      <a:endParaRPr lang="en-US" sz="10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6EE"/>
                    </a:solidFill>
                  </a:tcPr>
                </a:tc>
                <a:tc>
                  <a:txBody>
                    <a:bodyPr/>
                    <a:lstStyle/>
                    <a:p>
                      <a:pPr marL="0" marR="0">
                        <a:lnSpc>
                          <a:spcPct val="107000"/>
                        </a:lnSpc>
                        <a:spcBef>
                          <a:spcPts val="0"/>
                        </a:spcBef>
                        <a:spcAft>
                          <a:spcPts val="0"/>
                        </a:spcAft>
                      </a:pPr>
                      <a:r>
                        <a:rPr lang="en-US" sz="1000" b="0" dirty="0">
                          <a:effectLst/>
                          <a:latin typeface="Arial" panose="020B0604020202020204" pitchFamily="34" charset="0"/>
                          <a:ea typeface="Calibri" panose="020F0502020204030204" pitchFamily="34" charset="0"/>
                        </a:rPr>
                        <a:t>Increased supply and demand of sustainable financial services</a:t>
                      </a:r>
                      <a:endParaRPr lang="en-US" sz="10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D08D"/>
                    </a:solidFill>
                  </a:tcPr>
                </a:tc>
                <a:tc>
                  <a:txBody>
                    <a:bodyPr/>
                    <a:lstStyle/>
                    <a:p>
                      <a:pPr marL="0" marR="0">
                        <a:lnSpc>
                          <a:spcPct val="107000"/>
                        </a:lnSpc>
                        <a:spcBef>
                          <a:spcPts val="0"/>
                        </a:spcBef>
                        <a:spcAft>
                          <a:spcPts val="0"/>
                        </a:spcAft>
                      </a:pPr>
                      <a:r>
                        <a:rPr lang="en-US" sz="1000" b="0" dirty="0">
                          <a:effectLst/>
                          <a:latin typeface="Arial" panose="020B0604020202020204" pitchFamily="34" charset="0"/>
                          <a:ea typeface="Calibri" panose="020F0502020204030204" pitchFamily="34" charset="0"/>
                        </a:rPr>
                        <a:t>Developing and strengthening responsive agricultural finance and credit systems based on risk sharing mechanisms.</a:t>
                      </a:r>
                      <a:endParaRPr lang="en-US" sz="1000" b="1" dirty="0">
                        <a:effectLst/>
                        <a:latin typeface="Arial" panose="020B0604020202020204" pitchFamily="34" charset="0"/>
                        <a:ea typeface="Calibri" panose="020F0502020204030204" pitchFamily="34" charset="0"/>
                      </a:endParaRPr>
                    </a:p>
                    <a:p>
                      <a:pPr marL="0" marR="0">
                        <a:lnSpc>
                          <a:spcPct val="107000"/>
                        </a:lnSpc>
                        <a:spcBef>
                          <a:spcPts val="0"/>
                        </a:spcBef>
                        <a:spcAft>
                          <a:spcPts val="0"/>
                        </a:spcAft>
                      </a:pPr>
                      <a:r>
                        <a:rPr lang="en-US" sz="1000" b="0" dirty="0">
                          <a:effectLst/>
                          <a:latin typeface="Arial" panose="020B0604020202020204" pitchFamily="34" charset="0"/>
                          <a:ea typeface="Calibri" panose="020F0502020204030204" pitchFamily="34" charset="0"/>
                        </a:rPr>
                        <a:t> </a:t>
                      </a:r>
                      <a:endParaRPr lang="en-US" sz="10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 xmlns:a16="http://schemas.microsoft.com/office/drawing/2014/main" val="10012"/>
                  </a:ext>
                </a:extLst>
              </a:tr>
              <a:tr h="637942">
                <a:tc rowSpan="2">
                  <a:txBody>
                    <a:bodyPr/>
                    <a:lstStyle/>
                    <a:p>
                      <a:pPr marL="0" marR="0">
                        <a:lnSpc>
                          <a:spcPct val="107000"/>
                        </a:lnSpc>
                        <a:spcBef>
                          <a:spcPts val="0"/>
                        </a:spcBef>
                        <a:spcAft>
                          <a:spcPts val="0"/>
                        </a:spcAft>
                      </a:pPr>
                      <a:r>
                        <a:rPr lang="en-US" sz="1000" b="0" dirty="0">
                          <a:effectLst/>
                          <a:latin typeface="Arial" panose="020B0604020202020204" pitchFamily="34" charset="0"/>
                          <a:ea typeface="Calibri" panose="020F0502020204030204" pitchFamily="34" charset="0"/>
                        </a:rPr>
                        <a:t>Outcome 5: Strengthened Public and Private Partnerships in agriculture</a:t>
                      </a:r>
                      <a:endParaRPr lang="en-US" sz="10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6EE"/>
                    </a:solidFill>
                  </a:tcPr>
                </a:tc>
                <a:tc rowSpan="2">
                  <a:txBody>
                    <a:bodyPr/>
                    <a:lstStyle/>
                    <a:p>
                      <a:pPr marL="0" marR="0">
                        <a:lnSpc>
                          <a:spcPct val="107000"/>
                        </a:lnSpc>
                        <a:spcBef>
                          <a:spcPts val="0"/>
                        </a:spcBef>
                        <a:spcAft>
                          <a:spcPts val="0"/>
                        </a:spcAft>
                      </a:pPr>
                      <a:r>
                        <a:rPr lang="en-US" sz="1000" b="0" dirty="0">
                          <a:effectLst/>
                          <a:latin typeface="Arial" panose="020B0604020202020204" pitchFamily="34" charset="0"/>
                          <a:ea typeface="Calibri" panose="020F0502020204030204" pitchFamily="34" charset="0"/>
                        </a:rPr>
                        <a:t>Increased public private partnerships and investments in agriculture from private sector</a:t>
                      </a:r>
                      <a:endParaRPr lang="en-US" sz="1000" b="1" dirty="0">
                        <a:effectLst/>
                        <a:latin typeface="Arial" panose="020B0604020202020204" pitchFamily="34" charset="0"/>
                        <a:ea typeface="Calibri" panose="020F0502020204030204" pitchFamily="34" charset="0"/>
                      </a:endParaRPr>
                    </a:p>
                    <a:p>
                      <a:pPr marL="0" marR="0">
                        <a:lnSpc>
                          <a:spcPct val="107000"/>
                        </a:lnSpc>
                        <a:spcBef>
                          <a:spcPts val="0"/>
                        </a:spcBef>
                        <a:spcAft>
                          <a:spcPts val="0"/>
                        </a:spcAft>
                      </a:pPr>
                      <a:r>
                        <a:rPr lang="en-US" sz="1000" b="0" dirty="0">
                          <a:effectLst/>
                          <a:latin typeface="Arial" panose="020B0604020202020204" pitchFamily="34" charset="0"/>
                          <a:ea typeface="Calibri" panose="020F0502020204030204" pitchFamily="34" charset="0"/>
                        </a:rPr>
                        <a:t> </a:t>
                      </a:r>
                      <a:endParaRPr lang="en-US" sz="10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D08D"/>
                    </a:solidFill>
                  </a:tcPr>
                </a:tc>
                <a:tc>
                  <a:txBody>
                    <a:bodyPr/>
                    <a:lstStyle/>
                    <a:p>
                      <a:pPr marL="0" marR="0">
                        <a:lnSpc>
                          <a:spcPct val="107000"/>
                        </a:lnSpc>
                        <a:spcBef>
                          <a:spcPts val="0"/>
                        </a:spcBef>
                        <a:spcAft>
                          <a:spcPts val="0"/>
                        </a:spcAft>
                      </a:pPr>
                      <a:r>
                        <a:rPr lang="en-US" sz="1000" b="0" dirty="0">
                          <a:effectLst/>
                          <a:latin typeface="Arial" panose="020B0604020202020204" pitchFamily="34" charset="0"/>
                          <a:ea typeface="Calibri" panose="020F0502020204030204" pitchFamily="34" charset="0"/>
                        </a:rPr>
                        <a:t>Build partnerships with leading private sector champions to leverage entire ecosystem and build partnerships around knowledge and intelligence sharing</a:t>
                      </a:r>
                      <a:endParaRPr lang="en-US" sz="1000" b="1" dirty="0">
                        <a:effectLst/>
                        <a:latin typeface="Arial" panose="020B0604020202020204" pitchFamily="34" charset="0"/>
                        <a:ea typeface="Calibri" panose="020F0502020204030204" pitchFamily="34" charset="0"/>
                      </a:endParaRPr>
                    </a:p>
                    <a:p>
                      <a:pPr marL="0" marR="0">
                        <a:lnSpc>
                          <a:spcPct val="107000"/>
                        </a:lnSpc>
                        <a:spcBef>
                          <a:spcPts val="0"/>
                        </a:spcBef>
                        <a:spcAft>
                          <a:spcPts val="0"/>
                        </a:spcAft>
                      </a:pPr>
                      <a:r>
                        <a:rPr lang="en-US" sz="1000" b="0" dirty="0">
                          <a:effectLst/>
                          <a:latin typeface="Arial" panose="020B0604020202020204" pitchFamily="34" charset="0"/>
                          <a:ea typeface="Calibri" panose="020F0502020204030204" pitchFamily="34" charset="0"/>
                        </a:rPr>
                        <a:t> </a:t>
                      </a:r>
                      <a:endParaRPr lang="en-US" sz="10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 xmlns:a16="http://schemas.microsoft.com/office/drawing/2014/main" val="10013"/>
                  </a:ext>
                </a:extLst>
              </a:tr>
              <a:tr h="318972">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1000" b="0" dirty="0">
                          <a:effectLst/>
                          <a:latin typeface="Arial" panose="020B0604020202020204" pitchFamily="34" charset="0"/>
                          <a:ea typeface="Calibri" panose="020F0502020204030204" pitchFamily="34" charset="0"/>
                        </a:rPr>
                        <a:t>Mobilizing inclusive investments in Agriculture to develop a rice</a:t>
                      </a:r>
                      <a:r>
                        <a:rPr lang="en-US" sz="1000" b="0" baseline="0" dirty="0">
                          <a:effectLst/>
                          <a:latin typeface="Arial" panose="020B0604020202020204" pitchFamily="34" charset="0"/>
                          <a:ea typeface="Calibri" panose="020F0502020204030204" pitchFamily="34" charset="0"/>
                        </a:rPr>
                        <a:t> flagship program.</a:t>
                      </a:r>
                      <a:endParaRPr lang="en-US" sz="1000" b="1" dirty="0">
                        <a:effectLst/>
                        <a:latin typeface="Arial" panose="020B0604020202020204" pitchFamily="34" charset="0"/>
                        <a:ea typeface="Calibri" panose="020F0502020204030204" pitchFamily="34" charset="0"/>
                      </a:endParaRPr>
                    </a:p>
                    <a:p>
                      <a:pPr marL="0" marR="0">
                        <a:lnSpc>
                          <a:spcPct val="107000"/>
                        </a:lnSpc>
                        <a:spcBef>
                          <a:spcPts val="0"/>
                        </a:spcBef>
                        <a:spcAft>
                          <a:spcPts val="0"/>
                        </a:spcAft>
                      </a:pPr>
                      <a:r>
                        <a:rPr lang="en-US" sz="1000" b="0" dirty="0">
                          <a:effectLst/>
                          <a:latin typeface="Arial" panose="020B0604020202020204" pitchFamily="34" charset="0"/>
                          <a:ea typeface="Calibri" panose="020F0502020204030204" pitchFamily="34" charset="0"/>
                        </a:rPr>
                        <a:t> </a:t>
                      </a:r>
                      <a:endParaRPr lang="en-US" sz="10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 xmlns:a16="http://schemas.microsoft.com/office/drawing/2014/main" val="10014"/>
                  </a:ext>
                </a:extLst>
              </a:tr>
            </a:tbl>
          </a:graphicData>
        </a:graphic>
      </p:graphicFrame>
    </p:spTree>
    <p:extLst>
      <p:ext uri="{BB962C8B-B14F-4D97-AF65-F5344CB8AC3E}">
        <p14:creationId xmlns:p14="http://schemas.microsoft.com/office/powerpoint/2010/main" val="337586500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5" name="Object 254" hidden="1"/>
          <p:cNvGraphicFramePr>
            <a:graphicFrameLocks noChangeAspect="1"/>
          </p:cNvGraphicFramePr>
          <p:nvPr>
            <p:custDataLst>
              <p:tags r:id="rId2"/>
            </p:custDataLst>
          </p:nvPr>
        </p:nvGraphicFramePr>
        <p:xfrm>
          <a:off x="382590" y="1593"/>
          <a:ext cx="1587" cy="1587"/>
        </p:xfrm>
        <a:graphic>
          <a:graphicData uri="http://schemas.openxmlformats.org/presentationml/2006/ole">
            <mc:AlternateContent xmlns:mc="http://schemas.openxmlformats.org/markup-compatibility/2006">
              <mc:Choice xmlns:v="urn:schemas-microsoft-com:vml" Requires="v">
                <p:oleObj spid="_x0000_s149518" name="think-cell Slide" r:id="rId6" imgW="524" imgH="526" progId="TCLayout.ActiveDocument.1">
                  <p:embed/>
                </p:oleObj>
              </mc:Choice>
              <mc:Fallback>
                <p:oleObj name="think-cell Slide" r:id="rId6" imgW="524" imgH="526" progId="TCLayout.ActiveDocument.1">
                  <p:embed/>
                  <p:pic>
                    <p:nvPicPr>
                      <p:cNvPr id="255" name="Object 254" hidden="1"/>
                      <p:cNvPicPr/>
                      <p:nvPr/>
                    </p:nvPicPr>
                    <p:blipFill>
                      <a:blip r:embed="rId7"/>
                      <a:stretch>
                        <a:fillRect/>
                      </a:stretch>
                    </p:blipFill>
                    <p:spPr>
                      <a:xfrm>
                        <a:off x="382590" y="1593"/>
                        <a:ext cx="1587" cy="1587"/>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900" b="1" dirty="0">
              <a:solidFill>
                <a:srgbClr val="000000"/>
              </a:solidFill>
              <a:sym typeface="Arial" panose="020B0604020202020204" pitchFamily="34" charset="0"/>
            </a:endParaRPr>
          </a:p>
        </p:txBody>
      </p:sp>
      <p:sp>
        <p:nvSpPr>
          <p:cNvPr id="2" name="Title 1"/>
          <p:cNvSpPr>
            <a:spLocks noGrp="1"/>
          </p:cNvSpPr>
          <p:nvPr>
            <p:ph type="title"/>
          </p:nvPr>
        </p:nvSpPr>
        <p:spPr>
          <a:xfrm>
            <a:off x="605425" y="328972"/>
            <a:ext cx="7391400" cy="292388"/>
          </a:xfrm>
        </p:spPr>
        <p:txBody>
          <a:bodyPr/>
          <a:lstStyle/>
          <a:p>
            <a:r>
              <a:rPr lang="en-US" dirty="0"/>
              <a:t>Key Country Indicators and Targets</a:t>
            </a:r>
          </a:p>
        </p:txBody>
      </p:sp>
      <p:graphicFrame>
        <p:nvGraphicFramePr>
          <p:cNvPr id="94" name="Table 93"/>
          <p:cNvGraphicFramePr>
            <a:graphicFrameLocks noGrp="1"/>
          </p:cNvGraphicFramePr>
          <p:nvPr/>
        </p:nvGraphicFramePr>
        <p:xfrm>
          <a:off x="426720" y="1093778"/>
          <a:ext cx="8686800" cy="5410200"/>
        </p:xfrm>
        <a:graphic>
          <a:graphicData uri="http://schemas.openxmlformats.org/drawingml/2006/table">
            <a:tbl>
              <a:tblPr firstRow="1" bandRow="1">
                <a:tableStyleId>{5C22544A-7EE6-4342-B048-85BDC9FD1C3A}</a:tableStyleId>
              </a:tblPr>
              <a:tblGrid>
                <a:gridCol w="4572000">
                  <a:extLst>
                    <a:ext uri="{9D8B030D-6E8A-4147-A177-3AD203B41FA5}">
                      <a16:colId xmlns="" xmlns:a16="http://schemas.microsoft.com/office/drawing/2014/main" val="20000"/>
                    </a:ext>
                  </a:extLst>
                </a:gridCol>
                <a:gridCol w="822960">
                  <a:extLst>
                    <a:ext uri="{9D8B030D-6E8A-4147-A177-3AD203B41FA5}">
                      <a16:colId xmlns="" xmlns:a16="http://schemas.microsoft.com/office/drawing/2014/main" val="20001"/>
                    </a:ext>
                  </a:extLst>
                </a:gridCol>
                <a:gridCol w="822960">
                  <a:extLst>
                    <a:ext uri="{9D8B030D-6E8A-4147-A177-3AD203B41FA5}">
                      <a16:colId xmlns="" xmlns:a16="http://schemas.microsoft.com/office/drawing/2014/main" val="20002"/>
                    </a:ext>
                  </a:extLst>
                </a:gridCol>
                <a:gridCol w="822960">
                  <a:extLst>
                    <a:ext uri="{9D8B030D-6E8A-4147-A177-3AD203B41FA5}">
                      <a16:colId xmlns="" xmlns:a16="http://schemas.microsoft.com/office/drawing/2014/main" val="20003"/>
                    </a:ext>
                  </a:extLst>
                </a:gridCol>
                <a:gridCol w="822960">
                  <a:extLst>
                    <a:ext uri="{9D8B030D-6E8A-4147-A177-3AD203B41FA5}">
                      <a16:colId xmlns="" xmlns:a16="http://schemas.microsoft.com/office/drawing/2014/main" val="20004"/>
                    </a:ext>
                  </a:extLst>
                </a:gridCol>
                <a:gridCol w="822960">
                  <a:extLst>
                    <a:ext uri="{9D8B030D-6E8A-4147-A177-3AD203B41FA5}">
                      <a16:colId xmlns="" xmlns:a16="http://schemas.microsoft.com/office/drawing/2014/main" val="20005"/>
                    </a:ext>
                  </a:extLst>
                </a:gridCol>
              </a:tblGrid>
              <a:tr h="138688">
                <a:tc>
                  <a:txBody>
                    <a:bodyPr/>
                    <a:lstStyle/>
                    <a:p>
                      <a:r>
                        <a:rPr lang="en-US" sz="1050" dirty="0">
                          <a:latin typeface="+mn-lt"/>
                          <a:cs typeface="Arial" panose="020B0604020202020204" pitchFamily="34" charset="0"/>
                        </a:rPr>
                        <a:t>INDICATORS </a:t>
                      </a:r>
                    </a:p>
                  </a:txBody>
                  <a:tcPr>
                    <a:solidFill>
                      <a:schemeClr val="accent1">
                        <a:lumMod val="75000"/>
                      </a:schemeClr>
                    </a:solidFill>
                  </a:tcPr>
                </a:tc>
                <a:tc>
                  <a:txBody>
                    <a:bodyPr/>
                    <a:lstStyle/>
                    <a:p>
                      <a:r>
                        <a:rPr lang="en-US" sz="1050" dirty="0">
                          <a:latin typeface="+mn-lt"/>
                          <a:cs typeface="Arial" panose="020B0604020202020204" pitchFamily="34" charset="0"/>
                        </a:rPr>
                        <a:t>Baseline</a:t>
                      </a:r>
                    </a:p>
                    <a:p>
                      <a:r>
                        <a:rPr lang="en-US" sz="1050" dirty="0">
                          <a:latin typeface="+mn-lt"/>
                          <a:cs typeface="Arial" panose="020B0604020202020204" pitchFamily="34" charset="0"/>
                        </a:rPr>
                        <a:t>2017</a:t>
                      </a:r>
                    </a:p>
                  </a:txBody>
                  <a:tcPr>
                    <a:solidFill>
                      <a:schemeClr val="accent1">
                        <a:lumMod val="75000"/>
                      </a:schemeClr>
                    </a:solidFill>
                  </a:tcPr>
                </a:tc>
                <a:tc>
                  <a:txBody>
                    <a:bodyPr/>
                    <a:lstStyle/>
                    <a:p>
                      <a:r>
                        <a:rPr lang="en-US" sz="1050" dirty="0">
                          <a:latin typeface="+mn-lt"/>
                          <a:cs typeface="Arial" panose="020B0604020202020204" pitchFamily="34" charset="0"/>
                        </a:rPr>
                        <a:t>2018</a:t>
                      </a:r>
                      <a:r>
                        <a:rPr lang="en-US" sz="1050" baseline="0" dirty="0">
                          <a:latin typeface="+mn-lt"/>
                          <a:cs typeface="Arial" panose="020B0604020202020204" pitchFamily="34" charset="0"/>
                        </a:rPr>
                        <a:t> Target</a:t>
                      </a:r>
                      <a:endParaRPr lang="en-US" sz="1050" dirty="0">
                        <a:latin typeface="+mn-lt"/>
                        <a:cs typeface="Arial" panose="020B0604020202020204" pitchFamily="34" charset="0"/>
                      </a:endParaRPr>
                    </a:p>
                  </a:txBody>
                  <a:tcPr>
                    <a:solidFill>
                      <a:schemeClr val="accent1">
                        <a:lumMod val="75000"/>
                      </a:schemeClr>
                    </a:solidFill>
                  </a:tcPr>
                </a:tc>
                <a:tc>
                  <a:txBody>
                    <a:bodyPr/>
                    <a:lstStyle/>
                    <a:p>
                      <a:r>
                        <a:rPr lang="en-US" sz="1050" dirty="0">
                          <a:latin typeface="+mn-lt"/>
                          <a:cs typeface="Arial" panose="020B0604020202020204" pitchFamily="34" charset="0"/>
                        </a:rPr>
                        <a:t>2019 Target</a:t>
                      </a:r>
                    </a:p>
                  </a:txBody>
                  <a:tcPr>
                    <a:solidFill>
                      <a:schemeClr val="accent1">
                        <a:lumMod val="75000"/>
                      </a:schemeClr>
                    </a:solidFill>
                  </a:tcPr>
                </a:tc>
                <a:tc>
                  <a:txBody>
                    <a:bodyPr/>
                    <a:lstStyle/>
                    <a:p>
                      <a:r>
                        <a:rPr lang="en-US" sz="1050" dirty="0">
                          <a:latin typeface="+mn-lt"/>
                          <a:cs typeface="Arial" panose="020B0604020202020204" pitchFamily="34" charset="0"/>
                        </a:rPr>
                        <a:t>2020 Target</a:t>
                      </a:r>
                    </a:p>
                  </a:txBody>
                  <a:tcPr>
                    <a:solidFill>
                      <a:schemeClr val="accent1">
                        <a:lumMod val="75000"/>
                      </a:schemeClr>
                    </a:solidFill>
                  </a:tcPr>
                </a:tc>
                <a:tc>
                  <a:txBody>
                    <a:bodyPr/>
                    <a:lstStyle/>
                    <a:p>
                      <a:r>
                        <a:rPr lang="en-US" sz="1050" dirty="0">
                          <a:latin typeface="+mn-lt"/>
                          <a:cs typeface="Arial" panose="020B0604020202020204" pitchFamily="34" charset="0"/>
                        </a:rPr>
                        <a:t>2021 Target </a:t>
                      </a:r>
                    </a:p>
                  </a:txBody>
                  <a:tcPr>
                    <a:solidFill>
                      <a:schemeClr val="accent1">
                        <a:lumMod val="75000"/>
                      </a:schemeClr>
                    </a:solidFill>
                  </a:tcPr>
                </a:tc>
                <a:extLst>
                  <a:ext uri="{0D108BD9-81ED-4DB2-BD59-A6C34878D82A}">
                    <a16:rowId xmlns="" xmlns:a16="http://schemas.microsoft.com/office/drawing/2014/main" val="10000"/>
                  </a:ext>
                </a:extLst>
              </a:tr>
              <a:tr h="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000" kern="1200" dirty="0">
                          <a:solidFill>
                            <a:schemeClr val="bg1"/>
                          </a:solidFill>
                          <a:latin typeface="+mn-lt"/>
                          <a:ea typeface="+mn-ea"/>
                          <a:cs typeface="Arial" panose="020B0604020202020204" pitchFamily="34" charset="0"/>
                        </a:rPr>
                        <a:t>Goal Level Impact Indicators</a:t>
                      </a:r>
                    </a:p>
                  </a:txBody>
                  <a:tcPr>
                    <a:solidFill>
                      <a:schemeClr val="accent1">
                        <a:lumMod val="75000"/>
                      </a:schemeClr>
                    </a:solidFill>
                  </a:tcPr>
                </a:tc>
                <a:tc>
                  <a:txBody>
                    <a:bodyPr/>
                    <a:lstStyle/>
                    <a:p>
                      <a:pPr marL="0" algn="l" defTabSz="932863" rtl="0" eaLnBrk="1" latinLnBrk="0" hangingPunct="1"/>
                      <a:endParaRPr lang="en-US" sz="1000" kern="1200" dirty="0">
                        <a:solidFill>
                          <a:schemeClr val="dk1"/>
                        </a:solidFill>
                        <a:latin typeface="+mn-lt"/>
                        <a:ea typeface="+mn-ea"/>
                        <a:cs typeface="Arial" panose="020B0604020202020204" pitchFamily="34" charset="0"/>
                      </a:endParaRPr>
                    </a:p>
                  </a:txBody>
                  <a:tcPr>
                    <a:solidFill>
                      <a:schemeClr val="accent1">
                        <a:lumMod val="75000"/>
                      </a:schemeClr>
                    </a:solidFill>
                  </a:tcPr>
                </a:tc>
                <a:tc>
                  <a:txBody>
                    <a:bodyPr/>
                    <a:lstStyle/>
                    <a:p>
                      <a:pPr marL="0" algn="l" defTabSz="932863" rtl="0" eaLnBrk="1" latinLnBrk="0" hangingPunct="1"/>
                      <a:endParaRPr lang="en-US" sz="1000" kern="1200" dirty="0">
                        <a:solidFill>
                          <a:schemeClr val="dk1"/>
                        </a:solidFill>
                        <a:latin typeface="+mn-lt"/>
                        <a:ea typeface="+mn-ea"/>
                        <a:cs typeface="Arial" panose="020B0604020202020204" pitchFamily="34" charset="0"/>
                      </a:endParaRPr>
                    </a:p>
                  </a:txBody>
                  <a:tcPr>
                    <a:solidFill>
                      <a:schemeClr val="accent1">
                        <a:lumMod val="75000"/>
                      </a:schemeClr>
                    </a:solidFill>
                  </a:tcPr>
                </a:tc>
                <a:tc>
                  <a:txBody>
                    <a:bodyPr/>
                    <a:lstStyle/>
                    <a:p>
                      <a:pPr marL="0" algn="l" defTabSz="932863" rtl="0" eaLnBrk="1" latinLnBrk="0" hangingPunct="1"/>
                      <a:endParaRPr lang="en-US" sz="1000" kern="1200" dirty="0">
                        <a:solidFill>
                          <a:schemeClr val="dk1"/>
                        </a:solidFill>
                        <a:latin typeface="+mn-lt"/>
                        <a:ea typeface="+mn-ea"/>
                        <a:cs typeface="Arial" panose="020B0604020202020204" pitchFamily="34" charset="0"/>
                      </a:endParaRPr>
                    </a:p>
                  </a:txBody>
                  <a:tcPr>
                    <a:solidFill>
                      <a:schemeClr val="accent1">
                        <a:lumMod val="75000"/>
                      </a:schemeClr>
                    </a:solidFill>
                  </a:tcPr>
                </a:tc>
                <a:tc>
                  <a:txBody>
                    <a:bodyPr/>
                    <a:lstStyle/>
                    <a:p>
                      <a:pPr marL="0" algn="l" defTabSz="932863" rtl="0" eaLnBrk="1" latinLnBrk="0" hangingPunct="1"/>
                      <a:endParaRPr lang="en-US" sz="1000" kern="1200" dirty="0">
                        <a:solidFill>
                          <a:schemeClr val="dk1"/>
                        </a:solidFill>
                        <a:latin typeface="+mn-lt"/>
                        <a:ea typeface="+mn-ea"/>
                        <a:cs typeface="Arial" panose="020B0604020202020204" pitchFamily="34" charset="0"/>
                      </a:endParaRPr>
                    </a:p>
                  </a:txBody>
                  <a:tcPr>
                    <a:solidFill>
                      <a:schemeClr val="accent1">
                        <a:lumMod val="75000"/>
                      </a:schemeClr>
                    </a:solidFill>
                  </a:tcPr>
                </a:tc>
                <a:tc>
                  <a:txBody>
                    <a:bodyPr/>
                    <a:lstStyle/>
                    <a:p>
                      <a:pPr marL="0" algn="l" defTabSz="932863" rtl="0" eaLnBrk="1" latinLnBrk="0" hangingPunct="1"/>
                      <a:endParaRPr lang="en-US" sz="1000" kern="1200" dirty="0">
                        <a:solidFill>
                          <a:schemeClr val="dk1"/>
                        </a:solidFill>
                        <a:latin typeface="+mn-lt"/>
                        <a:ea typeface="+mn-ea"/>
                        <a:cs typeface="Arial" panose="020B0604020202020204" pitchFamily="34" charset="0"/>
                      </a:endParaRPr>
                    </a:p>
                  </a:txBody>
                  <a:tcPr>
                    <a:solidFill>
                      <a:schemeClr val="accent1">
                        <a:lumMod val="75000"/>
                      </a:schemeClr>
                    </a:solidFill>
                  </a:tcPr>
                </a:tc>
                <a:extLst>
                  <a:ext uri="{0D108BD9-81ED-4DB2-BD59-A6C34878D82A}">
                    <a16:rowId xmlns="" xmlns:a16="http://schemas.microsoft.com/office/drawing/2014/main" val="10001"/>
                  </a:ext>
                </a:extLst>
              </a:tr>
              <a:tr h="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000" dirty="0">
                          <a:solidFill>
                            <a:schemeClr val="accent6">
                              <a:lumMod val="50000"/>
                            </a:schemeClr>
                          </a:solidFill>
                          <a:latin typeface="+mn-lt"/>
                          <a:ea typeface="Times New Roman"/>
                          <a:cs typeface="Arial" panose="020B0604020202020204" pitchFamily="34" charset="0"/>
                        </a:rPr>
                        <a:t>Average number of months of adequate household food provision </a:t>
                      </a:r>
                      <a:endParaRPr lang="en-US" sz="1000" dirty="0">
                        <a:solidFill>
                          <a:schemeClr val="accent6">
                            <a:lumMod val="50000"/>
                          </a:schemeClr>
                        </a:solidFill>
                        <a:latin typeface="+mn-lt"/>
                        <a:cs typeface="Arial" panose="020B0604020202020204" pitchFamily="34" charset="0"/>
                      </a:endParaRPr>
                    </a:p>
                  </a:txBody>
                  <a:tcPr/>
                </a:tc>
                <a:tc>
                  <a:txBody>
                    <a:bodyPr/>
                    <a:lstStyle/>
                    <a:p>
                      <a:pPr algn="ctr"/>
                      <a:r>
                        <a:rPr lang="en-US" sz="1000" dirty="0">
                          <a:latin typeface="+mn-lt"/>
                          <a:cs typeface="Arial" panose="020B0604020202020204" pitchFamily="34" charset="0"/>
                        </a:rPr>
                        <a:t>10.9</a:t>
                      </a:r>
                    </a:p>
                  </a:txBody>
                  <a:tcPr/>
                </a:tc>
                <a:tc>
                  <a:txBody>
                    <a:bodyPr/>
                    <a:lstStyle/>
                    <a:p>
                      <a:pPr algn="ctr"/>
                      <a:endParaRPr lang="en-US" sz="1000" dirty="0">
                        <a:latin typeface="+mn-lt"/>
                        <a:cs typeface="Arial" panose="020B0604020202020204" pitchFamily="34" charset="0"/>
                      </a:endParaRPr>
                    </a:p>
                  </a:txBody>
                  <a:tcPr/>
                </a:tc>
                <a:tc>
                  <a:txBody>
                    <a:bodyPr/>
                    <a:lstStyle/>
                    <a:p>
                      <a:pPr algn="ctr"/>
                      <a:r>
                        <a:rPr lang="en-US" sz="1000" dirty="0">
                          <a:latin typeface="+mn-lt"/>
                          <a:cs typeface="Arial" panose="020B0604020202020204" pitchFamily="34" charset="0"/>
                        </a:rPr>
                        <a:t>11.2</a:t>
                      </a:r>
                    </a:p>
                  </a:txBody>
                  <a:tcPr/>
                </a:tc>
                <a:tc>
                  <a:txBody>
                    <a:bodyPr/>
                    <a:lstStyle/>
                    <a:p>
                      <a:pPr algn="ctr"/>
                      <a:endParaRPr lang="en-US" sz="1000" dirty="0">
                        <a:latin typeface="+mn-lt"/>
                        <a:cs typeface="Arial" panose="020B0604020202020204" pitchFamily="34" charset="0"/>
                      </a:endParaRPr>
                    </a:p>
                  </a:txBody>
                  <a:tcPr/>
                </a:tc>
                <a:tc>
                  <a:txBody>
                    <a:bodyPr/>
                    <a:lstStyle/>
                    <a:p>
                      <a:pPr algn="ctr"/>
                      <a:r>
                        <a:rPr lang="en-US" sz="1000" dirty="0">
                          <a:latin typeface="+mn-lt"/>
                          <a:cs typeface="Arial" panose="020B0604020202020204" pitchFamily="34" charset="0"/>
                        </a:rPr>
                        <a:t>11.4</a:t>
                      </a:r>
                    </a:p>
                  </a:txBody>
                  <a:tcPr/>
                </a:tc>
                <a:extLst>
                  <a:ext uri="{0D108BD9-81ED-4DB2-BD59-A6C34878D82A}">
                    <a16:rowId xmlns="" xmlns:a16="http://schemas.microsoft.com/office/drawing/2014/main" val="10002"/>
                  </a:ext>
                </a:extLst>
              </a:tr>
              <a:tr h="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000" dirty="0">
                          <a:solidFill>
                            <a:schemeClr val="accent6">
                              <a:lumMod val="50000"/>
                            </a:schemeClr>
                          </a:solidFill>
                          <a:latin typeface="+mn-lt"/>
                          <a:ea typeface="Times New Roman"/>
                          <a:cs typeface="Arial" panose="020B0604020202020204" pitchFamily="34" charset="0"/>
                        </a:rPr>
                        <a:t>Improved food security: Household dietary diversity index</a:t>
                      </a:r>
                      <a:r>
                        <a:rPr lang="en-US" sz="1000" dirty="0">
                          <a:solidFill>
                            <a:schemeClr val="accent6">
                              <a:lumMod val="50000"/>
                            </a:schemeClr>
                          </a:solidFill>
                          <a:latin typeface="+mn-lt"/>
                          <a:cs typeface="Arial" panose="020B0604020202020204" pitchFamily="34" charset="0"/>
                        </a:rPr>
                        <a:t>)</a:t>
                      </a:r>
                    </a:p>
                  </a:txBody>
                  <a:tcPr/>
                </a:tc>
                <a:tc>
                  <a:txBody>
                    <a:bodyPr/>
                    <a:lstStyle/>
                    <a:p>
                      <a:pPr algn="ctr"/>
                      <a:r>
                        <a:rPr lang="en-US" sz="1000" dirty="0">
                          <a:latin typeface="+mn-lt"/>
                          <a:cs typeface="Arial" panose="020B0604020202020204" pitchFamily="34" charset="0"/>
                        </a:rPr>
                        <a:t>5</a:t>
                      </a:r>
                    </a:p>
                  </a:txBody>
                  <a:tcPr/>
                </a:tc>
                <a:tc>
                  <a:txBody>
                    <a:bodyPr/>
                    <a:lstStyle/>
                    <a:p>
                      <a:pPr algn="ctr"/>
                      <a:endParaRPr lang="en-US" sz="1000" dirty="0">
                        <a:latin typeface="+mn-lt"/>
                        <a:cs typeface="Arial" panose="020B0604020202020204" pitchFamily="34" charset="0"/>
                      </a:endParaRPr>
                    </a:p>
                  </a:txBody>
                  <a:tcPr/>
                </a:tc>
                <a:tc>
                  <a:txBody>
                    <a:bodyPr/>
                    <a:lstStyle/>
                    <a:p>
                      <a:pPr algn="ctr"/>
                      <a:r>
                        <a:rPr lang="en-US" sz="1000" dirty="0">
                          <a:latin typeface="+mn-lt"/>
                          <a:cs typeface="Arial" panose="020B0604020202020204" pitchFamily="34" charset="0"/>
                        </a:rPr>
                        <a:t>5.5</a:t>
                      </a:r>
                    </a:p>
                  </a:txBody>
                  <a:tcPr/>
                </a:tc>
                <a:tc>
                  <a:txBody>
                    <a:bodyPr/>
                    <a:lstStyle/>
                    <a:p>
                      <a:pPr algn="ctr"/>
                      <a:endParaRPr lang="en-US" sz="1000" dirty="0">
                        <a:latin typeface="+mn-lt"/>
                        <a:cs typeface="Arial" panose="020B0604020202020204" pitchFamily="34" charset="0"/>
                      </a:endParaRPr>
                    </a:p>
                  </a:txBody>
                  <a:tcPr/>
                </a:tc>
                <a:tc>
                  <a:txBody>
                    <a:bodyPr/>
                    <a:lstStyle/>
                    <a:p>
                      <a:pPr algn="ctr"/>
                      <a:r>
                        <a:rPr lang="en-US" sz="1000" dirty="0">
                          <a:latin typeface="+mn-lt"/>
                          <a:cs typeface="Arial" panose="020B0604020202020204" pitchFamily="34" charset="0"/>
                        </a:rPr>
                        <a:t>6.5</a:t>
                      </a:r>
                    </a:p>
                  </a:txBody>
                  <a:tcPr/>
                </a:tc>
                <a:extLst>
                  <a:ext uri="{0D108BD9-81ED-4DB2-BD59-A6C34878D82A}">
                    <a16:rowId xmlns="" xmlns:a16="http://schemas.microsoft.com/office/drawing/2014/main" val="10003"/>
                  </a:ext>
                </a:extLst>
              </a:tr>
              <a:tr h="0">
                <a:tc>
                  <a:txBody>
                    <a:bodyPr/>
                    <a:lstStyle/>
                    <a:p>
                      <a:r>
                        <a:rPr lang="en-US" sz="1000" b="1" dirty="0">
                          <a:solidFill>
                            <a:schemeClr val="bg1"/>
                          </a:solidFill>
                          <a:latin typeface="+mn-lt"/>
                          <a:cs typeface="Arial" panose="020B0604020202020204" pitchFamily="34" charset="0"/>
                        </a:rPr>
                        <a:t>Objective Level Outcome Indicators </a:t>
                      </a:r>
                    </a:p>
                  </a:txBody>
                  <a:tcPr>
                    <a:solidFill>
                      <a:schemeClr val="accent1">
                        <a:lumMod val="75000"/>
                      </a:schemeClr>
                    </a:solidFill>
                  </a:tcPr>
                </a:tc>
                <a:tc>
                  <a:txBody>
                    <a:bodyPr/>
                    <a:lstStyle/>
                    <a:p>
                      <a:pPr algn="ctr"/>
                      <a:endParaRPr lang="en-US" sz="1000" dirty="0">
                        <a:latin typeface="+mn-lt"/>
                        <a:cs typeface="Arial" panose="020B0604020202020204" pitchFamily="34" charset="0"/>
                      </a:endParaRPr>
                    </a:p>
                  </a:txBody>
                  <a:tcPr>
                    <a:solidFill>
                      <a:schemeClr val="accent1">
                        <a:lumMod val="75000"/>
                      </a:schemeClr>
                    </a:solidFill>
                  </a:tcPr>
                </a:tc>
                <a:tc>
                  <a:txBody>
                    <a:bodyPr/>
                    <a:lstStyle/>
                    <a:p>
                      <a:pPr algn="ctr"/>
                      <a:endParaRPr lang="en-US" sz="1000" dirty="0">
                        <a:latin typeface="+mn-lt"/>
                        <a:cs typeface="Arial" panose="020B0604020202020204" pitchFamily="34" charset="0"/>
                      </a:endParaRPr>
                    </a:p>
                  </a:txBody>
                  <a:tcPr>
                    <a:solidFill>
                      <a:schemeClr val="accent1">
                        <a:lumMod val="75000"/>
                      </a:schemeClr>
                    </a:solidFill>
                  </a:tcPr>
                </a:tc>
                <a:tc>
                  <a:txBody>
                    <a:bodyPr/>
                    <a:lstStyle/>
                    <a:p>
                      <a:pPr algn="ctr"/>
                      <a:endParaRPr lang="en-US" sz="1000" dirty="0">
                        <a:latin typeface="+mn-lt"/>
                        <a:cs typeface="Arial" panose="020B0604020202020204" pitchFamily="34" charset="0"/>
                      </a:endParaRPr>
                    </a:p>
                  </a:txBody>
                  <a:tcPr>
                    <a:solidFill>
                      <a:schemeClr val="accent1">
                        <a:lumMod val="75000"/>
                      </a:schemeClr>
                    </a:solidFill>
                  </a:tcPr>
                </a:tc>
                <a:tc>
                  <a:txBody>
                    <a:bodyPr/>
                    <a:lstStyle/>
                    <a:p>
                      <a:pPr algn="ctr"/>
                      <a:endParaRPr lang="en-US" sz="1000" dirty="0">
                        <a:latin typeface="+mn-lt"/>
                        <a:cs typeface="Arial" panose="020B0604020202020204" pitchFamily="34" charset="0"/>
                      </a:endParaRPr>
                    </a:p>
                  </a:txBody>
                  <a:tcPr>
                    <a:solidFill>
                      <a:schemeClr val="accent1">
                        <a:lumMod val="75000"/>
                      </a:schemeClr>
                    </a:solidFill>
                  </a:tcPr>
                </a:tc>
                <a:tc>
                  <a:txBody>
                    <a:bodyPr/>
                    <a:lstStyle/>
                    <a:p>
                      <a:pPr algn="ctr"/>
                      <a:endParaRPr lang="en-US" sz="1000" dirty="0">
                        <a:latin typeface="+mn-lt"/>
                        <a:cs typeface="Arial" panose="020B0604020202020204" pitchFamily="34" charset="0"/>
                      </a:endParaRPr>
                    </a:p>
                  </a:txBody>
                  <a:tcPr>
                    <a:solidFill>
                      <a:schemeClr val="accent1">
                        <a:lumMod val="75000"/>
                      </a:schemeClr>
                    </a:solidFill>
                  </a:tcPr>
                </a:tc>
                <a:extLst>
                  <a:ext uri="{0D108BD9-81ED-4DB2-BD59-A6C34878D82A}">
                    <a16:rowId xmlns="" xmlns:a16="http://schemas.microsoft.com/office/drawing/2014/main" val="10004"/>
                  </a:ext>
                </a:extLst>
              </a:tr>
              <a:tr h="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000" dirty="0">
                          <a:solidFill>
                            <a:schemeClr val="accent6">
                              <a:lumMod val="50000"/>
                            </a:schemeClr>
                          </a:solidFill>
                          <a:latin typeface="+mn-lt"/>
                          <a:ea typeface="Times New Roman"/>
                          <a:cs typeface="Arial" panose="020B0604020202020204" pitchFamily="34" charset="0"/>
                        </a:rPr>
                        <a:t>Average yield (MT/ha) of  Maize  </a:t>
                      </a:r>
                      <a:endParaRPr lang="en-US" sz="1000" dirty="0">
                        <a:solidFill>
                          <a:schemeClr val="accent6">
                            <a:lumMod val="50000"/>
                          </a:schemeClr>
                        </a:solidFill>
                        <a:latin typeface="+mn-lt"/>
                        <a:cs typeface="Arial" panose="020B0604020202020204" pitchFamily="34" charset="0"/>
                      </a:endParaRPr>
                    </a:p>
                  </a:txBody>
                  <a:tcPr/>
                </a:tc>
                <a:tc>
                  <a:txBody>
                    <a:bodyPr/>
                    <a:lstStyle/>
                    <a:p>
                      <a:pPr algn="ctr"/>
                      <a:r>
                        <a:rPr lang="en-US" sz="1000" dirty="0">
                          <a:latin typeface="+mn-lt"/>
                          <a:cs typeface="Arial" panose="020B0604020202020204" pitchFamily="34" charset="0"/>
                        </a:rPr>
                        <a:t>2.2</a:t>
                      </a:r>
                    </a:p>
                  </a:txBody>
                  <a:tcPr/>
                </a:tc>
                <a:tc>
                  <a:txBody>
                    <a:bodyPr/>
                    <a:lstStyle/>
                    <a:p>
                      <a:pPr algn="ctr"/>
                      <a:r>
                        <a:rPr lang="en-US" sz="1000" dirty="0">
                          <a:latin typeface="+mn-lt"/>
                          <a:cs typeface="Arial" panose="020B0604020202020204" pitchFamily="34" charset="0"/>
                        </a:rPr>
                        <a:t>2.3</a:t>
                      </a:r>
                    </a:p>
                  </a:txBody>
                  <a:tcPr/>
                </a:tc>
                <a:tc>
                  <a:txBody>
                    <a:bodyPr/>
                    <a:lstStyle/>
                    <a:p>
                      <a:pPr algn="ctr"/>
                      <a:r>
                        <a:rPr lang="en-US" sz="1000" dirty="0">
                          <a:latin typeface="+mn-lt"/>
                          <a:cs typeface="Arial" panose="020B0604020202020204" pitchFamily="34" charset="0"/>
                        </a:rPr>
                        <a:t>2.9</a:t>
                      </a:r>
                    </a:p>
                  </a:txBody>
                  <a:tcPr/>
                </a:tc>
                <a:tc>
                  <a:txBody>
                    <a:bodyPr/>
                    <a:lstStyle/>
                    <a:p>
                      <a:pPr algn="ctr"/>
                      <a:r>
                        <a:rPr lang="en-US" sz="1000" dirty="0">
                          <a:latin typeface="+mn-lt"/>
                          <a:cs typeface="Arial" panose="020B0604020202020204" pitchFamily="34" charset="0"/>
                        </a:rPr>
                        <a:t>3.5</a:t>
                      </a:r>
                    </a:p>
                  </a:txBody>
                  <a:tcPr/>
                </a:tc>
                <a:tc>
                  <a:txBody>
                    <a:bodyPr/>
                    <a:lstStyle/>
                    <a:p>
                      <a:pPr algn="ctr"/>
                      <a:r>
                        <a:rPr lang="en-US" sz="1000" dirty="0">
                          <a:latin typeface="+mn-lt"/>
                          <a:cs typeface="Arial" panose="020B0604020202020204" pitchFamily="34" charset="0"/>
                        </a:rPr>
                        <a:t>4.5</a:t>
                      </a:r>
                    </a:p>
                  </a:txBody>
                  <a:tcPr/>
                </a:tc>
                <a:extLst>
                  <a:ext uri="{0D108BD9-81ED-4DB2-BD59-A6C34878D82A}">
                    <a16:rowId xmlns="" xmlns:a16="http://schemas.microsoft.com/office/drawing/2014/main" val="10005"/>
                  </a:ext>
                </a:extLst>
              </a:tr>
              <a:tr h="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000" dirty="0">
                          <a:solidFill>
                            <a:schemeClr val="accent6">
                              <a:lumMod val="50000"/>
                            </a:schemeClr>
                          </a:solidFill>
                          <a:latin typeface="+mn-lt"/>
                          <a:ea typeface="Times New Roman"/>
                          <a:cs typeface="Arial" panose="020B0604020202020204" pitchFamily="34" charset="0"/>
                        </a:rPr>
                        <a:t>Average yield (MT/ha) of   Sorghum </a:t>
                      </a:r>
                      <a:endParaRPr lang="en-US" sz="1000" dirty="0">
                        <a:solidFill>
                          <a:schemeClr val="accent6">
                            <a:lumMod val="50000"/>
                          </a:schemeClr>
                        </a:solidFill>
                        <a:latin typeface="+mn-lt"/>
                        <a:cs typeface="Arial" panose="020B0604020202020204" pitchFamily="34" charset="0"/>
                      </a:endParaRPr>
                    </a:p>
                  </a:txBody>
                  <a:tcPr/>
                </a:tc>
                <a:tc>
                  <a:txBody>
                    <a:bodyPr/>
                    <a:lstStyle/>
                    <a:p>
                      <a:pPr algn="ctr"/>
                      <a:r>
                        <a:rPr lang="en-US" sz="1000" dirty="0">
                          <a:latin typeface="+mn-lt"/>
                          <a:cs typeface="Arial" panose="020B0604020202020204" pitchFamily="34" charset="0"/>
                        </a:rPr>
                        <a:t>1.1</a:t>
                      </a:r>
                    </a:p>
                  </a:txBody>
                  <a:tcPr/>
                </a:tc>
                <a:tc>
                  <a:txBody>
                    <a:bodyPr/>
                    <a:lstStyle/>
                    <a:p>
                      <a:pPr algn="ctr"/>
                      <a:r>
                        <a:rPr lang="en-US" sz="1000" dirty="0">
                          <a:latin typeface="+mn-lt"/>
                          <a:cs typeface="Arial" panose="020B0604020202020204" pitchFamily="34" charset="0"/>
                        </a:rPr>
                        <a:t>1.4</a:t>
                      </a:r>
                    </a:p>
                  </a:txBody>
                  <a:tcPr/>
                </a:tc>
                <a:tc>
                  <a:txBody>
                    <a:bodyPr/>
                    <a:lstStyle/>
                    <a:p>
                      <a:pPr algn="ctr"/>
                      <a:r>
                        <a:rPr lang="en-US" sz="1000" dirty="0">
                          <a:latin typeface="+mn-lt"/>
                          <a:cs typeface="Arial" panose="020B0604020202020204" pitchFamily="34" charset="0"/>
                        </a:rPr>
                        <a:t>1.7</a:t>
                      </a:r>
                    </a:p>
                  </a:txBody>
                  <a:tcPr/>
                </a:tc>
                <a:tc>
                  <a:txBody>
                    <a:bodyPr/>
                    <a:lstStyle/>
                    <a:p>
                      <a:pPr algn="ctr"/>
                      <a:r>
                        <a:rPr lang="en-US" sz="1000" dirty="0">
                          <a:latin typeface="+mn-lt"/>
                          <a:cs typeface="Arial" panose="020B0604020202020204" pitchFamily="34" charset="0"/>
                        </a:rPr>
                        <a:t>1.9</a:t>
                      </a:r>
                    </a:p>
                  </a:txBody>
                  <a:tcPr/>
                </a:tc>
                <a:tc>
                  <a:txBody>
                    <a:bodyPr/>
                    <a:lstStyle/>
                    <a:p>
                      <a:pPr algn="ctr"/>
                      <a:r>
                        <a:rPr lang="en-US" sz="1000" dirty="0">
                          <a:latin typeface="+mn-lt"/>
                          <a:cs typeface="Arial" panose="020B0604020202020204" pitchFamily="34" charset="0"/>
                        </a:rPr>
                        <a:t>2.2</a:t>
                      </a:r>
                    </a:p>
                  </a:txBody>
                  <a:tcPr/>
                </a:tc>
                <a:extLst>
                  <a:ext uri="{0D108BD9-81ED-4DB2-BD59-A6C34878D82A}">
                    <a16:rowId xmlns="" xmlns:a16="http://schemas.microsoft.com/office/drawing/2014/main" val="10006"/>
                  </a:ext>
                </a:extLst>
              </a:tr>
              <a:tr h="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000" dirty="0">
                          <a:solidFill>
                            <a:schemeClr val="accent6">
                              <a:lumMod val="50000"/>
                            </a:schemeClr>
                          </a:solidFill>
                          <a:latin typeface="+mn-lt"/>
                          <a:ea typeface="Times New Roman"/>
                          <a:cs typeface="Arial" panose="020B0604020202020204" pitchFamily="34" charset="0"/>
                        </a:rPr>
                        <a:t>Average yield (MT/ha) of  Cowpea</a:t>
                      </a:r>
                      <a:endParaRPr lang="en-US" sz="1000" dirty="0">
                        <a:solidFill>
                          <a:schemeClr val="accent6">
                            <a:lumMod val="50000"/>
                          </a:schemeClr>
                        </a:solidFill>
                        <a:latin typeface="+mn-lt"/>
                        <a:cs typeface="Arial" panose="020B0604020202020204" pitchFamily="34" charset="0"/>
                      </a:endParaRPr>
                    </a:p>
                  </a:txBody>
                  <a:tcPr/>
                </a:tc>
                <a:tc>
                  <a:txBody>
                    <a:bodyPr/>
                    <a:lstStyle/>
                    <a:p>
                      <a:pPr algn="ctr"/>
                      <a:r>
                        <a:rPr lang="en-US" sz="1000" dirty="0">
                          <a:latin typeface="+mn-lt"/>
                          <a:cs typeface="Arial" panose="020B0604020202020204" pitchFamily="34" charset="0"/>
                        </a:rPr>
                        <a:t>0.2</a:t>
                      </a:r>
                    </a:p>
                  </a:txBody>
                  <a:tcPr/>
                </a:tc>
                <a:tc>
                  <a:txBody>
                    <a:bodyPr/>
                    <a:lstStyle/>
                    <a:p>
                      <a:pPr algn="ctr"/>
                      <a:r>
                        <a:rPr lang="en-US" sz="1000" dirty="0">
                          <a:latin typeface="+mn-lt"/>
                          <a:cs typeface="Arial" panose="020B0604020202020204" pitchFamily="34" charset="0"/>
                        </a:rPr>
                        <a:t>0.25</a:t>
                      </a:r>
                    </a:p>
                  </a:txBody>
                  <a:tcPr/>
                </a:tc>
                <a:tc>
                  <a:txBody>
                    <a:bodyPr/>
                    <a:lstStyle/>
                    <a:p>
                      <a:pPr algn="ctr"/>
                      <a:r>
                        <a:rPr lang="en-US" sz="1000" dirty="0">
                          <a:latin typeface="+mn-lt"/>
                          <a:cs typeface="Arial" panose="020B0604020202020204" pitchFamily="34" charset="0"/>
                        </a:rPr>
                        <a:t>0.3</a:t>
                      </a:r>
                    </a:p>
                  </a:txBody>
                  <a:tcPr/>
                </a:tc>
                <a:tc>
                  <a:txBody>
                    <a:bodyPr/>
                    <a:lstStyle/>
                    <a:p>
                      <a:pPr algn="ctr"/>
                      <a:r>
                        <a:rPr lang="en-US" sz="1000" dirty="0">
                          <a:latin typeface="+mn-lt"/>
                          <a:cs typeface="Arial" panose="020B0604020202020204" pitchFamily="34" charset="0"/>
                        </a:rPr>
                        <a:t>0.4</a:t>
                      </a:r>
                    </a:p>
                  </a:txBody>
                  <a:tcPr/>
                </a:tc>
                <a:tc>
                  <a:txBody>
                    <a:bodyPr/>
                    <a:lstStyle/>
                    <a:p>
                      <a:pPr algn="ctr"/>
                      <a:r>
                        <a:rPr lang="en-US" sz="1000" dirty="0">
                          <a:latin typeface="+mn-lt"/>
                          <a:cs typeface="Arial" panose="020B0604020202020204" pitchFamily="34" charset="0"/>
                        </a:rPr>
                        <a:t>0.5</a:t>
                      </a:r>
                    </a:p>
                  </a:txBody>
                  <a:tcPr/>
                </a:tc>
                <a:extLst>
                  <a:ext uri="{0D108BD9-81ED-4DB2-BD59-A6C34878D82A}">
                    <a16:rowId xmlns="" xmlns:a16="http://schemas.microsoft.com/office/drawing/2014/main" val="10007"/>
                  </a:ext>
                </a:extLst>
              </a:tr>
              <a:tr h="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000" dirty="0">
                          <a:solidFill>
                            <a:schemeClr val="accent6">
                              <a:lumMod val="50000"/>
                            </a:schemeClr>
                          </a:solidFill>
                          <a:latin typeface="+mn-lt"/>
                          <a:ea typeface="Times New Roman"/>
                          <a:cs typeface="Arial" panose="020B0604020202020204" pitchFamily="34" charset="0"/>
                        </a:rPr>
                        <a:t>Average yield (MT/ha) of  Millet</a:t>
                      </a:r>
                      <a:endParaRPr lang="en-US" sz="1000" dirty="0">
                        <a:solidFill>
                          <a:schemeClr val="accent6">
                            <a:lumMod val="50000"/>
                          </a:schemeClr>
                        </a:solidFill>
                        <a:latin typeface="+mn-lt"/>
                        <a:cs typeface="Arial" panose="020B0604020202020204" pitchFamily="34" charset="0"/>
                      </a:endParaRPr>
                    </a:p>
                  </a:txBody>
                  <a:tcPr/>
                </a:tc>
                <a:tc>
                  <a:txBody>
                    <a:bodyPr/>
                    <a:lstStyle/>
                    <a:p>
                      <a:pPr algn="ctr"/>
                      <a:r>
                        <a:rPr lang="en-US" sz="1000" dirty="0">
                          <a:latin typeface="+mn-lt"/>
                          <a:cs typeface="Arial" panose="020B0604020202020204" pitchFamily="34" charset="0"/>
                        </a:rPr>
                        <a:t>0.9</a:t>
                      </a:r>
                    </a:p>
                  </a:txBody>
                  <a:tcPr/>
                </a:tc>
                <a:tc>
                  <a:txBody>
                    <a:bodyPr/>
                    <a:lstStyle/>
                    <a:p>
                      <a:pPr algn="ctr"/>
                      <a:r>
                        <a:rPr lang="en-US" sz="1000" dirty="0">
                          <a:latin typeface="+mn-lt"/>
                          <a:cs typeface="Arial" panose="020B0604020202020204" pitchFamily="34" charset="0"/>
                        </a:rPr>
                        <a:t>1.1</a:t>
                      </a:r>
                    </a:p>
                  </a:txBody>
                  <a:tcPr/>
                </a:tc>
                <a:tc>
                  <a:txBody>
                    <a:bodyPr/>
                    <a:lstStyle/>
                    <a:p>
                      <a:pPr algn="ctr"/>
                      <a:r>
                        <a:rPr lang="en-US" sz="1000" dirty="0">
                          <a:latin typeface="+mn-lt"/>
                          <a:cs typeface="Arial" panose="020B0604020202020204" pitchFamily="34" charset="0"/>
                        </a:rPr>
                        <a:t>1.4</a:t>
                      </a:r>
                    </a:p>
                  </a:txBody>
                  <a:tcPr/>
                </a:tc>
                <a:tc>
                  <a:txBody>
                    <a:bodyPr/>
                    <a:lstStyle/>
                    <a:p>
                      <a:pPr algn="ctr"/>
                      <a:r>
                        <a:rPr lang="en-US" sz="1000" dirty="0">
                          <a:latin typeface="+mn-lt"/>
                          <a:cs typeface="Arial" panose="020B0604020202020204" pitchFamily="34" charset="0"/>
                        </a:rPr>
                        <a:t>1.6</a:t>
                      </a:r>
                    </a:p>
                  </a:txBody>
                  <a:tcPr/>
                </a:tc>
                <a:tc>
                  <a:txBody>
                    <a:bodyPr/>
                    <a:lstStyle/>
                    <a:p>
                      <a:pPr algn="ctr"/>
                      <a:r>
                        <a:rPr lang="en-US" sz="1000" dirty="0">
                          <a:latin typeface="+mn-lt"/>
                          <a:cs typeface="Arial" panose="020B0604020202020204" pitchFamily="34" charset="0"/>
                        </a:rPr>
                        <a:t>1.8</a:t>
                      </a:r>
                    </a:p>
                  </a:txBody>
                  <a:tcPr/>
                </a:tc>
                <a:extLst>
                  <a:ext uri="{0D108BD9-81ED-4DB2-BD59-A6C34878D82A}">
                    <a16:rowId xmlns="" xmlns:a16="http://schemas.microsoft.com/office/drawing/2014/main" val="2928541274"/>
                  </a:ext>
                </a:extLst>
              </a:tr>
              <a:tr h="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000" dirty="0">
                          <a:solidFill>
                            <a:schemeClr val="accent6">
                              <a:lumMod val="50000"/>
                            </a:schemeClr>
                          </a:solidFill>
                          <a:latin typeface="+mn-lt"/>
                          <a:cs typeface="Arial" panose="020B0604020202020204" pitchFamily="34" charset="0"/>
                        </a:rPr>
                        <a:t>Primary Level Outcome Indicators </a:t>
                      </a:r>
                    </a:p>
                  </a:txBody>
                  <a:tcPr>
                    <a:solidFill>
                      <a:schemeClr val="accent1">
                        <a:lumMod val="75000"/>
                      </a:schemeClr>
                    </a:solidFill>
                  </a:tcPr>
                </a:tc>
                <a:tc>
                  <a:txBody>
                    <a:bodyPr/>
                    <a:lstStyle/>
                    <a:p>
                      <a:pPr algn="ctr"/>
                      <a:endParaRPr lang="en-US" sz="1000" dirty="0">
                        <a:latin typeface="+mn-lt"/>
                        <a:cs typeface="Arial" panose="020B0604020202020204" pitchFamily="34" charset="0"/>
                      </a:endParaRPr>
                    </a:p>
                  </a:txBody>
                  <a:tcPr>
                    <a:solidFill>
                      <a:schemeClr val="accent1">
                        <a:lumMod val="75000"/>
                      </a:schemeClr>
                    </a:solidFill>
                  </a:tcPr>
                </a:tc>
                <a:tc>
                  <a:txBody>
                    <a:bodyPr/>
                    <a:lstStyle/>
                    <a:p>
                      <a:pPr algn="ctr"/>
                      <a:endParaRPr lang="en-US" sz="1000" dirty="0">
                        <a:latin typeface="+mn-lt"/>
                        <a:cs typeface="Arial" panose="020B0604020202020204" pitchFamily="34" charset="0"/>
                      </a:endParaRPr>
                    </a:p>
                  </a:txBody>
                  <a:tcPr>
                    <a:solidFill>
                      <a:schemeClr val="accent1">
                        <a:lumMod val="75000"/>
                      </a:schemeClr>
                    </a:solidFill>
                  </a:tcPr>
                </a:tc>
                <a:tc>
                  <a:txBody>
                    <a:bodyPr/>
                    <a:lstStyle/>
                    <a:p>
                      <a:pPr algn="ctr"/>
                      <a:endParaRPr lang="en-US" sz="1000" dirty="0">
                        <a:latin typeface="+mn-lt"/>
                        <a:cs typeface="Arial" panose="020B0604020202020204" pitchFamily="34" charset="0"/>
                      </a:endParaRPr>
                    </a:p>
                  </a:txBody>
                  <a:tcPr>
                    <a:solidFill>
                      <a:schemeClr val="accent1">
                        <a:lumMod val="75000"/>
                      </a:schemeClr>
                    </a:solidFill>
                  </a:tcPr>
                </a:tc>
                <a:tc>
                  <a:txBody>
                    <a:bodyPr/>
                    <a:lstStyle/>
                    <a:p>
                      <a:pPr algn="ctr"/>
                      <a:endParaRPr lang="en-US" sz="1000" dirty="0">
                        <a:latin typeface="+mn-lt"/>
                        <a:cs typeface="Arial" panose="020B0604020202020204" pitchFamily="34" charset="0"/>
                      </a:endParaRPr>
                    </a:p>
                  </a:txBody>
                  <a:tcPr>
                    <a:solidFill>
                      <a:schemeClr val="accent1">
                        <a:lumMod val="75000"/>
                      </a:schemeClr>
                    </a:solidFill>
                  </a:tcPr>
                </a:tc>
                <a:tc>
                  <a:txBody>
                    <a:bodyPr/>
                    <a:lstStyle/>
                    <a:p>
                      <a:pPr algn="ctr"/>
                      <a:endParaRPr lang="en-US" sz="1000" dirty="0">
                        <a:latin typeface="+mn-lt"/>
                        <a:cs typeface="Arial" panose="020B0604020202020204" pitchFamily="34" charset="0"/>
                      </a:endParaRPr>
                    </a:p>
                  </a:txBody>
                  <a:tcPr>
                    <a:solidFill>
                      <a:schemeClr val="accent1">
                        <a:lumMod val="75000"/>
                      </a:schemeClr>
                    </a:solidFill>
                  </a:tcPr>
                </a:tc>
                <a:extLst>
                  <a:ext uri="{0D108BD9-81ED-4DB2-BD59-A6C34878D82A}">
                    <a16:rowId xmlns="" xmlns:a16="http://schemas.microsoft.com/office/drawing/2014/main" val="10008"/>
                  </a:ext>
                </a:extLst>
              </a:tr>
              <a:tr h="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000" dirty="0">
                          <a:solidFill>
                            <a:schemeClr val="accent6">
                              <a:lumMod val="50000"/>
                            </a:schemeClr>
                          </a:solidFill>
                          <a:latin typeface="+mn-lt"/>
                          <a:ea typeface="Times New Roman"/>
                          <a:cs typeface="Arial" panose="020B0604020202020204" pitchFamily="34" charset="0"/>
                        </a:rPr>
                        <a:t>Adoption rate of target improved productivity technologies or management practices at farmer level</a:t>
                      </a:r>
                      <a:r>
                        <a:rPr lang="en-US" sz="1000" dirty="0">
                          <a:solidFill>
                            <a:schemeClr val="accent6">
                              <a:lumMod val="50000"/>
                            </a:schemeClr>
                          </a:solidFill>
                          <a:latin typeface="+mn-lt"/>
                          <a:cs typeface="Arial" panose="020B0604020202020204" pitchFamily="34" charset="0"/>
                        </a:rPr>
                        <a:t>)</a:t>
                      </a:r>
                    </a:p>
                  </a:txBody>
                  <a:tcPr/>
                </a:tc>
                <a:tc>
                  <a:txBody>
                    <a:bodyPr/>
                    <a:lstStyle/>
                    <a:p>
                      <a:pPr algn="ctr"/>
                      <a:r>
                        <a:rPr lang="en-US" sz="1000" dirty="0">
                          <a:latin typeface="+mn-lt"/>
                          <a:cs typeface="Arial" panose="020B0604020202020204" pitchFamily="34" charset="0"/>
                        </a:rPr>
                        <a:t>42.3%</a:t>
                      </a:r>
                    </a:p>
                  </a:txBody>
                  <a:tcPr/>
                </a:tc>
                <a:tc>
                  <a:txBody>
                    <a:bodyPr/>
                    <a:lstStyle/>
                    <a:p>
                      <a:pPr algn="ctr"/>
                      <a:endParaRPr lang="en-US" sz="1000" dirty="0">
                        <a:latin typeface="+mn-lt"/>
                        <a:cs typeface="Arial" panose="020B0604020202020204" pitchFamily="34" charset="0"/>
                      </a:endParaRPr>
                    </a:p>
                  </a:txBody>
                  <a:tcPr/>
                </a:tc>
                <a:tc>
                  <a:txBody>
                    <a:bodyPr/>
                    <a:lstStyle/>
                    <a:p>
                      <a:pPr algn="ctr"/>
                      <a:r>
                        <a:rPr lang="en-US" sz="1000" dirty="0">
                          <a:latin typeface="+mn-lt"/>
                          <a:cs typeface="Arial" panose="020B0604020202020204" pitchFamily="34" charset="0"/>
                        </a:rPr>
                        <a:t>50%</a:t>
                      </a:r>
                    </a:p>
                  </a:txBody>
                  <a:tcPr/>
                </a:tc>
                <a:tc>
                  <a:txBody>
                    <a:bodyPr/>
                    <a:lstStyle/>
                    <a:p>
                      <a:pPr algn="ctr"/>
                      <a:endParaRPr lang="en-US" sz="1000" dirty="0">
                        <a:latin typeface="+mn-lt"/>
                        <a:cs typeface="Arial" panose="020B0604020202020204" pitchFamily="34" charset="0"/>
                      </a:endParaRPr>
                    </a:p>
                  </a:txBody>
                  <a:tcPr/>
                </a:tc>
                <a:tc>
                  <a:txBody>
                    <a:bodyPr/>
                    <a:lstStyle/>
                    <a:p>
                      <a:pPr algn="ctr"/>
                      <a:r>
                        <a:rPr lang="en-US" sz="1000" dirty="0">
                          <a:latin typeface="+mn-lt"/>
                          <a:cs typeface="Arial" panose="020B0604020202020204" pitchFamily="34" charset="0"/>
                        </a:rPr>
                        <a:t>67%</a:t>
                      </a:r>
                    </a:p>
                  </a:txBody>
                  <a:tcPr/>
                </a:tc>
                <a:extLst>
                  <a:ext uri="{0D108BD9-81ED-4DB2-BD59-A6C34878D82A}">
                    <a16:rowId xmlns="" xmlns:a16="http://schemas.microsoft.com/office/drawing/2014/main" val="10009"/>
                  </a:ext>
                </a:extLst>
              </a:tr>
              <a:tr h="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000" dirty="0">
                          <a:solidFill>
                            <a:schemeClr val="accent6">
                              <a:lumMod val="50000"/>
                            </a:schemeClr>
                          </a:solidFill>
                          <a:latin typeface="+mn-lt"/>
                          <a:ea typeface="Times New Roman"/>
                          <a:cs typeface="Arial" panose="020B0604020202020204" pitchFamily="34" charset="0"/>
                        </a:rPr>
                        <a:t>Percent of crop losses ( After harvest, threshing and storage levels):</a:t>
                      </a:r>
                      <a:endParaRPr lang="en-US" sz="1000" dirty="0">
                        <a:solidFill>
                          <a:schemeClr val="accent6">
                            <a:lumMod val="50000"/>
                          </a:schemeClr>
                        </a:solidFill>
                        <a:latin typeface="+mn-lt"/>
                        <a:cs typeface="Arial" panose="020B0604020202020204" pitchFamily="34" charset="0"/>
                      </a:endParaRPr>
                    </a:p>
                  </a:txBody>
                  <a:tcPr/>
                </a:tc>
                <a:tc>
                  <a:txBody>
                    <a:bodyPr/>
                    <a:lstStyle/>
                    <a:p>
                      <a:pPr algn="ctr"/>
                      <a:endParaRPr lang="en-US" sz="1000" dirty="0">
                        <a:latin typeface="+mn-lt"/>
                        <a:cs typeface="Arial" panose="020B0604020202020204" pitchFamily="34" charset="0"/>
                      </a:endParaRPr>
                    </a:p>
                  </a:txBody>
                  <a:tcPr/>
                </a:tc>
                <a:tc>
                  <a:txBody>
                    <a:bodyPr/>
                    <a:lstStyle/>
                    <a:p>
                      <a:pPr algn="ctr"/>
                      <a:endParaRPr lang="en-US" sz="1000" dirty="0">
                        <a:latin typeface="+mn-lt"/>
                        <a:cs typeface="Arial" panose="020B0604020202020204" pitchFamily="34" charset="0"/>
                      </a:endParaRPr>
                    </a:p>
                  </a:txBody>
                  <a:tcPr/>
                </a:tc>
                <a:tc>
                  <a:txBody>
                    <a:bodyPr/>
                    <a:lstStyle/>
                    <a:p>
                      <a:pPr algn="ctr"/>
                      <a:endParaRPr lang="en-US" sz="1000" dirty="0">
                        <a:latin typeface="+mn-lt"/>
                        <a:cs typeface="Arial" panose="020B0604020202020204" pitchFamily="34" charset="0"/>
                      </a:endParaRPr>
                    </a:p>
                  </a:txBody>
                  <a:tcPr/>
                </a:tc>
                <a:tc>
                  <a:txBody>
                    <a:bodyPr/>
                    <a:lstStyle/>
                    <a:p>
                      <a:pPr algn="ctr"/>
                      <a:endParaRPr lang="en-US" sz="1000" dirty="0">
                        <a:latin typeface="+mn-lt"/>
                        <a:cs typeface="Arial" panose="020B0604020202020204" pitchFamily="34" charset="0"/>
                      </a:endParaRPr>
                    </a:p>
                  </a:txBody>
                  <a:tcPr/>
                </a:tc>
                <a:tc>
                  <a:txBody>
                    <a:bodyPr/>
                    <a:lstStyle/>
                    <a:p>
                      <a:pPr algn="ctr"/>
                      <a:endParaRPr lang="en-US" sz="1000" dirty="0">
                        <a:latin typeface="+mn-lt"/>
                        <a:cs typeface="Arial" panose="020B0604020202020204" pitchFamily="34" charset="0"/>
                      </a:endParaRPr>
                    </a:p>
                  </a:txBody>
                  <a:tcPr/>
                </a:tc>
                <a:extLst>
                  <a:ext uri="{0D108BD9-81ED-4DB2-BD59-A6C34878D82A}">
                    <a16:rowId xmlns="" xmlns:a16="http://schemas.microsoft.com/office/drawing/2014/main" val="10010"/>
                  </a:ext>
                </a:extLst>
              </a:tr>
              <a:tr h="0">
                <a:tc>
                  <a:txBody>
                    <a:bodyPr/>
                    <a:lstStyle/>
                    <a:p>
                      <a:pPr marL="466431" marR="0" lvl="1" indent="0" algn="l" defTabSz="932863" rtl="0" eaLnBrk="1" fontAlgn="auto" latinLnBrk="0" hangingPunct="1">
                        <a:lnSpc>
                          <a:spcPct val="100000"/>
                        </a:lnSpc>
                        <a:spcBef>
                          <a:spcPts val="0"/>
                        </a:spcBef>
                        <a:spcAft>
                          <a:spcPts val="0"/>
                        </a:spcAft>
                        <a:buClrTx/>
                        <a:buSzTx/>
                        <a:buFontTx/>
                        <a:buNone/>
                        <a:tabLst/>
                        <a:defRPr/>
                      </a:pPr>
                      <a:r>
                        <a:rPr lang="en-US" sz="1000" dirty="0">
                          <a:solidFill>
                            <a:schemeClr val="accent6">
                              <a:lumMod val="50000"/>
                            </a:schemeClr>
                          </a:solidFill>
                          <a:latin typeface="+mn-lt"/>
                          <a:cs typeface="Arial" panose="020B0604020202020204" pitchFamily="34" charset="0"/>
                        </a:rPr>
                        <a:t>Maize</a:t>
                      </a:r>
                    </a:p>
                  </a:txBody>
                  <a:tcPr/>
                </a:tc>
                <a:tc>
                  <a:txBody>
                    <a:bodyPr/>
                    <a:lstStyle/>
                    <a:p>
                      <a:pPr algn="ctr"/>
                      <a:r>
                        <a:rPr lang="en-US" sz="1000" dirty="0">
                          <a:latin typeface="+mn-lt"/>
                          <a:cs typeface="Arial" panose="020B0604020202020204" pitchFamily="34" charset="0"/>
                        </a:rPr>
                        <a:t>35%</a:t>
                      </a:r>
                    </a:p>
                  </a:txBody>
                  <a:tcPr/>
                </a:tc>
                <a:tc>
                  <a:txBody>
                    <a:bodyPr/>
                    <a:lstStyle/>
                    <a:p>
                      <a:pPr algn="ctr"/>
                      <a:r>
                        <a:rPr lang="en-US" sz="1000" dirty="0">
                          <a:latin typeface="+mn-lt"/>
                          <a:cs typeface="Arial" panose="020B0604020202020204" pitchFamily="34" charset="0"/>
                        </a:rPr>
                        <a:t>33%</a:t>
                      </a:r>
                    </a:p>
                  </a:txBody>
                  <a:tcPr/>
                </a:tc>
                <a:tc>
                  <a:txBody>
                    <a:bodyPr/>
                    <a:lstStyle/>
                    <a:p>
                      <a:pPr algn="ctr"/>
                      <a:r>
                        <a:rPr lang="en-US" sz="1000" dirty="0">
                          <a:latin typeface="+mn-lt"/>
                          <a:cs typeface="Arial" panose="020B0604020202020204" pitchFamily="34" charset="0"/>
                        </a:rPr>
                        <a:t>30%</a:t>
                      </a:r>
                    </a:p>
                  </a:txBody>
                  <a:tcPr/>
                </a:tc>
                <a:tc>
                  <a:txBody>
                    <a:bodyPr/>
                    <a:lstStyle/>
                    <a:p>
                      <a:pPr algn="ctr"/>
                      <a:r>
                        <a:rPr lang="en-US" sz="1000" dirty="0">
                          <a:latin typeface="+mn-lt"/>
                          <a:cs typeface="Arial" panose="020B0604020202020204" pitchFamily="34" charset="0"/>
                        </a:rPr>
                        <a:t>23%</a:t>
                      </a:r>
                    </a:p>
                  </a:txBody>
                  <a:tcPr/>
                </a:tc>
                <a:tc>
                  <a:txBody>
                    <a:bodyPr/>
                    <a:lstStyle/>
                    <a:p>
                      <a:pPr algn="ctr"/>
                      <a:r>
                        <a:rPr lang="en-US" sz="1000" dirty="0">
                          <a:latin typeface="+mn-lt"/>
                          <a:cs typeface="Arial" panose="020B0604020202020204" pitchFamily="34" charset="0"/>
                        </a:rPr>
                        <a:t>18%</a:t>
                      </a:r>
                    </a:p>
                  </a:txBody>
                  <a:tcPr/>
                </a:tc>
                <a:extLst>
                  <a:ext uri="{0D108BD9-81ED-4DB2-BD59-A6C34878D82A}">
                    <a16:rowId xmlns="" xmlns:a16="http://schemas.microsoft.com/office/drawing/2014/main" val="10011"/>
                  </a:ext>
                </a:extLst>
              </a:tr>
              <a:tr h="0">
                <a:tc>
                  <a:txBody>
                    <a:bodyPr/>
                    <a:lstStyle/>
                    <a:p>
                      <a:pPr marL="466431" marR="0" lvl="1" indent="0" algn="l" defTabSz="932863" rtl="0" eaLnBrk="1" fontAlgn="auto" latinLnBrk="0" hangingPunct="1">
                        <a:lnSpc>
                          <a:spcPct val="100000"/>
                        </a:lnSpc>
                        <a:spcBef>
                          <a:spcPts val="0"/>
                        </a:spcBef>
                        <a:spcAft>
                          <a:spcPts val="0"/>
                        </a:spcAft>
                        <a:buClrTx/>
                        <a:buSzTx/>
                        <a:buFontTx/>
                        <a:buNone/>
                        <a:tabLst/>
                        <a:defRPr/>
                      </a:pPr>
                      <a:r>
                        <a:rPr lang="en-US" sz="1000" dirty="0">
                          <a:solidFill>
                            <a:schemeClr val="accent6">
                              <a:lumMod val="50000"/>
                            </a:schemeClr>
                          </a:solidFill>
                          <a:latin typeface="+mn-lt"/>
                          <a:cs typeface="Arial" panose="020B0604020202020204" pitchFamily="34" charset="0"/>
                        </a:rPr>
                        <a:t>Sorghum</a:t>
                      </a:r>
                    </a:p>
                  </a:txBody>
                  <a:tcPr/>
                </a:tc>
                <a:tc>
                  <a:txBody>
                    <a:bodyPr/>
                    <a:lstStyle/>
                    <a:p>
                      <a:pPr algn="ctr"/>
                      <a:r>
                        <a:rPr lang="en-US" sz="1000" dirty="0">
                          <a:latin typeface="+mn-lt"/>
                          <a:cs typeface="Arial" panose="020B0604020202020204" pitchFamily="34" charset="0"/>
                        </a:rPr>
                        <a:t>33%</a:t>
                      </a:r>
                    </a:p>
                  </a:txBody>
                  <a:tcPr/>
                </a:tc>
                <a:tc>
                  <a:txBody>
                    <a:bodyPr/>
                    <a:lstStyle/>
                    <a:p>
                      <a:pPr algn="ctr" fontAlgn="t"/>
                      <a:r>
                        <a:rPr lang="en-GB" sz="1200" b="0" i="0" u="none" strike="noStrike" dirty="0">
                          <a:solidFill>
                            <a:srgbClr val="000000"/>
                          </a:solidFill>
                          <a:effectLst/>
                          <a:latin typeface="+mn-lt"/>
                        </a:rPr>
                        <a:t>33%</a:t>
                      </a:r>
                    </a:p>
                  </a:txBody>
                  <a:tcPr marL="0" marR="0" marT="0" marB="0"/>
                </a:tc>
                <a:tc>
                  <a:txBody>
                    <a:bodyPr/>
                    <a:lstStyle/>
                    <a:p>
                      <a:pPr algn="ctr" fontAlgn="t"/>
                      <a:r>
                        <a:rPr lang="en-GB" sz="1200" b="0" i="0" u="none" strike="noStrike" dirty="0">
                          <a:solidFill>
                            <a:srgbClr val="000000"/>
                          </a:solidFill>
                          <a:effectLst/>
                          <a:latin typeface="+mn-lt"/>
                        </a:rPr>
                        <a:t>30%</a:t>
                      </a:r>
                    </a:p>
                  </a:txBody>
                  <a:tcPr marL="0" marR="0" marT="0" marB="0"/>
                </a:tc>
                <a:tc>
                  <a:txBody>
                    <a:bodyPr/>
                    <a:lstStyle/>
                    <a:p>
                      <a:pPr algn="ctr" fontAlgn="t"/>
                      <a:r>
                        <a:rPr lang="en-GB" sz="1200" b="0" i="0" u="none" strike="noStrike" dirty="0">
                          <a:solidFill>
                            <a:srgbClr val="000000"/>
                          </a:solidFill>
                          <a:effectLst/>
                          <a:latin typeface="+mn-lt"/>
                        </a:rPr>
                        <a:t>23%</a:t>
                      </a:r>
                    </a:p>
                  </a:txBody>
                  <a:tcPr marL="0" marR="0" marT="0" marB="0"/>
                </a:tc>
                <a:tc>
                  <a:txBody>
                    <a:bodyPr/>
                    <a:lstStyle/>
                    <a:p>
                      <a:pPr algn="ctr"/>
                      <a:r>
                        <a:rPr lang="en-US" sz="1000" dirty="0">
                          <a:latin typeface="+mn-lt"/>
                          <a:cs typeface="Arial" panose="020B0604020202020204" pitchFamily="34" charset="0"/>
                        </a:rPr>
                        <a:t>17%</a:t>
                      </a:r>
                    </a:p>
                  </a:txBody>
                  <a:tcPr/>
                </a:tc>
                <a:extLst>
                  <a:ext uri="{0D108BD9-81ED-4DB2-BD59-A6C34878D82A}">
                    <a16:rowId xmlns="" xmlns:a16="http://schemas.microsoft.com/office/drawing/2014/main" val="10012"/>
                  </a:ext>
                </a:extLst>
              </a:tr>
              <a:tr h="0">
                <a:tc>
                  <a:txBody>
                    <a:bodyPr/>
                    <a:lstStyle/>
                    <a:p>
                      <a:pPr marL="466431" marR="0" lvl="1" indent="0" algn="l" defTabSz="932863" rtl="0" eaLnBrk="1" fontAlgn="auto" latinLnBrk="0" hangingPunct="1">
                        <a:lnSpc>
                          <a:spcPct val="100000"/>
                        </a:lnSpc>
                        <a:spcBef>
                          <a:spcPts val="0"/>
                        </a:spcBef>
                        <a:spcAft>
                          <a:spcPts val="0"/>
                        </a:spcAft>
                        <a:buClrTx/>
                        <a:buSzTx/>
                        <a:buFontTx/>
                        <a:buNone/>
                        <a:tabLst/>
                        <a:defRPr/>
                      </a:pPr>
                      <a:r>
                        <a:rPr lang="en-US" sz="1000" dirty="0">
                          <a:solidFill>
                            <a:schemeClr val="accent6">
                              <a:lumMod val="50000"/>
                            </a:schemeClr>
                          </a:solidFill>
                          <a:latin typeface="+mn-lt"/>
                          <a:cs typeface="Arial" panose="020B0604020202020204" pitchFamily="34" charset="0"/>
                        </a:rPr>
                        <a:t>Cowpea</a:t>
                      </a:r>
                    </a:p>
                  </a:txBody>
                  <a:tcPr/>
                </a:tc>
                <a:tc>
                  <a:txBody>
                    <a:bodyPr/>
                    <a:lstStyle/>
                    <a:p>
                      <a:pPr algn="ctr"/>
                      <a:r>
                        <a:rPr lang="en-US" sz="1000" dirty="0">
                          <a:latin typeface="+mn-lt"/>
                          <a:cs typeface="Arial" panose="020B0604020202020204" pitchFamily="34" charset="0"/>
                        </a:rPr>
                        <a:t>32%</a:t>
                      </a:r>
                    </a:p>
                  </a:txBody>
                  <a:tcPr/>
                </a:tc>
                <a:tc>
                  <a:txBody>
                    <a:bodyPr/>
                    <a:lstStyle/>
                    <a:p>
                      <a:pPr algn="ctr" fontAlgn="t"/>
                      <a:r>
                        <a:rPr lang="en-GB" sz="1200" b="0" i="0" u="none" strike="noStrike" dirty="0">
                          <a:solidFill>
                            <a:srgbClr val="000000"/>
                          </a:solidFill>
                          <a:effectLst/>
                          <a:latin typeface="+mn-lt"/>
                        </a:rPr>
                        <a:t>27%</a:t>
                      </a:r>
                    </a:p>
                  </a:txBody>
                  <a:tcPr marL="0" marR="0" marT="0" marB="0"/>
                </a:tc>
                <a:tc>
                  <a:txBody>
                    <a:bodyPr/>
                    <a:lstStyle/>
                    <a:p>
                      <a:pPr algn="ctr" fontAlgn="t"/>
                      <a:r>
                        <a:rPr lang="en-GB" sz="1200" b="0" i="0" u="none" strike="noStrike" dirty="0">
                          <a:solidFill>
                            <a:srgbClr val="000000"/>
                          </a:solidFill>
                          <a:effectLst/>
                          <a:latin typeface="+mn-lt"/>
                        </a:rPr>
                        <a:t>23%</a:t>
                      </a:r>
                    </a:p>
                  </a:txBody>
                  <a:tcPr marL="0" marR="0" marT="0" marB="0"/>
                </a:tc>
                <a:tc>
                  <a:txBody>
                    <a:bodyPr/>
                    <a:lstStyle/>
                    <a:p>
                      <a:pPr algn="ctr" fontAlgn="t"/>
                      <a:r>
                        <a:rPr lang="en-GB" sz="1200" b="0" i="0" u="none" strike="noStrike" dirty="0">
                          <a:solidFill>
                            <a:srgbClr val="000000"/>
                          </a:solidFill>
                          <a:effectLst/>
                          <a:latin typeface="+mn-lt"/>
                        </a:rPr>
                        <a:t>15%</a:t>
                      </a:r>
                    </a:p>
                  </a:txBody>
                  <a:tcPr marL="0" marR="0" marT="0" marB="0"/>
                </a:tc>
                <a:tc>
                  <a:txBody>
                    <a:bodyPr/>
                    <a:lstStyle/>
                    <a:p>
                      <a:pPr algn="ctr" fontAlgn="t"/>
                      <a:r>
                        <a:rPr lang="en-GB" sz="1200" b="0" i="0" u="none" strike="noStrike" dirty="0">
                          <a:solidFill>
                            <a:srgbClr val="000000"/>
                          </a:solidFill>
                          <a:effectLst/>
                          <a:latin typeface="+mn-lt"/>
                        </a:rPr>
                        <a:t>12%</a:t>
                      </a:r>
                    </a:p>
                  </a:txBody>
                  <a:tcPr marL="0" marR="0" marT="0" marB="0"/>
                </a:tc>
                <a:extLst>
                  <a:ext uri="{0D108BD9-81ED-4DB2-BD59-A6C34878D82A}">
                    <a16:rowId xmlns="" xmlns:a16="http://schemas.microsoft.com/office/drawing/2014/main" val="10013"/>
                  </a:ext>
                </a:extLst>
              </a:tr>
              <a:tr h="0">
                <a:tc>
                  <a:txBody>
                    <a:bodyPr/>
                    <a:lstStyle/>
                    <a:p>
                      <a:pPr marL="466431" marR="0" lvl="1" indent="0" algn="l" defTabSz="932863" rtl="0" eaLnBrk="1" fontAlgn="auto" latinLnBrk="0" hangingPunct="1">
                        <a:lnSpc>
                          <a:spcPct val="100000"/>
                        </a:lnSpc>
                        <a:spcBef>
                          <a:spcPts val="0"/>
                        </a:spcBef>
                        <a:spcAft>
                          <a:spcPts val="0"/>
                        </a:spcAft>
                        <a:buClrTx/>
                        <a:buSzTx/>
                        <a:buFontTx/>
                        <a:buNone/>
                        <a:tabLst/>
                        <a:defRPr/>
                      </a:pPr>
                      <a:r>
                        <a:rPr lang="en-US" sz="1000" dirty="0">
                          <a:solidFill>
                            <a:schemeClr val="accent6">
                              <a:lumMod val="50000"/>
                            </a:schemeClr>
                          </a:solidFill>
                          <a:latin typeface="+mn-lt"/>
                          <a:cs typeface="Arial" panose="020B0604020202020204" pitchFamily="34" charset="0"/>
                        </a:rPr>
                        <a:t>Millet</a:t>
                      </a:r>
                    </a:p>
                  </a:txBody>
                  <a:tcPr/>
                </a:tc>
                <a:tc>
                  <a:txBody>
                    <a:bodyPr/>
                    <a:lstStyle/>
                    <a:p>
                      <a:pPr algn="ctr"/>
                      <a:r>
                        <a:rPr lang="en-US" sz="1000" dirty="0">
                          <a:latin typeface="+mn-lt"/>
                          <a:cs typeface="Arial" panose="020B0604020202020204" pitchFamily="34" charset="0"/>
                        </a:rPr>
                        <a:t>30%</a:t>
                      </a:r>
                    </a:p>
                  </a:txBody>
                  <a:tcPr/>
                </a:tc>
                <a:tc>
                  <a:txBody>
                    <a:bodyPr/>
                    <a:lstStyle/>
                    <a:p>
                      <a:pPr algn="ctr" fontAlgn="t"/>
                      <a:r>
                        <a:rPr lang="en-GB" sz="1200" b="0" i="0" u="none" strike="noStrike" dirty="0">
                          <a:solidFill>
                            <a:srgbClr val="000000"/>
                          </a:solidFill>
                          <a:effectLst/>
                          <a:latin typeface="+mn-lt"/>
                        </a:rPr>
                        <a:t>30%</a:t>
                      </a:r>
                    </a:p>
                  </a:txBody>
                  <a:tcPr marL="0" marR="0" marT="0" marB="0"/>
                </a:tc>
                <a:tc>
                  <a:txBody>
                    <a:bodyPr/>
                    <a:lstStyle/>
                    <a:p>
                      <a:pPr algn="ctr" fontAlgn="t"/>
                      <a:r>
                        <a:rPr lang="en-GB" sz="1200" b="0" i="0" u="none" strike="noStrike" dirty="0">
                          <a:solidFill>
                            <a:srgbClr val="000000"/>
                          </a:solidFill>
                          <a:effectLst/>
                          <a:latin typeface="+mn-lt"/>
                        </a:rPr>
                        <a:t>28%</a:t>
                      </a:r>
                    </a:p>
                  </a:txBody>
                  <a:tcPr marL="0" marR="0" marT="0" marB="0"/>
                </a:tc>
                <a:tc>
                  <a:txBody>
                    <a:bodyPr/>
                    <a:lstStyle/>
                    <a:p>
                      <a:pPr algn="ctr" fontAlgn="t"/>
                      <a:r>
                        <a:rPr lang="en-GB" sz="1200" b="0" i="0" u="none" strike="noStrike" dirty="0">
                          <a:solidFill>
                            <a:srgbClr val="000000"/>
                          </a:solidFill>
                          <a:effectLst/>
                          <a:latin typeface="+mn-lt"/>
                        </a:rPr>
                        <a:t>25%</a:t>
                      </a:r>
                    </a:p>
                  </a:txBody>
                  <a:tcPr marL="0" marR="0" marT="0" marB="0"/>
                </a:tc>
                <a:tc>
                  <a:txBody>
                    <a:bodyPr/>
                    <a:lstStyle/>
                    <a:p>
                      <a:pPr algn="ctr" fontAlgn="t"/>
                      <a:r>
                        <a:rPr lang="en-GB" sz="1200" b="0" i="0" u="none" strike="noStrike" dirty="0">
                          <a:solidFill>
                            <a:srgbClr val="000000"/>
                          </a:solidFill>
                          <a:effectLst/>
                          <a:latin typeface="+mn-lt"/>
                        </a:rPr>
                        <a:t>15%</a:t>
                      </a:r>
                    </a:p>
                  </a:txBody>
                  <a:tcPr marL="0" marR="0" marT="0" marB="0"/>
                </a:tc>
                <a:extLst>
                  <a:ext uri="{0D108BD9-81ED-4DB2-BD59-A6C34878D82A}">
                    <a16:rowId xmlns="" xmlns:a16="http://schemas.microsoft.com/office/drawing/2014/main" val="738942281"/>
                  </a:ext>
                </a:extLst>
              </a:tr>
              <a:tr h="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000" dirty="0">
                          <a:solidFill>
                            <a:schemeClr val="accent6">
                              <a:lumMod val="50000"/>
                            </a:schemeClr>
                          </a:solidFill>
                          <a:latin typeface="+mn-lt"/>
                          <a:ea typeface="Times New Roman"/>
                          <a:cs typeface="Arial" panose="020B0604020202020204" pitchFamily="34" charset="0"/>
                        </a:rPr>
                        <a:t>Number of</a:t>
                      </a:r>
                      <a:r>
                        <a:rPr lang="en-US" sz="1000" baseline="0" dirty="0">
                          <a:solidFill>
                            <a:schemeClr val="accent6">
                              <a:lumMod val="50000"/>
                            </a:schemeClr>
                          </a:solidFill>
                          <a:latin typeface="+mn-lt"/>
                          <a:ea typeface="Times New Roman"/>
                          <a:cs typeface="Arial" panose="020B0604020202020204" pitchFamily="34" charset="0"/>
                        </a:rPr>
                        <a:t> new people employed </a:t>
                      </a:r>
                      <a:r>
                        <a:rPr lang="en-US" sz="1000" dirty="0">
                          <a:solidFill>
                            <a:schemeClr val="accent6">
                              <a:lumMod val="50000"/>
                            </a:schemeClr>
                          </a:solidFill>
                          <a:latin typeface="+mn-lt"/>
                          <a:ea typeface="Times New Roman"/>
                          <a:cs typeface="Arial" panose="020B0604020202020204" pitchFamily="34" charset="0"/>
                        </a:rPr>
                        <a:t>by SMEs receiving AGRA support along the focus value chains</a:t>
                      </a:r>
                      <a:r>
                        <a:rPr lang="en-US" sz="1000" dirty="0">
                          <a:solidFill>
                            <a:schemeClr val="accent6">
                              <a:lumMod val="50000"/>
                            </a:schemeClr>
                          </a:solidFill>
                          <a:latin typeface="+mn-lt"/>
                          <a:cs typeface="Arial" panose="020B0604020202020204" pitchFamily="34" charset="0"/>
                        </a:rPr>
                        <a:t>)</a:t>
                      </a:r>
                    </a:p>
                  </a:txBody>
                  <a:tcPr/>
                </a:tc>
                <a:tc>
                  <a:txBody>
                    <a:bodyPr/>
                    <a:lstStyle/>
                    <a:p>
                      <a:pPr marL="0" algn="ctr" defTabSz="932863" rtl="0" eaLnBrk="1" latinLnBrk="0" hangingPunct="1"/>
                      <a:r>
                        <a:rPr lang="en-US" sz="1000" kern="1200" dirty="0">
                          <a:solidFill>
                            <a:schemeClr val="dk1"/>
                          </a:solidFill>
                          <a:latin typeface="+mn-lt"/>
                          <a:ea typeface="+mn-ea"/>
                          <a:cs typeface="Arial" panose="020B0604020202020204" pitchFamily="34" charset="0"/>
                        </a:rPr>
                        <a:t>0</a:t>
                      </a:r>
                    </a:p>
                  </a:txBody>
                  <a:tcPr/>
                </a:tc>
                <a:tc>
                  <a:txBody>
                    <a:bodyPr/>
                    <a:lstStyle/>
                    <a:p>
                      <a:pPr marL="0" algn="ctr" defTabSz="932863" rtl="0" eaLnBrk="1" fontAlgn="t" latinLnBrk="0" hangingPunct="1"/>
                      <a:r>
                        <a:rPr lang="en-GB" sz="1000" kern="1200" dirty="0">
                          <a:solidFill>
                            <a:schemeClr val="dk1"/>
                          </a:solidFill>
                          <a:latin typeface="+mn-lt"/>
                          <a:ea typeface="+mn-ea"/>
                          <a:cs typeface="Arial" panose="020B0604020202020204" pitchFamily="34" charset="0"/>
                        </a:rPr>
                        <a:t>330</a:t>
                      </a:r>
                    </a:p>
                  </a:txBody>
                  <a:tcPr marL="0" marR="0" marT="0" marB="0"/>
                </a:tc>
                <a:tc>
                  <a:txBody>
                    <a:bodyPr/>
                    <a:lstStyle/>
                    <a:p>
                      <a:pPr marL="0" algn="ctr" defTabSz="932863" rtl="0" eaLnBrk="1" fontAlgn="t" latinLnBrk="0" hangingPunct="1"/>
                      <a:r>
                        <a:rPr lang="en-GB" sz="1000" kern="1200" dirty="0">
                          <a:solidFill>
                            <a:schemeClr val="dk1"/>
                          </a:solidFill>
                          <a:latin typeface="+mn-lt"/>
                          <a:ea typeface="+mn-ea"/>
                          <a:cs typeface="Arial" panose="020B0604020202020204" pitchFamily="34" charset="0"/>
                        </a:rPr>
                        <a:t>260</a:t>
                      </a:r>
                    </a:p>
                  </a:txBody>
                  <a:tcPr marL="0" marR="0" marT="0" marB="0"/>
                </a:tc>
                <a:tc>
                  <a:txBody>
                    <a:bodyPr/>
                    <a:lstStyle/>
                    <a:p>
                      <a:pPr marL="0" algn="ctr" defTabSz="932863" rtl="0" eaLnBrk="1" fontAlgn="t" latinLnBrk="0" hangingPunct="1"/>
                      <a:r>
                        <a:rPr lang="en-GB" sz="1000" kern="1200" dirty="0">
                          <a:solidFill>
                            <a:schemeClr val="dk1"/>
                          </a:solidFill>
                          <a:latin typeface="+mn-lt"/>
                          <a:ea typeface="+mn-ea"/>
                          <a:cs typeface="Arial" panose="020B0604020202020204" pitchFamily="34" charset="0"/>
                        </a:rPr>
                        <a:t>124</a:t>
                      </a:r>
                    </a:p>
                  </a:txBody>
                  <a:tcPr marL="0" marR="0" marT="0" marB="0"/>
                </a:tc>
                <a:tc>
                  <a:txBody>
                    <a:bodyPr/>
                    <a:lstStyle/>
                    <a:p>
                      <a:pPr marL="0" algn="ctr" defTabSz="932863" rtl="0" eaLnBrk="1" fontAlgn="t" latinLnBrk="0" hangingPunct="1"/>
                      <a:r>
                        <a:rPr lang="en-GB" sz="1000" kern="1200" dirty="0">
                          <a:solidFill>
                            <a:schemeClr val="dk1"/>
                          </a:solidFill>
                          <a:latin typeface="+mn-lt"/>
                          <a:ea typeface="+mn-ea"/>
                          <a:cs typeface="Arial" panose="020B0604020202020204" pitchFamily="34" charset="0"/>
                        </a:rPr>
                        <a:t>0</a:t>
                      </a:r>
                    </a:p>
                  </a:txBody>
                  <a:tcPr marL="0" marR="0" marT="0" marB="0"/>
                </a:tc>
                <a:extLst>
                  <a:ext uri="{0D108BD9-81ED-4DB2-BD59-A6C34878D82A}">
                    <a16:rowId xmlns="" xmlns:a16="http://schemas.microsoft.com/office/drawing/2014/main" val="10014"/>
                  </a:ext>
                </a:extLst>
              </a:tr>
              <a:tr h="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000" dirty="0">
                          <a:solidFill>
                            <a:schemeClr val="accent6">
                              <a:lumMod val="50000"/>
                            </a:schemeClr>
                          </a:solidFill>
                          <a:latin typeface="+mn-lt"/>
                          <a:ea typeface="Times New Roman"/>
                          <a:cs typeface="Arial" panose="020B0604020202020204" pitchFamily="34" charset="0"/>
                        </a:rPr>
                        <a:t>Percent of total household produce sold through structured market facilities/arrangements</a:t>
                      </a:r>
                      <a:r>
                        <a:rPr lang="en-US" sz="1000" dirty="0">
                          <a:solidFill>
                            <a:schemeClr val="accent6">
                              <a:lumMod val="50000"/>
                            </a:schemeClr>
                          </a:solidFill>
                          <a:latin typeface="+mn-lt"/>
                          <a:cs typeface="Arial" panose="020B0604020202020204" pitchFamily="34" charset="0"/>
                        </a:rPr>
                        <a:t>)</a:t>
                      </a:r>
                    </a:p>
                  </a:txBody>
                  <a:tcPr/>
                </a:tc>
                <a:tc>
                  <a:txBody>
                    <a:bodyPr/>
                    <a:lstStyle/>
                    <a:p>
                      <a:pPr algn="ctr"/>
                      <a:r>
                        <a:rPr lang="en-US" sz="1000" dirty="0">
                          <a:latin typeface="+mn-lt"/>
                          <a:cs typeface="Arial" panose="020B0604020202020204" pitchFamily="34" charset="0"/>
                        </a:rPr>
                        <a:t>35%</a:t>
                      </a:r>
                    </a:p>
                  </a:txBody>
                  <a:tcPr/>
                </a:tc>
                <a:tc>
                  <a:txBody>
                    <a:bodyPr/>
                    <a:lstStyle/>
                    <a:p>
                      <a:pPr algn="ctr"/>
                      <a:r>
                        <a:rPr lang="en-US" sz="1000" dirty="0">
                          <a:solidFill>
                            <a:schemeClr val="tx1"/>
                          </a:solidFill>
                          <a:latin typeface="+mn-lt"/>
                          <a:cs typeface="Arial" panose="020B0604020202020204" pitchFamily="34" charset="0"/>
                        </a:rPr>
                        <a:t>40%</a:t>
                      </a:r>
                    </a:p>
                  </a:txBody>
                  <a:tcPr/>
                </a:tc>
                <a:tc>
                  <a:txBody>
                    <a:bodyPr/>
                    <a:lstStyle/>
                    <a:p>
                      <a:pPr algn="ctr"/>
                      <a:r>
                        <a:rPr lang="en-US" sz="1000" dirty="0">
                          <a:solidFill>
                            <a:schemeClr val="tx1"/>
                          </a:solidFill>
                          <a:latin typeface="+mn-lt"/>
                          <a:cs typeface="Arial" panose="020B0604020202020204" pitchFamily="34" charset="0"/>
                        </a:rPr>
                        <a:t>45%</a:t>
                      </a:r>
                    </a:p>
                  </a:txBody>
                  <a:tcPr/>
                </a:tc>
                <a:tc>
                  <a:txBody>
                    <a:bodyPr/>
                    <a:lstStyle/>
                    <a:p>
                      <a:pPr algn="ctr"/>
                      <a:r>
                        <a:rPr lang="en-US" sz="1000" dirty="0">
                          <a:solidFill>
                            <a:schemeClr val="tx1"/>
                          </a:solidFill>
                          <a:latin typeface="+mn-lt"/>
                          <a:cs typeface="Arial" panose="020B0604020202020204" pitchFamily="34" charset="0"/>
                        </a:rPr>
                        <a:t>50%</a:t>
                      </a:r>
                    </a:p>
                  </a:txBody>
                  <a:tcPr/>
                </a:tc>
                <a:tc>
                  <a:txBody>
                    <a:bodyPr/>
                    <a:lstStyle/>
                    <a:p>
                      <a:pPr algn="ctr"/>
                      <a:r>
                        <a:rPr lang="en-US" sz="1000" dirty="0">
                          <a:solidFill>
                            <a:schemeClr val="tx1"/>
                          </a:solidFill>
                          <a:latin typeface="+mn-lt"/>
                          <a:cs typeface="Arial" panose="020B0604020202020204" pitchFamily="34" charset="0"/>
                        </a:rPr>
                        <a:t>60%</a:t>
                      </a:r>
                    </a:p>
                  </a:txBody>
                  <a:tcPr/>
                </a:tc>
                <a:extLst>
                  <a:ext uri="{0D108BD9-81ED-4DB2-BD59-A6C34878D82A}">
                    <a16:rowId xmlns="" xmlns:a16="http://schemas.microsoft.com/office/drawing/2014/main" val="10015"/>
                  </a:ext>
                </a:extLst>
              </a:tr>
              <a:tr h="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000" dirty="0">
                          <a:solidFill>
                            <a:schemeClr val="accent6">
                              <a:lumMod val="50000"/>
                            </a:schemeClr>
                          </a:solidFill>
                          <a:latin typeface="+mn-lt"/>
                          <a:ea typeface="Times New Roman"/>
                          <a:cs typeface="Arial" panose="020B0604020202020204" pitchFamily="34" charset="0"/>
                        </a:rPr>
                        <a:t>Percent of loan/risk facilities directed to agricultural activities/SMEs in target financial/risk providers</a:t>
                      </a:r>
                      <a:endParaRPr lang="en-US" sz="1000" dirty="0">
                        <a:solidFill>
                          <a:schemeClr val="accent6">
                            <a:lumMod val="50000"/>
                          </a:schemeClr>
                        </a:solidFill>
                        <a:latin typeface="+mn-lt"/>
                        <a:cs typeface="Arial" panose="020B0604020202020204" pitchFamily="34" charset="0"/>
                      </a:endParaRPr>
                    </a:p>
                  </a:txBody>
                  <a:tcPr/>
                </a:tc>
                <a:tc>
                  <a:txBody>
                    <a:bodyPr/>
                    <a:lstStyle/>
                    <a:p>
                      <a:pPr algn="ctr"/>
                      <a:r>
                        <a:rPr lang="en-US" sz="1000" dirty="0">
                          <a:latin typeface="+mn-lt"/>
                          <a:cs typeface="Arial" panose="020B0604020202020204" pitchFamily="34" charset="0"/>
                        </a:rPr>
                        <a:t>5%</a:t>
                      </a:r>
                    </a:p>
                  </a:txBody>
                  <a:tcPr/>
                </a:tc>
                <a:tc>
                  <a:txBody>
                    <a:bodyPr/>
                    <a:lstStyle/>
                    <a:p>
                      <a:pPr algn="ctr"/>
                      <a:r>
                        <a:rPr lang="en-US" sz="1000" dirty="0">
                          <a:latin typeface="+mn-lt"/>
                          <a:cs typeface="Arial" panose="020B0604020202020204" pitchFamily="34" charset="0"/>
                        </a:rPr>
                        <a:t>6%</a:t>
                      </a:r>
                    </a:p>
                  </a:txBody>
                  <a:tcPr/>
                </a:tc>
                <a:tc>
                  <a:txBody>
                    <a:bodyPr/>
                    <a:lstStyle/>
                    <a:p>
                      <a:pPr algn="ctr"/>
                      <a:r>
                        <a:rPr lang="en-US" sz="1000" dirty="0">
                          <a:latin typeface="+mn-lt"/>
                          <a:cs typeface="Arial" panose="020B0604020202020204" pitchFamily="34" charset="0"/>
                        </a:rPr>
                        <a:t>7%</a:t>
                      </a:r>
                    </a:p>
                  </a:txBody>
                  <a:tcPr/>
                </a:tc>
                <a:tc>
                  <a:txBody>
                    <a:bodyPr/>
                    <a:lstStyle/>
                    <a:p>
                      <a:pPr algn="ctr"/>
                      <a:r>
                        <a:rPr lang="en-US" sz="1000" dirty="0">
                          <a:latin typeface="+mn-lt"/>
                          <a:cs typeface="Arial" panose="020B0604020202020204" pitchFamily="34" charset="0"/>
                        </a:rPr>
                        <a:t>8%</a:t>
                      </a:r>
                    </a:p>
                  </a:txBody>
                  <a:tcPr/>
                </a:tc>
                <a:tc>
                  <a:txBody>
                    <a:bodyPr/>
                    <a:lstStyle/>
                    <a:p>
                      <a:pPr algn="ctr"/>
                      <a:r>
                        <a:rPr lang="en-US" sz="1000" dirty="0">
                          <a:latin typeface="+mn-lt"/>
                          <a:cs typeface="Arial" panose="020B0604020202020204" pitchFamily="34" charset="0"/>
                        </a:rPr>
                        <a:t>10%</a:t>
                      </a:r>
                    </a:p>
                  </a:txBody>
                  <a:tcPr/>
                </a:tc>
                <a:extLst>
                  <a:ext uri="{0D108BD9-81ED-4DB2-BD59-A6C34878D82A}">
                    <a16:rowId xmlns="" xmlns:a16="http://schemas.microsoft.com/office/drawing/2014/main" val="10016"/>
                  </a:ext>
                </a:extLst>
              </a:tr>
            </a:tbl>
          </a:graphicData>
        </a:graphic>
      </p:graphicFrame>
      <p:sp>
        <p:nvSpPr>
          <p:cNvPr id="9" name="Title 1"/>
          <p:cNvSpPr txBox="1">
            <a:spLocks/>
          </p:cNvSpPr>
          <p:nvPr/>
        </p:nvSpPr>
        <p:spPr bwMode="auto">
          <a:xfrm>
            <a:off x="223252" y="788090"/>
            <a:ext cx="8155745" cy="305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algn="l" defTabSz="913429" rtl="0" eaLnBrk="1" fontAlgn="base" hangingPunct="1">
              <a:spcBef>
                <a:spcPct val="0"/>
              </a:spcBef>
              <a:spcAft>
                <a:spcPct val="0"/>
              </a:spcAft>
              <a:tabLst>
                <a:tab pos="275324" algn="l"/>
              </a:tabLst>
              <a:defRPr sz="19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sz="1100" b="0" dirty="0">
                <a:solidFill>
                  <a:srgbClr val="000000"/>
                </a:solidFill>
                <a:cs typeface="Arial" panose="020B0604020202020204" pitchFamily="34" charset="0"/>
              </a:rPr>
              <a:t>AGRA is tracking 73 indicators across its strategy and at country level, but a version of the following dashboard will be tracked for ongoing management and summary reports:</a:t>
            </a:r>
          </a:p>
        </p:txBody>
      </p:sp>
    </p:spTree>
    <p:extLst>
      <p:ext uri="{BB962C8B-B14F-4D97-AF65-F5344CB8AC3E}">
        <p14:creationId xmlns:p14="http://schemas.microsoft.com/office/powerpoint/2010/main" val="19793713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gn="ctr"/>
            <a:r>
              <a:rPr lang="en-US" sz="4000" dirty="0"/>
              <a:t>Executive Summary </a:t>
            </a:r>
          </a:p>
        </p:txBody>
      </p:sp>
    </p:spTree>
    <p:extLst>
      <p:ext uri="{BB962C8B-B14F-4D97-AF65-F5344CB8AC3E}">
        <p14:creationId xmlns:p14="http://schemas.microsoft.com/office/powerpoint/2010/main" val="198416072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1567" name="think-cell Slide" r:id="rId5" imgW="470" imgH="469" progId="TCLayout.ActiveDocument.1">
                  <p:embed/>
                </p:oleObj>
              </mc:Choice>
              <mc:Fallback>
                <p:oleObj name="think-cell Slide" r:id="rId5" imgW="470" imgH="469"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900" b="1" dirty="0">
              <a:solidFill>
                <a:srgbClr val="000000"/>
              </a:solidFill>
              <a:sym typeface="Arial" panose="020B0604020202020204" pitchFamily="34" charset="0"/>
            </a:endParaRPr>
          </a:p>
        </p:txBody>
      </p:sp>
      <p:graphicFrame>
        <p:nvGraphicFramePr>
          <p:cNvPr id="3" name="Table 2"/>
          <p:cNvGraphicFramePr>
            <a:graphicFrameLocks noGrp="1"/>
          </p:cNvGraphicFramePr>
          <p:nvPr/>
        </p:nvGraphicFramePr>
        <p:xfrm>
          <a:off x="609600" y="980728"/>
          <a:ext cx="8595360" cy="3855720"/>
        </p:xfrm>
        <a:graphic>
          <a:graphicData uri="http://schemas.openxmlformats.org/drawingml/2006/table">
            <a:tbl>
              <a:tblPr firstRow="1" bandRow="1">
                <a:tableStyleId>{5C22544A-7EE6-4342-B048-85BDC9FD1C3A}</a:tableStyleId>
              </a:tblPr>
              <a:tblGrid>
                <a:gridCol w="4480560">
                  <a:extLst>
                    <a:ext uri="{9D8B030D-6E8A-4147-A177-3AD203B41FA5}">
                      <a16:colId xmlns="" xmlns:a16="http://schemas.microsoft.com/office/drawing/2014/main" val="20000"/>
                    </a:ext>
                  </a:extLst>
                </a:gridCol>
                <a:gridCol w="822960">
                  <a:extLst>
                    <a:ext uri="{9D8B030D-6E8A-4147-A177-3AD203B41FA5}">
                      <a16:colId xmlns="" xmlns:a16="http://schemas.microsoft.com/office/drawing/2014/main" val="20001"/>
                    </a:ext>
                  </a:extLst>
                </a:gridCol>
                <a:gridCol w="822960">
                  <a:extLst>
                    <a:ext uri="{9D8B030D-6E8A-4147-A177-3AD203B41FA5}">
                      <a16:colId xmlns="" xmlns:a16="http://schemas.microsoft.com/office/drawing/2014/main" val="20002"/>
                    </a:ext>
                  </a:extLst>
                </a:gridCol>
                <a:gridCol w="822960">
                  <a:extLst>
                    <a:ext uri="{9D8B030D-6E8A-4147-A177-3AD203B41FA5}">
                      <a16:colId xmlns="" xmlns:a16="http://schemas.microsoft.com/office/drawing/2014/main" val="20003"/>
                    </a:ext>
                  </a:extLst>
                </a:gridCol>
                <a:gridCol w="822960">
                  <a:extLst>
                    <a:ext uri="{9D8B030D-6E8A-4147-A177-3AD203B41FA5}">
                      <a16:colId xmlns="" xmlns:a16="http://schemas.microsoft.com/office/drawing/2014/main" val="20004"/>
                    </a:ext>
                  </a:extLst>
                </a:gridCol>
                <a:gridCol w="822960">
                  <a:extLst>
                    <a:ext uri="{9D8B030D-6E8A-4147-A177-3AD203B41FA5}">
                      <a16:colId xmlns="" xmlns:a16="http://schemas.microsoft.com/office/drawing/2014/main" val="20005"/>
                    </a:ext>
                  </a:extLst>
                </a:gridCol>
              </a:tblGrid>
              <a:tr h="138688">
                <a:tc>
                  <a:txBody>
                    <a:bodyPr/>
                    <a:lstStyle/>
                    <a:p>
                      <a:endParaRPr lang="en-US" sz="1050" dirty="0">
                        <a:solidFill>
                          <a:schemeClr val="tx1"/>
                        </a:solidFill>
                        <a:latin typeface="Arial" panose="020B0604020202020204" pitchFamily="34" charset="0"/>
                        <a:cs typeface="Arial" panose="020B0604020202020204" pitchFamily="34" charset="0"/>
                      </a:endParaRPr>
                    </a:p>
                  </a:txBody>
                  <a:tcPr>
                    <a:solidFill>
                      <a:schemeClr val="accent2"/>
                    </a:solidFill>
                  </a:tcPr>
                </a:tc>
                <a:tc>
                  <a:txBody>
                    <a:bodyPr/>
                    <a:lstStyle/>
                    <a:p>
                      <a:r>
                        <a:rPr lang="en-US" sz="1050" dirty="0">
                          <a:solidFill>
                            <a:schemeClr val="tx1"/>
                          </a:solidFill>
                          <a:latin typeface="Arial" panose="020B0604020202020204" pitchFamily="34" charset="0"/>
                          <a:cs typeface="Arial" panose="020B0604020202020204" pitchFamily="34" charset="0"/>
                        </a:rPr>
                        <a:t>Baseline</a:t>
                      </a:r>
                    </a:p>
                    <a:p>
                      <a:r>
                        <a:rPr lang="en-US" sz="1050" dirty="0">
                          <a:solidFill>
                            <a:schemeClr val="tx1"/>
                          </a:solidFill>
                          <a:latin typeface="Arial" panose="020B0604020202020204" pitchFamily="34" charset="0"/>
                          <a:cs typeface="Arial" panose="020B0604020202020204" pitchFamily="34" charset="0"/>
                        </a:rPr>
                        <a:t>2017</a:t>
                      </a:r>
                    </a:p>
                  </a:txBody>
                  <a:tcPr>
                    <a:solidFill>
                      <a:schemeClr val="accent2"/>
                    </a:solidFill>
                  </a:tcPr>
                </a:tc>
                <a:tc>
                  <a:txBody>
                    <a:bodyPr/>
                    <a:lstStyle/>
                    <a:p>
                      <a:r>
                        <a:rPr lang="en-US" sz="1050" dirty="0">
                          <a:solidFill>
                            <a:schemeClr val="tx1"/>
                          </a:solidFill>
                          <a:latin typeface="Arial" panose="020B0604020202020204" pitchFamily="34" charset="0"/>
                          <a:cs typeface="Arial" panose="020B0604020202020204" pitchFamily="34" charset="0"/>
                        </a:rPr>
                        <a:t>2018</a:t>
                      </a:r>
                      <a:r>
                        <a:rPr lang="en-US" sz="1050" baseline="0" dirty="0">
                          <a:solidFill>
                            <a:schemeClr val="tx1"/>
                          </a:solidFill>
                          <a:latin typeface="Arial" panose="020B0604020202020204" pitchFamily="34" charset="0"/>
                          <a:cs typeface="Arial" panose="020B0604020202020204" pitchFamily="34" charset="0"/>
                        </a:rPr>
                        <a:t> Target</a:t>
                      </a:r>
                      <a:endParaRPr lang="en-US" sz="1050" dirty="0">
                        <a:solidFill>
                          <a:schemeClr val="tx1"/>
                        </a:solidFill>
                        <a:latin typeface="Arial" panose="020B0604020202020204" pitchFamily="34" charset="0"/>
                        <a:cs typeface="Arial" panose="020B0604020202020204" pitchFamily="34" charset="0"/>
                      </a:endParaRPr>
                    </a:p>
                  </a:txBody>
                  <a:tcPr>
                    <a:solidFill>
                      <a:schemeClr val="accent2"/>
                    </a:solidFill>
                  </a:tcPr>
                </a:tc>
                <a:tc>
                  <a:txBody>
                    <a:bodyPr/>
                    <a:lstStyle/>
                    <a:p>
                      <a:r>
                        <a:rPr lang="en-US" sz="1050" dirty="0">
                          <a:solidFill>
                            <a:schemeClr val="tx1"/>
                          </a:solidFill>
                          <a:latin typeface="Arial" panose="020B0604020202020204" pitchFamily="34" charset="0"/>
                          <a:cs typeface="Arial" panose="020B0604020202020204" pitchFamily="34" charset="0"/>
                        </a:rPr>
                        <a:t>2019 Target</a:t>
                      </a:r>
                    </a:p>
                  </a:txBody>
                  <a:tcPr>
                    <a:solidFill>
                      <a:schemeClr val="accent2"/>
                    </a:solidFill>
                  </a:tcPr>
                </a:tc>
                <a:tc>
                  <a:txBody>
                    <a:bodyPr/>
                    <a:lstStyle/>
                    <a:p>
                      <a:r>
                        <a:rPr lang="en-US" sz="1050" dirty="0">
                          <a:solidFill>
                            <a:schemeClr val="tx1"/>
                          </a:solidFill>
                          <a:latin typeface="Arial" panose="020B0604020202020204" pitchFamily="34" charset="0"/>
                          <a:cs typeface="Arial" panose="020B0604020202020204" pitchFamily="34" charset="0"/>
                        </a:rPr>
                        <a:t>2020 Target</a:t>
                      </a:r>
                    </a:p>
                  </a:txBody>
                  <a:tcPr>
                    <a:solidFill>
                      <a:schemeClr val="accent2"/>
                    </a:solidFill>
                  </a:tcPr>
                </a:tc>
                <a:tc>
                  <a:txBody>
                    <a:bodyPr/>
                    <a:lstStyle/>
                    <a:p>
                      <a:r>
                        <a:rPr lang="en-US" sz="1050" dirty="0">
                          <a:solidFill>
                            <a:schemeClr val="tx1"/>
                          </a:solidFill>
                          <a:latin typeface="Arial" panose="020B0604020202020204" pitchFamily="34" charset="0"/>
                          <a:cs typeface="Arial" panose="020B0604020202020204" pitchFamily="34" charset="0"/>
                        </a:rPr>
                        <a:t>2021 Target </a:t>
                      </a:r>
                    </a:p>
                  </a:txBody>
                  <a:tcPr>
                    <a:solidFill>
                      <a:schemeClr val="accent2"/>
                    </a:solidFill>
                  </a:tcPr>
                </a:tc>
                <a:extLst>
                  <a:ext uri="{0D108BD9-81ED-4DB2-BD59-A6C34878D82A}">
                    <a16:rowId xmlns="" xmlns:a16="http://schemas.microsoft.com/office/drawing/2014/main" val="10000"/>
                  </a:ext>
                </a:extLst>
              </a:tr>
              <a:tr h="0">
                <a:tc>
                  <a:txBody>
                    <a:bodyPr/>
                    <a:lstStyle/>
                    <a:p>
                      <a:pPr fontAlgn="base">
                        <a:spcBef>
                          <a:spcPct val="0"/>
                        </a:spcBef>
                        <a:spcAft>
                          <a:spcPct val="0"/>
                        </a:spcAft>
                        <a:buClr>
                          <a:srgbClr val="000000"/>
                        </a:buClr>
                      </a:pPr>
                      <a:r>
                        <a:rPr lang="en-US" sz="1000" dirty="0">
                          <a:solidFill>
                            <a:schemeClr val="tx1"/>
                          </a:solidFill>
                          <a:latin typeface="Arial" panose="020B0604020202020204" pitchFamily="34" charset="0"/>
                          <a:cs typeface="Arial" panose="020B0604020202020204" pitchFamily="34" charset="0"/>
                        </a:rPr>
                        <a:t>Quantity (MT) of fertilizer blends produced by local fertilizer producers supported by AGRA</a:t>
                      </a:r>
                    </a:p>
                  </a:txBody>
                  <a:tcPr/>
                </a:tc>
                <a:tc>
                  <a:txBody>
                    <a:bodyPr/>
                    <a:lstStyle/>
                    <a:p>
                      <a:pPr algn="ctr"/>
                      <a:r>
                        <a:rPr lang="en-US" sz="1000" dirty="0">
                          <a:solidFill>
                            <a:schemeClr val="tx1"/>
                          </a:solidFill>
                          <a:latin typeface="Arial" panose="020B0604020202020204" pitchFamily="34" charset="0"/>
                          <a:cs typeface="Arial" panose="020B0604020202020204" pitchFamily="34" charset="0"/>
                        </a:rPr>
                        <a:t>0</a:t>
                      </a:r>
                    </a:p>
                  </a:txBody>
                  <a:tcPr/>
                </a:tc>
                <a:tc>
                  <a:txBody>
                    <a:bodyPr/>
                    <a:lstStyle/>
                    <a:p>
                      <a:pPr algn="ctr"/>
                      <a:r>
                        <a:rPr lang="en-US" sz="1000" dirty="0">
                          <a:solidFill>
                            <a:schemeClr val="tx1"/>
                          </a:solidFill>
                          <a:latin typeface="Arial" panose="020B0604020202020204" pitchFamily="34" charset="0"/>
                          <a:cs typeface="Arial" panose="020B0604020202020204" pitchFamily="34" charset="0"/>
                        </a:rPr>
                        <a:t>0</a:t>
                      </a:r>
                    </a:p>
                  </a:txBody>
                  <a:tcPr/>
                </a:tc>
                <a:tc>
                  <a:txBody>
                    <a:bodyPr/>
                    <a:lstStyle/>
                    <a:p>
                      <a:pPr algn="ctr"/>
                      <a:r>
                        <a:rPr lang="en-US" sz="1000" dirty="0">
                          <a:solidFill>
                            <a:schemeClr val="tx1"/>
                          </a:solidFill>
                          <a:latin typeface="Arial" panose="020B0604020202020204" pitchFamily="34" charset="0"/>
                          <a:cs typeface="Arial" panose="020B0604020202020204" pitchFamily="34" charset="0"/>
                        </a:rPr>
                        <a:t>0</a:t>
                      </a:r>
                    </a:p>
                  </a:txBody>
                  <a:tcPr/>
                </a:tc>
                <a:tc>
                  <a:txBody>
                    <a:bodyPr/>
                    <a:lstStyle/>
                    <a:p>
                      <a:pPr algn="ctr"/>
                      <a:r>
                        <a:rPr lang="en-US" sz="1000" dirty="0">
                          <a:solidFill>
                            <a:schemeClr val="tx1"/>
                          </a:solidFill>
                          <a:latin typeface="Arial" panose="020B0604020202020204" pitchFamily="34" charset="0"/>
                          <a:cs typeface="Arial" panose="020B0604020202020204" pitchFamily="34" charset="0"/>
                        </a:rPr>
                        <a:t>3,000</a:t>
                      </a:r>
                    </a:p>
                  </a:txBody>
                  <a:tcPr/>
                </a:tc>
                <a:tc>
                  <a:txBody>
                    <a:bodyPr/>
                    <a:lstStyle/>
                    <a:p>
                      <a:pPr algn="ctr"/>
                      <a:r>
                        <a:rPr lang="en-US" sz="1000" dirty="0">
                          <a:solidFill>
                            <a:schemeClr val="tx1"/>
                          </a:solidFill>
                          <a:latin typeface="Arial" panose="020B0604020202020204" pitchFamily="34" charset="0"/>
                          <a:cs typeface="Arial" panose="020B0604020202020204" pitchFamily="34" charset="0"/>
                        </a:rPr>
                        <a:t>3,000</a:t>
                      </a:r>
                    </a:p>
                  </a:txBody>
                  <a:tcPr/>
                </a:tc>
                <a:extLst>
                  <a:ext uri="{0D108BD9-81ED-4DB2-BD59-A6C34878D82A}">
                    <a16:rowId xmlns="" xmlns:a16="http://schemas.microsoft.com/office/drawing/2014/main" val="10001"/>
                  </a:ext>
                </a:extLst>
              </a:tr>
              <a:tr h="0">
                <a:tc>
                  <a:txBody>
                    <a:bodyPr/>
                    <a:lstStyle/>
                    <a:p>
                      <a:pPr fontAlgn="base">
                        <a:spcBef>
                          <a:spcPct val="0"/>
                        </a:spcBef>
                        <a:spcAft>
                          <a:spcPct val="0"/>
                        </a:spcAft>
                        <a:buClr>
                          <a:srgbClr val="000000"/>
                        </a:buClr>
                      </a:pPr>
                      <a:r>
                        <a:rPr lang="en-US" sz="1000" dirty="0">
                          <a:solidFill>
                            <a:schemeClr val="tx1"/>
                          </a:solidFill>
                          <a:latin typeface="Arial" panose="020B0604020202020204" pitchFamily="34" charset="0"/>
                          <a:ea typeface="Times New Roman"/>
                          <a:cs typeface="Arial" panose="020B0604020202020204" pitchFamily="34" charset="0"/>
                        </a:rPr>
                        <a:t>Percent of households using target certified seed of improved varieties, fertilizer blends and other improved productivity technologies or management practices</a:t>
                      </a:r>
                    </a:p>
                  </a:txBody>
                  <a:tcPr/>
                </a:tc>
                <a:tc>
                  <a:txBody>
                    <a:bodyPr/>
                    <a:lstStyle/>
                    <a:p>
                      <a:pPr algn="ctr"/>
                      <a:r>
                        <a:rPr lang="en-US" sz="1000" dirty="0">
                          <a:solidFill>
                            <a:schemeClr val="tx1"/>
                          </a:solidFill>
                          <a:latin typeface="Arial" panose="020B0604020202020204" pitchFamily="34" charset="0"/>
                          <a:cs typeface="Arial" panose="020B0604020202020204" pitchFamily="34" charset="0"/>
                        </a:rPr>
                        <a:t>42.3%</a:t>
                      </a:r>
                    </a:p>
                  </a:txBody>
                  <a:tcPr/>
                </a:tc>
                <a:tc>
                  <a:txBody>
                    <a:bodyPr/>
                    <a:lstStyle/>
                    <a:p>
                      <a:pPr algn="ctr"/>
                      <a:endParaRPr lang="en-US" sz="10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000" dirty="0">
                          <a:solidFill>
                            <a:schemeClr val="tx1"/>
                          </a:solidFill>
                          <a:latin typeface="Arial" panose="020B0604020202020204" pitchFamily="34" charset="0"/>
                          <a:cs typeface="Arial" panose="020B0604020202020204" pitchFamily="34" charset="0"/>
                        </a:rPr>
                        <a:t>50%</a:t>
                      </a:r>
                    </a:p>
                  </a:txBody>
                  <a:tcPr/>
                </a:tc>
                <a:tc>
                  <a:txBody>
                    <a:bodyPr/>
                    <a:lstStyle/>
                    <a:p>
                      <a:pPr algn="ctr"/>
                      <a:endParaRPr lang="en-US" sz="10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000" dirty="0">
                          <a:solidFill>
                            <a:schemeClr val="tx1"/>
                          </a:solidFill>
                          <a:latin typeface="Arial" panose="020B0604020202020204" pitchFamily="34" charset="0"/>
                          <a:cs typeface="Arial" panose="020B0604020202020204" pitchFamily="34" charset="0"/>
                        </a:rPr>
                        <a:t>67%</a:t>
                      </a:r>
                    </a:p>
                  </a:txBody>
                  <a:tcPr/>
                </a:tc>
                <a:extLst>
                  <a:ext uri="{0D108BD9-81ED-4DB2-BD59-A6C34878D82A}">
                    <a16:rowId xmlns="" xmlns:a16="http://schemas.microsoft.com/office/drawing/2014/main" val="10002"/>
                  </a:ext>
                </a:extLst>
              </a:tr>
              <a:tr h="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Arial" panose="020B0604020202020204" pitchFamily="34" charset="0"/>
                          <a:cs typeface="Arial" panose="020B0604020202020204" pitchFamily="34" charset="0"/>
                        </a:rPr>
                        <a:t>Cubic meter of storage space developed or refurbished /rehabilitated</a:t>
                      </a:r>
                    </a:p>
                  </a:txBody>
                  <a:tcPr/>
                </a:tc>
                <a:tc>
                  <a:txBody>
                    <a:bodyPr/>
                    <a:lstStyle/>
                    <a:p>
                      <a:pPr algn="ctr"/>
                      <a:endParaRPr lang="en-US" sz="10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000" dirty="0">
                          <a:solidFill>
                            <a:schemeClr val="tx1"/>
                          </a:solidFill>
                          <a:latin typeface="Arial" panose="020B0604020202020204" pitchFamily="34" charset="0"/>
                          <a:cs typeface="Arial" panose="020B0604020202020204" pitchFamily="34" charset="0"/>
                        </a:rPr>
                        <a:t>3,000</a:t>
                      </a:r>
                    </a:p>
                  </a:txBody>
                  <a:tcPr/>
                </a:tc>
                <a:tc>
                  <a:txBody>
                    <a:bodyPr/>
                    <a:lstStyle/>
                    <a:p>
                      <a:pPr algn="ctr"/>
                      <a:r>
                        <a:rPr lang="en-US" sz="1000" dirty="0">
                          <a:solidFill>
                            <a:schemeClr val="tx1"/>
                          </a:solidFill>
                          <a:latin typeface="Arial" panose="020B0604020202020204" pitchFamily="34" charset="0"/>
                          <a:cs typeface="Arial" panose="020B0604020202020204" pitchFamily="34" charset="0"/>
                        </a:rPr>
                        <a:t>350</a:t>
                      </a:r>
                    </a:p>
                  </a:txBody>
                  <a:tcPr/>
                </a:tc>
                <a:tc>
                  <a:txBody>
                    <a:bodyPr/>
                    <a:lstStyle/>
                    <a:p>
                      <a:pPr algn="ctr"/>
                      <a:r>
                        <a:rPr lang="en-US" sz="1000" dirty="0">
                          <a:solidFill>
                            <a:schemeClr val="tx1"/>
                          </a:solidFill>
                          <a:latin typeface="Arial" panose="020B0604020202020204" pitchFamily="34" charset="0"/>
                          <a:cs typeface="Arial" panose="020B0604020202020204" pitchFamily="34" charset="0"/>
                        </a:rPr>
                        <a:t>0</a:t>
                      </a:r>
                    </a:p>
                  </a:txBody>
                  <a:tcPr/>
                </a:tc>
                <a:tc>
                  <a:txBody>
                    <a:bodyPr/>
                    <a:lstStyle/>
                    <a:p>
                      <a:pPr algn="ctr"/>
                      <a:r>
                        <a:rPr lang="en-US" sz="1000" dirty="0">
                          <a:solidFill>
                            <a:schemeClr val="tx1"/>
                          </a:solidFill>
                          <a:latin typeface="Arial" panose="020B0604020202020204" pitchFamily="34" charset="0"/>
                          <a:cs typeface="Arial" panose="020B0604020202020204" pitchFamily="34" charset="0"/>
                        </a:rPr>
                        <a:t>0</a:t>
                      </a:r>
                    </a:p>
                  </a:txBody>
                  <a:tcPr/>
                </a:tc>
                <a:extLst>
                  <a:ext uri="{0D108BD9-81ED-4DB2-BD59-A6C34878D82A}">
                    <a16:rowId xmlns="" xmlns:a16="http://schemas.microsoft.com/office/drawing/2014/main" val="10003"/>
                  </a:ext>
                </a:extLst>
              </a:tr>
              <a:tr h="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Arial" panose="020B0604020202020204" pitchFamily="34" charset="0"/>
                          <a:ea typeface="Times New Roman"/>
                          <a:cs typeface="Arial" panose="020B0604020202020204" pitchFamily="34" charset="0"/>
                        </a:rPr>
                        <a:t>Average fertilizer use (Kg/Ha)</a:t>
                      </a:r>
                      <a:endParaRPr lang="en-US" sz="10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000" dirty="0">
                          <a:solidFill>
                            <a:schemeClr val="tx1"/>
                          </a:solidFill>
                          <a:latin typeface="Arial" panose="020B0604020202020204" pitchFamily="34" charset="0"/>
                          <a:cs typeface="Arial" panose="020B0604020202020204" pitchFamily="34" charset="0"/>
                        </a:rPr>
                        <a:t>28</a:t>
                      </a:r>
                    </a:p>
                  </a:txBody>
                  <a:tcPr/>
                </a:tc>
                <a:tc>
                  <a:txBody>
                    <a:bodyPr/>
                    <a:lstStyle/>
                    <a:p>
                      <a:pPr algn="ctr"/>
                      <a:r>
                        <a:rPr lang="en-US" sz="1000" dirty="0">
                          <a:solidFill>
                            <a:schemeClr val="tx1"/>
                          </a:solidFill>
                          <a:latin typeface="Arial" panose="020B0604020202020204" pitchFamily="34" charset="0"/>
                          <a:cs typeface="Arial" panose="020B0604020202020204" pitchFamily="34" charset="0"/>
                        </a:rPr>
                        <a:t>29</a:t>
                      </a:r>
                    </a:p>
                  </a:txBody>
                  <a:tcPr/>
                </a:tc>
                <a:tc>
                  <a:txBody>
                    <a:bodyPr/>
                    <a:lstStyle/>
                    <a:p>
                      <a:pPr algn="ctr"/>
                      <a:r>
                        <a:rPr lang="en-US" sz="1000" dirty="0">
                          <a:solidFill>
                            <a:schemeClr val="tx1"/>
                          </a:solidFill>
                          <a:latin typeface="Arial" panose="020B0604020202020204" pitchFamily="34" charset="0"/>
                          <a:cs typeface="Arial" panose="020B0604020202020204" pitchFamily="34" charset="0"/>
                        </a:rPr>
                        <a:t>30</a:t>
                      </a:r>
                    </a:p>
                  </a:txBody>
                  <a:tcPr/>
                </a:tc>
                <a:tc>
                  <a:txBody>
                    <a:bodyPr/>
                    <a:lstStyle/>
                    <a:p>
                      <a:pPr algn="ctr"/>
                      <a:r>
                        <a:rPr lang="en-US" sz="1000" dirty="0">
                          <a:solidFill>
                            <a:schemeClr val="tx1"/>
                          </a:solidFill>
                          <a:latin typeface="Arial" panose="020B0604020202020204" pitchFamily="34" charset="0"/>
                          <a:cs typeface="Arial" panose="020B0604020202020204" pitchFamily="34" charset="0"/>
                        </a:rPr>
                        <a:t>32</a:t>
                      </a:r>
                    </a:p>
                  </a:txBody>
                  <a:tcPr/>
                </a:tc>
                <a:tc>
                  <a:txBody>
                    <a:bodyPr/>
                    <a:lstStyle/>
                    <a:p>
                      <a:pPr algn="ctr"/>
                      <a:r>
                        <a:rPr lang="en-US" sz="1000" dirty="0">
                          <a:solidFill>
                            <a:schemeClr val="tx1"/>
                          </a:solidFill>
                          <a:latin typeface="Arial" panose="020B0604020202020204" pitchFamily="34" charset="0"/>
                          <a:cs typeface="Arial" panose="020B0604020202020204" pitchFamily="34" charset="0"/>
                        </a:rPr>
                        <a:t>32</a:t>
                      </a:r>
                    </a:p>
                  </a:txBody>
                  <a:tcPr/>
                </a:tc>
                <a:extLst>
                  <a:ext uri="{0D108BD9-81ED-4DB2-BD59-A6C34878D82A}">
                    <a16:rowId xmlns="" xmlns:a16="http://schemas.microsoft.com/office/drawing/2014/main" val="10004"/>
                  </a:ext>
                </a:extLst>
              </a:tr>
              <a:tr h="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Arial" panose="020B0604020202020204" pitchFamily="34" charset="0"/>
                          <a:ea typeface="Times New Roman"/>
                          <a:cs typeface="Arial" panose="020B0604020202020204" pitchFamily="34" charset="0"/>
                        </a:rPr>
                        <a:t>Number of farming households using post-harvest technologies/facilities</a:t>
                      </a:r>
                      <a:endParaRPr lang="en-US" sz="1000" dirty="0">
                        <a:solidFill>
                          <a:schemeClr val="tx1"/>
                        </a:solidFill>
                        <a:latin typeface="Arial" panose="020B0604020202020204" pitchFamily="34" charset="0"/>
                        <a:cs typeface="Arial" panose="020B0604020202020204" pitchFamily="34" charset="0"/>
                      </a:endParaRPr>
                    </a:p>
                  </a:txBody>
                  <a:tcPr/>
                </a:tc>
                <a:tc>
                  <a:txBody>
                    <a:bodyPr/>
                    <a:lstStyle/>
                    <a:p>
                      <a:pPr algn="ctr"/>
                      <a:endParaRPr lang="en-US" sz="10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000" dirty="0">
                          <a:solidFill>
                            <a:schemeClr val="tx1"/>
                          </a:solidFill>
                          <a:latin typeface="Arial" panose="020B0604020202020204" pitchFamily="34" charset="0"/>
                          <a:cs typeface="Arial" panose="020B0604020202020204" pitchFamily="34" charset="0"/>
                        </a:rPr>
                        <a:t>76,980</a:t>
                      </a:r>
                    </a:p>
                  </a:txBody>
                  <a:tcPr/>
                </a:tc>
                <a:tc>
                  <a:txBody>
                    <a:bodyPr/>
                    <a:lstStyle/>
                    <a:p>
                      <a:pPr algn="ctr"/>
                      <a:r>
                        <a:rPr lang="en-US" sz="1000" dirty="0">
                          <a:solidFill>
                            <a:schemeClr val="tx1"/>
                          </a:solidFill>
                          <a:latin typeface="Arial" panose="020B0604020202020204" pitchFamily="34" charset="0"/>
                          <a:cs typeface="Arial" panose="020B0604020202020204" pitchFamily="34" charset="0"/>
                        </a:rPr>
                        <a:t>118,020</a:t>
                      </a:r>
                    </a:p>
                  </a:txBody>
                  <a:tcPr/>
                </a:tc>
                <a:tc>
                  <a:txBody>
                    <a:bodyPr/>
                    <a:lstStyle/>
                    <a:p>
                      <a:pPr algn="ctr"/>
                      <a:r>
                        <a:rPr lang="en-US" sz="1000" dirty="0">
                          <a:solidFill>
                            <a:schemeClr val="tx1"/>
                          </a:solidFill>
                          <a:latin typeface="Arial" panose="020B0604020202020204" pitchFamily="34" charset="0"/>
                          <a:cs typeface="Arial" panose="020B0604020202020204" pitchFamily="34" charset="0"/>
                        </a:rPr>
                        <a:t>21,000</a:t>
                      </a:r>
                    </a:p>
                  </a:txBody>
                  <a:tcPr/>
                </a:tc>
                <a:tc>
                  <a:txBody>
                    <a:bodyPr/>
                    <a:lstStyle/>
                    <a:p>
                      <a:pPr algn="ctr"/>
                      <a:r>
                        <a:rPr lang="en-US" sz="1000" dirty="0">
                          <a:solidFill>
                            <a:schemeClr val="tx1"/>
                          </a:solidFill>
                          <a:latin typeface="Arial" panose="020B0604020202020204" pitchFamily="34" charset="0"/>
                          <a:cs typeface="Arial" panose="020B0604020202020204" pitchFamily="34" charset="0"/>
                        </a:rPr>
                        <a:t>20,000</a:t>
                      </a:r>
                    </a:p>
                  </a:txBody>
                  <a:tcPr/>
                </a:tc>
                <a:extLst>
                  <a:ext uri="{0D108BD9-81ED-4DB2-BD59-A6C34878D82A}">
                    <a16:rowId xmlns="" xmlns:a16="http://schemas.microsoft.com/office/drawing/2014/main" val="10005"/>
                  </a:ext>
                </a:extLst>
              </a:tr>
              <a:tr h="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Arial" panose="020B0604020202020204" pitchFamily="34" charset="0"/>
                          <a:ea typeface="Times New Roman"/>
                          <a:cs typeface="Arial" panose="020B0604020202020204" pitchFamily="34" charset="0"/>
                        </a:rPr>
                        <a:t>Percent of target SMEs along focus value chains operating profitably</a:t>
                      </a:r>
                      <a:endParaRPr lang="en-US" sz="1000" dirty="0">
                        <a:solidFill>
                          <a:schemeClr val="tx1"/>
                        </a:solidFill>
                        <a:latin typeface="Arial" panose="020B0604020202020204" pitchFamily="34" charset="0"/>
                        <a:cs typeface="Arial" panose="020B0604020202020204" pitchFamily="34" charset="0"/>
                      </a:endParaRPr>
                    </a:p>
                  </a:txBody>
                  <a:tcPr/>
                </a:tc>
                <a:tc>
                  <a:txBody>
                    <a:bodyPr/>
                    <a:lstStyle/>
                    <a:p>
                      <a:pPr algn="ctr"/>
                      <a:endParaRPr lang="en-US" sz="1000" dirty="0">
                        <a:solidFill>
                          <a:schemeClr val="tx1"/>
                        </a:solidFill>
                        <a:latin typeface="Arial" panose="020B0604020202020204" pitchFamily="34" charset="0"/>
                        <a:cs typeface="Arial" panose="020B0604020202020204" pitchFamily="34" charset="0"/>
                      </a:endParaRPr>
                    </a:p>
                  </a:txBody>
                  <a:tcPr/>
                </a:tc>
                <a:tc>
                  <a:txBody>
                    <a:bodyPr/>
                    <a:lstStyle/>
                    <a:p>
                      <a:pPr algn="ctr"/>
                      <a:endParaRPr lang="en-US" sz="1000" dirty="0">
                        <a:solidFill>
                          <a:schemeClr val="tx1"/>
                        </a:solidFill>
                        <a:latin typeface="Arial" panose="020B0604020202020204" pitchFamily="34" charset="0"/>
                        <a:cs typeface="Arial" panose="020B0604020202020204" pitchFamily="34" charset="0"/>
                      </a:endParaRPr>
                    </a:p>
                  </a:txBody>
                  <a:tcPr/>
                </a:tc>
                <a:tc>
                  <a:txBody>
                    <a:bodyPr/>
                    <a:lstStyle/>
                    <a:p>
                      <a:pPr algn="ctr"/>
                      <a:endParaRPr lang="en-US" sz="1000" dirty="0">
                        <a:solidFill>
                          <a:schemeClr val="tx1"/>
                        </a:solidFill>
                        <a:latin typeface="Arial" panose="020B0604020202020204" pitchFamily="34" charset="0"/>
                        <a:cs typeface="Arial" panose="020B0604020202020204" pitchFamily="34" charset="0"/>
                      </a:endParaRPr>
                    </a:p>
                  </a:txBody>
                  <a:tcPr/>
                </a:tc>
                <a:tc>
                  <a:txBody>
                    <a:bodyPr/>
                    <a:lstStyle/>
                    <a:p>
                      <a:pPr algn="ctr"/>
                      <a:endParaRPr lang="en-US" sz="1000" dirty="0">
                        <a:solidFill>
                          <a:schemeClr val="tx1"/>
                        </a:solidFill>
                        <a:latin typeface="Arial" panose="020B0604020202020204" pitchFamily="34" charset="0"/>
                        <a:cs typeface="Arial" panose="020B0604020202020204" pitchFamily="34" charset="0"/>
                      </a:endParaRPr>
                    </a:p>
                  </a:txBody>
                  <a:tcPr/>
                </a:tc>
                <a:tc>
                  <a:txBody>
                    <a:bodyPr/>
                    <a:lstStyle/>
                    <a:p>
                      <a:pPr algn="ctr"/>
                      <a:endParaRPr lang="en-US" sz="1000"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 xmlns:a16="http://schemas.microsoft.com/office/drawing/2014/main" val="10006"/>
                  </a:ext>
                </a:extLst>
              </a:tr>
              <a:tr h="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Arial" panose="020B0604020202020204" pitchFamily="34" charset="0"/>
                          <a:ea typeface="Times New Roman"/>
                          <a:cs typeface="Arial" panose="020B0604020202020204" pitchFamily="34" charset="0"/>
                        </a:rPr>
                        <a:t>Percent of farmers using structured trading facilities/arrangements</a:t>
                      </a:r>
                      <a:endParaRPr lang="en-US" sz="1000" dirty="0">
                        <a:solidFill>
                          <a:schemeClr val="tx1"/>
                        </a:solidFill>
                        <a:latin typeface="Arial" panose="020B0604020202020204" pitchFamily="34" charset="0"/>
                        <a:cs typeface="Arial" panose="020B0604020202020204" pitchFamily="34" charset="0"/>
                      </a:endParaRPr>
                    </a:p>
                  </a:txBody>
                  <a:tcPr/>
                </a:tc>
                <a:tc>
                  <a:txBody>
                    <a:bodyPr/>
                    <a:lstStyle/>
                    <a:p>
                      <a:pPr algn="ctr"/>
                      <a:endParaRPr lang="en-US" sz="10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000" dirty="0">
                          <a:solidFill>
                            <a:schemeClr val="tx1"/>
                          </a:solidFill>
                          <a:latin typeface="Arial" panose="020B0604020202020204" pitchFamily="34" charset="0"/>
                          <a:cs typeface="Arial" panose="020B0604020202020204" pitchFamily="34" charset="0"/>
                        </a:rPr>
                        <a:t>30%</a:t>
                      </a:r>
                    </a:p>
                  </a:txBody>
                  <a:tcPr/>
                </a:tc>
                <a:tc>
                  <a:txBody>
                    <a:bodyPr/>
                    <a:lstStyle/>
                    <a:p>
                      <a:pPr algn="ctr"/>
                      <a:r>
                        <a:rPr lang="en-US" sz="1000" dirty="0">
                          <a:solidFill>
                            <a:schemeClr val="tx1"/>
                          </a:solidFill>
                          <a:latin typeface="Arial" panose="020B0604020202020204" pitchFamily="34" charset="0"/>
                          <a:cs typeface="Arial" panose="020B0604020202020204" pitchFamily="34" charset="0"/>
                        </a:rPr>
                        <a:t>30%</a:t>
                      </a:r>
                    </a:p>
                  </a:txBody>
                  <a:tcPr/>
                </a:tc>
                <a:tc>
                  <a:txBody>
                    <a:bodyPr/>
                    <a:lstStyle/>
                    <a:p>
                      <a:pPr algn="ctr"/>
                      <a:r>
                        <a:rPr lang="en-US" sz="1000" dirty="0">
                          <a:solidFill>
                            <a:schemeClr val="tx1"/>
                          </a:solidFill>
                          <a:latin typeface="Arial" panose="020B0604020202020204" pitchFamily="34" charset="0"/>
                          <a:cs typeface="Arial" panose="020B0604020202020204" pitchFamily="34" charset="0"/>
                        </a:rPr>
                        <a:t>30%</a:t>
                      </a:r>
                    </a:p>
                  </a:txBody>
                  <a:tcPr/>
                </a:tc>
                <a:tc>
                  <a:txBody>
                    <a:bodyPr/>
                    <a:lstStyle/>
                    <a:p>
                      <a:pPr algn="ctr"/>
                      <a:r>
                        <a:rPr lang="en-US" sz="1000" dirty="0">
                          <a:solidFill>
                            <a:schemeClr val="tx1"/>
                          </a:solidFill>
                          <a:latin typeface="Arial" panose="020B0604020202020204" pitchFamily="34" charset="0"/>
                          <a:cs typeface="Arial" panose="020B0604020202020204" pitchFamily="34" charset="0"/>
                        </a:rPr>
                        <a:t>30%</a:t>
                      </a:r>
                    </a:p>
                  </a:txBody>
                  <a:tcPr/>
                </a:tc>
                <a:extLst>
                  <a:ext uri="{0D108BD9-81ED-4DB2-BD59-A6C34878D82A}">
                    <a16:rowId xmlns="" xmlns:a16="http://schemas.microsoft.com/office/drawing/2014/main" val="10007"/>
                  </a:ext>
                </a:extLst>
              </a:tr>
              <a:tr h="197106">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Arial" panose="020B0604020202020204" pitchFamily="34" charset="0"/>
                          <a:cs typeface="Arial" panose="020B0604020202020204" pitchFamily="34" charset="0"/>
                        </a:rPr>
                        <a:t>Quantity (MT) of target crops sold through structured markets</a:t>
                      </a:r>
                    </a:p>
                  </a:txBody>
                  <a:tcPr/>
                </a:tc>
                <a:tc>
                  <a:txBody>
                    <a:bodyPr/>
                    <a:lstStyle/>
                    <a:p>
                      <a:pPr algn="ctr"/>
                      <a:endParaRPr lang="en-US" sz="1000" dirty="0">
                        <a:solidFill>
                          <a:schemeClr val="tx1"/>
                        </a:solidFill>
                        <a:latin typeface="Arial" panose="020B0604020202020204" pitchFamily="34" charset="0"/>
                        <a:cs typeface="Arial" panose="020B0604020202020204" pitchFamily="34" charset="0"/>
                      </a:endParaRPr>
                    </a:p>
                  </a:txBody>
                  <a:tcPr/>
                </a:tc>
                <a:tc>
                  <a:txBody>
                    <a:bodyPr/>
                    <a:lstStyle/>
                    <a:p>
                      <a:pPr algn="ctr"/>
                      <a:endParaRPr lang="en-US" sz="1000" dirty="0">
                        <a:solidFill>
                          <a:schemeClr val="tx1"/>
                        </a:solidFill>
                        <a:latin typeface="Arial" panose="020B0604020202020204" pitchFamily="34" charset="0"/>
                        <a:cs typeface="Arial" panose="020B0604020202020204" pitchFamily="34" charset="0"/>
                      </a:endParaRPr>
                    </a:p>
                  </a:txBody>
                  <a:tcPr/>
                </a:tc>
                <a:tc>
                  <a:txBody>
                    <a:bodyPr/>
                    <a:lstStyle/>
                    <a:p>
                      <a:pPr algn="ctr"/>
                      <a:endParaRPr lang="en-US" sz="1000" dirty="0">
                        <a:solidFill>
                          <a:schemeClr val="tx1"/>
                        </a:solidFill>
                        <a:latin typeface="Arial" panose="020B0604020202020204" pitchFamily="34" charset="0"/>
                        <a:cs typeface="Arial" panose="020B0604020202020204" pitchFamily="34" charset="0"/>
                      </a:endParaRPr>
                    </a:p>
                  </a:txBody>
                  <a:tcPr/>
                </a:tc>
                <a:tc>
                  <a:txBody>
                    <a:bodyPr/>
                    <a:lstStyle/>
                    <a:p>
                      <a:pPr algn="ctr"/>
                      <a:endParaRPr lang="en-US" sz="1000" dirty="0">
                        <a:solidFill>
                          <a:schemeClr val="tx1"/>
                        </a:solidFill>
                        <a:latin typeface="Arial" panose="020B0604020202020204" pitchFamily="34" charset="0"/>
                        <a:cs typeface="Arial" panose="020B0604020202020204" pitchFamily="34" charset="0"/>
                      </a:endParaRPr>
                    </a:p>
                  </a:txBody>
                  <a:tcPr/>
                </a:tc>
                <a:tc>
                  <a:txBody>
                    <a:bodyPr/>
                    <a:lstStyle/>
                    <a:p>
                      <a:pPr algn="ctr"/>
                      <a:endParaRPr lang="en-US" sz="1000"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 xmlns:a16="http://schemas.microsoft.com/office/drawing/2014/main" val="10008"/>
                  </a:ext>
                </a:extLst>
              </a:tr>
              <a:tr h="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Arial" panose="020B0604020202020204" pitchFamily="34" charset="0"/>
                          <a:ea typeface="Times New Roman"/>
                          <a:cs typeface="Arial" panose="020B0604020202020204" pitchFamily="34" charset="0"/>
                        </a:rPr>
                        <a:t>Percent target farmers using financial/risk management services of engaged institutions</a:t>
                      </a:r>
                      <a:endParaRPr lang="en-US" sz="1000" dirty="0">
                        <a:solidFill>
                          <a:schemeClr val="tx1"/>
                        </a:solidFill>
                        <a:latin typeface="Arial" panose="020B0604020202020204" pitchFamily="34" charset="0"/>
                        <a:cs typeface="Arial" panose="020B0604020202020204" pitchFamily="34" charset="0"/>
                      </a:endParaRPr>
                    </a:p>
                  </a:txBody>
                  <a:tcPr/>
                </a:tc>
                <a:tc>
                  <a:txBody>
                    <a:bodyPr/>
                    <a:lstStyle/>
                    <a:p>
                      <a:pPr algn="ctr"/>
                      <a:endParaRPr lang="en-US" sz="10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000" dirty="0">
                          <a:solidFill>
                            <a:schemeClr val="tx1"/>
                          </a:solidFill>
                          <a:latin typeface="Arial" panose="020B0604020202020204" pitchFamily="34" charset="0"/>
                          <a:cs typeface="Arial" panose="020B0604020202020204" pitchFamily="34" charset="0"/>
                        </a:rPr>
                        <a:t>12,060</a:t>
                      </a:r>
                    </a:p>
                  </a:txBody>
                  <a:tcPr/>
                </a:tc>
                <a:tc>
                  <a:txBody>
                    <a:bodyPr/>
                    <a:lstStyle/>
                    <a:p>
                      <a:pPr algn="ctr"/>
                      <a:r>
                        <a:rPr lang="en-US" sz="1000" dirty="0">
                          <a:solidFill>
                            <a:schemeClr val="tx1"/>
                          </a:solidFill>
                          <a:latin typeface="Arial" panose="020B0604020202020204" pitchFamily="34" charset="0"/>
                          <a:cs typeface="Arial" panose="020B0604020202020204" pitchFamily="34" charset="0"/>
                        </a:rPr>
                        <a:t>147,525</a:t>
                      </a:r>
                    </a:p>
                  </a:txBody>
                  <a:tcPr/>
                </a:tc>
                <a:tc>
                  <a:txBody>
                    <a:bodyPr/>
                    <a:lstStyle/>
                    <a:p>
                      <a:pPr algn="ctr"/>
                      <a:r>
                        <a:rPr lang="en-US" sz="1000" dirty="0">
                          <a:solidFill>
                            <a:schemeClr val="tx1"/>
                          </a:solidFill>
                          <a:latin typeface="Arial" panose="020B0604020202020204" pitchFamily="34" charset="0"/>
                          <a:cs typeface="Arial" panose="020B0604020202020204" pitchFamily="34" charset="0"/>
                        </a:rPr>
                        <a:t>208,530</a:t>
                      </a:r>
                    </a:p>
                  </a:txBody>
                  <a:tcPr/>
                </a:tc>
                <a:tc>
                  <a:txBody>
                    <a:bodyPr/>
                    <a:lstStyle/>
                    <a:p>
                      <a:pPr algn="ctr"/>
                      <a:r>
                        <a:rPr lang="en-US" sz="1000" dirty="0">
                          <a:solidFill>
                            <a:schemeClr val="tx1"/>
                          </a:solidFill>
                          <a:latin typeface="Arial" panose="020B0604020202020204" pitchFamily="34" charset="0"/>
                          <a:cs typeface="Arial" panose="020B0604020202020204" pitchFamily="34" charset="0"/>
                        </a:rPr>
                        <a:t>222,432</a:t>
                      </a:r>
                    </a:p>
                  </a:txBody>
                  <a:tcPr/>
                </a:tc>
                <a:extLst>
                  <a:ext uri="{0D108BD9-81ED-4DB2-BD59-A6C34878D82A}">
                    <a16:rowId xmlns="" xmlns:a16="http://schemas.microsoft.com/office/drawing/2014/main" val="10009"/>
                  </a:ext>
                </a:extLst>
              </a:tr>
              <a:tr h="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Arial" panose="020B0604020202020204" pitchFamily="34" charset="0"/>
                          <a:ea typeface="Times New Roman"/>
                          <a:cs typeface="Arial" panose="020B0604020202020204" pitchFamily="34" charset="0"/>
                        </a:rPr>
                        <a:t>Percent of farmers and other stakeholders accessing early warning information to use for value chain planning</a:t>
                      </a:r>
                      <a:endParaRPr lang="en-US" sz="10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000" dirty="0">
                          <a:solidFill>
                            <a:schemeClr val="tx1"/>
                          </a:solidFill>
                          <a:latin typeface="Arial" panose="020B0604020202020204" pitchFamily="34" charset="0"/>
                          <a:cs typeface="Arial" panose="020B0604020202020204" pitchFamily="34" charset="0"/>
                        </a:rPr>
                        <a:t>0</a:t>
                      </a:r>
                    </a:p>
                  </a:txBody>
                  <a:tcPr/>
                </a:tc>
                <a:tc>
                  <a:txBody>
                    <a:bodyPr/>
                    <a:lstStyle/>
                    <a:p>
                      <a:pPr algn="ctr"/>
                      <a:r>
                        <a:rPr lang="en-US" sz="1000" dirty="0">
                          <a:solidFill>
                            <a:schemeClr val="tx1"/>
                          </a:solidFill>
                          <a:latin typeface="Arial" panose="020B0604020202020204" pitchFamily="34" charset="0"/>
                          <a:cs typeface="Arial" panose="020B0604020202020204" pitchFamily="34" charset="0"/>
                        </a:rPr>
                        <a:t>5%</a:t>
                      </a:r>
                    </a:p>
                  </a:txBody>
                  <a:tcPr/>
                </a:tc>
                <a:tc>
                  <a:txBody>
                    <a:bodyPr/>
                    <a:lstStyle/>
                    <a:p>
                      <a:pPr algn="ctr"/>
                      <a:r>
                        <a:rPr lang="en-US" sz="1000" dirty="0">
                          <a:solidFill>
                            <a:schemeClr val="tx1"/>
                          </a:solidFill>
                          <a:latin typeface="Arial" panose="020B0604020202020204" pitchFamily="34" charset="0"/>
                          <a:cs typeface="Arial" panose="020B0604020202020204" pitchFamily="34" charset="0"/>
                        </a:rPr>
                        <a:t>10%</a:t>
                      </a:r>
                    </a:p>
                  </a:txBody>
                  <a:tcPr/>
                </a:tc>
                <a:tc>
                  <a:txBody>
                    <a:bodyPr/>
                    <a:lstStyle/>
                    <a:p>
                      <a:pPr algn="ctr"/>
                      <a:r>
                        <a:rPr lang="en-US" sz="1000" dirty="0">
                          <a:solidFill>
                            <a:schemeClr val="tx1"/>
                          </a:solidFill>
                          <a:latin typeface="Arial" panose="020B0604020202020204" pitchFamily="34" charset="0"/>
                          <a:cs typeface="Arial" panose="020B0604020202020204" pitchFamily="34" charset="0"/>
                        </a:rPr>
                        <a:t>15%</a:t>
                      </a:r>
                    </a:p>
                  </a:txBody>
                  <a:tcPr/>
                </a:tc>
                <a:tc>
                  <a:txBody>
                    <a:bodyPr/>
                    <a:lstStyle/>
                    <a:p>
                      <a:pPr algn="ctr"/>
                      <a:r>
                        <a:rPr lang="en-US" sz="1000" dirty="0">
                          <a:solidFill>
                            <a:schemeClr val="tx1"/>
                          </a:solidFill>
                          <a:latin typeface="Arial" panose="020B0604020202020204" pitchFamily="34" charset="0"/>
                          <a:cs typeface="Arial" panose="020B0604020202020204" pitchFamily="34" charset="0"/>
                        </a:rPr>
                        <a:t>15%</a:t>
                      </a:r>
                    </a:p>
                  </a:txBody>
                  <a:tcPr/>
                </a:tc>
                <a:extLst>
                  <a:ext uri="{0D108BD9-81ED-4DB2-BD59-A6C34878D82A}">
                    <a16:rowId xmlns="" xmlns:a16="http://schemas.microsoft.com/office/drawing/2014/main" val="10010"/>
                  </a:ext>
                </a:extLst>
              </a:tr>
              <a:tr h="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Arial" panose="020B0604020202020204" pitchFamily="34" charset="0"/>
                          <a:cs typeface="Arial" panose="020B0604020202020204" pitchFamily="34" charset="0"/>
                        </a:rPr>
                        <a:t>Number of post-harvest technologies sold/distributed to farmers</a:t>
                      </a:r>
                    </a:p>
                  </a:txBody>
                  <a:tcPr/>
                </a:tc>
                <a:tc>
                  <a:txBody>
                    <a:bodyPr/>
                    <a:lstStyle/>
                    <a:p>
                      <a:pPr algn="ctr"/>
                      <a:r>
                        <a:rPr lang="en-US" sz="1000" dirty="0">
                          <a:solidFill>
                            <a:schemeClr val="tx1"/>
                          </a:solidFill>
                          <a:latin typeface="Arial" panose="020B0604020202020204" pitchFamily="34" charset="0"/>
                          <a:cs typeface="Arial" panose="020B0604020202020204" pitchFamily="34" charset="0"/>
                        </a:rPr>
                        <a:t>0</a:t>
                      </a:r>
                    </a:p>
                  </a:txBody>
                  <a:tcPr/>
                </a:tc>
                <a:tc>
                  <a:txBody>
                    <a:bodyPr/>
                    <a:lstStyle/>
                    <a:p>
                      <a:pPr algn="ctr"/>
                      <a:r>
                        <a:rPr lang="en-US" sz="1000" dirty="0">
                          <a:solidFill>
                            <a:schemeClr val="tx1"/>
                          </a:solidFill>
                          <a:latin typeface="Arial" panose="020B0604020202020204" pitchFamily="34" charset="0"/>
                          <a:cs typeface="Arial" panose="020B0604020202020204" pitchFamily="34" charset="0"/>
                        </a:rPr>
                        <a:t>1</a:t>
                      </a:r>
                    </a:p>
                  </a:txBody>
                  <a:tcPr/>
                </a:tc>
                <a:tc>
                  <a:txBody>
                    <a:bodyPr/>
                    <a:lstStyle/>
                    <a:p>
                      <a:pPr algn="ctr"/>
                      <a:r>
                        <a:rPr lang="en-US" sz="1000" dirty="0">
                          <a:solidFill>
                            <a:schemeClr val="tx1"/>
                          </a:solidFill>
                          <a:latin typeface="Arial" panose="020B0604020202020204" pitchFamily="34" charset="0"/>
                          <a:cs typeface="Arial" panose="020B0604020202020204" pitchFamily="34" charset="0"/>
                        </a:rPr>
                        <a:t>2</a:t>
                      </a:r>
                    </a:p>
                  </a:txBody>
                  <a:tcPr/>
                </a:tc>
                <a:tc>
                  <a:txBody>
                    <a:bodyPr/>
                    <a:lstStyle/>
                    <a:p>
                      <a:pPr algn="ctr"/>
                      <a:r>
                        <a:rPr lang="en-US" sz="1000" dirty="0">
                          <a:solidFill>
                            <a:schemeClr val="tx1"/>
                          </a:solidFill>
                          <a:latin typeface="Arial" panose="020B0604020202020204" pitchFamily="34" charset="0"/>
                          <a:cs typeface="Arial" panose="020B0604020202020204" pitchFamily="34" charset="0"/>
                        </a:rPr>
                        <a:t>0</a:t>
                      </a:r>
                    </a:p>
                  </a:txBody>
                  <a:tcPr/>
                </a:tc>
                <a:tc>
                  <a:txBody>
                    <a:bodyPr/>
                    <a:lstStyle/>
                    <a:p>
                      <a:pPr algn="ctr"/>
                      <a:r>
                        <a:rPr lang="en-US" sz="1000" dirty="0">
                          <a:solidFill>
                            <a:schemeClr val="tx1"/>
                          </a:solidFill>
                          <a:latin typeface="Arial" panose="020B0604020202020204" pitchFamily="34" charset="0"/>
                          <a:cs typeface="Arial" panose="020B0604020202020204" pitchFamily="34" charset="0"/>
                        </a:rPr>
                        <a:t>0</a:t>
                      </a:r>
                    </a:p>
                  </a:txBody>
                  <a:tcPr/>
                </a:tc>
                <a:extLst>
                  <a:ext uri="{0D108BD9-81ED-4DB2-BD59-A6C34878D82A}">
                    <a16:rowId xmlns="" xmlns:a16="http://schemas.microsoft.com/office/drawing/2014/main" val="10011"/>
                  </a:ext>
                </a:extLst>
              </a:tr>
            </a:tbl>
          </a:graphicData>
        </a:graphic>
      </p:graphicFrame>
      <p:sp>
        <p:nvSpPr>
          <p:cNvPr id="5" name="Title 3"/>
          <p:cNvSpPr>
            <a:spLocks noGrp="1"/>
          </p:cNvSpPr>
          <p:nvPr>
            <p:ph type="title"/>
          </p:nvPr>
        </p:nvSpPr>
        <p:spPr>
          <a:xfrm>
            <a:off x="235124" y="250835"/>
            <a:ext cx="8007350" cy="292388"/>
          </a:xfrm>
        </p:spPr>
        <p:txBody>
          <a:bodyPr/>
          <a:lstStyle/>
          <a:p>
            <a:r>
              <a:rPr lang="en-US" dirty="0"/>
              <a:t>Key Country Indicators and Targets</a:t>
            </a:r>
          </a:p>
        </p:txBody>
      </p:sp>
    </p:spTree>
    <p:extLst>
      <p:ext uri="{BB962C8B-B14F-4D97-AF65-F5344CB8AC3E}">
        <p14:creationId xmlns:p14="http://schemas.microsoft.com/office/powerpoint/2010/main" val="47084037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40061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2590"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4400"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pPr lvl="0"/>
            <a:r>
              <a:rPr lang="en-US" dirty="0">
                <a:solidFill>
                  <a:schemeClr val="dk1"/>
                </a:solidFill>
              </a:rPr>
              <a:t>Portfolio to date, lessons and opportunities</a:t>
            </a:r>
            <a:endParaRPr lang="en-US" dirty="0"/>
          </a:p>
        </p:txBody>
      </p:sp>
    </p:spTree>
    <p:extLst>
      <p:ext uri="{BB962C8B-B14F-4D97-AF65-F5344CB8AC3E}">
        <p14:creationId xmlns:p14="http://schemas.microsoft.com/office/powerpoint/2010/main" val="259545168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119190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15" name="think-cell Slide" r:id="rId5" imgW="360" imgH="360" progId="TCLayout.ActiveDocument.1">
                  <p:embed/>
                </p:oleObj>
              </mc:Choice>
              <mc:Fallback>
                <p:oleObj name="think-cell Slide" r:id="rId5" imgW="360" imgH="36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031" b="1"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AGRA’s Current Portfolio summary (2017 - 2019)</a:t>
            </a:r>
          </a:p>
        </p:txBody>
      </p:sp>
      <p:sp>
        <p:nvSpPr>
          <p:cNvPr id="46" name="Rectangle 45">
            <a:hlinkClick r:id="" action="ppaction://noaction"/>
          </p:cNvPr>
          <p:cNvSpPr/>
          <p:nvPr/>
        </p:nvSpPr>
        <p:spPr bwMode="gray">
          <a:xfrm>
            <a:off x="3449297" y="906112"/>
            <a:ext cx="3125822" cy="548640"/>
          </a:xfrm>
          <a:prstGeom prst="rect">
            <a:avLst/>
          </a:prstGeom>
          <a:solidFill>
            <a:srgbClr val="B5D474">
              <a:lumMod val="75000"/>
            </a:srgbClr>
          </a:solidFill>
          <a:ln w="19050" algn="ctr">
            <a:solidFill>
              <a:srgbClr val="FFFFFF"/>
            </a:solidFill>
            <a:miter lim="800000"/>
            <a:headEnd/>
            <a:tailEnd/>
          </a:ln>
        </p:spPr>
        <p:txBody>
          <a:bodyPr wrap="square" lIns="88900" tIns="88900" rIns="88900" bIns="88900" rtlCol="0" anchor="ctr"/>
          <a:lstStyle/>
          <a:p>
            <a:pPr marL="457200" marR="0" lvl="1" indent="0"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srgbClr val="FFFFFF"/>
                </a:solidFill>
                <a:effectLst/>
                <a:uLnTx/>
                <a:uFillTx/>
                <a:ea typeface="+mn-ea"/>
                <a:cs typeface="+mn-cs"/>
              </a:rPr>
              <a:t>    Farmer and Systems</a:t>
            </a:r>
          </a:p>
        </p:txBody>
      </p:sp>
      <p:sp>
        <p:nvSpPr>
          <p:cNvPr id="47" name="Freeform 46"/>
          <p:cNvSpPr>
            <a:spLocks noChangeAspect="1" noEditPoints="1"/>
          </p:cNvSpPr>
          <p:nvPr/>
        </p:nvSpPr>
        <p:spPr bwMode="auto">
          <a:xfrm>
            <a:off x="7722233" y="1619648"/>
            <a:ext cx="534664" cy="365760"/>
          </a:xfrm>
          <a:custGeom>
            <a:avLst/>
            <a:gdLst>
              <a:gd name="T0" fmla="*/ 252 w 438"/>
              <a:gd name="T1" fmla="*/ 65 h 279"/>
              <a:gd name="T2" fmla="*/ 193 w 438"/>
              <a:gd name="T3" fmla="*/ 89 h 279"/>
              <a:gd name="T4" fmla="*/ 207 w 438"/>
              <a:gd name="T5" fmla="*/ 146 h 279"/>
              <a:gd name="T6" fmla="*/ 222 w 438"/>
              <a:gd name="T7" fmla="*/ 119 h 279"/>
              <a:gd name="T8" fmla="*/ 273 w 438"/>
              <a:gd name="T9" fmla="*/ 150 h 279"/>
              <a:gd name="T10" fmla="*/ 329 w 438"/>
              <a:gd name="T11" fmla="*/ 205 h 279"/>
              <a:gd name="T12" fmla="*/ 325 w 438"/>
              <a:gd name="T13" fmla="*/ 220 h 279"/>
              <a:gd name="T14" fmla="*/ 277 w 438"/>
              <a:gd name="T15" fmla="*/ 183 h 279"/>
              <a:gd name="T16" fmla="*/ 271 w 438"/>
              <a:gd name="T17" fmla="*/ 190 h 279"/>
              <a:gd name="T18" fmla="*/ 298 w 438"/>
              <a:gd name="T19" fmla="*/ 241 h 279"/>
              <a:gd name="T20" fmla="*/ 241 w 438"/>
              <a:gd name="T21" fmla="*/ 199 h 279"/>
              <a:gd name="T22" fmla="*/ 289 w 438"/>
              <a:gd name="T23" fmla="*/ 246 h 279"/>
              <a:gd name="T24" fmla="*/ 228 w 438"/>
              <a:gd name="T25" fmla="*/ 219 h 279"/>
              <a:gd name="T26" fmla="*/ 222 w 438"/>
              <a:gd name="T27" fmla="*/ 226 h 279"/>
              <a:gd name="T28" fmla="*/ 233 w 438"/>
              <a:gd name="T29" fmla="*/ 257 h 279"/>
              <a:gd name="T30" fmla="*/ 235 w 438"/>
              <a:gd name="T31" fmla="*/ 268 h 279"/>
              <a:gd name="T32" fmla="*/ 293 w 438"/>
              <a:gd name="T33" fmla="*/ 256 h 279"/>
              <a:gd name="T34" fmla="*/ 336 w 438"/>
              <a:gd name="T35" fmla="*/ 196 h 279"/>
              <a:gd name="T36" fmla="*/ 308 w 438"/>
              <a:gd name="T37" fmla="*/ 85 h 279"/>
              <a:gd name="T38" fmla="*/ 191 w 438"/>
              <a:gd name="T39" fmla="*/ 210 h 279"/>
              <a:gd name="T40" fmla="*/ 230 w 438"/>
              <a:gd name="T41" fmla="*/ 265 h 279"/>
              <a:gd name="T42" fmla="*/ 137 w 438"/>
              <a:gd name="T43" fmla="*/ 220 h 279"/>
              <a:gd name="T44" fmla="*/ 157 w 438"/>
              <a:gd name="T45" fmla="*/ 196 h 279"/>
              <a:gd name="T46" fmla="*/ 362 w 438"/>
              <a:gd name="T47" fmla="*/ 204 h 279"/>
              <a:gd name="T48" fmla="*/ 438 w 438"/>
              <a:gd name="T49" fmla="*/ 0 h 279"/>
              <a:gd name="T50" fmla="*/ 112 w 438"/>
              <a:gd name="T51" fmla="*/ 72 h 279"/>
              <a:gd name="T52" fmla="*/ 0 w 438"/>
              <a:gd name="T53" fmla="*/ 182 h 279"/>
              <a:gd name="T54" fmla="*/ 112 w 438"/>
              <a:gd name="T55" fmla="*/ 72 h 279"/>
              <a:gd name="T56" fmla="*/ 89 w 438"/>
              <a:gd name="T57" fmla="*/ 173 h 279"/>
              <a:gd name="T58" fmla="*/ 198 w 438"/>
              <a:gd name="T59" fmla="*/ 77 h 279"/>
              <a:gd name="T60" fmla="*/ 187 w 438"/>
              <a:gd name="T61" fmla="*/ 85 h 279"/>
              <a:gd name="T62" fmla="*/ 125 w 438"/>
              <a:gd name="T63" fmla="*/ 88 h 279"/>
              <a:gd name="T64" fmla="*/ 136 w 438"/>
              <a:gd name="T65" fmla="*/ 190 h 279"/>
              <a:gd name="T66" fmla="*/ 129 w 438"/>
              <a:gd name="T67" fmla="*/ 198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38" h="279">
                <a:moveTo>
                  <a:pt x="308" y="85"/>
                </a:moveTo>
                <a:cubicBezTo>
                  <a:pt x="308" y="85"/>
                  <a:pt x="270" y="70"/>
                  <a:pt x="252" y="65"/>
                </a:cubicBezTo>
                <a:cubicBezTo>
                  <a:pt x="239" y="62"/>
                  <a:pt x="237" y="64"/>
                  <a:pt x="226" y="70"/>
                </a:cubicBezTo>
                <a:cubicBezTo>
                  <a:pt x="217" y="75"/>
                  <a:pt x="201" y="82"/>
                  <a:pt x="193" y="89"/>
                </a:cubicBezTo>
                <a:cubicBezTo>
                  <a:pt x="188" y="94"/>
                  <a:pt x="181" y="142"/>
                  <a:pt x="181" y="143"/>
                </a:cubicBezTo>
                <a:cubicBezTo>
                  <a:pt x="180" y="156"/>
                  <a:pt x="198" y="156"/>
                  <a:pt x="207" y="146"/>
                </a:cubicBezTo>
                <a:cubicBezTo>
                  <a:pt x="212" y="139"/>
                  <a:pt x="217" y="129"/>
                  <a:pt x="220" y="122"/>
                </a:cubicBezTo>
                <a:cubicBezTo>
                  <a:pt x="223" y="117"/>
                  <a:pt x="222" y="119"/>
                  <a:pt x="222" y="119"/>
                </a:cubicBezTo>
                <a:cubicBezTo>
                  <a:pt x="236" y="115"/>
                  <a:pt x="236" y="115"/>
                  <a:pt x="236" y="115"/>
                </a:cubicBezTo>
                <a:cubicBezTo>
                  <a:pt x="246" y="125"/>
                  <a:pt x="259" y="137"/>
                  <a:pt x="273" y="150"/>
                </a:cubicBezTo>
                <a:cubicBezTo>
                  <a:pt x="294" y="171"/>
                  <a:pt x="315" y="191"/>
                  <a:pt x="324" y="199"/>
                </a:cubicBezTo>
                <a:cubicBezTo>
                  <a:pt x="327" y="201"/>
                  <a:pt x="328" y="203"/>
                  <a:pt x="329" y="205"/>
                </a:cubicBezTo>
                <a:cubicBezTo>
                  <a:pt x="330" y="207"/>
                  <a:pt x="330" y="209"/>
                  <a:pt x="329" y="212"/>
                </a:cubicBezTo>
                <a:cubicBezTo>
                  <a:pt x="328" y="214"/>
                  <a:pt x="327" y="217"/>
                  <a:pt x="325" y="220"/>
                </a:cubicBezTo>
                <a:cubicBezTo>
                  <a:pt x="324" y="221"/>
                  <a:pt x="323" y="222"/>
                  <a:pt x="323" y="222"/>
                </a:cubicBezTo>
                <a:cubicBezTo>
                  <a:pt x="277" y="183"/>
                  <a:pt x="277" y="183"/>
                  <a:pt x="277" y="183"/>
                </a:cubicBezTo>
                <a:cubicBezTo>
                  <a:pt x="275" y="182"/>
                  <a:pt x="272" y="182"/>
                  <a:pt x="271" y="184"/>
                </a:cubicBezTo>
                <a:cubicBezTo>
                  <a:pt x="269" y="186"/>
                  <a:pt x="269" y="188"/>
                  <a:pt x="271" y="190"/>
                </a:cubicBezTo>
                <a:cubicBezTo>
                  <a:pt x="316" y="228"/>
                  <a:pt x="316" y="228"/>
                  <a:pt x="316" y="228"/>
                </a:cubicBezTo>
                <a:cubicBezTo>
                  <a:pt x="310" y="233"/>
                  <a:pt x="304" y="238"/>
                  <a:pt x="298" y="241"/>
                </a:cubicBezTo>
                <a:cubicBezTo>
                  <a:pt x="248" y="198"/>
                  <a:pt x="248" y="198"/>
                  <a:pt x="248" y="198"/>
                </a:cubicBezTo>
                <a:cubicBezTo>
                  <a:pt x="246" y="197"/>
                  <a:pt x="243" y="197"/>
                  <a:pt x="241" y="199"/>
                </a:cubicBezTo>
                <a:cubicBezTo>
                  <a:pt x="240" y="201"/>
                  <a:pt x="240" y="204"/>
                  <a:pt x="242" y="205"/>
                </a:cubicBezTo>
                <a:cubicBezTo>
                  <a:pt x="289" y="246"/>
                  <a:pt x="289" y="246"/>
                  <a:pt x="289" y="246"/>
                </a:cubicBezTo>
                <a:cubicBezTo>
                  <a:pt x="282" y="249"/>
                  <a:pt x="273" y="250"/>
                  <a:pt x="265" y="252"/>
                </a:cubicBezTo>
                <a:cubicBezTo>
                  <a:pt x="228" y="219"/>
                  <a:pt x="228" y="219"/>
                  <a:pt x="228" y="219"/>
                </a:cubicBezTo>
                <a:cubicBezTo>
                  <a:pt x="226" y="217"/>
                  <a:pt x="223" y="217"/>
                  <a:pt x="222" y="219"/>
                </a:cubicBezTo>
                <a:cubicBezTo>
                  <a:pt x="220" y="221"/>
                  <a:pt x="220" y="224"/>
                  <a:pt x="222" y="226"/>
                </a:cubicBezTo>
                <a:cubicBezTo>
                  <a:pt x="254" y="254"/>
                  <a:pt x="254" y="254"/>
                  <a:pt x="254" y="254"/>
                </a:cubicBezTo>
                <a:cubicBezTo>
                  <a:pt x="248" y="255"/>
                  <a:pt x="240" y="257"/>
                  <a:pt x="233" y="257"/>
                </a:cubicBezTo>
                <a:cubicBezTo>
                  <a:pt x="234" y="260"/>
                  <a:pt x="235" y="263"/>
                  <a:pt x="235" y="266"/>
                </a:cubicBezTo>
                <a:cubicBezTo>
                  <a:pt x="235" y="267"/>
                  <a:pt x="236" y="267"/>
                  <a:pt x="235" y="268"/>
                </a:cubicBezTo>
                <a:cubicBezTo>
                  <a:pt x="243" y="267"/>
                  <a:pt x="257" y="265"/>
                  <a:pt x="270" y="262"/>
                </a:cubicBezTo>
                <a:cubicBezTo>
                  <a:pt x="280" y="260"/>
                  <a:pt x="288" y="258"/>
                  <a:pt x="293" y="256"/>
                </a:cubicBezTo>
                <a:cubicBezTo>
                  <a:pt x="303" y="251"/>
                  <a:pt x="322" y="240"/>
                  <a:pt x="333" y="227"/>
                </a:cubicBezTo>
                <a:cubicBezTo>
                  <a:pt x="340" y="218"/>
                  <a:pt x="343" y="207"/>
                  <a:pt x="336" y="196"/>
                </a:cubicBezTo>
                <a:cubicBezTo>
                  <a:pt x="360" y="183"/>
                  <a:pt x="360" y="183"/>
                  <a:pt x="360" y="183"/>
                </a:cubicBezTo>
                <a:cubicBezTo>
                  <a:pt x="356" y="138"/>
                  <a:pt x="323" y="90"/>
                  <a:pt x="308" y="85"/>
                </a:cubicBezTo>
                <a:close/>
                <a:moveTo>
                  <a:pt x="157" y="196"/>
                </a:moveTo>
                <a:cubicBezTo>
                  <a:pt x="167" y="198"/>
                  <a:pt x="180" y="202"/>
                  <a:pt x="191" y="210"/>
                </a:cubicBezTo>
                <a:cubicBezTo>
                  <a:pt x="213" y="226"/>
                  <a:pt x="222" y="242"/>
                  <a:pt x="226" y="252"/>
                </a:cubicBezTo>
                <a:cubicBezTo>
                  <a:pt x="228" y="256"/>
                  <a:pt x="230" y="261"/>
                  <a:pt x="230" y="265"/>
                </a:cubicBezTo>
                <a:cubicBezTo>
                  <a:pt x="230" y="268"/>
                  <a:pt x="231" y="268"/>
                  <a:pt x="229" y="269"/>
                </a:cubicBezTo>
                <a:cubicBezTo>
                  <a:pt x="205" y="279"/>
                  <a:pt x="154" y="247"/>
                  <a:pt x="137" y="220"/>
                </a:cubicBezTo>
                <a:cubicBezTo>
                  <a:pt x="134" y="215"/>
                  <a:pt x="128" y="202"/>
                  <a:pt x="133" y="197"/>
                </a:cubicBezTo>
                <a:cubicBezTo>
                  <a:pt x="139" y="193"/>
                  <a:pt x="155" y="196"/>
                  <a:pt x="157" y="196"/>
                </a:cubicBezTo>
                <a:close/>
                <a:moveTo>
                  <a:pt x="321" y="77"/>
                </a:moveTo>
                <a:cubicBezTo>
                  <a:pt x="341" y="91"/>
                  <a:pt x="399" y="185"/>
                  <a:pt x="362" y="204"/>
                </a:cubicBezTo>
                <a:cubicBezTo>
                  <a:pt x="356" y="219"/>
                  <a:pt x="434" y="187"/>
                  <a:pt x="438" y="186"/>
                </a:cubicBezTo>
                <a:cubicBezTo>
                  <a:pt x="438" y="0"/>
                  <a:pt x="438" y="0"/>
                  <a:pt x="438" y="0"/>
                </a:cubicBezTo>
                <a:cubicBezTo>
                  <a:pt x="321" y="77"/>
                  <a:pt x="321" y="77"/>
                  <a:pt x="321" y="77"/>
                </a:cubicBezTo>
                <a:close/>
                <a:moveTo>
                  <a:pt x="112" y="72"/>
                </a:moveTo>
                <a:cubicBezTo>
                  <a:pt x="91" y="97"/>
                  <a:pt x="59" y="188"/>
                  <a:pt x="97" y="208"/>
                </a:cubicBezTo>
                <a:cubicBezTo>
                  <a:pt x="106" y="226"/>
                  <a:pt x="2" y="183"/>
                  <a:pt x="0" y="182"/>
                </a:cubicBezTo>
                <a:cubicBezTo>
                  <a:pt x="0" y="3"/>
                  <a:pt x="0" y="3"/>
                  <a:pt x="0" y="3"/>
                </a:cubicBezTo>
                <a:cubicBezTo>
                  <a:pt x="112" y="72"/>
                  <a:pt x="112" y="72"/>
                  <a:pt x="112" y="72"/>
                </a:cubicBezTo>
                <a:close/>
                <a:moveTo>
                  <a:pt x="129" y="198"/>
                </a:moveTo>
                <a:cubicBezTo>
                  <a:pt x="89" y="173"/>
                  <a:pt x="89" y="173"/>
                  <a:pt x="89" y="173"/>
                </a:cubicBezTo>
                <a:cubicBezTo>
                  <a:pt x="90" y="136"/>
                  <a:pt x="100" y="108"/>
                  <a:pt x="119" y="76"/>
                </a:cubicBezTo>
                <a:cubicBezTo>
                  <a:pt x="198" y="77"/>
                  <a:pt x="198" y="77"/>
                  <a:pt x="198" y="77"/>
                </a:cubicBezTo>
                <a:cubicBezTo>
                  <a:pt x="199" y="77"/>
                  <a:pt x="200" y="77"/>
                  <a:pt x="201" y="77"/>
                </a:cubicBezTo>
                <a:cubicBezTo>
                  <a:pt x="194" y="81"/>
                  <a:pt x="189" y="84"/>
                  <a:pt x="187" y="85"/>
                </a:cubicBezTo>
                <a:cubicBezTo>
                  <a:pt x="187" y="86"/>
                  <a:pt x="186" y="87"/>
                  <a:pt x="186" y="88"/>
                </a:cubicBezTo>
                <a:cubicBezTo>
                  <a:pt x="165" y="88"/>
                  <a:pt x="145" y="88"/>
                  <a:pt x="125" y="88"/>
                </a:cubicBezTo>
                <a:cubicBezTo>
                  <a:pt x="110" y="112"/>
                  <a:pt x="101" y="139"/>
                  <a:pt x="100" y="167"/>
                </a:cubicBezTo>
                <a:cubicBezTo>
                  <a:pt x="136" y="190"/>
                  <a:pt x="136" y="190"/>
                  <a:pt x="136" y="190"/>
                </a:cubicBezTo>
                <a:cubicBezTo>
                  <a:pt x="137" y="191"/>
                  <a:pt x="138" y="191"/>
                  <a:pt x="139" y="192"/>
                </a:cubicBezTo>
                <a:cubicBezTo>
                  <a:pt x="135" y="192"/>
                  <a:pt x="130" y="193"/>
                  <a:pt x="129" y="19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8" name="Rectangle 47"/>
          <p:cNvSpPr>
            <a:spLocks/>
          </p:cNvSpPr>
          <p:nvPr/>
        </p:nvSpPr>
        <p:spPr>
          <a:xfrm>
            <a:off x="3449297" y="1487554"/>
            <a:ext cx="3098192" cy="5030478"/>
          </a:xfrm>
          <a:prstGeom prst="rect">
            <a:avLst/>
          </a:prstGeom>
          <a:solidFill>
            <a:srgbClr val="F0F6E3">
              <a:alpha val="80000"/>
            </a:srgbClr>
          </a:solidFill>
          <a:ln w="19050" cap="flat" cmpd="sng" algn="ctr">
            <a:solidFill>
              <a:srgbClr val="01632F"/>
            </a:solidFill>
            <a:prstDash val="solid"/>
          </a:ln>
          <a:effectLst/>
        </p:spPr>
        <p:txBody>
          <a:bodyPr rtlCol="0" anchor="t"/>
          <a:lstStyle/>
          <a:p>
            <a:pPr lvl="0" fontAlgn="base">
              <a:spcBef>
                <a:spcPct val="0"/>
              </a:spcBef>
              <a:spcAft>
                <a:spcPct val="0"/>
              </a:spcAft>
              <a:buClrTx/>
              <a:defRPr/>
            </a:pPr>
            <a:r>
              <a:rPr lang="en-US" sz="1200" b="1" u="sng" kern="1200" dirty="0">
                <a:solidFill>
                  <a:schemeClr val="tx1"/>
                </a:solidFill>
              </a:rPr>
              <a:t>$</a:t>
            </a:r>
            <a:r>
              <a:rPr lang="en-GB" sz="1200" b="1" u="sng" dirty="0">
                <a:solidFill>
                  <a:schemeClr val="tx1"/>
                </a:solidFill>
              </a:rPr>
              <a:t> </a:t>
            </a:r>
            <a:r>
              <a:rPr lang="en-GB" sz="1200" b="1" u="sng" kern="1200" dirty="0">
                <a:solidFill>
                  <a:schemeClr val="tx1"/>
                </a:solidFill>
              </a:rPr>
              <a:t>7,518,313</a:t>
            </a:r>
            <a:r>
              <a:rPr lang="en-US" sz="1200" b="1" u="sng" kern="1200" dirty="0">
                <a:solidFill>
                  <a:schemeClr val="tx1"/>
                </a:solidFill>
              </a:rPr>
              <a:t>; Targeting 720,000SHFs </a:t>
            </a:r>
          </a:p>
          <a:p>
            <a:pPr lvl="0" fontAlgn="base">
              <a:spcBef>
                <a:spcPct val="0"/>
              </a:spcBef>
              <a:spcAft>
                <a:spcPct val="0"/>
              </a:spcAft>
              <a:buClrTx/>
              <a:defRPr/>
            </a:pPr>
            <a:endParaRPr lang="en-US" sz="1200" b="1" u="sng" kern="1200" dirty="0">
              <a:solidFill>
                <a:schemeClr val="tx1"/>
              </a:solidFill>
            </a:endParaRPr>
          </a:p>
          <a:p>
            <a:pPr defTabSz="913429" fontAlgn="t">
              <a:defRPr/>
            </a:pPr>
            <a:r>
              <a:rPr lang="en-US" sz="1200" b="1" kern="1200" dirty="0">
                <a:solidFill>
                  <a:schemeClr val="accent6">
                    <a:lumMod val="75000"/>
                  </a:schemeClr>
                </a:solidFill>
              </a:rPr>
              <a:t>Koulikoro Inclusive and Competitive Agricultural Market Systems for Smallholders. Target 320,000 </a:t>
            </a:r>
            <a:r>
              <a:rPr lang="en-US" sz="1200" kern="1200" dirty="0">
                <a:solidFill>
                  <a:schemeClr val="accent6">
                    <a:lumMod val="75000"/>
                  </a:schemeClr>
                </a:solidFill>
              </a:rPr>
              <a:t>SHFs. </a:t>
            </a:r>
            <a:r>
              <a:rPr lang="en-US" sz="1200" kern="1200" dirty="0">
                <a:solidFill>
                  <a:schemeClr val="tx1"/>
                </a:solidFill>
              </a:rPr>
              <a:t>Goal: inclusive productivity &amp; market access for maize, millet, sorghum &amp; cowpea value chains.</a:t>
            </a:r>
          </a:p>
          <a:p>
            <a:pPr defTabSz="913429" fontAlgn="t">
              <a:defRPr/>
            </a:pPr>
            <a:endParaRPr lang="en-US" sz="1200" kern="1200" dirty="0">
              <a:solidFill>
                <a:schemeClr val="tx1"/>
              </a:solidFill>
            </a:endParaRPr>
          </a:p>
          <a:p>
            <a:pPr lvl="0" defTabSz="913429" fontAlgn="t">
              <a:defRPr/>
            </a:pPr>
            <a:r>
              <a:rPr lang="en-ZA" sz="1200" b="1" kern="1200" dirty="0">
                <a:solidFill>
                  <a:schemeClr val="accent6">
                    <a:lumMod val="75000"/>
                  </a:schemeClr>
                </a:solidFill>
              </a:rPr>
              <a:t>Improving Smallholder Farmers’ Incomes and Food Security Through Enhancing Productivity and Market Access in Sikasso Region. </a:t>
            </a:r>
            <a:r>
              <a:rPr lang="en-GB" sz="1200" b="1" kern="1200" dirty="0">
                <a:solidFill>
                  <a:schemeClr val="accent6">
                    <a:lumMod val="75000"/>
                  </a:schemeClr>
                </a:solidFill>
              </a:rPr>
              <a:t>Target: 200,000 SHFs. </a:t>
            </a:r>
            <a:r>
              <a:rPr lang="en-GB" sz="1200" kern="1200" dirty="0">
                <a:solidFill>
                  <a:schemeClr val="tx1"/>
                </a:solidFill>
              </a:rPr>
              <a:t>Goal: </a:t>
            </a:r>
            <a:r>
              <a:rPr lang="en-US" sz="1200" kern="1200" dirty="0">
                <a:solidFill>
                  <a:schemeClr val="tx1"/>
                </a:solidFill>
              </a:rPr>
              <a:t>To increase income, food security and livelihood among smallholder farmers for </a:t>
            </a:r>
            <a:r>
              <a:rPr lang="en-ZA" sz="1200" kern="1200" dirty="0">
                <a:solidFill>
                  <a:schemeClr val="tx1"/>
                </a:solidFill>
              </a:rPr>
              <a:t>Maize, Sorghum and Cowpea Value Chains .</a:t>
            </a:r>
          </a:p>
          <a:p>
            <a:pPr lvl="0" defTabSz="913429" fontAlgn="t">
              <a:defRPr/>
            </a:pPr>
            <a:endParaRPr lang="en-US" sz="1200" kern="1200" dirty="0">
              <a:solidFill>
                <a:schemeClr val="tx1"/>
              </a:solidFill>
            </a:endParaRPr>
          </a:p>
          <a:p>
            <a:pPr defTabSz="913429" fontAlgn="t">
              <a:defRPr/>
            </a:pPr>
            <a:r>
              <a:rPr lang="en-US" sz="1200" b="1" kern="1200" dirty="0">
                <a:solidFill>
                  <a:schemeClr val="accent6">
                    <a:lumMod val="75000"/>
                  </a:schemeClr>
                </a:solidFill>
              </a:rPr>
              <a:t>Enhancing crop production and access to profitable markets for smallholder farmers in the region of Segou. Target 200,000. </a:t>
            </a:r>
            <a:r>
              <a:rPr lang="en-US" sz="1200" kern="1200" dirty="0">
                <a:solidFill>
                  <a:schemeClr val="tx1"/>
                </a:solidFill>
              </a:rPr>
              <a:t>Goal: Promote inclusive sector growth for sorghum, millet and cowpea value chains in the region of Segou.</a:t>
            </a:r>
          </a:p>
          <a:p>
            <a:pPr lvl="0" defTabSz="913429" fontAlgn="t">
              <a:defRPr/>
            </a:pPr>
            <a:endParaRPr lang="en-GB" sz="1050" kern="1200" dirty="0">
              <a:solidFill>
                <a:schemeClr val="tx1"/>
              </a:solidFill>
            </a:endParaRPr>
          </a:p>
          <a:p>
            <a:pPr lvl="0" fontAlgn="base">
              <a:spcBef>
                <a:spcPct val="0"/>
              </a:spcBef>
              <a:spcAft>
                <a:spcPct val="0"/>
              </a:spcAft>
              <a:buClrTx/>
              <a:defRPr/>
            </a:pPr>
            <a:endParaRPr lang="en-US" sz="1050" b="1" u="sng" kern="1200" dirty="0">
              <a:solidFill>
                <a:schemeClr val="tx1"/>
              </a:solidFill>
            </a:endParaRPr>
          </a:p>
        </p:txBody>
      </p:sp>
      <p:sp>
        <p:nvSpPr>
          <p:cNvPr id="57" name="TextBox 56"/>
          <p:cNvSpPr txBox="1"/>
          <p:nvPr/>
        </p:nvSpPr>
        <p:spPr>
          <a:xfrm>
            <a:off x="7916830" y="1449523"/>
            <a:ext cx="1876043" cy="707886"/>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n-lt"/>
              </a:rPr>
              <a:t>Alignment to leverage expertise and resources on improved ISP implementation and resilience.</a:t>
            </a:r>
            <a:endParaRPr kumimoji="0" lang="en-US" sz="1000" b="0" i="0" u="none" strike="noStrike" kern="1200" cap="none" spc="0" normalizeH="0" baseline="0" noProof="0" dirty="0">
              <a:ln>
                <a:noFill/>
              </a:ln>
              <a:solidFill>
                <a:schemeClr val="tx1"/>
              </a:solidFill>
              <a:effectLst/>
              <a:uLnTx/>
              <a:uFillTx/>
              <a:latin typeface="+mn-lt"/>
              <a:ea typeface="+mn-ea"/>
              <a:cs typeface="+mn-cs"/>
            </a:endParaRPr>
          </a:p>
        </p:txBody>
      </p:sp>
      <p:sp>
        <p:nvSpPr>
          <p:cNvPr id="58" name="TextBox 57"/>
          <p:cNvSpPr txBox="1"/>
          <p:nvPr/>
        </p:nvSpPr>
        <p:spPr>
          <a:xfrm>
            <a:off x="7916830" y="5278709"/>
            <a:ext cx="1884061" cy="1061829"/>
          </a:xfrm>
          <a:prstGeom prst="rect">
            <a:avLst/>
          </a:prstGeom>
          <a:noFill/>
        </p:spPr>
        <p:txBody>
          <a:bodyPr wrap="square" rtlCol="0">
            <a:spAutoFit/>
          </a:bodyPr>
          <a:lstStyle/>
          <a:p>
            <a:pPr algn="just">
              <a:buClrTx/>
              <a:defRPr/>
            </a:pPr>
            <a:r>
              <a:rPr lang="en-US" sz="1050" dirty="0">
                <a:solidFill>
                  <a:schemeClr val="tx1"/>
                </a:solidFill>
                <a:latin typeface="+mn-lt"/>
              </a:rPr>
              <a:t>Collaborate closely with financial to develop tailored financial products for SMEs and farmers and develop their capacities in agricultural finance.</a:t>
            </a:r>
            <a:endParaRPr kumimoji="0" lang="en-US" sz="1050" b="0" i="0" u="none" strike="noStrike" kern="1200" cap="none" spc="0" normalizeH="0" baseline="0" noProof="0" dirty="0">
              <a:ln>
                <a:noFill/>
              </a:ln>
              <a:solidFill>
                <a:schemeClr val="tx1"/>
              </a:solidFill>
              <a:effectLst/>
              <a:uLnTx/>
              <a:uFillTx/>
              <a:latin typeface="+mn-lt"/>
              <a:ea typeface="+mn-ea"/>
              <a:cs typeface="+mn-cs"/>
            </a:endParaRPr>
          </a:p>
        </p:txBody>
      </p:sp>
      <p:cxnSp>
        <p:nvCxnSpPr>
          <p:cNvPr id="59" name="Straight Connector 58"/>
          <p:cNvCxnSpPr/>
          <p:nvPr/>
        </p:nvCxnSpPr>
        <p:spPr>
          <a:xfrm flipV="1">
            <a:off x="6689938" y="2675965"/>
            <a:ext cx="3086074" cy="2548"/>
          </a:xfrm>
          <a:prstGeom prst="line">
            <a:avLst/>
          </a:prstGeom>
          <a:noFill/>
          <a:ln w="19050" cap="flat" cmpd="sng" algn="ctr">
            <a:solidFill>
              <a:srgbClr val="808080"/>
            </a:solidFill>
            <a:prstDash val="dash"/>
          </a:ln>
          <a:effectLst/>
        </p:spPr>
      </p:cxnSp>
      <p:cxnSp>
        <p:nvCxnSpPr>
          <p:cNvPr id="60" name="Straight Connector 59"/>
          <p:cNvCxnSpPr/>
          <p:nvPr/>
        </p:nvCxnSpPr>
        <p:spPr>
          <a:xfrm>
            <a:off x="6858000" y="4222376"/>
            <a:ext cx="2823882" cy="0"/>
          </a:xfrm>
          <a:prstGeom prst="line">
            <a:avLst/>
          </a:prstGeom>
          <a:noFill/>
          <a:ln w="19050" cap="flat" cmpd="sng" algn="ctr">
            <a:solidFill>
              <a:srgbClr val="808080"/>
            </a:solidFill>
            <a:prstDash val="dash"/>
          </a:ln>
          <a:effectLst/>
        </p:spPr>
      </p:cxnSp>
      <p:sp>
        <p:nvSpPr>
          <p:cNvPr id="66" name="Rectangle 65"/>
          <p:cNvSpPr>
            <a:spLocks/>
          </p:cNvSpPr>
          <p:nvPr/>
        </p:nvSpPr>
        <p:spPr>
          <a:xfrm>
            <a:off x="201451" y="1505881"/>
            <a:ext cx="3099816" cy="5012151"/>
          </a:xfrm>
          <a:prstGeom prst="rect">
            <a:avLst/>
          </a:prstGeom>
          <a:solidFill>
            <a:srgbClr val="F0F6E3">
              <a:alpha val="80000"/>
            </a:srgbClr>
          </a:solidFill>
          <a:ln w="19050" cap="flat" cmpd="sng" algn="ctr">
            <a:solidFill>
              <a:srgbClr val="01632F"/>
            </a:solidFill>
            <a:prstDash val="solid"/>
          </a:ln>
          <a:effectLst/>
        </p:spPr>
        <p:txBody>
          <a:bodyPr rtlCol="0" anchor="t"/>
          <a:lstStyle/>
          <a:p>
            <a:pPr defTabSz="914395" fontAlgn="t">
              <a:defRPr/>
            </a:pPr>
            <a:r>
              <a:rPr lang="en-US" sz="1200" dirty="0">
                <a:solidFill>
                  <a:schemeClr val="tx1"/>
                </a:solidFill>
              </a:rPr>
              <a:t>Investment of </a:t>
            </a:r>
            <a:r>
              <a:rPr lang="en-US" sz="1200" b="1" dirty="0">
                <a:solidFill>
                  <a:schemeClr val="tx1"/>
                </a:solidFill>
              </a:rPr>
              <a:t>USD698,000</a:t>
            </a:r>
            <a:r>
              <a:rPr lang="en-US" sz="1200" dirty="0">
                <a:solidFill>
                  <a:schemeClr val="tx1"/>
                </a:solidFill>
              </a:rPr>
              <a:t> for </a:t>
            </a:r>
            <a:r>
              <a:rPr lang="en-GB" sz="1200" b="1" kern="1200" dirty="0">
                <a:solidFill>
                  <a:schemeClr val="tx1"/>
                </a:solidFill>
              </a:rPr>
              <a:t>Institutional Capacity Strengthening for Sustainable Transformation of Agriculture Sector in Mali (ICS-SAT)</a:t>
            </a:r>
            <a:endParaRPr lang="en-US" sz="1200" b="1" kern="1200" dirty="0">
              <a:solidFill>
                <a:schemeClr val="tx1"/>
              </a:solidFill>
            </a:endParaRPr>
          </a:p>
          <a:p>
            <a:pPr lvl="0" defTabSz="914395" fontAlgn="t">
              <a:defRPr/>
            </a:pPr>
            <a:endParaRPr lang="en-US" sz="1200" dirty="0">
              <a:solidFill>
                <a:schemeClr val="tx1"/>
              </a:solidFill>
            </a:endParaRPr>
          </a:p>
          <a:p>
            <a:pPr marL="228600" lvl="0" indent="-228600" defTabSz="914395" fontAlgn="t">
              <a:buFont typeface="Arial" panose="020B0604020202020204" pitchFamily="34" charset="0"/>
              <a:buChar char="•"/>
              <a:defRPr/>
            </a:pPr>
            <a:endParaRPr lang="en-US" sz="1200" dirty="0">
              <a:solidFill>
                <a:schemeClr val="tx1"/>
              </a:solidFill>
            </a:endParaRPr>
          </a:p>
          <a:p>
            <a:pPr marL="285753" indent="-285750" defTabSz="914395">
              <a:buClrTx/>
              <a:buFont typeface="Arial" panose="020B0604020202020204" pitchFamily="34" charset="0"/>
              <a:buChar char="•"/>
            </a:pPr>
            <a:r>
              <a:rPr lang="en-US" sz="1200" kern="1200" dirty="0">
                <a:solidFill>
                  <a:schemeClr val="tx1"/>
                </a:solidFill>
                <a:latin typeface="Arial" panose="020B0604020202020204" pitchFamily="34" charset="0"/>
                <a:ea typeface="+mn-ea"/>
                <a:cs typeface="Arial" panose="020B0604020202020204" pitchFamily="34" charset="0"/>
              </a:rPr>
              <a:t>Institutional coordination of the Ministry of Agriculture</a:t>
            </a:r>
          </a:p>
          <a:p>
            <a:pPr marL="285753" indent="-285750" defTabSz="914395">
              <a:buClrTx/>
              <a:buFont typeface="Arial" panose="020B0604020202020204" pitchFamily="34" charset="0"/>
              <a:buChar char="•"/>
            </a:pPr>
            <a:r>
              <a:rPr lang="en-US" sz="1200" kern="1200" dirty="0">
                <a:solidFill>
                  <a:schemeClr val="tx1"/>
                </a:solidFill>
                <a:latin typeface="Arial" panose="020B0604020202020204" pitchFamily="34" charset="0"/>
                <a:ea typeface="+mn-ea"/>
                <a:cs typeface="Arial" panose="020B0604020202020204" pitchFamily="34" charset="0"/>
              </a:rPr>
              <a:t>Support to the Ministry in the rationalization and roll out of the existing Input Subsidy Program</a:t>
            </a:r>
          </a:p>
          <a:p>
            <a:pPr marL="285753" indent="-285750" defTabSz="914395">
              <a:buClrTx/>
              <a:buFont typeface="Arial" panose="020B0604020202020204" pitchFamily="34" charset="0"/>
              <a:buChar char="•"/>
            </a:pPr>
            <a:r>
              <a:rPr lang="en-US" sz="1200" dirty="0">
                <a:solidFill>
                  <a:schemeClr val="tx1"/>
                </a:solidFill>
              </a:rPr>
              <a:t>Domestication of Regional (ECOWAS) seed and fertilizer regulation.</a:t>
            </a:r>
          </a:p>
          <a:p>
            <a:pPr marL="285753" indent="-285750" defTabSz="914395">
              <a:buClrTx/>
              <a:buFont typeface="Arial" panose="020B0604020202020204" pitchFamily="34" charset="0"/>
              <a:buChar char="•"/>
            </a:pPr>
            <a:r>
              <a:rPr lang="en-US" sz="1200" kern="1200" dirty="0">
                <a:solidFill>
                  <a:schemeClr val="tx1"/>
                </a:solidFill>
                <a:latin typeface="Arial" panose="020B0604020202020204" pitchFamily="34" charset="0"/>
                <a:ea typeface="+mn-ea"/>
                <a:cs typeface="Arial" panose="020B0604020202020204" pitchFamily="34" charset="0"/>
              </a:rPr>
              <a:t>Support Government to Develop a country flagship program</a:t>
            </a:r>
          </a:p>
          <a:p>
            <a:pPr marL="285753" indent="-285750" defTabSz="914395">
              <a:buClrTx/>
              <a:buFont typeface="Arial" panose="020B0604020202020204" pitchFamily="34" charset="0"/>
              <a:buChar char="•"/>
            </a:pPr>
            <a:r>
              <a:rPr lang="en-US" sz="1200" dirty="0">
                <a:solidFill>
                  <a:schemeClr val="tx1"/>
                </a:solidFill>
              </a:rPr>
              <a:t>Assisting the Government to cascade the PNISA (NAIP) to the subnational level and develop regional investment plans</a:t>
            </a:r>
          </a:p>
          <a:p>
            <a:pPr marL="285753" indent="-285750" defTabSz="914395">
              <a:buClrTx/>
              <a:buFont typeface="Arial" panose="020B0604020202020204" pitchFamily="34" charset="0"/>
              <a:buChar char="•"/>
            </a:pPr>
            <a:r>
              <a:rPr lang="en-US" sz="1200" kern="1200" dirty="0">
                <a:solidFill>
                  <a:schemeClr val="tx1"/>
                </a:solidFill>
                <a:latin typeface="Arial" panose="020B0604020202020204" pitchFamily="34" charset="0"/>
                <a:ea typeface="+mn-ea"/>
                <a:cs typeface="Arial" panose="020B0604020202020204" pitchFamily="34" charset="0"/>
              </a:rPr>
              <a:t>Strengthen the M&amp;E system of the Ministry of Agriculture through the CPS/SDR</a:t>
            </a:r>
          </a:p>
          <a:p>
            <a:pPr marL="285753" indent="-285750" defTabSz="914395">
              <a:buClrTx/>
              <a:buFont typeface="Arial" panose="020B0604020202020204" pitchFamily="34" charset="0"/>
              <a:buChar char="•"/>
            </a:pPr>
            <a:endParaRPr lang="en-US" sz="1200" dirty="0">
              <a:solidFill>
                <a:schemeClr val="tx1"/>
              </a:solidFill>
            </a:endParaRPr>
          </a:p>
          <a:p>
            <a:pPr marL="3" defTabSz="914395">
              <a:buClrTx/>
            </a:pPr>
            <a:endParaRPr lang="en-US" sz="1200" dirty="0">
              <a:solidFill>
                <a:schemeClr val="tx1"/>
              </a:solidFill>
            </a:endParaRPr>
          </a:p>
          <a:p>
            <a:pPr marL="228600" indent="-228600">
              <a:buFont typeface="Arial" panose="020B0604020202020204" pitchFamily="34" charset="0"/>
              <a:buChar char="•"/>
            </a:pPr>
            <a:endParaRPr lang="en-US" sz="1200" dirty="0">
              <a:solidFill>
                <a:schemeClr val="tx1"/>
              </a:solidFill>
            </a:endParaRPr>
          </a:p>
        </p:txBody>
      </p:sp>
      <p:sp>
        <p:nvSpPr>
          <p:cNvPr id="67" name="Rectangle 66">
            <a:hlinkClick r:id="" action="ppaction://noaction"/>
          </p:cNvPr>
          <p:cNvSpPr/>
          <p:nvPr/>
        </p:nvSpPr>
        <p:spPr bwMode="gray">
          <a:xfrm>
            <a:off x="201451" y="906112"/>
            <a:ext cx="3099816" cy="548640"/>
          </a:xfrm>
          <a:prstGeom prst="rect">
            <a:avLst/>
          </a:prstGeom>
          <a:solidFill>
            <a:srgbClr val="B5D474">
              <a:lumMod val="75000"/>
            </a:srgbClr>
          </a:solidFill>
          <a:ln w="19050" algn="ctr">
            <a:solidFill>
              <a:srgbClr val="FFFFFF"/>
            </a:solidFill>
            <a:miter lim="800000"/>
            <a:headEnd/>
            <a:tailEnd/>
          </a:ln>
        </p:spPr>
        <p:txBody>
          <a:bodyPr wrap="square" lIns="88900" tIns="88900" rIns="88900" bIns="88900" rtlCol="0" anchor="ctr"/>
          <a:lstStyle/>
          <a:p>
            <a:pPr marL="457200" marR="0" lvl="1" indent="0" defTabSz="91440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ea typeface="+mn-ea"/>
                <a:cs typeface="+mn-cs"/>
              </a:rPr>
              <a:t>  Policy and</a:t>
            </a:r>
            <a:r>
              <a:rPr kumimoji="0" lang="en-US" sz="1200" b="1" i="0" u="none" strike="noStrike" kern="1200" cap="none" spc="0" normalizeH="0" noProof="0" dirty="0">
                <a:ln>
                  <a:noFill/>
                </a:ln>
                <a:solidFill>
                  <a:srgbClr val="FFFFFF"/>
                </a:solidFill>
                <a:effectLst/>
                <a:uLnTx/>
                <a:uFillTx/>
                <a:ea typeface="+mn-ea"/>
                <a:cs typeface="+mn-cs"/>
              </a:rPr>
              <a:t> State Capability</a:t>
            </a:r>
            <a:endParaRPr kumimoji="0" lang="en-US" sz="1200" b="1" i="0" u="none" strike="noStrike" kern="1200" cap="none" spc="0" normalizeH="0" baseline="0" noProof="0" dirty="0">
              <a:ln>
                <a:noFill/>
              </a:ln>
              <a:solidFill>
                <a:srgbClr val="FFFFFF"/>
              </a:solidFill>
              <a:effectLst/>
              <a:uLnTx/>
              <a:uFillTx/>
              <a:ea typeface="+mn-ea"/>
              <a:cs typeface="+mn-cs"/>
            </a:endParaRPr>
          </a:p>
        </p:txBody>
      </p:sp>
      <p:sp>
        <p:nvSpPr>
          <p:cNvPr id="68" name="Rectangle 67">
            <a:hlinkClick r:id="" action="ppaction://noaction"/>
          </p:cNvPr>
          <p:cNvSpPr/>
          <p:nvPr/>
        </p:nvSpPr>
        <p:spPr bwMode="gray">
          <a:xfrm>
            <a:off x="6660225" y="906112"/>
            <a:ext cx="3122411" cy="548640"/>
          </a:xfrm>
          <a:prstGeom prst="rect">
            <a:avLst/>
          </a:prstGeom>
          <a:solidFill>
            <a:srgbClr val="B5D474">
              <a:lumMod val="75000"/>
            </a:srgbClr>
          </a:solidFill>
          <a:ln w="19050" algn="ctr">
            <a:solidFill>
              <a:srgbClr val="FFFFFF"/>
            </a:solidFill>
            <a:miter lim="800000"/>
            <a:headEnd/>
            <a:tailEnd/>
          </a:ln>
        </p:spPr>
        <p:txBody>
          <a:bodyPr wrap="square" lIns="88900" tIns="88900" rIns="88900" bIns="88900" rtlCol="0" anchor="ctr"/>
          <a:lstStyle/>
          <a:p>
            <a:pPr marL="457200" marR="0" lvl="1" indent="0"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srgbClr val="FFFFFF"/>
                </a:solidFill>
                <a:effectLst/>
                <a:uLnTx/>
                <a:uFillTx/>
                <a:ea typeface="+mn-ea"/>
                <a:cs typeface="+mn-cs"/>
              </a:rPr>
              <a:t>  Strategic Partnerships</a:t>
            </a:r>
          </a:p>
        </p:txBody>
      </p:sp>
      <p:sp>
        <p:nvSpPr>
          <p:cNvPr id="69" name="Freeform 68"/>
          <p:cNvSpPr>
            <a:spLocks noChangeAspect="1" noEditPoints="1"/>
          </p:cNvSpPr>
          <p:nvPr/>
        </p:nvSpPr>
        <p:spPr bwMode="auto">
          <a:xfrm>
            <a:off x="6687201" y="1046609"/>
            <a:ext cx="534664" cy="365760"/>
          </a:xfrm>
          <a:custGeom>
            <a:avLst/>
            <a:gdLst>
              <a:gd name="T0" fmla="*/ 252 w 438"/>
              <a:gd name="T1" fmla="*/ 65 h 279"/>
              <a:gd name="T2" fmla="*/ 193 w 438"/>
              <a:gd name="T3" fmla="*/ 89 h 279"/>
              <a:gd name="T4" fmla="*/ 207 w 438"/>
              <a:gd name="T5" fmla="*/ 146 h 279"/>
              <a:gd name="T6" fmla="*/ 222 w 438"/>
              <a:gd name="T7" fmla="*/ 119 h 279"/>
              <a:gd name="T8" fmla="*/ 273 w 438"/>
              <a:gd name="T9" fmla="*/ 150 h 279"/>
              <a:gd name="T10" fmla="*/ 329 w 438"/>
              <a:gd name="T11" fmla="*/ 205 h 279"/>
              <a:gd name="T12" fmla="*/ 325 w 438"/>
              <a:gd name="T13" fmla="*/ 220 h 279"/>
              <a:gd name="T14" fmla="*/ 277 w 438"/>
              <a:gd name="T15" fmla="*/ 183 h 279"/>
              <a:gd name="T16" fmla="*/ 271 w 438"/>
              <a:gd name="T17" fmla="*/ 190 h 279"/>
              <a:gd name="T18" fmla="*/ 298 w 438"/>
              <a:gd name="T19" fmla="*/ 241 h 279"/>
              <a:gd name="T20" fmla="*/ 241 w 438"/>
              <a:gd name="T21" fmla="*/ 199 h 279"/>
              <a:gd name="T22" fmla="*/ 289 w 438"/>
              <a:gd name="T23" fmla="*/ 246 h 279"/>
              <a:gd name="T24" fmla="*/ 228 w 438"/>
              <a:gd name="T25" fmla="*/ 219 h 279"/>
              <a:gd name="T26" fmla="*/ 222 w 438"/>
              <a:gd name="T27" fmla="*/ 226 h 279"/>
              <a:gd name="T28" fmla="*/ 233 w 438"/>
              <a:gd name="T29" fmla="*/ 257 h 279"/>
              <a:gd name="T30" fmla="*/ 235 w 438"/>
              <a:gd name="T31" fmla="*/ 268 h 279"/>
              <a:gd name="T32" fmla="*/ 293 w 438"/>
              <a:gd name="T33" fmla="*/ 256 h 279"/>
              <a:gd name="T34" fmla="*/ 336 w 438"/>
              <a:gd name="T35" fmla="*/ 196 h 279"/>
              <a:gd name="T36" fmla="*/ 308 w 438"/>
              <a:gd name="T37" fmla="*/ 85 h 279"/>
              <a:gd name="T38" fmla="*/ 191 w 438"/>
              <a:gd name="T39" fmla="*/ 210 h 279"/>
              <a:gd name="T40" fmla="*/ 230 w 438"/>
              <a:gd name="T41" fmla="*/ 265 h 279"/>
              <a:gd name="T42" fmla="*/ 137 w 438"/>
              <a:gd name="T43" fmla="*/ 220 h 279"/>
              <a:gd name="T44" fmla="*/ 157 w 438"/>
              <a:gd name="T45" fmla="*/ 196 h 279"/>
              <a:gd name="T46" fmla="*/ 362 w 438"/>
              <a:gd name="T47" fmla="*/ 204 h 279"/>
              <a:gd name="T48" fmla="*/ 438 w 438"/>
              <a:gd name="T49" fmla="*/ 0 h 279"/>
              <a:gd name="T50" fmla="*/ 112 w 438"/>
              <a:gd name="T51" fmla="*/ 72 h 279"/>
              <a:gd name="T52" fmla="*/ 0 w 438"/>
              <a:gd name="T53" fmla="*/ 182 h 279"/>
              <a:gd name="T54" fmla="*/ 112 w 438"/>
              <a:gd name="T55" fmla="*/ 72 h 279"/>
              <a:gd name="T56" fmla="*/ 89 w 438"/>
              <a:gd name="T57" fmla="*/ 173 h 279"/>
              <a:gd name="T58" fmla="*/ 198 w 438"/>
              <a:gd name="T59" fmla="*/ 77 h 279"/>
              <a:gd name="T60" fmla="*/ 187 w 438"/>
              <a:gd name="T61" fmla="*/ 85 h 279"/>
              <a:gd name="T62" fmla="*/ 125 w 438"/>
              <a:gd name="T63" fmla="*/ 88 h 279"/>
              <a:gd name="T64" fmla="*/ 136 w 438"/>
              <a:gd name="T65" fmla="*/ 190 h 279"/>
              <a:gd name="T66" fmla="*/ 129 w 438"/>
              <a:gd name="T67" fmla="*/ 198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38" h="279">
                <a:moveTo>
                  <a:pt x="308" y="85"/>
                </a:moveTo>
                <a:cubicBezTo>
                  <a:pt x="308" y="85"/>
                  <a:pt x="270" y="70"/>
                  <a:pt x="252" y="65"/>
                </a:cubicBezTo>
                <a:cubicBezTo>
                  <a:pt x="239" y="62"/>
                  <a:pt x="237" y="64"/>
                  <a:pt x="226" y="70"/>
                </a:cubicBezTo>
                <a:cubicBezTo>
                  <a:pt x="217" y="75"/>
                  <a:pt x="201" y="82"/>
                  <a:pt x="193" y="89"/>
                </a:cubicBezTo>
                <a:cubicBezTo>
                  <a:pt x="188" y="94"/>
                  <a:pt x="181" y="142"/>
                  <a:pt x="181" y="143"/>
                </a:cubicBezTo>
                <a:cubicBezTo>
                  <a:pt x="180" y="156"/>
                  <a:pt x="198" y="156"/>
                  <a:pt x="207" y="146"/>
                </a:cubicBezTo>
                <a:cubicBezTo>
                  <a:pt x="212" y="139"/>
                  <a:pt x="217" y="129"/>
                  <a:pt x="220" y="122"/>
                </a:cubicBezTo>
                <a:cubicBezTo>
                  <a:pt x="223" y="117"/>
                  <a:pt x="222" y="119"/>
                  <a:pt x="222" y="119"/>
                </a:cubicBezTo>
                <a:cubicBezTo>
                  <a:pt x="236" y="115"/>
                  <a:pt x="236" y="115"/>
                  <a:pt x="236" y="115"/>
                </a:cubicBezTo>
                <a:cubicBezTo>
                  <a:pt x="246" y="125"/>
                  <a:pt x="259" y="137"/>
                  <a:pt x="273" y="150"/>
                </a:cubicBezTo>
                <a:cubicBezTo>
                  <a:pt x="294" y="171"/>
                  <a:pt x="315" y="191"/>
                  <a:pt x="324" y="199"/>
                </a:cubicBezTo>
                <a:cubicBezTo>
                  <a:pt x="327" y="201"/>
                  <a:pt x="328" y="203"/>
                  <a:pt x="329" y="205"/>
                </a:cubicBezTo>
                <a:cubicBezTo>
                  <a:pt x="330" y="207"/>
                  <a:pt x="330" y="209"/>
                  <a:pt x="329" y="212"/>
                </a:cubicBezTo>
                <a:cubicBezTo>
                  <a:pt x="328" y="214"/>
                  <a:pt x="327" y="217"/>
                  <a:pt x="325" y="220"/>
                </a:cubicBezTo>
                <a:cubicBezTo>
                  <a:pt x="324" y="221"/>
                  <a:pt x="323" y="222"/>
                  <a:pt x="323" y="222"/>
                </a:cubicBezTo>
                <a:cubicBezTo>
                  <a:pt x="277" y="183"/>
                  <a:pt x="277" y="183"/>
                  <a:pt x="277" y="183"/>
                </a:cubicBezTo>
                <a:cubicBezTo>
                  <a:pt x="275" y="182"/>
                  <a:pt x="272" y="182"/>
                  <a:pt x="271" y="184"/>
                </a:cubicBezTo>
                <a:cubicBezTo>
                  <a:pt x="269" y="186"/>
                  <a:pt x="269" y="188"/>
                  <a:pt x="271" y="190"/>
                </a:cubicBezTo>
                <a:cubicBezTo>
                  <a:pt x="316" y="228"/>
                  <a:pt x="316" y="228"/>
                  <a:pt x="316" y="228"/>
                </a:cubicBezTo>
                <a:cubicBezTo>
                  <a:pt x="310" y="233"/>
                  <a:pt x="304" y="238"/>
                  <a:pt x="298" y="241"/>
                </a:cubicBezTo>
                <a:cubicBezTo>
                  <a:pt x="248" y="198"/>
                  <a:pt x="248" y="198"/>
                  <a:pt x="248" y="198"/>
                </a:cubicBezTo>
                <a:cubicBezTo>
                  <a:pt x="246" y="197"/>
                  <a:pt x="243" y="197"/>
                  <a:pt x="241" y="199"/>
                </a:cubicBezTo>
                <a:cubicBezTo>
                  <a:pt x="240" y="201"/>
                  <a:pt x="240" y="204"/>
                  <a:pt x="242" y="205"/>
                </a:cubicBezTo>
                <a:cubicBezTo>
                  <a:pt x="289" y="246"/>
                  <a:pt x="289" y="246"/>
                  <a:pt x="289" y="246"/>
                </a:cubicBezTo>
                <a:cubicBezTo>
                  <a:pt x="282" y="249"/>
                  <a:pt x="273" y="250"/>
                  <a:pt x="265" y="252"/>
                </a:cubicBezTo>
                <a:cubicBezTo>
                  <a:pt x="228" y="219"/>
                  <a:pt x="228" y="219"/>
                  <a:pt x="228" y="219"/>
                </a:cubicBezTo>
                <a:cubicBezTo>
                  <a:pt x="226" y="217"/>
                  <a:pt x="223" y="217"/>
                  <a:pt x="222" y="219"/>
                </a:cubicBezTo>
                <a:cubicBezTo>
                  <a:pt x="220" y="221"/>
                  <a:pt x="220" y="224"/>
                  <a:pt x="222" y="226"/>
                </a:cubicBezTo>
                <a:cubicBezTo>
                  <a:pt x="254" y="254"/>
                  <a:pt x="254" y="254"/>
                  <a:pt x="254" y="254"/>
                </a:cubicBezTo>
                <a:cubicBezTo>
                  <a:pt x="248" y="255"/>
                  <a:pt x="240" y="257"/>
                  <a:pt x="233" y="257"/>
                </a:cubicBezTo>
                <a:cubicBezTo>
                  <a:pt x="234" y="260"/>
                  <a:pt x="235" y="263"/>
                  <a:pt x="235" y="266"/>
                </a:cubicBezTo>
                <a:cubicBezTo>
                  <a:pt x="235" y="267"/>
                  <a:pt x="236" y="267"/>
                  <a:pt x="235" y="268"/>
                </a:cubicBezTo>
                <a:cubicBezTo>
                  <a:pt x="243" y="267"/>
                  <a:pt x="257" y="265"/>
                  <a:pt x="270" y="262"/>
                </a:cubicBezTo>
                <a:cubicBezTo>
                  <a:pt x="280" y="260"/>
                  <a:pt x="288" y="258"/>
                  <a:pt x="293" y="256"/>
                </a:cubicBezTo>
                <a:cubicBezTo>
                  <a:pt x="303" y="251"/>
                  <a:pt x="322" y="240"/>
                  <a:pt x="333" y="227"/>
                </a:cubicBezTo>
                <a:cubicBezTo>
                  <a:pt x="340" y="218"/>
                  <a:pt x="343" y="207"/>
                  <a:pt x="336" y="196"/>
                </a:cubicBezTo>
                <a:cubicBezTo>
                  <a:pt x="360" y="183"/>
                  <a:pt x="360" y="183"/>
                  <a:pt x="360" y="183"/>
                </a:cubicBezTo>
                <a:cubicBezTo>
                  <a:pt x="356" y="138"/>
                  <a:pt x="323" y="90"/>
                  <a:pt x="308" y="85"/>
                </a:cubicBezTo>
                <a:close/>
                <a:moveTo>
                  <a:pt x="157" y="196"/>
                </a:moveTo>
                <a:cubicBezTo>
                  <a:pt x="167" y="198"/>
                  <a:pt x="180" y="202"/>
                  <a:pt x="191" y="210"/>
                </a:cubicBezTo>
                <a:cubicBezTo>
                  <a:pt x="213" y="226"/>
                  <a:pt x="222" y="242"/>
                  <a:pt x="226" y="252"/>
                </a:cubicBezTo>
                <a:cubicBezTo>
                  <a:pt x="228" y="256"/>
                  <a:pt x="230" y="261"/>
                  <a:pt x="230" y="265"/>
                </a:cubicBezTo>
                <a:cubicBezTo>
                  <a:pt x="230" y="268"/>
                  <a:pt x="231" y="268"/>
                  <a:pt x="229" y="269"/>
                </a:cubicBezTo>
                <a:cubicBezTo>
                  <a:pt x="205" y="279"/>
                  <a:pt x="154" y="247"/>
                  <a:pt x="137" y="220"/>
                </a:cubicBezTo>
                <a:cubicBezTo>
                  <a:pt x="134" y="215"/>
                  <a:pt x="128" y="202"/>
                  <a:pt x="133" y="197"/>
                </a:cubicBezTo>
                <a:cubicBezTo>
                  <a:pt x="139" y="193"/>
                  <a:pt x="155" y="196"/>
                  <a:pt x="157" y="196"/>
                </a:cubicBezTo>
                <a:close/>
                <a:moveTo>
                  <a:pt x="321" y="77"/>
                </a:moveTo>
                <a:cubicBezTo>
                  <a:pt x="341" y="91"/>
                  <a:pt x="399" y="185"/>
                  <a:pt x="362" y="204"/>
                </a:cubicBezTo>
                <a:cubicBezTo>
                  <a:pt x="356" y="219"/>
                  <a:pt x="434" y="187"/>
                  <a:pt x="438" y="186"/>
                </a:cubicBezTo>
                <a:cubicBezTo>
                  <a:pt x="438" y="0"/>
                  <a:pt x="438" y="0"/>
                  <a:pt x="438" y="0"/>
                </a:cubicBezTo>
                <a:cubicBezTo>
                  <a:pt x="321" y="77"/>
                  <a:pt x="321" y="77"/>
                  <a:pt x="321" y="77"/>
                </a:cubicBezTo>
                <a:close/>
                <a:moveTo>
                  <a:pt x="112" y="72"/>
                </a:moveTo>
                <a:cubicBezTo>
                  <a:pt x="91" y="97"/>
                  <a:pt x="59" y="188"/>
                  <a:pt x="97" y="208"/>
                </a:cubicBezTo>
                <a:cubicBezTo>
                  <a:pt x="106" y="226"/>
                  <a:pt x="2" y="183"/>
                  <a:pt x="0" y="182"/>
                </a:cubicBezTo>
                <a:cubicBezTo>
                  <a:pt x="0" y="3"/>
                  <a:pt x="0" y="3"/>
                  <a:pt x="0" y="3"/>
                </a:cubicBezTo>
                <a:cubicBezTo>
                  <a:pt x="112" y="72"/>
                  <a:pt x="112" y="72"/>
                  <a:pt x="112" y="72"/>
                </a:cubicBezTo>
                <a:close/>
                <a:moveTo>
                  <a:pt x="129" y="198"/>
                </a:moveTo>
                <a:cubicBezTo>
                  <a:pt x="89" y="173"/>
                  <a:pt x="89" y="173"/>
                  <a:pt x="89" y="173"/>
                </a:cubicBezTo>
                <a:cubicBezTo>
                  <a:pt x="90" y="136"/>
                  <a:pt x="100" y="108"/>
                  <a:pt x="119" y="76"/>
                </a:cubicBezTo>
                <a:cubicBezTo>
                  <a:pt x="198" y="77"/>
                  <a:pt x="198" y="77"/>
                  <a:pt x="198" y="77"/>
                </a:cubicBezTo>
                <a:cubicBezTo>
                  <a:pt x="199" y="77"/>
                  <a:pt x="200" y="77"/>
                  <a:pt x="201" y="77"/>
                </a:cubicBezTo>
                <a:cubicBezTo>
                  <a:pt x="194" y="81"/>
                  <a:pt x="189" y="84"/>
                  <a:pt x="187" y="85"/>
                </a:cubicBezTo>
                <a:cubicBezTo>
                  <a:pt x="187" y="86"/>
                  <a:pt x="186" y="87"/>
                  <a:pt x="186" y="88"/>
                </a:cubicBezTo>
                <a:cubicBezTo>
                  <a:pt x="165" y="88"/>
                  <a:pt x="145" y="88"/>
                  <a:pt x="125" y="88"/>
                </a:cubicBezTo>
                <a:cubicBezTo>
                  <a:pt x="110" y="112"/>
                  <a:pt x="101" y="139"/>
                  <a:pt x="100" y="167"/>
                </a:cubicBezTo>
                <a:cubicBezTo>
                  <a:pt x="136" y="190"/>
                  <a:pt x="136" y="190"/>
                  <a:pt x="136" y="190"/>
                </a:cubicBezTo>
                <a:cubicBezTo>
                  <a:pt x="137" y="191"/>
                  <a:pt x="138" y="191"/>
                  <a:pt x="139" y="192"/>
                </a:cubicBezTo>
                <a:cubicBezTo>
                  <a:pt x="135" y="192"/>
                  <a:pt x="130" y="193"/>
                  <a:pt x="129" y="19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0" name="Freeform 271"/>
          <p:cNvSpPr>
            <a:spLocks noEditPoints="1"/>
          </p:cNvSpPr>
          <p:nvPr/>
        </p:nvSpPr>
        <p:spPr bwMode="auto">
          <a:xfrm>
            <a:off x="201451" y="963578"/>
            <a:ext cx="593904" cy="433707"/>
          </a:xfrm>
          <a:custGeom>
            <a:avLst/>
            <a:gdLst>
              <a:gd name="T0" fmla="*/ 666 w 803"/>
              <a:gd name="T1" fmla="*/ 521 h 691"/>
              <a:gd name="T2" fmla="*/ 703 w 803"/>
              <a:gd name="T3" fmla="*/ 521 h 691"/>
              <a:gd name="T4" fmla="*/ 666 w 803"/>
              <a:gd name="T5" fmla="*/ 622 h 691"/>
              <a:gd name="T6" fmla="*/ 703 w 803"/>
              <a:gd name="T7" fmla="*/ 622 h 691"/>
              <a:gd name="T8" fmla="*/ 591 w 803"/>
              <a:gd name="T9" fmla="*/ 521 h 691"/>
              <a:gd name="T10" fmla="*/ 628 w 803"/>
              <a:gd name="T11" fmla="*/ 521 h 691"/>
              <a:gd name="T12" fmla="*/ 591 w 803"/>
              <a:gd name="T13" fmla="*/ 622 h 691"/>
              <a:gd name="T14" fmla="*/ 628 w 803"/>
              <a:gd name="T15" fmla="*/ 622 h 691"/>
              <a:gd name="T16" fmla="*/ 526 w 803"/>
              <a:gd name="T17" fmla="*/ 490 h 691"/>
              <a:gd name="T18" fmla="*/ 491 w 803"/>
              <a:gd name="T19" fmla="*/ 490 h 691"/>
              <a:gd name="T20" fmla="*/ 420 w 803"/>
              <a:gd name="T21" fmla="*/ 648 h 691"/>
              <a:gd name="T22" fmla="*/ 383 w 803"/>
              <a:gd name="T23" fmla="*/ 648 h 691"/>
              <a:gd name="T24" fmla="*/ 311 w 803"/>
              <a:gd name="T25" fmla="*/ 490 h 691"/>
              <a:gd name="T26" fmla="*/ 276 w 803"/>
              <a:gd name="T27" fmla="*/ 490 h 691"/>
              <a:gd name="T28" fmla="*/ 401 w 803"/>
              <a:gd name="T29" fmla="*/ 408 h 691"/>
              <a:gd name="T30" fmla="*/ 212 w 803"/>
              <a:gd name="T31" fmla="*/ 521 h 691"/>
              <a:gd name="T32" fmla="*/ 174 w 803"/>
              <a:gd name="T33" fmla="*/ 468 h 691"/>
              <a:gd name="T34" fmla="*/ 212 w 803"/>
              <a:gd name="T35" fmla="*/ 622 h 691"/>
              <a:gd name="T36" fmla="*/ 174 w 803"/>
              <a:gd name="T37" fmla="*/ 569 h 691"/>
              <a:gd name="T38" fmla="*/ 137 w 803"/>
              <a:gd name="T39" fmla="*/ 521 h 691"/>
              <a:gd name="T40" fmla="*/ 100 w 803"/>
              <a:gd name="T41" fmla="*/ 468 h 691"/>
              <a:gd name="T42" fmla="*/ 137 w 803"/>
              <a:gd name="T43" fmla="*/ 622 h 691"/>
              <a:gd name="T44" fmla="*/ 100 w 803"/>
              <a:gd name="T45" fmla="*/ 569 h 691"/>
              <a:gd name="T46" fmla="*/ 308 w 803"/>
              <a:gd name="T47" fmla="*/ 309 h 691"/>
              <a:gd name="T48" fmla="*/ 345 w 803"/>
              <a:gd name="T49" fmla="*/ 362 h 691"/>
              <a:gd name="T50" fmla="*/ 385 w 803"/>
              <a:gd name="T51" fmla="*/ 309 h 691"/>
              <a:gd name="T52" fmla="*/ 422 w 803"/>
              <a:gd name="T53" fmla="*/ 362 h 691"/>
              <a:gd name="T54" fmla="*/ 458 w 803"/>
              <a:gd name="T55" fmla="*/ 309 h 691"/>
              <a:gd name="T56" fmla="*/ 495 w 803"/>
              <a:gd name="T57" fmla="*/ 362 h 691"/>
              <a:gd name="T58" fmla="*/ 781 w 803"/>
              <a:gd name="T59" fmla="*/ 648 h 691"/>
              <a:gd name="T60" fmla="*/ 756 w 803"/>
              <a:gd name="T61" fmla="*/ 610 h 691"/>
              <a:gd name="T62" fmla="*/ 767 w 803"/>
              <a:gd name="T63" fmla="*/ 413 h 691"/>
              <a:gd name="T64" fmla="*/ 553 w 803"/>
              <a:gd name="T65" fmla="*/ 375 h 691"/>
              <a:gd name="T66" fmla="*/ 563 w 803"/>
              <a:gd name="T67" fmla="*/ 269 h 691"/>
              <a:gd name="T68" fmla="*/ 425 w 803"/>
              <a:gd name="T69" fmla="*/ 134 h 691"/>
              <a:gd name="T70" fmla="*/ 391 w 803"/>
              <a:gd name="T71" fmla="*/ 113 h 691"/>
              <a:gd name="T72" fmla="*/ 258 w 803"/>
              <a:gd name="T73" fmla="*/ 255 h 691"/>
              <a:gd name="T74" fmla="*/ 355 w 803"/>
              <a:gd name="T75" fmla="*/ 269 h 691"/>
              <a:gd name="T76" fmla="*/ 250 w 803"/>
              <a:gd name="T77" fmla="*/ 301 h 691"/>
              <a:gd name="T78" fmla="*/ 36 w 803"/>
              <a:gd name="T79" fmla="*/ 413 h 691"/>
              <a:gd name="T80" fmla="*/ 46 w 803"/>
              <a:gd name="T81" fmla="*/ 610 h 691"/>
              <a:gd name="T82" fmla="*/ 0 w 803"/>
              <a:gd name="T83" fmla="*/ 648 h 691"/>
              <a:gd name="T84" fmla="*/ 803 w 803"/>
              <a:gd name="T85" fmla="*/ 648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03" h="691">
                <a:moveTo>
                  <a:pt x="703" y="521"/>
                </a:moveTo>
                <a:lnTo>
                  <a:pt x="703" y="521"/>
                </a:lnTo>
                <a:lnTo>
                  <a:pt x="666" y="521"/>
                </a:lnTo>
                <a:lnTo>
                  <a:pt x="666" y="468"/>
                </a:lnTo>
                <a:lnTo>
                  <a:pt x="703" y="468"/>
                </a:lnTo>
                <a:lnTo>
                  <a:pt x="703" y="521"/>
                </a:lnTo>
                <a:close/>
                <a:moveTo>
                  <a:pt x="703" y="622"/>
                </a:moveTo>
                <a:lnTo>
                  <a:pt x="703" y="622"/>
                </a:lnTo>
                <a:lnTo>
                  <a:pt x="666" y="622"/>
                </a:lnTo>
                <a:lnTo>
                  <a:pt x="666" y="569"/>
                </a:lnTo>
                <a:lnTo>
                  <a:pt x="703" y="569"/>
                </a:lnTo>
                <a:lnTo>
                  <a:pt x="703" y="622"/>
                </a:lnTo>
                <a:close/>
                <a:moveTo>
                  <a:pt x="628" y="521"/>
                </a:moveTo>
                <a:lnTo>
                  <a:pt x="628" y="521"/>
                </a:lnTo>
                <a:lnTo>
                  <a:pt x="591" y="521"/>
                </a:lnTo>
                <a:lnTo>
                  <a:pt x="591" y="468"/>
                </a:lnTo>
                <a:lnTo>
                  <a:pt x="628" y="468"/>
                </a:lnTo>
                <a:lnTo>
                  <a:pt x="628" y="521"/>
                </a:lnTo>
                <a:close/>
                <a:moveTo>
                  <a:pt x="628" y="622"/>
                </a:moveTo>
                <a:lnTo>
                  <a:pt x="628" y="622"/>
                </a:lnTo>
                <a:lnTo>
                  <a:pt x="591" y="622"/>
                </a:lnTo>
                <a:lnTo>
                  <a:pt x="591" y="569"/>
                </a:lnTo>
                <a:lnTo>
                  <a:pt x="628" y="569"/>
                </a:lnTo>
                <a:lnTo>
                  <a:pt x="628" y="622"/>
                </a:lnTo>
                <a:close/>
                <a:moveTo>
                  <a:pt x="553" y="490"/>
                </a:moveTo>
                <a:lnTo>
                  <a:pt x="553" y="490"/>
                </a:lnTo>
                <a:lnTo>
                  <a:pt x="526" y="490"/>
                </a:lnTo>
                <a:lnTo>
                  <a:pt x="526" y="648"/>
                </a:lnTo>
                <a:lnTo>
                  <a:pt x="491" y="648"/>
                </a:lnTo>
                <a:lnTo>
                  <a:pt x="491" y="490"/>
                </a:lnTo>
                <a:lnTo>
                  <a:pt x="454" y="490"/>
                </a:lnTo>
                <a:lnTo>
                  <a:pt x="454" y="648"/>
                </a:lnTo>
                <a:lnTo>
                  <a:pt x="420" y="648"/>
                </a:lnTo>
                <a:lnTo>
                  <a:pt x="420" y="490"/>
                </a:lnTo>
                <a:lnTo>
                  <a:pt x="383" y="490"/>
                </a:lnTo>
                <a:lnTo>
                  <a:pt x="383" y="648"/>
                </a:lnTo>
                <a:lnTo>
                  <a:pt x="349" y="648"/>
                </a:lnTo>
                <a:lnTo>
                  <a:pt x="349" y="490"/>
                </a:lnTo>
                <a:lnTo>
                  <a:pt x="311" y="490"/>
                </a:lnTo>
                <a:lnTo>
                  <a:pt x="311" y="648"/>
                </a:lnTo>
                <a:lnTo>
                  <a:pt x="276" y="648"/>
                </a:lnTo>
                <a:lnTo>
                  <a:pt x="276" y="490"/>
                </a:lnTo>
                <a:lnTo>
                  <a:pt x="250" y="490"/>
                </a:lnTo>
                <a:lnTo>
                  <a:pt x="250" y="459"/>
                </a:lnTo>
                <a:lnTo>
                  <a:pt x="401" y="408"/>
                </a:lnTo>
                <a:lnTo>
                  <a:pt x="553" y="459"/>
                </a:lnTo>
                <a:lnTo>
                  <a:pt x="553" y="490"/>
                </a:lnTo>
                <a:close/>
                <a:moveTo>
                  <a:pt x="212" y="521"/>
                </a:moveTo>
                <a:lnTo>
                  <a:pt x="212" y="521"/>
                </a:lnTo>
                <a:lnTo>
                  <a:pt x="174" y="521"/>
                </a:lnTo>
                <a:lnTo>
                  <a:pt x="174" y="468"/>
                </a:lnTo>
                <a:lnTo>
                  <a:pt x="212" y="468"/>
                </a:lnTo>
                <a:lnTo>
                  <a:pt x="212" y="521"/>
                </a:lnTo>
                <a:close/>
                <a:moveTo>
                  <a:pt x="212" y="622"/>
                </a:moveTo>
                <a:lnTo>
                  <a:pt x="212" y="622"/>
                </a:lnTo>
                <a:lnTo>
                  <a:pt x="174" y="622"/>
                </a:lnTo>
                <a:lnTo>
                  <a:pt x="174" y="569"/>
                </a:lnTo>
                <a:lnTo>
                  <a:pt x="212" y="569"/>
                </a:lnTo>
                <a:lnTo>
                  <a:pt x="212" y="622"/>
                </a:lnTo>
                <a:close/>
                <a:moveTo>
                  <a:pt x="137" y="521"/>
                </a:moveTo>
                <a:lnTo>
                  <a:pt x="137" y="521"/>
                </a:lnTo>
                <a:lnTo>
                  <a:pt x="100" y="521"/>
                </a:lnTo>
                <a:lnTo>
                  <a:pt x="100" y="468"/>
                </a:lnTo>
                <a:lnTo>
                  <a:pt x="137" y="468"/>
                </a:lnTo>
                <a:lnTo>
                  <a:pt x="137" y="521"/>
                </a:lnTo>
                <a:close/>
                <a:moveTo>
                  <a:pt x="137" y="622"/>
                </a:moveTo>
                <a:lnTo>
                  <a:pt x="137" y="622"/>
                </a:lnTo>
                <a:lnTo>
                  <a:pt x="100" y="622"/>
                </a:lnTo>
                <a:lnTo>
                  <a:pt x="100" y="569"/>
                </a:lnTo>
                <a:lnTo>
                  <a:pt x="137" y="569"/>
                </a:lnTo>
                <a:lnTo>
                  <a:pt x="137" y="622"/>
                </a:lnTo>
                <a:close/>
                <a:moveTo>
                  <a:pt x="308" y="309"/>
                </a:moveTo>
                <a:lnTo>
                  <a:pt x="308" y="309"/>
                </a:lnTo>
                <a:lnTo>
                  <a:pt x="345" y="309"/>
                </a:lnTo>
                <a:lnTo>
                  <a:pt x="345" y="362"/>
                </a:lnTo>
                <a:lnTo>
                  <a:pt x="308" y="362"/>
                </a:lnTo>
                <a:lnTo>
                  <a:pt x="308" y="309"/>
                </a:lnTo>
                <a:close/>
                <a:moveTo>
                  <a:pt x="385" y="309"/>
                </a:moveTo>
                <a:lnTo>
                  <a:pt x="385" y="309"/>
                </a:lnTo>
                <a:lnTo>
                  <a:pt x="422" y="309"/>
                </a:lnTo>
                <a:lnTo>
                  <a:pt x="422" y="362"/>
                </a:lnTo>
                <a:lnTo>
                  <a:pt x="385" y="362"/>
                </a:lnTo>
                <a:lnTo>
                  <a:pt x="385" y="309"/>
                </a:lnTo>
                <a:close/>
                <a:moveTo>
                  <a:pt x="458" y="309"/>
                </a:moveTo>
                <a:lnTo>
                  <a:pt x="458" y="309"/>
                </a:lnTo>
                <a:lnTo>
                  <a:pt x="495" y="309"/>
                </a:lnTo>
                <a:lnTo>
                  <a:pt x="495" y="362"/>
                </a:lnTo>
                <a:lnTo>
                  <a:pt x="458" y="362"/>
                </a:lnTo>
                <a:lnTo>
                  <a:pt x="458" y="309"/>
                </a:lnTo>
                <a:close/>
                <a:moveTo>
                  <a:pt x="781" y="648"/>
                </a:moveTo>
                <a:lnTo>
                  <a:pt x="781" y="648"/>
                </a:lnTo>
                <a:lnTo>
                  <a:pt x="781" y="610"/>
                </a:lnTo>
                <a:lnTo>
                  <a:pt x="756" y="610"/>
                </a:lnTo>
                <a:lnTo>
                  <a:pt x="756" y="445"/>
                </a:lnTo>
                <a:lnTo>
                  <a:pt x="767" y="445"/>
                </a:lnTo>
                <a:lnTo>
                  <a:pt x="767" y="413"/>
                </a:lnTo>
                <a:lnTo>
                  <a:pt x="756" y="413"/>
                </a:lnTo>
                <a:lnTo>
                  <a:pt x="756" y="413"/>
                </a:lnTo>
                <a:lnTo>
                  <a:pt x="553" y="375"/>
                </a:lnTo>
                <a:lnTo>
                  <a:pt x="553" y="301"/>
                </a:lnTo>
                <a:lnTo>
                  <a:pt x="563" y="301"/>
                </a:lnTo>
                <a:lnTo>
                  <a:pt x="563" y="269"/>
                </a:lnTo>
                <a:lnTo>
                  <a:pt x="546" y="269"/>
                </a:lnTo>
                <a:cubicBezTo>
                  <a:pt x="541" y="202"/>
                  <a:pt x="491" y="147"/>
                  <a:pt x="425" y="136"/>
                </a:cubicBezTo>
                <a:cubicBezTo>
                  <a:pt x="425" y="136"/>
                  <a:pt x="425" y="135"/>
                  <a:pt x="425" y="134"/>
                </a:cubicBezTo>
                <a:cubicBezTo>
                  <a:pt x="425" y="125"/>
                  <a:pt x="420" y="117"/>
                  <a:pt x="412" y="113"/>
                </a:cubicBezTo>
                <a:cubicBezTo>
                  <a:pt x="410" y="88"/>
                  <a:pt x="401" y="0"/>
                  <a:pt x="401" y="0"/>
                </a:cubicBezTo>
                <a:cubicBezTo>
                  <a:pt x="401" y="0"/>
                  <a:pt x="392" y="88"/>
                  <a:pt x="391" y="113"/>
                </a:cubicBezTo>
                <a:cubicBezTo>
                  <a:pt x="383" y="117"/>
                  <a:pt x="377" y="125"/>
                  <a:pt x="377" y="134"/>
                </a:cubicBezTo>
                <a:cubicBezTo>
                  <a:pt x="377" y="135"/>
                  <a:pt x="377" y="136"/>
                  <a:pt x="377" y="136"/>
                </a:cubicBezTo>
                <a:cubicBezTo>
                  <a:pt x="317" y="146"/>
                  <a:pt x="269" y="194"/>
                  <a:pt x="258" y="255"/>
                </a:cubicBezTo>
                <a:lnTo>
                  <a:pt x="355" y="255"/>
                </a:lnTo>
                <a:cubicBezTo>
                  <a:pt x="359" y="255"/>
                  <a:pt x="362" y="258"/>
                  <a:pt x="362" y="262"/>
                </a:cubicBezTo>
                <a:cubicBezTo>
                  <a:pt x="362" y="266"/>
                  <a:pt x="359" y="269"/>
                  <a:pt x="355" y="269"/>
                </a:cubicBezTo>
                <a:lnTo>
                  <a:pt x="239" y="269"/>
                </a:lnTo>
                <a:lnTo>
                  <a:pt x="239" y="301"/>
                </a:lnTo>
                <a:lnTo>
                  <a:pt x="250" y="301"/>
                </a:lnTo>
                <a:lnTo>
                  <a:pt x="250" y="375"/>
                </a:lnTo>
                <a:lnTo>
                  <a:pt x="48" y="413"/>
                </a:lnTo>
                <a:lnTo>
                  <a:pt x="36" y="413"/>
                </a:lnTo>
                <a:lnTo>
                  <a:pt x="36" y="445"/>
                </a:lnTo>
                <a:lnTo>
                  <a:pt x="46" y="445"/>
                </a:lnTo>
                <a:lnTo>
                  <a:pt x="46" y="610"/>
                </a:lnTo>
                <a:lnTo>
                  <a:pt x="22" y="610"/>
                </a:lnTo>
                <a:lnTo>
                  <a:pt x="22" y="648"/>
                </a:lnTo>
                <a:lnTo>
                  <a:pt x="0" y="648"/>
                </a:lnTo>
                <a:lnTo>
                  <a:pt x="0" y="691"/>
                </a:lnTo>
                <a:lnTo>
                  <a:pt x="803" y="691"/>
                </a:lnTo>
                <a:lnTo>
                  <a:pt x="803" y="648"/>
                </a:lnTo>
                <a:lnTo>
                  <a:pt x="781" y="64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53079"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dirty="0">
              <a:ln>
                <a:noFill/>
              </a:ln>
              <a:solidFill>
                <a:sysClr val="windowText" lastClr="000000"/>
              </a:solidFill>
              <a:effectLst/>
              <a:uLnTx/>
              <a:uFillTx/>
              <a:ea typeface="+mn-ea"/>
              <a:cs typeface="+mn-cs"/>
            </a:endParaRPr>
          </a:p>
        </p:txBody>
      </p:sp>
      <p:sp>
        <p:nvSpPr>
          <p:cNvPr id="71" name="Freeform 85"/>
          <p:cNvSpPr>
            <a:spLocks noChangeAspect="1" noEditPoints="1"/>
          </p:cNvSpPr>
          <p:nvPr/>
        </p:nvSpPr>
        <p:spPr bwMode="auto">
          <a:xfrm>
            <a:off x="3615436" y="1012424"/>
            <a:ext cx="392202" cy="336014"/>
          </a:xfrm>
          <a:custGeom>
            <a:avLst/>
            <a:gdLst>
              <a:gd name="T0" fmla="*/ 0 w 523"/>
              <a:gd name="T1" fmla="*/ 75 h 524"/>
              <a:gd name="T2" fmla="*/ 34 w 523"/>
              <a:gd name="T3" fmla="*/ 524 h 524"/>
              <a:gd name="T4" fmla="*/ 523 w 523"/>
              <a:gd name="T5" fmla="*/ 491 h 524"/>
              <a:gd name="T6" fmla="*/ 490 w 523"/>
              <a:gd name="T7" fmla="*/ 42 h 524"/>
              <a:gd name="T8" fmla="*/ 401 w 523"/>
              <a:gd name="T9" fmla="*/ 14 h 524"/>
              <a:gd name="T10" fmla="*/ 374 w 523"/>
              <a:gd name="T11" fmla="*/ 14 h 524"/>
              <a:gd name="T12" fmla="*/ 148 w 523"/>
              <a:gd name="T13" fmla="*/ 42 h 524"/>
              <a:gd name="T14" fmla="*/ 135 w 523"/>
              <a:gd name="T15" fmla="*/ 0 h 524"/>
              <a:gd name="T16" fmla="*/ 121 w 523"/>
              <a:gd name="T17" fmla="*/ 42 h 524"/>
              <a:gd name="T18" fmla="*/ 401 w 523"/>
              <a:gd name="T19" fmla="*/ 69 h 524"/>
              <a:gd name="T20" fmla="*/ 495 w 523"/>
              <a:gd name="T21" fmla="*/ 497 h 524"/>
              <a:gd name="T22" fmla="*/ 27 w 523"/>
              <a:gd name="T23" fmla="*/ 69 h 524"/>
              <a:gd name="T24" fmla="*/ 121 w 523"/>
              <a:gd name="T25" fmla="*/ 91 h 524"/>
              <a:gd name="T26" fmla="*/ 112 w 523"/>
              <a:gd name="T27" fmla="*/ 110 h 524"/>
              <a:gd name="T28" fmla="*/ 158 w 523"/>
              <a:gd name="T29" fmla="*/ 110 h 524"/>
              <a:gd name="T30" fmla="*/ 148 w 523"/>
              <a:gd name="T31" fmla="*/ 91 h 524"/>
              <a:gd name="T32" fmla="*/ 374 w 523"/>
              <a:gd name="T33" fmla="*/ 69 h 524"/>
              <a:gd name="T34" fmla="*/ 372 w 523"/>
              <a:gd name="T35" fmla="*/ 93 h 524"/>
              <a:gd name="T36" fmla="*/ 387 w 523"/>
              <a:gd name="T37" fmla="*/ 133 h 524"/>
              <a:gd name="T38" fmla="*/ 402 w 523"/>
              <a:gd name="T39" fmla="*/ 93 h 524"/>
              <a:gd name="T40" fmla="*/ 401 w 523"/>
              <a:gd name="T41" fmla="*/ 69 h 524"/>
              <a:gd name="T42" fmla="*/ 446 w 523"/>
              <a:gd name="T43" fmla="*/ 315 h 524"/>
              <a:gd name="T44" fmla="*/ 450 w 523"/>
              <a:gd name="T45" fmla="*/ 423 h 524"/>
              <a:gd name="T46" fmla="*/ 444 w 523"/>
              <a:gd name="T47" fmla="*/ 426 h 524"/>
              <a:gd name="T48" fmla="*/ 412 w 523"/>
              <a:gd name="T49" fmla="*/ 399 h 524"/>
              <a:gd name="T50" fmla="*/ 215 w 523"/>
              <a:gd name="T51" fmla="*/ 459 h 524"/>
              <a:gd name="T52" fmla="*/ 367 w 523"/>
              <a:gd name="T53" fmla="*/ 355 h 524"/>
              <a:gd name="T54" fmla="*/ 334 w 523"/>
              <a:gd name="T55" fmla="*/ 315 h 524"/>
              <a:gd name="T56" fmla="*/ 63 w 523"/>
              <a:gd name="T57" fmla="*/ 422 h 524"/>
              <a:gd name="T58" fmla="*/ 146 w 523"/>
              <a:gd name="T59" fmla="*/ 257 h 524"/>
              <a:gd name="T60" fmla="*/ 211 w 523"/>
              <a:gd name="T61" fmla="*/ 251 h 524"/>
              <a:gd name="T62" fmla="*/ 220 w 523"/>
              <a:gd name="T63" fmla="*/ 257 h 524"/>
              <a:gd name="T64" fmla="*/ 321 w 523"/>
              <a:gd name="T65" fmla="*/ 229 h 524"/>
              <a:gd name="T66" fmla="*/ 398 w 523"/>
              <a:gd name="T67" fmla="*/ 224 h 524"/>
              <a:gd name="T68" fmla="*/ 460 w 523"/>
              <a:gd name="T69" fmla="*/ 137 h 524"/>
              <a:gd name="T70" fmla="*/ 413 w 523"/>
              <a:gd name="T71" fmla="*/ 238 h 524"/>
              <a:gd name="T72" fmla="*/ 404 w 523"/>
              <a:gd name="T73" fmla="*/ 245 h 524"/>
              <a:gd name="T74" fmla="*/ 272 w 523"/>
              <a:gd name="T75" fmla="*/ 356 h 524"/>
              <a:gd name="T76" fmla="*/ 254 w 523"/>
              <a:gd name="T77" fmla="*/ 357 h 524"/>
              <a:gd name="T78" fmla="*/ 161 w 523"/>
              <a:gd name="T79" fmla="*/ 272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23" h="524">
                <a:moveTo>
                  <a:pt x="34" y="42"/>
                </a:moveTo>
                <a:cubicBezTo>
                  <a:pt x="14" y="42"/>
                  <a:pt x="0" y="56"/>
                  <a:pt x="0" y="75"/>
                </a:cubicBezTo>
                <a:cubicBezTo>
                  <a:pt x="0" y="492"/>
                  <a:pt x="0" y="492"/>
                  <a:pt x="0" y="492"/>
                </a:cubicBezTo>
                <a:cubicBezTo>
                  <a:pt x="0" y="511"/>
                  <a:pt x="15" y="524"/>
                  <a:pt x="34" y="524"/>
                </a:cubicBezTo>
                <a:cubicBezTo>
                  <a:pt x="490" y="524"/>
                  <a:pt x="490" y="524"/>
                  <a:pt x="490" y="524"/>
                </a:cubicBezTo>
                <a:cubicBezTo>
                  <a:pt x="509" y="524"/>
                  <a:pt x="523" y="510"/>
                  <a:pt x="523" y="491"/>
                </a:cubicBezTo>
                <a:cubicBezTo>
                  <a:pt x="523" y="74"/>
                  <a:pt x="523" y="74"/>
                  <a:pt x="523" y="74"/>
                </a:cubicBezTo>
                <a:cubicBezTo>
                  <a:pt x="523" y="56"/>
                  <a:pt x="508" y="42"/>
                  <a:pt x="490" y="42"/>
                </a:cubicBezTo>
                <a:cubicBezTo>
                  <a:pt x="401" y="42"/>
                  <a:pt x="401" y="42"/>
                  <a:pt x="401" y="42"/>
                </a:cubicBezTo>
                <a:cubicBezTo>
                  <a:pt x="401" y="14"/>
                  <a:pt x="401" y="14"/>
                  <a:pt x="401" y="14"/>
                </a:cubicBezTo>
                <a:cubicBezTo>
                  <a:pt x="401" y="6"/>
                  <a:pt x="395" y="0"/>
                  <a:pt x="387" y="0"/>
                </a:cubicBezTo>
                <a:cubicBezTo>
                  <a:pt x="380" y="0"/>
                  <a:pt x="374" y="6"/>
                  <a:pt x="374" y="14"/>
                </a:cubicBezTo>
                <a:cubicBezTo>
                  <a:pt x="374" y="42"/>
                  <a:pt x="374" y="42"/>
                  <a:pt x="374" y="42"/>
                </a:cubicBezTo>
                <a:cubicBezTo>
                  <a:pt x="148" y="42"/>
                  <a:pt x="148" y="42"/>
                  <a:pt x="148" y="42"/>
                </a:cubicBezTo>
                <a:cubicBezTo>
                  <a:pt x="148" y="14"/>
                  <a:pt x="148" y="14"/>
                  <a:pt x="148" y="14"/>
                </a:cubicBezTo>
                <a:cubicBezTo>
                  <a:pt x="148" y="6"/>
                  <a:pt x="142" y="0"/>
                  <a:pt x="135" y="0"/>
                </a:cubicBezTo>
                <a:cubicBezTo>
                  <a:pt x="127" y="0"/>
                  <a:pt x="121" y="6"/>
                  <a:pt x="121" y="14"/>
                </a:cubicBezTo>
                <a:cubicBezTo>
                  <a:pt x="121" y="42"/>
                  <a:pt x="121" y="42"/>
                  <a:pt x="121" y="42"/>
                </a:cubicBezTo>
                <a:cubicBezTo>
                  <a:pt x="34" y="42"/>
                  <a:pt x="34" y="42"/>
                  <a:pt x="34" y="42"/>
                </a:cubicBezTo>
                <a:close/>
                <a:moveTo>
                  <a:pt x="401" y="69"/>
                </a:moveTo>
                <a:cubicBezTo>
                  <a:pt x="495" y="69"/>
                  <a:pt x="495" y="69"/>
                  <a:pt x="495" y="69"/>
                </a:cubicBezTo>
                <a:cubicBezTo>
                  <a:pt x="495" y="497"/>
                  <a:pt x="495" y="497"/>
                  <a:pt x="495" y="497"/>
                </a:cubicBezTo>
                <a:cubicBezTo>
                  <a:pt x="27" y="497"/>
                  <a:pt x="27" y="497"/>
                  <a:pt x="27" y="497"/>
                </a:cubicBezTo>
                <a:cubicBezTo>
                  <a:pt x="27" y="69"/>
                  <a:pt x="27" y="69"/>
                  <a:pt x="27" y="69"/>
                </a:cubicBezTo>
                <a:cubicBezTo>
                  <a:pt x="121" y="69"/>
                  <a:pt x="121" y="69"/>
                  <a:pt x="121" y="69"/>
                </a:cubicBezTo>
                <a:cubicBezTo>
                  <a:pt x="121" y="91"/>
                  <a:pt x="121" y="91"/>
                  <a:pt x="121" y="91"/>
                </a:cubicBezTo>
                <a:cubicBezTo>
                  <a:pt x="120" y="93"/>
                  <a:pt x="120" y="93"/>
                  <a:pt x="120" y="93"/>
                </a:cubicBezTo>
                <a:cubicBezTo>
                  <a:pt x="115" y="97"/>
                  <a:pt x="112" y="103"/>
                  <a:pt x="112" y="110"/>
                </a:cubicBezTo>
                <a:cubicBezTo>
                  <a:pt x="112" y="123"/>
                  <a:pt x="122" y="133"/>
                  <a:pt x="135" y="133"/>
                </a:cubicBezTo>
                <a:cubicBezTo>
                  <a:pt x="148" y="133"/>
                  <a:pt x="158" y="123"/>
                  <a:pt x="158" y="110"/>
                </a:cubicBezTo>
                <a:cubicBezTo>
                  <a:pt x="158" y="103"/>
                  <a:pt x="155" y="97"/>
                  <a:pt x="150" y="93"/>
                </a:cubicBezTo>
                <a:cubicBezTo>
                  <a:pt x="148" y="91"/>
                  <a:pt x="148" y="91"/>
                  <a:pt x="148" y="91"/>
                </a:cubicBezTo>
                <a:cubicBezTo>
                  <a:pt x="148" y="69"/>
                  <a:pt x="148" y="69"/>
                  <a:pt x="148" y="69"/>
                </a:cubicBezTo>
                <a:cubicBezTo>
                  <a:pt x="374" y="69"/>
                  <a:pt x="374" y="69"/>
                  <a:pt x="374" y="69"/>
                </a:cubicBezTo>
                <a:cubicBezTo>
                  <a:pt x="374" y="91"/>
                  <a:pt x="374" y="91"/>
                  <a:pt x="374" y="91"/>
                </a:cubicBezTo>
                <a:cubicBezTo>
                  <a:pt x="372" y="93"/>
                  <a:pt x="372" y="93"/>
                  <a:pt x="372" y="93"/>
                </a:cubicBezTo>
                <a:cubicBezTo>
                  <a:pt x="367" y="97"/>
                  <a:pt x="364" y="103"/>
                  <a:pt x="364" y="110"/>
                </a:cubicBezTo>
                <a:cubicBezTo>
                  <a:pt x="364" y="123"/>
                  <a:pt x="375" y="133"/>
                  <a:pt x="387" y="133"/>
                </a:cubicBezTo>
                <a:cubicBezTo>
                  <a:pt x="400" y="133"/>
                  <a:pt x="410" y="123"/>
                  <a:pt x="410" y="110"/>
                </a:cubicBezTo>
                <a:cubicBezTo>
                  <a:pt x="410" y="103"/>
                  <a:pt x="407" y="97"/>
                  <a:pt x="402" y="93"/>
                </a:cubicBezTo>
                <a:cubicBezTo>
                  <a:pt x="401" y="91"/>
                  <a:pt x="401" y="91"/>
                  <a:pt x="401" y="91"/>
                </a:cubicBezTo>
                <a:cubicBezTo>
                  <a:pt x="401" y="69"/>
                  <a:pt x="401" y="69"/>
                  <a:pt x="401" y="69"/>
                </a:cubicBezTo>
                <a:close/>
                <a:moveTo>
                  <a:pt x="334" y="315"/>
                </a:moveTo>
                <a:cubicBezTo>
                  <a:pt x="446" y="315"/>
                  <a:pt x="446" y="315"/>
                  <a:pt x="446" y="315"/>
                </a:cubicBezTo>
                <a:cubicBezTo>
                  <a:pt x="449" y="315"/>
                  <a:pt x="450" y="315"/>
                  <a:pt x="450" y="318"/>
                </a:cubicBezTo>
                <a:cubicBezTo>
                  <a:pt x="450" y="353"/>
                  <a:pt x="450" y="388"/>
                  <a:pt x="450" y="423"/>
                </a:cubicBezTo>
                <a:cubicBezTo>
                  <a:pt x="450" y="424"/>
                  <a:pt x="450" y="428"/>
                  <a:pt x="450" y="431"/>
                </a:cubicBezTo>
                <a:cubicBezTo>
                  <a:pt x="447" y="429"/>
                  <a:pt x="445" y="427"/>
                  <a:pt x="444" y="426"/>
                </a:cubicBezTo>
                <a:cubicBezTo>
                  <a:pt x="415" y="396"/>
                  <a:pt x="415" y="396"/>
                  <a:pt x="415" y="396"/>
                </a:cubicBezTo>
                <a:cubicBezTo>
                  <a:pt x="412" y="399"/>
                  <a:pt x="412" y="399"/>
                  <a:pt x="412" y="399"/>
                </a:cubicBezTo>
                <a:cubicBezTo>
                  <a:pt x="358" y="453"/>
                  <a:pt x="292" y="464"/>
                  <a:pt x="220" y="460"/>
                </a:cubicBezTo>
                <a:cubicBezTo>
                  <a:pt x="219" y="459"/>
                  <a:pt x="217" y="459"/>
                  <a:pt x="215" y="459"/>
                </a:cubicBezTo>
                <a:cubicBezTo>
                  <a:pt x="218" y="457"/>
                  <a:pt x="222" y="456"/>
                  <a:pt x="223" y="455"/>
                </a:cubicBezTo>
                <a:cubicBezTo>
                  <a:pt x="278" y="440"/>
                  <a:pt x="331" y="398"/>
                  <a:pt x="367" y="355"/>
                </a:cubicBezTo>
                <a:cubicBezTo>
                  <a:pt x="370" y="351"/>
                  <a:pt x="370" y="351"/>
                  <a:pt x="370" y="351"/>
                </a:cubicBezTo>
                <a:cubicBezTo>
                  <a:pt x="334" y="315"/>
                  <a:pt x="334" y="315"/>
                  <a:pt x="334" y="315"/>
                </a:cubicBezTo>
                <a:close/>
                <a:moveTo>
                  <a:pt x="77" y="418"/>
                </a:moveTo>
                <a:cubicBezTo>
                  <a:pt x="74" y="423"/>
                  <a:pt x="68" y="425"/>
                  <a:pt x="63" y="422"/>
                </a:cubicBezTo>
                <a:cubicBezTo>
                  <a:pt x="58" y="419"/>
                  <a:pt x="56" y="413"/>
                  <a:pt x="59" y="408"/>
                </a:cubicBezTo>
                <a:cubicBezTo>
                  <a:pt x="146" y="257"/>
                  <a:pt x="146" y="257"/>
                  <a:pt x="146" y="257"/>
                </a:cubicBezTo>
                <a:cubicBezTo>
                  <a:pt x="148" y="253"/>
                  <a:pt x="152" y="251"/>
                  <a:pt x="155" y="251"/>
                </a:cubicBezTo>
                <a:cubicBezTo>
                  <a:pt x="211" y="251"/>
                  <a:pt x="211" y="251"/>
                  <a:pt x="211" y="251"/>
                </a:cubicBezTo>
                <a:cubicBezTo>
                  <a:pt x="215" y="251"/>
                  <a:pt x="219" y="254"/>
                  <a:pt x="220" y="257"/>
                </a:cubicBezTo>
                <a:cubicBezTo>
                  <a:pt x="220" y="257"/>
                  <a:pt x="220" y="257"/>
                  <a:pt x="220" y="257"/>
                </a:cubicBezTo>
                <a:cubicBezTo>
                  <a:pt x="263" y="331"/>
                  <a:pt x="263" y="331"/>
                  <a:pt x="263" y="331"/>
                </a:cubicBezTo>
                <a:cubicBezTo>
                  <a:pt x="321" y="229"/>
                  <a:pt x="321" y="229"/>
                  <a:pt x="321" y="229"/>
                </a:cubicBezTo>
                <a:cubicBezTo>
                  <a:pt x="324" y="225"/>
                  <a:pt x="327" y="224"/>
                  <a:pt x="331" y="224"/>
                </a:cubicBezTo>
                <a:cubicBezTo>
                  <a:pt x="398" y="224"/>
                  <a:pt x="398" y="224"/>
                  <a:pt x="398" y="224"/>
                </a:cubicBezTo>
                <a:cubicBezTo>
                  <a:pt x="446" y="141"/>
                  <a:pt x="446" y="141"/>
                  <a:pt x="446" y="141"/>
                </a:cubicBezTo>
                <a:cubicBezTo>
                  <a:pt x="448" y="136"/>
                  <a:pt x="455" y="134"/>
                  <a:pt x="460" y="137"/>
                </a:cubicBezTo>
                <a:cubicBezTo>
                  <a:pt x="465" y="140"/>
                  <a:pt x="467" y="146"/>
                  <a:pt x="464" y="151"/>
                </a:cubicBezTo>
                <a:cubicBezTo>
                  <a:pt x="413" y="238"/>
                  <a:pt x="413" y="238"/>
                  <a:pt x="413" y="238"/>
                </a:cubicBezTo>
                <a:cubicBezTo>
                  <a:pt x="413" y="238"/>
                  <a:pt x="413" y="238"/>
                  <a:pt x="413" y="238"/>
                </a:cubicBezTo>
                <a:cubicBezTo>
                  <a:pt x="412" y="242"/>
                  <a:pt x="408" y="245"/>
                  <a:pt x="404" y="245"/>
                </a:cubicBezTo>
                <a:cubicBezTo>
                  <a:pt x="337" y="245"/>
                  <a:pt x="337" y="245"/>
                  <a:pt x="337" y="245"/>
                </a:cubicBezTo>
                <a:cubicBezTo>
                  <a:pt x="272" y="356"/>
                  <a:pt x="272" y="356"/>
                  <a:pt x="272" y="356"/>
                </a:cubicBezTo>
                <a:cubicBezTo>
                  <a:pt x="272" y="356"/>
                  <a:pt x="272" y="356"/>
                  <a:pt x="272" y="356"/>
                </a:cubicBezTo>
                <a:cubicBezTo>
                  <a:pt x="269" y="364"/>
                  <a:pt x="258" y="364"/>
                  <a:pt x="254" y="357"/>
                </a:cubicBezTo>
                <a:cubicBezTo>
                  <a:pt x="205" y="272"/>
                  <a:pt x="205" y="272"/>
                  <a:pt x="205" y="272"/>
                </a:cubicBezTo>
                <a:cubicBezTo>
                  <a:pt x="161" y="272"/>
                  <a:pt x="161" y="272"/>
                  <a:pt x="161" y="272"/>
                </a:cubicBezTo>
                <a:lnTo>
                  <a:pt x="77" y="41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ea typeface="+mn-ea"/>
              <a:cs typeface="+mn-cs"/>
            </a:endParaRPr>
          </a:p>
        </p:txBody>
      </p:sp>
      <p:sp>
        <p:nvSpPr>
          <p:cNvPr id="28" name="TextBox 27"/>
          <p:cNvSpPr txBox="1"/>
          <p:nvPr/>
        </p:nvSpPr>
        <p:spPr>
          <a:xfrm>
            <a:off x="7916830" y="2692597"/>
            <a:ext cx="1861438" cy="577081"/>
          </a:xfrm>
          <a:prstGeom prst="rect">
            <a:avLst/>
          </a:prstGeom>
          <a:noFill/>
        </p:spPr>
        <p:txBody>
          <a:bodyPr wrap="square" rtlCol="0">
            <a:spAutoFit/>
          </a:bodyPr>
          <a:lstStyle/>
          <a:p>
            <a:pPr algn="just" fontAlgn="t"/>
            <a:r>
              <a:rPr lang="en-US" sz="1050" dirty="0">
                <a:solidFill>
                  <a:schemeClr val="tx1"/>
                </a:solidFill>
                <a:latin typeface="+mn-lt"/>
              </a:rPr>
              <a:t>Provide input to USAID Mali’s new country strategic plan and ensure buy in.</a:t>
            </a:r>
          </a:p>
        </p:txBody>
      </p:sp>
      <p:cxnSp>
        <p:nvCxnSpPr>
          <p:cNvPr id="29" name="Straight Connector 28"/>
          <p:cNvCxnSpPr/>
          <p:nvPr/>
        </p:nvCxnSpPr>
        <p:spPr>
          <a:xfrm>
            <a:off x="6825052" y="3276196"/>
            <a:ext cx="2924066" cy="18333"/>
          </a:xfrm>
          <a:prstGeom prst="line">
            <a:avLst/>
          </a:prstGeom>
          <a:noFill/>
          <a:ln w="19050" cap="flat" cmpd="sng" algn="ctr">
            <a:solidFill>
              <a:srgbClr val="808080"/>
            </a:solidFill>
            <a:prstDash val="dash"/>
          </a:ln>
          <a:effectLst/>
        </p:spPr>
      </p:cxnSp>
      <p:sp>
        <p:nvSpPr>
          <p:cNvPr id="30" name="TextBox 29"/>
          <p:cNvSpPr txBox="1"/>
          <p:nvPr/>
        </p:nvSpPr>
        <p:spPr>
          <a:xfrm>
            <a:off x="7916830" y="3282927"/>
            <a:ext cx="1861438" cy="900246"/>
          </a:xfrm>
          <a:prstGeom prst="rect">
            <a:avLst/>
          </a:prstGeom>
          <a:noFill/>
        </p:spPr>
        <p:txBody>
          <a:bodyPr wrap="square" rtlCol="0">
            <a:spAutoFit/>
          </a:bodyPr>
          <a:lstStyle/>
          <a:p>
            <a:pPr algn="just" fontAlgn="t"/>
            <a:r>
              <a:rPr lang="en-US" sz="1050" dirty="0">
                <a:solidFill>
                  <a:schemeClr val="tx1"/>
                </a:solidFill>
                <a:latin typeface="+mn-lt"/>
              </a:rPr>
              <a:t>Pursue ongoing dialogue with CRS and LWR  to co-create project on resilience to be funded by the Global Environment Fund</a:t>
            </a:r>
          </a:p>
        </p:txBody>
      </p:sp>
      <p:sp>
        <p:nvSpPr>
          <p:cNvPr id="33" name="TextBox 32"/>
          <p:cNvSpPr txBox="1"/>
          <p:nvPr/>
        </p:nvSpPr>
        <p:spPr>
          <a:xfrm>
            <a:off x="6831106" y="5005535"/>
            <a:ext cx="962104" cy="1200329"/>
          </a:xfrm>
          <a:prstGeom prst="rect">
            <a:avLst/>
          </a:prstGeom>
          <a:noFill/>
        </p:spPr>
        <p:txBody>
          <a:bodyPr wrap="square" rtlCol="0">
            <a:spAutoFit/>
          </a:bodyPr>
          <a:lstStyle/>
          <a:p>
            <a:pPr>
              <a:buClrTx/>
              <a:defRPr/>
            </a:pPr>
            <a:endParaRPr lang="en-GB" sz="800" b="1" dirty="0">
              <a:solidFill>
                <a:schemeClr val="tx1"/>
              </a:solidFill>
              <a:latin typeface="+mn-lt"/>
            </a:endParaRPr>
          </a:p>
          <a:p>
            <a:pPr>
              <a:buClrTx/>
              <a:defRPr/>
            </a:pPr>
            <a:r>
              <a:rPr lang="en-GB" sz="800" b="1" dirty="0">
                <a:solidFill>
                  <a:schemeClr val="tx1"/>
                </a:solidFill>
                <a:latin typeface="+mn-lt"/>
              </a:rPr>
              <a:t>Financial institutions </a:t>
            </a:r>
            <a:r>
              <a:rPr lang="en-GB" sz="800" dirty="0">
                <a:solidFill>
                  <a:schemeClr val="tx1"/>
                </a:solidFill>
                <a:latin typeface="+mn-lt"/>
              </a:rPr>
              <a:t>Banque Nationale de Developpement (BNDA)</a:t>
            </a:r>
            <a:r>
              <a:rPr lang="en-GB" sz="800" b="1" dirty="0">
                <a:solidFill>
                  <a:schemeClr val="tx1"/>
                </a:solidFill>
                <a:latin typeface="+mn-lt"/>
              </a:rPr>
              <a:t>, </a:t>
            </a:r>
            <a:r>
              <a:rPr lang="en-GB" sz="800" dirty="0">
                <a:solidFill>
                  <a:schemeClr val="tx1"/>
                </a:solidFill>
                <a:latin typeface="+mn-lt"/>
              </a:rPr>
              <a:t>Kafo Jiginew &amp; Soroyiriwa so</a:t>
            </a:r>
          </a:p>
        </p:txBody>
      </p:sp>
      <p:sp>
        <p:nvSpPr>
          <p:cNvPr id="31" name="TextBox 30"/>
          <p:cNvSpPr txBox="1"/>
          <p:nvPr/>
        </p:nvSpPr>
        <p:spPr>
          <a:xfrm>
            <a:off x="7916830" y="4309356"/>
            <a:ext cx="1884061" cy="577081"/>
          </a:xfrm>
          <a:prstGeom prst="rect">
            <a:avLst/>
          </a:prstGeom>
          <a:noFill/>
        </p:spPr>
        <p:txBody>
          <a:bodyPr wrap="square" rtlCol="0">
            <a:spAutoFit/>
          </a:bodyPr>
          <a:lstStyle/>
          <a:p>
            <a:pPr algn="just">
              <a:buClrTx/>
              <a:defRPr/>
            </a:pPr>
            <a:r>
              <a:rPr kumimoji="0" lang="en-US" sz="1050" b="0" i="0" u="none" strike="noStrike" kern="1200" cap="none" spc="0" normalizeH="0" baseline="0" noProof="0" dirty="0">
                <a:ln>
                  <a:noFill/>
                </a:ln>
                <a:solidFill>
                  <a:schemeClr val="tx1"/>
                </a:solidFill>
                <a:effectLst/>
                <a:uLnTx/>
                <a:uFillTx/>
                <a:latin typeface="+mn-lt"/>
                <a:ea typeface="+mn-ea"/>
                <a:cs typeface="+mn-cs"/>
              </a:rPr>
              <a:t>Synergies in seed system development and FAW control</a:t>
            </a:r>
          </a:p>
        </p:txBody>
      </p:sp>
      <p:cxnSp>
        <p:nvCxnSpPr>
          <p:cNvPr id="35" name="Straight Connector 34"/>
          <p:cNvCxnSpPr/>
          <p:nvPr/>
        </p:nvCxnSpPr>
        <p:spPr>
          <a:xfrm flipV="1">
            <a:off x="6871125" y="4921624"/>
            <a:ext cx="2824204" cy="27423"/>
          </a:xfrm>
          <a:prstGeom prst="line">
            <a:avLst/>
          </a:prstGeom>
          <a:noFill/>
          <a:ln w="19050" cap="flat" cmpd="sng" algn="ctr">
            <a:solidFill>
              <a:srgbClr val="808080"/>
            </a:solidFill>
            <a:prstDash val="dash"/>
          </a:ln>
          <a:effectLst/>
        </p:spPr>
      </p:cxnSp>
      <p:sp>
        <p:nvSpPr>
          <p:cNvPr id="37" name="TextBox 36"/>
          <p:cNvSpPr txBox="1"/>
          <p:nvPr/>
        </p:nvSpPr>
        <p:spPr>
          <a:xfrm>
            <a:off x="7916830" y="2208526"/>
            <a:ext cx="1876043" cy="415498"/>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mn-lt"/>
                <a:ea typeface="+mn-ea"/>
                <a:cs typeface="+mn-cs"/>
              </a:rPr>
              <a:t>CPS/SDR</a:t>
            </a:r>
            <a:r>
              <a:rPr kumimoji="0" lang="en-US" sz="1050" b="0" i="0" u="none" strike="noStrike" kern="1200" cap="none" spc="0" normalizeH="0" noProof="0" dirty="0">
                <a:ln>
                  <a:noFill/>
                </a:ln>
                <a:solidFill>
                  <a:schemeClr val="tx1"/>
                </a:solidFill>
                <a:effectLst/>
                <a:uLnTx/>
                <a:uFillTx/>
                <a:latin typeface="+mn-lt"/>
                <a:ea typeface="+mn-ea"/>
                <a:cs typeface="+mn-cs"/>
              </a:rPr>
              <a:t> capacity building in M&amp;E</a:t>
            </a:r>
            <a:endParaRPr kumimoji="0" lang="en-US" sz="1050" b="0" i="0" u="none" strike="noStrike" kern="1200" cap="none" spc="0" normalizeH="0" baseline="0" noProof="0" dirty="0">
              <a:ln>
                <a:noFill/>
              </a:ln>
              <a:solidFill>
                <a:schemeClr val="tx1"/>
              </a:solidFill>
              <a:effectLst/>
              <a:uLnTx/>
              <a:uFillTx/>
              <a:latin typeface="+mn-lt"/>
              <a:ea typeface="+mn-ea"/>
              <a:cs typeface="+mn-cs"/>
            </a:endParaRPr>
          </a:p>
        </p:txBody>
      </p:sp>
      <p:cxnSp>
        <p:nvCxnSpPr>
          <p:cNvPr id="38" name="Straight Connector 37"/>
          <p:cNvCxnSpPr/>
          <p:nvPr/>
        </p:nvCxnSpPr>
        <p:spPr>
          <a:xfrm>
            <a:off x="6799085" y="2138039"/>
            <a:ext cx="2950033" cy="43"/>
          </a:xfrm>
          <a:prstGeom prst="line">
            <a:avLst/>
          </a:prstGeom>
          <a:noFill/>
          <a:ln w="19050" cap="flat" cmpd="sng" algn="ctr">
            <a:solidFill>
              <a:srgbClr val="808080"/>
            </a:solidFill>
            <a:prstDash val="dash"/>
          </a:ln>
          <a:effectLst/>
        </p:spPr>
      </p:cxnSp>
      <p:pic>
        <p:nvPicPr>
          <p:cNvPr id="12" name="Picture 11"/>
          <p:cNvPicPr>
            <a:picLocks noChangeAspect="1"/>
          </p:cNvPicPr>
          <p:nvPr/>
        </p:nvPicPr>
        <p:blipFill>
          <a:blip r:embed="rId7"/>
          <a:stretch>
            <a:fillRect/>
          </a:stretch>
        </p:blipFill>
        <p:spPr>
          <a:xfrm>
            <a:off x="6831106" y="1557157"/>
            <a:ext cx="551343" cy="496210"/>
          </a:xfrm>
          <a:prstGeom prst="rect">
            <a:avLst/>
          </a:prstGeom>
        </p:spPr>
      </p:pic>
      <p:pic>
        <p:nvPicPr>
          <p:cNvPr id="13" name="Picture 12"/>
          <p:cNvPicPr>
            <a:picLocks noChangeAspect="1"/>
          </p:cNvPicPr>
          <p:nvPr/>
        </p:nvPicPr>
        <p:blipFill>
          <a:blip r:embed="rId8"/>
          <a:stretch>
            <a:fillRect/>
          </a:stretch>
        </p:blipFill>
        <p:spPr>
          <a:xfrm>
            <a:off x="6831106" y="2211935"/>
            <a:ext cx="494333" cy="390178"/>
          </a:xfrm>
          <a:prstGeom prst="rect">
            <a:avLst/>
          </a:prstGeom>
        </p:spPr>
      </p:pic>
      <p:pic>
        <p:nvPicPr>
          <p:cNvPr id="40" name="Picture 68" descr="Image result for USAID logo"/>
          <p:cNvPicPr>
            <a:picLocks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831106" y="2777775"/>
            <a:ext cx="450750" cy="45075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p:cNvPicPr>
            <a:picLocks noChangeAspect="1"/>
          </p:cNvPicPr>
          <p:nvPr/>
        </p:nvPicPr>
        <p:blipFill>
          <a:blip r:embed="rId10"/>
          <a:stretch>
            <a:fillRect/>
          </a:stretch>
        </p:blipFill>
        <p:spPr>
          <a:xfrm flipH="1">
            <a:off x="6831106" y="3583641"/>
            <a:ext cx="677956" cy="450476"/>
          </a:xfrm>
          <a:prstGeom prst="rect">
            <a:avLst/>
          </a:prstGeom>
        </p:spPr>
      </p:pic>
      <p:pic>
        <p:nvPicPr>
          <p:cNvPr id="15" name="Picture 14"/>
          <p:cNvPicPr>
            <a:picLocks noChangeAspect="1"/>
          </p:cNvPicPr>
          <p:nvPr/>
        </p:nvPicPr>
        <p:blipFill>
          <a:blip r:embed="rId11"/>
          <a:stretch>
            <a:fillRect/>
          </a:stretch>
        </p:blipFill>
        <p:spPr>
          <a:xfrm>
            <a:off x="6831106" y="4372256"/>
            <a:ext cx="474165" cy="482134"/>
          </a:xfrm>
          <a:prstGeom prst="rect">
            <a:avLst/>
          </a:prstGeom>
        </p:spPr>
      </p:pic>
    </p:spTree>
    <p:extLst>
      <p:ext uri="{BB962C8B-B14F-4D97-AF65-F5344CB8AC3E}">
        <p14:creationId xmlns:p14="http://schemas.microsoft.com/office/powerpoint/2010/main" val="411466350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800" dirty="0"/>
              <a:t>Since strategy inception in 2017, AGRA has made a number of investments in Mali</a:t>
            </a:r>
          </a:p>
        </p:txBody>
      </p:sp>
      <p:grpSp>
        <p:nvGrpSpPr>
          <p:cNvPr id="3" name="Group 2"/>
          <p:cNvGrpSpPr/>
          <p:nvPr/>
        </p:nvGrpSpPr>
        <p:grpSpPr>
          <a:xfrm>
            <a:off x="227783" y="1143000"/>
            <a:ext cx="9678217" cy="5368926"/>
            <a:chOff x="239803" y="838200"/>
            <a:chExt cx="12593558" cy="6054726"/>
          </a:xfrm>
        </p:grpSpPr>
        <p:grpSp>
          <p:nvGrpSpPr>
            <p:cNvPr id="4" name="Group 3"/>
            <p:cNvGrpSpPr/>
            <p:nvPr/>
          </p:nvGrpSpPr>
          <p:grpSpPr>
            <a:xfrm>
              <a:off x="239803" y="838200"/>
              <a:ext cx="12593558" cy="6054726"/>
              <a:chOff x="239803" y="838200"/>
              <a:chExt cx="12593558" cy="6054726"/>
            </a:xfrm>
          </p:grpSpPr>
          <p:sp>
            <p:nvSpPr>
              <p:cNvPr id="25" name="TextBox 24"/>
              <p:cNvSpPr txBox="1"/>
              <p:nvPr/>
            </p:nvSpPr>
            <p:spPr>
              <a:xfrm>
                <a:off x="9559795" y="839983"/>
                <a:ext cx="3273566" cy="1197462"/>
              </a:xfrm>
              <a:prstGeom prst="rect">
                <a:avLst/>
              </a:prstGeom>
              <a:noFill/>
              <a:ln>
                <a:noFill/>
              </a:ln>
            </p:spPr>
            <p:txBody>
              <a:bodyPr wrap="square" rtlCol="0">
                <a:spAutoFit/>
              </a:bodyPr>
              <a:lstStyle/>
              <a:p>
                <a:pPr>
                  <a:buClrTx/>
                  <a:buFontTx/>
                  <a:buNone/>
                </a:pPr>
                <a:r>
                  <a:rPr lang="en-US" sz="900" b="1" kern="1200" dirty="0">
                    <a:solidFill>
                      <a:prstClr val="black">
                        <a:lumMod val="95000"/>
                        <a:lumOff val="5000"/>
                      </a:prstClr>
                    </a:solidFill>
                    <a:latin typeface="Arial" panose="020B0604020202020204" pitchFamily="34" charset="0"/>
                    <a:ea typeface="+mn-ea"/>
                    <a:cs typeface="Arial" panose="020B0604020202020204" pitchFamily="34" charset="0"/>
                  </a:rPr>
                  <a:t>Grant Type: </a:t>
                </a:r>
                <a:r>
                  <a:rPr lang="en-US" sz="900" kern="1200" dirty="0">
                    <a:solidFill>
                      <a:prstClr val="black">
                        <a:lumMod val="95000"/>
                        <a:lumOff val="5000"/>
                      </a:prstClr>
                    </a:solidFill>
                    <a:latin typeface="Arial" panose="020B0604020202020204" pitchFamily="34" charset="0"/>
                    <a:ea typeface="+mn-ea"/>
                    <a:cs typeface="Arial" panose="020B0604020202020204" pitchFamily="34" charset="0"/>
                  </a:rPr>
                  <a:t>Consortium</a:t>
                </a:r>
                <a:endParaRPr lang="en-US" sz="900" b="1" kern="1200" dirty="0">
                  <a:solidFill>
                    <a:prstClr val="black">
                      <a:lumMod val="95000"/>
                      <a:lumOff val="5000"/>
                    </a:prstClr>
                  </a:solidFill>
                  <a:latin typeface="Arial" panose="020B0604020202020204" pitchFamily="34" charset="0"/>
                  <a:ea typeface="+mn-ea"/>
                  <a:cs typeface="Arial" panose="020B0604020202020204" pitchFamily="34" charset="0"/>
                </a:endParaRPr>
              </a:p>
              <a:p>
                <a:pPr>
                  <a:buClrTx/>
                  <a:buFontTx/>
                  <a:buNone/>
                </a:pPr>
                <a:r>
                  <a:rPr lang="en-US" sz="900" b="1" kern="1200" dirty="0">
                    <a:solidFill>
                      <a:prstClr val="black">
                        <a:lumMod val="95000"/>
                        <a:lumOff val="5000"/>
                      </a:prstClr>
                    </a:solidFill>
                    <a:latin typeface="Arial" panose="020B0604020202020204" pitchFamily="34" charset="0"/>
                    <a:ea typeface="+mn-ea"/>
                    <a:cs typeface="Arial" panose="020B0604020202020204" pitchFamily="34" charset="0"/>
                  </a:rPr>
                  <a:t>Grant Title: </a:t>
                </a:r>
                <a:r>
                  <a:rPr lang="en-GB" sz="900" kern="1200" dirty="0">
                    <a:solidFill>
                      <a:prstClr val="black">
                        <a:lumMod val="95000"/>
                        <a:lumOff val="5000"/>
                      </a:prstClr>
                    </a:solidFill>
                    <a:latin typeface="Arial" panose="020B0604020202020204" pitchFamily="34" charset="0"/>
                    <a:ea typeface="+mn-ea"/>
                    <a:cs typeface="Arial" panose="020B0604020202020204" pitchFamily="34" charset="0"/>
                  </a:rPr>
                  <a:t>Improving incomes and food security of smallholder farmers through establishment of functional market systems for maize, sorghum and cowpea value chains</a:t>
                </a:r>
                <a:endParaRPr lang="en-US" sz="900" kern="1200" dirty="0">
                  <a:solidFill>
                    <a:prstClr val="black">
                      <a:lumMod val="95000"/>
                      <a:lumOff val="5000"/>
                    </a:prstClr>
                  </a:solidFill>
                  <a:latin typeface="Arial" panose="020B0604020202020204" pitchFamily="34" charset="0"/>
                  <a:ea typeface="+mn-ea"/>
                  <a:cs typeface="Arial" panose="020B0604020202020204" pitchFamily="34" charset="0"/>
                </a:endParaRPr>
              </a:p>
              <a:p>
                <a:pPr>
                  <a:buClrTx/>
                  <a:buFontTx/>
                  <a:buNone/>
                </a:pPr>
                <a:r>
                  <a:rPr lang="en-US" sz="900" b="1" kern="1200" dirty="0">
                    <a:solidFill>
                      <a:prstClr val="black">
                        <a:lumMod val="95000"/>
                        <a:lumOff val="5000"/>
                      </a:prstClr>
                    </a:solidFill>
                    <a:latin typeface="Arial" panose="020B0604020202020204" pitchFamily="34" charset="0"/>
                    <a:ea typeface="+mn-ea"/>
                    <a:cs typeface="Arial" panose="020B0604020202020204" pitchFamily="34" charset="0"/>
                  </a:rPr>
                  <a:t>Coverage</a:t>
                </a:r>
                <a:r>
                  <a:rPr lang="en-US" sz="900" kern="1200" dirty="0">
                    <a:solidFill>
                      <a:prstClr val="black"/>
                    </a:solidFill>
                    <a:latin typeface="Arial" panose="020B0604020202020204" pitchFamily="34" charset="0"/>
                    <a:ea typeface="+mn-ea"/>
                    <a:cs typeface="Arial" panose="020B0604020202020204" pitchFamily="34" charset="0"/>
                  </a:rPr>
                  <a:t>: Boucle du Mouhoun, Centre-Ouest</a:t>
                </a:r>
              </a:p>
            </p:txBody>
          </p:sp>
          <p:grpSp>
            <p:nvGrpSpPr>
              <p:cNvPr id="26" name="Group 25"/>
              <p:cNvGrpSpPr/>
              <p:nvPr/>
            </p:nvGrpSpPr>
            <p:grpSpPr>
              <a:xfrm>
                <a:off x="239803" y="838200"/>
                <a:ext cx="11993472" cy="6054726"/>
                <a:chOff x="239803" y="838200"/>
                <a:chExt cx="11993472" cy="6054726"/>
              </a:xfrm>
            </p:grpSpPr>
            <p:grpSp>
              <p:nvGrpSpPr>
                <p:cNvPr id="27" name="Group 4"/>
                <p:cNvGrpSpPr>
                  <a:grpSpLocks noChangeAspect="1"/>
                </p:cNvGrpSpPr>
                <p:nvPr/>
              </p:nvGrpSpPr>
              <p:grpSpPr bwMode="auto">
                <a:xfrm>
                  <a:off x="714375" y="838200"/>
                  <a:ext cx="11518900" cy="6054726"/>
                  <a:chOff x="361" y="509"/>
                  <a:chExt cx="7256" cy="3814"/>
                </a:xfrm>
              </p:grpSpPr>
              <p:sp>
                <p:nvSpPr>
                  <p:cNvPr id="32" name="Freeform 31"/>
                  <p:cNvSpPr>
                    <a:spLocks/>
                  </p:cNvSpPr>
                  <p:nvPr/>
                </p:nvSpPr>
                <p:spPr bwMode="auto">
                  <a:xfrm>
                    <a:off x="1637" y="635"/>
                    <a:ext cx="4882" cy="3500"/>
                  </a:xfrm>
                  <a:custGeom>
                    <a:avLst/>
                    <a:gdLst>
                      <a:gd name="T0" fmla="*/ 3453 w 4882"/>
                      <a:gd name="T1" fmla="*/ 65 h 3500"/>
                      <a:gd name="T2" fmla="*/ 3564 w 4882"/>
                      <a:gd name="T3" fmla="*/ 427 h 3500"/>
                      <a:gd name="T4" fmla="*/ 3694 w 4882"/>
                      <a:gd name="T5" fmla="*/ 722 h 3500"/>
                      <a:gd name="T6" fmla="*/ 3882 w 4882"/>
                      <a:gd name="T7" fmla="*/ 871 h 3500"/>
                      <a:gd name="T8" fmla="*/ 4172 w 4882"/>
                      <a:gd name="T9" fmla="*/ 1074 h 3500"/>
                      <a:gd name="T10" fmla="*/ 4011 w 4882"/>
                      <a:gd name="T11" fmla="*/ 1202 h 3500"/>
                      <a:gd name="T12" fmla="*/ 4548 w 4882"/>
                      <a:gd name="T13" fmla="*/ 1520 h 3500"/>
                      <a:gd name="T14" fmla="*/ 4798 w 4882"/>
                      <a:gd name="T15" fmla="*/ 1611 h 3500"/>
                      <a:gd name="T16" fmla="*/ 4671 w 4882"/>
                      <a:gd name="T17" fmla="*/ 1680 h 3500"/>
                      <a:gd name="T18" fmla="*/ 4866 w 4882"/>
                      <a:gd name="T19" fmla="*/ 2008 h 3500"/>
                      <a:gd name="T20" fmla="*/ 4670 w 4882"/>
                      <a:gd name="T21" fmla="*/ 2227 h 3500"/>
                      <a:gd name="T22" fmla="*/ 4462 w 4882"/>
                      <a:gd name="T23" fmla="*/ 2255 h 3500"/>
                      <a:gd name="T24" fmla="*/ 4343 w 4882"/>
                      <a:gd name="T25" fmla="*/ 2241 h 3500"/>
                      <a:gd name="T26" fmla="*/ 4223 w 4882"/>
                      <a:gd name="T27" fmla="*/ 2293 h 3500"/>
                      <a:gd name="T28" fmla="*/ 4180 w 4882"/>
                      <a:gd name="T29" fmla="*/ 2338 h 3500"/>
                      <a:gd name="T30" fmla="*/ 4109 w 4882"/>
                      <a:gd name="T31" fmla="*/ 2407 h 3500"/>
                      <a:gd name="T32" fmla="*/ 4079 w 4882"/>
                      <a:gd name="T33" fmla="*/ 2491 h 3500"/>
                      <a:gd name="T34" fmla="*/ 3892 w 4882"/>
                      <a:gd name="T35" fmla="*/ 2518 h 3500"/>
                      <a:gd name="T36" fmla="*/ 3470 w 4882"/>
                      <a:gd name="T37" fmla="*/ 2463 h 3500"/>
                      <a:gd name="T38" fmla="*/ 3223 w 4882"/>
                      <a:gd name="T39" fmla="*/ 2444 h 3500"/>
                      <a:gd name="T40" fmla="*/ 3071 w 4882"/>
                      <a:gd name="T41" fmla="*/ 2521 h 3500"/>
                      <a:gd name="T42" fmla="*/ 2975 w 4882"/>
                      <a:gd name="T43" fmla="*/ 2528 h 3500"/>
                      <a:gd name="T44" fmla="*/ 2710 w 4882"/>
                      <a:gd name="T45" fmla="*/ 2515 h 3500"/>
                      <a:gd name="T46" fmla="*/ 2324 w 4882"/>
                      <a:gd name="T47" fmla="*/ 2529 h 3500"/>
                      <a:gd name="T48" fmla="*/ 1839 w 4882"/>
                      <a:gd name="T49" fmla="*/ 2523 h 3500"/>
                      <a:gd name="T50" fmla="*/ 1633 w 4882"/>
                      <a:gd name="T51" fmla="*/ 2590 h 3500"/>
                      <a:gd name="T52" fmla="*/ 1609 w 4882"/>
                      <a:gd name="T53" fmla="*/ 2795 h 3500"/>
                      <a:gd name="T54" fmla="*/ 1696 w 4882"/>
                      <a:gd name="T55" fmla="*/ 2981 h 3500"/>
                      <a:gd name="T56" fmla="*/ 1687 w 4882"/>
                      <a:gd name="T57" fmla="*/ 3271 h 3500"/>
                      <a:gd name="T58" fmla="*/ 1682 w 4882"/>
                      <a:gd name="T59" fmla="*/ 3496 h 3500"/>
                      <a:gd name="T60" fmla="*/ 1449 w 4882"/>
                      <a:gd name="T61" fmla="*/ 3229 h 3500"/>
                      <a:gd name="T62" fmla="*/ 1342 w 4882"/>
                      <a:gd name="T63" fmla="*/ 3199 h 3500"/>
                      <a:gd name="T64" fmla="*/ 1053 w 4882"/>
                      <a:gd name="T65" fmla="*/ 3199 h 3500"/>
                      <a:gd name="T66" fmla="*/ 884 w 4882"/>
                      <a:gd name="T67" fmla="*/ 3250 h 3500"/>
                      <a:gd name="T68" fmla="*/ 759 w 4882"/>
                      <a:gd name="T69" fmla="*/ 3334 h 3500"/>
                      <a:gd name="T70" fmla="*/ 618 w 4882"/>
                      <a:gd name="T71" fmla="*/ 3344 h 3500"/>
                      <a:gd name="T72" fmla="*/ 548 w 4882"/>
                      <a:gd name="T73" fmla="*/ 3315 h 3500"/>
                      <a:gd name="T74" fmla="*/ 437 w 4882"/>
                      <a:gd name="T75" fmla="*/ 3275 h 3500"/>
                      <a:gd name="T76" fmla="*/ 339 w 4882"/>
                      <a:gd name="T77" fmla="*/ 3196 h 3500"/>
                      <a:gd name="T78" fmla="*/ 309 w 4882"/>
                      <a:gd name="T79" fmla="*/ 3092 h 3500"/>
                      <a:gd name="T80" fmla="*/ 269 w 4882"/>
                      <a:gd name="T81" fmla="*/ 3036 h 3500"/>
                      <a:gd name="T82" fmla="*/ 222 w 4882"/>
                      <a:gd name="T83" fmla="*/ 2957 h 3500"/>
                      <a:gd name="T84" fmla="*/ 93 w 4882"/>
                      <a:gd name="T85" fmla="*/ 2955 h 3500"/>
                      <a:gd name="T86" fmla="*/ 1 w 4882"/>
                      <a:gd name="T87" fmla="*/ 2849 h 3500"/>
                      <a:gd name="T88" fmla="*/ 46 w 4882"/>
                      <a:gd name="T89" fmla="*/ 2637 h 3500"/>
                      <a:gd name="T90" fmla="*/ 109 w 4882"/>
                      <a:gd name="T91" fmla="*/ 2431 h 3500"/>
                      <a:gd name="T92" fmla="*/ 188 w 4882"/>
                      <a:gd name="T93" fmla="*/ 2214 h 3500"/>
                      <a:gd name="T94" fmla="*/ 146 w 4882"/>
                      <a:gd name="T95" fmla="*/ 2048 h 3500"/>
                      <a:gd name="T96" fmla="*/ 101 w 4882"/>
                      <a:gd name="T97" fmla="*/ 2008 h 3500"/>
                      <a:gd name="T98" fmla="*/ 206 w 4882"/>
                      <a:gd name="T99" fmla="*/ 1954 h 3500"/>
                      <a:gd name="T100" fmla="*/ 332 w 4882"/>
                      <a:gd name="T101" fmla="*/ 1907 h 3500"/>
                      <a:gd name="T102" fmla="*/ 515 w 4882"/>
                      <a:gd name="T103" fmla="*/ 1864 h 3500"/>
                      <a:gd name="T104" fmla="*/ 630 w 4882"/>
                      <a:gd name="T105" fmla="*/ 1728 h 3500"/>
                      <a:gd name="T106" fmla="*/ 649 w 4882"/>
                      <a:gd name="T107" fmla="*/ 1516 h 3500"/>
                      <a:gd name="T108" fmla="*/ 792 w 4882"/>
                      <a:gd name="T109" fmla="*/ 1435 h 3500"/>
                      <a:gd name="T110" fmla="*/ 763 w 4882"/>
                      <a:gd name="T111" fmla="*/ 1172 h 3500"/>
                      <a:gd name="T112" fmla="*/ 882 w 4882"/>
                      <a:gd name="T113" fmla="*/ 1039 h 3500"/>
                      <a:gd name="T114" fmla="*/ 952 w 4882"/>
                      <a:gd name="T115" fmla="*/ 1042 h 3500"/>
                      <a:gd name="T116" fmla="*/ 1262 w 4882"/>
                      <a:gd name="T117" fmla="*/ 1184 h 3500"/>
                      <a:gd name="T118" fmla="*/ 1384 w 4882"/>
                      <a:gd name="T119" fmla="*/ 990 h 3500"/>
                      <a:gd name="T120" fmla="*/ 1524 w 4882"/>
                      <a:gd name="T121" fmla="*/ 899 h 3500"/>
                      <a:gd name="T122" fmla="*/ 2086 w 4882"/>
                      <a:gd name="T123" fmla="*/ 565 h 3500"/>
                      <a:gd name="T124" fmla="*/ 2907 w 4882"/>
                      <a:gd name="T125" fmla="*/ 33 h 3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82" h="3500">
                        <a:moveTo>
                          <a:pt x="3119" y="1"/>
                        </a:moveTo>
                        <a:lnTo>
                          <a:pt x="3122" y="4"/>
                        </a:lnTo>
                        <a:lnTo>
                          <a:pt x="3127" y="9"/>
                        </a:lnTo>
                        <a:lnTo>
                          <a:pt x="3141" y="27"/>
                        </a:lnTo>
                        <a:lnTo>
                          <a:pt x="3144" y="33"/>
                        </a:lnTo>
                        <a:lnTo>
                          <a:pt x="3150" y="42"/>
                        </a:lnTo>
                        <a:lnTo>
                          <a:pt x="3155" y="46"/>
                        </a:lnTo>
                        <a:lnTo>
                          <a:pt x="3157" y="46"/>
                        </a:lnTo>
                        <a:lnTo>
                          <a:pt x="3160" y="47"/>
                        </a:lnTo>
                        <a:lnTo>
                          <a:pt x="3163" y="46"/>
                        </a:lnTo>
                        <a:lnTo>
                          <a:pt x="3168" y="44"/>
                        </a:lnTo>
                        <a:lnTo>
                          <a:pt x="3169" y="42"/>
                        </a:lnTo>
                        <a:lnTo>
                          <a:pt x="3184" y="34"/>
                        </a:lnTo>
                        <a:lnTo>
                          <a:pt x="3195" y="28"/>
                        </a:lnTo>
                        <a:lnTo>
                          <a:pt x="3200" y="25"/>
                        </a:lnTo>
                        <a:lnTo>
                          <a:pt x="3204" y="23"/>
                        </a:lnTo>
                        <a:lnTo>
                          <a:pt x="3207" y="22"/>
                        </a:lnTo>
                        <a:lnTo>
                          <a:pt x="3214" y="19"/>
                        </a:lnTo>
                        <a:lnTo>
                          <a:pt x="3215" y="17"/>
                        </a:lnTo>
                        <a:lnTo>
                          <a:pt x="3233" y="8"/>
                        </a:lnTo>
                        <a:lnTo>
                          <a:pt x="3244" y="4"/>
                        </a:lnTo>
                        <a:lnTo>
                          <a:pt x="3247" y="4"/>
                        </a:lnTo>
                        <a:lnTo>
                          <a:pt x="3249" y="4"/>
                        </a:lnTo>
                        <a:lnTo>
                          <a:pt x="3257" y="8"/>
                        </a:lnTo>
                        <a:lnTo>
                          <a:pt x="3265" y="11"/>
                        </a:lnTo>
                        <a:lnTo>
                          <a:pt x="3288" y="20"/>
                        </a:lnTo>
                        <a:lnTo>
                          <a:pt x="3296" y="20"/>
                        </a:lnTo>
                        <a:lnTo>
                          <a:pt x="3299" y="23"/>
                        </a:lnTo>
                        <a:lnTo>
                          <a:pt x="3303" y="23"/>
                        </a:lnTo>
                        <a:lnTo>
                          <a:pt x="3307" y="27"/>
                        </a:lnTo>
                        <a:lnTo>
                          <a:pt x="3312" y="28"/>
                        </a:lnTo>
                        <a:lnTo>
                          <a:pt x="3317" y="28"/>
                        </a:lnTo>
                        <a:lnTo>
                          <a:pt x="3318" y="30"/>
                        </a:lnTo>
                        <a:lnTo>
                          <a:pt x="3333" y="34"/>
                        </a:lnTo>
                        <a:lnTo>
                          <a:pt x="3339" y="38"/>
                        </a:lnTo>
                        <a:lnTo>
                          <a:pt x="3342" y="39"/>
                        </a:lnTo>
                        <a:lnTo>
                          <a:pt x="3352" y="42"/>
                        </a:lnTo>
                        <a:lnTo>
                          <a:pt x="3374" y="52"/>
                        </a:lnTo>
                        <a:lnTo>
                          <a:pt x="3377" y="53"/>
                        </a:lnTo>
                        <a:lnTo>
                          <a:pt x="3383" y="55"/>
                        </a:lnTo>
                        <a:lnTo>
                          <a:pt x="3394" y="60"/>
                        </a:lnTo>
                        <a:lnTo>
                          <a:pt x="3399" y="61"/>
                        </a:lnTo>
                        <a:lnTo>
                          <a:pt x="3401" y="61"/>
                        </a:lnTo>
                        <a:lnTo>
                          <a:pt x="3407" y="61"/>
                        </a:lnTo>
                        <a:lnTo>
                          <a:pt x="3409" y="61"/>
                        </a:lnTo>
                        <a:lnTo>
                          <a:pt x="3417" y="63"/>
                        </a:lnTo>
                        <a:lnTo>
                          <a:pt x="3421" y="63"/>
                        </a:lnTo>
                        <a:lnTo>
                          <a:pt x="3423" y="63"/>
                        </a:lnTo>
                        <a:lnTo>
                          <a:pt x="3428" y="63"/>
                        </a:lnTo>
                        <a:lnTo>
                          <a:pt x="3431" y="65"/>
                        </a:lnTo>
                        <a:lnTo>
                          <a:pt x="3437" y="65"/>
                        </a:lnTo>
                        <a:lnTo>
                          <a:pt x="3444" y="65"/>
                        </a:lnTo>
                        <a:lnTo>
                          <a:pt x="3448" y="65"/>
                        </a:lnTo>
                        <a:lnTo>
                          <a:pt x="3453" y="65"/>
                        </a:lnTo>
                        <a:lnTo>
                          <a:pt x="3458" y="65"/>
                        </a:lnTo>
                        <a:lnTo>
                          <a:pt x="3463" y="65"/>
                        </a:lnTo>
                        <a:lnTo>
                          <a:pt x="3464" y="65"/>
                        </a:lnTo>
                        <a:lnTo>
                          <a:pt x="3474" y="63"/>
                        </a:lnTo>
                        <a:lnTo>
                          <a:pt x="3482" y="63"/>
                        </a:lnTo>
                        <a:lnTo>
                          <a:pt x="3486" y="63"/>
                        </a:lnTo>
                        <a:lnTo>
                          <a:pt x="3489" y="63"/>
                        </a:lnTo>
                        <a:lnTo>
                          <a:pt x="3491" y="63"/>
                        </a:lnTo>
                        <a:lnTo>
                          <a:pt x="3493" y="63"/>
                        </a:lnTo>
                        <a:lnTo>
                          <a:pt x="3499" y="63"/>
                        </a:lnTo>
                        <a:lnTo>
                          <a:pt x="3501" y="63"/>
                        </a:lnTo>
                        <a:lnTo>
                          <a:pt x="3512" y="61"/>
                        </a:lnTo>
                        <a:lnTo>
                          <a:pt x="3518" y="60"/>
                        </a:lnTo>
                        <a:lnTo>
                          <a:pt x="3521" y="58"/>
                        </a:lnTo>
                        <a:lnTo>
                          <a:pt x="3523" y="58"/>
                        </a:lnTo>
                        <a:lnTo>
                          <a:pt x="3531" y="58"/>
                        </a:lnTo>
                        <a:lnTo>
                          <a:pt x="3535" y="58"/>
                        </a:lnTo>
                        <a:lnTo>
                          <a:pt x="3540" y="58"/>
                        </a:lnTo>
                        <a:lnTo>
                          <a:pt x="3540" y="65"/>
                        </a:lnTo>
                        <a:lnTo>
                          <a:pt x="3543" y="103"/>
                        </a:lnTo>
                        <a:lnTo>
                          <a:pt x="3543" y="109"/>
                        </a:lnTo>
                        <a:lnTo>
                          <a:pt x="3543" y="115"/>
                        </a:lnTo>
                        <a:lnTo>
                          <a:pt x="3545" y="117"/>
                        </a:lnTo>
                        <a:lnTo>
                          <a:pt x="3545" y="118"/>
                        </a:lnTo>
                        <a:lnTo>
                          <a:pt x="3545" y="122"/>
                        </a:lnTo>
                        <a:lnTo>
                          <a:pt x="3540" y="131"/>
                        </a:lnTo>
                        <a:lnTo>
                          <a:pt x="3526" y="149"/>
                        </a:lnTo>
                        <a:lnTo>
                          <a:pt x="3524" y="150"/>
                        </a:lnTo>
                        <a:lnTo>
                          <a:pt x="3524" y="153"/>
                        </a:lnTo>
                        <a:lnTo>
                          <a:pt x="3526" y="153"/>
                        </a:lnTo>
                        <a:lnTo>
                          <a:pt x="3529" y="163"/>
                        </a:lnTo>
                        <a:lnTo>
                          <a:pt x="3535" y="179"/>
                        </a:lnTo>
                        <a:lnTo>
                          <a:pt x="3535" y="182"/>
                        </a:lnTo>
                        <a:lnTo>
                          <a:pt x="3537" y="183"/>
                        </a:lnTo>
                        <a:lnTo>
                          <a:pt x="3539" y="188"/>
                        </a:lnTo>
                        <a:lnTo>
                          <a:pt x="3545" y="206"/>
                        </a:lnTo>
                        <a:lnTo>
                          <a:pt x="3545" y="209"/>
                        </a:lnTo>
                        <a:lnTo>
                          <a:pt x="3543" y="212"/>
                        </a:lnTo>
                        <a:lnTo>
                          <a:pt x="3543" y="217"/>
                        </a:lnTo>
                        <a:lnTo>
                          <a:pt x="3542" y="223"/>
                        </a:lnTo>
                        <a:lnTo>
                          <a:pt x="3531" y="256"/>
                        </a:lnTo>
                        <a:lnTo>
                          <a:pt x="3508" y="308"/>
                        </a:lnTo>
                        <a:lnTo>
                          <a:pt x="3502" y="339"/>
                        </a:lnTo>
                        <a:lnTo>
                          <a:pt x="3504" y="345"/>
                        </a:lnTo>
                        <a:lnTo>
                          <a:pt x="3507" y="356"/>
                        </a:lnTo>
                        <a:lnTo>
                          <a:pt x="3508" y="364"/>
                        </a:lnTo>
                        <a:lnTo>
                          <a:pt x="3518" y="383"/>
                        </a:lnTo>
                        <a:lnTo>
                          <a:pt x="3529" y="394"/>
                        </a:lnTo>
                        <a:lnTo>
                          <a:pt x="3531" y="392"/>
                        </a:lnTo>
                        <a:lnTo>
                          <a:pt x="3532" y="391"/>
                        </a:lnTo>
                        <a:lnTo>
                          <a:pt x="3537" y="397"/>
                        </a:lnTo>
                        <a:lnTo>
                          <a:pt x="3542" y="402"/>
                        </a:lnTo>
                        <a:lnTo>
                          <a:pt x="3553" y="413"/>
                        </a:lnTo>
                        <a:lnTo>
                          <a:pt x="3564" y="427"/>
                        </a:lnTo>
                        <a:lnTo>
                          <a:pt x="3569" y="434"/>
                        </a:lnTo>
                        <a:lnTo>
                          <a:pt x="3583" y="442"/>
                        </a:lnTo>
                        <a:lnTo>
                          <a:pt x="3584" y="442"/>
                        </a:lnTo>
                        <a:lnTo>
                          <a:pt x="3599" y="445"/>
                        </a:lnTo>
                        <a:lnTo>
                          <a:pt x="3602" y="448"/>
                        </a:lnTo>
                        <a:lnTo>
                          <a:pt x="3608" y="456"/>
                        </a:lnTo>
                        <a:lnTo>
                          <a:pt x="3613" y="464"/>
                        </a:lnTo>
                        <a:lnTo>
                          <a:pt x="3618" y="470"/>
                        </a:lnTo>
                        <a:lnTo>
                          <a:pt x="3621" y="472"/>
                        </a:lnTo>
                        <a:lnTo>
                          <a:pt x="3627" y="478"/>
                        </a:lnTo>
                        <a:lnTo>
                          <a:pt x="3637" y="489"/>
                        </a:lnTo>
                        <a:lnTo>
                          <a:pt x="3648" y="511"/>
                        </a:lnTo>
                        <a:lnTo>
                          <a:pt x="3648" y="513"/>
                        </a:lnTo>
                        <a:lnTo>
                          <a:pt x="3638" y="530"/>
                        </a:lnTo>
                        <a:lnTo>
                          <a:pt x="3640" y="551"/>
                        </a:lnTo>
                        <a:lnTo>
                          <a:pt x="3629" y="560"/>
                        </a:lnTo>
                        <a:lnTo>
                          <a:pt x="3619" y="576"/>
                        </a:lnTo>
                        <a:lnTo>
                          <a:pt x="3621" y="583"/>
                        </a:lnTo>
                        <a:lnTo>
                          <a:pt x="3624" y="589"/>
                        </a:lnTo>
                        <a:lnTo>
                          <a:pt x="3635" y="605"/>
                        </a:lnTo>
                        <a:lnTo>
                          <a:pt x="3637" y="608"/>
                        </a:lnTo>
                        <a:lnTo>
                          <a:pt x="3637" y="609"/>
                        </a:lnTo>
                        <a:lnTo>
                          <a:pt x="3643" y="614"/>
                        </a:lnTo>
                        <a:lnTo>
                          <a:pt x="3637" y="624"/>
                        </a:lnTo>
                        <a:lnTo>
                          <a:pt x="3638" y="632"/>
                        </a:lnTo>
                        <a:lnTo>
                          <a:pt x="3645" y="651"/>
                        </a:lnTo>
                        <a:lnTo>
                          <a:pt x="3651" y="659"/>
                        </a:lnTo>
                        <a:lnTo>
                          <a:pt x="3653" y="660"/>
                        </a:lnTo>
                        <a:lnTo>
                          <a:pt x="3656" y="665"/>
                        </a:lnTo>
                        <a:lnTo>
                          <a:pt x="3659" y="668"/>
                        </a:lnTo>
                        <a:lnTo>
                          <a:pt x="3672" y="676"/>
                        </a:lnTo>
                        <a:lnTo>
                          <a:pt x="3672" y="678"/>
                        </a:lnTo>
                        <a:lnTo>
                          <a:pt x="3673" y="678"/>
                        </a:lnTo>
                        <a:lnTo>
                          <a:pt x="3675" y="679"/>
                        </a:lnTo>
                        <a:lnTo>
                          <a:pt x="3676" y="681"/>
                        </a:lnTo>
                        <a:lnTo>
                          <a:pt x="3680" y="685"/>
                        </a:lnTo>
                        <a:lnTo>
                          <a:pt x="3676" y="693"/>
                        </a:lnTo>
                        <a:lnTo>
                          <a:pt x="3680" y="698"/>
                        </a:lnTo>
                        <a:lnTo>
                          <a:pt x="3686" y="697"/>
                        </a:lnTo>
                        <a:lnTo>
                          <a:pt x="3689" y="695"/>
                        </a:lnTo>
                        <a:lnTo>
                          <a:pt x="3691" y="693"/>
                        </a:lnTo>
                        <a:lnTo>
                          <a:pt x="3691" y="692"/>
                        </a:lnTo>
                        <a:lnTo>
                          <a:pt x="3695" y="689"/>
                        </a:lnTo>
                        <a:lnTo>
                          <a:pt x="3697" y="692"/>
                        </a:lnTo>
                        <a:lnTo>
                          <a:pt x="3697" y="698"/>
                        </a:lnTo>
                        <a:lnTo>
                          <a:pt x="3697" y="700"/>
                        </a:lnTo>
                        <a:lnTo>
                          <a:pt x="3695" y="703"/>
                        </a:lnTo>
                        <a:lnTo>
                          <a:pt x="3692" y="706"/>
                        </a:lnTo>
                        <a:lnTo>
                          <a:pt x="3691" y="706"/>
                        </a:lnTo>
                        <a:lnTo>
                          <a:pt x="3691" y="708"/>
                        </a:lnTo>
                        <a:lnTo>
                          <a:pt x="3691" y="711"/>
                        </a:lnTo>
                        <a:lnTo>
                          <a:pt x="3691" y="719"/>
                        </a:lnTo>
                        <a:lnTo>
                          <a:pt x="3692" y="719"/>
                        </a:lnTo>
                        <a:lnTo>
                          <a:pt x="3694" y="722"/>
                        </a:lnTo>
                        <a:lnTo>
                          <a:pt x="3700" y="730"/>
                        </a:lnTo>
                        <a:lnTo>
                          <a:pt x="3703" y="733"/>
                        </a:lnTo>
                        <a:lnTo>
                          <a:pt x="3706" y="735"/>
                        </a:lnTo>
                        <a:lnTo>
                          <a:pt x="3711" y="738"/>
                        </a:lnTo>
                        <a:lnTo>
                          <a:pt x="3716" y="741"/>
                        </a:lnTo>
                        <a:lnTo>
                          <a:pt x="3719" y="744"/>
                        </a:lnTo>
                        <a:lnTo>
                          <a:pt x="3721" y="746"/>
                        </a:lnTo>
                        <a:lnTo>
                          <a:pt x="3722" y="747"/>
                        </a:lnTo>
                        <a:lnTo>
                          <a:pt x="3724" y="750"/>
                        </a:lnTo>
                        <a:lnTo>
                          <a:pt x="3724" y="755"/>
                        </a:lnTo>
                        <a:lnTo>
                          <a:pt x="3724" y="762"/>
                        </a:lnTo>
                        <a:lnTo>
                          <a:pt x="3725" y="763"/>
                        </a:lnTo>
                        <a:lnTo>
                          <a:pt x="3727" y="766"/>
                        </a:lnTo>
                        <a:lnTo>
                          <a:pt x="3732" y="769"/>
                        </a:lnTo>
                        <a:lnTo>
                          <a:pt x="3740" y="771"/>
                        </a:lnTo>
                        <a:lnTo>
                          <a:pt x="3741" y="774"/>
                        </a:lnTo>
                        <a:lnTo>
                          <a:pt x="3748" y="776"/>
                        </a:lnTo>
                        <a:lnTo>
                          <a:pt x="3748" y="777"/>
                        </a:lnTo>
                        <a:lnTo>
                          <a:pt x="3756" y="782"/>
                        </a:lnTo>
                        <a:lnTo>
                          <a:pt x="3759" y="785"/>
                        </a:lnTo>
                        <a:lnTo>
                          <a:pt x="3760" y="793"/>
                        </a:lnTo>
                        <a:lnTo>
                          <a:pt x="3763" y="798"/>
                        </a:lnTo>
                        <a:lnTo>
                          <a:pt x="3771" y="803"/>
                        </a:lnTo>
                        <a:lnTo>
                          <a:pt x="3776" y="803"/>
                        </a:lnTo>
                        <a:lnTo>
                          <a:pt x="3778" y="804"/>
                        </a:lnTo>
                        <a:lnTo>
                          <a:pt x="3778" y="803"/>
                        </a:lnTo>
                        <a:lnTo>
                          <a:pt x="3778" y="801"/>
                        </a:lnTo>
                        <a:lnTo>
                          <a:pt x="3778" y="800"/>
                        </a:lnTo>
                        <a:lnTo>
                          <a:pt x="3782" y="800"/>
                        </a:lnTo>
                        <a:lnTo>
                          <a:pt x="3782" y="803"/>
                        </a:lnTo>
                        <a:lnTo>
                          <a:pt x="3781" y="804"/>
                        </a:lnTo>
                        <a:lnTo>
                          <a:pt x="3782" y="806"/>
                        </a:lnTo>
                        <a:lnTo>
                          <a:pt x="3786" y="809"/>
                        </a:lnTo>
                        <a:lnTo>
                          <a:pt x="3786" y="812"/>
                        </a:lnTo>
                        <a:lnTo>
                          <a:pt x="3782" y="819"/>
                        </a:lnTo>
                        <a:lnTo>
                          <a:pt x="3778" y="823"/>
                        </a:lnTo>
                        <a:lnTo>
                          <a:pt x="3770" y="833"/>
                        </a:lnTo>
                        <a:lnTo>
                          <a:pt x="3770" y="841"/>
                        </a:lnTo>
                        <a:lnTo>
                          <a:pt x="3771" y="845"/>
                        </a:lnTo>
                        <a:lnTo>
                          <a:pt x="3773" y="845"/>
                        </a:lnTo>
                        <a:lnTo>
                          <a:pt x="3781" y="853"/>
                        </a:lnTo>
                        <a:lnTo>
                          <a:pt x="3790" y="857"/>
                        </a:lnTo>
                        <a:lnTo>
                          <a:pt x="3803" y="857"/>
                        </a:lnTo>
                        <a:lnTo>
                          <a:pt x="3811" y="857"/>
                        </a:lnTo>
                        <a:lnTo>
                          <a:pt x="3821" y="857"/>
                        </a:lnTo>
                        <a:lnTo>
                          <a:pt x="3843" y="857"/>
                        </a:lnTo>
                        <a:lnTo>
                          <a:pt x="3862" y="857"/>
                        </a:lnTo>
                        <a:lnTo>
                          <a:pt x="3873" y="857"/>
                        </a:lnTo>
                        <a:lnTo>
                          <a:pt x="3876" y="857"/>
                        </a:lnTo>
                        <a:lnTo>
                          <a:pt x="3882" y="861"/>
                        </a:lnTo>
                        <a:lnTo>
                          <a:pt x="3890" y="866"/>
                        </a:lnTo>
                        <a:lnTo>
                          <a:pt x="3884" y="869"/>
                        </a:lnTo>
                        <a:lnTo>
                          <a:pt x="3882" y="869"/>
                        </a:lnTo>
                        <a:lnTo>
                          <a:pt x="3882" y="871"/>
                        </a:lnTo>
                        <a:lnTo>
                          <a:pt x="3879" y="874"/>
                        </a:lnTo>
                        <a:lnTo>
                          <a:pt x="3881" y="888"/>
                        </a:lnTo>
                        <a:lnTo>
                          <a:pt x="3887" y="890"/>
                        </a:lnTo>
                        <a:lnTo>
                          <a:pt x="3909" y="903"/>
                        </a:lnTo>
                        <a:lnTo>
                          <a:pt x="3916" y="901"/>
                        </a:lnTo>
                        <a:lnTo>
                          <a:pt x="3922" y="899"/>
                        </a:lnTo>
                        <a:lnTo>
                          <a:pt x="3925" y="899"/>
                        </a:lnTo>
                        <a:lnTo>
                          <a:pt x="3928" y="899"/>
                        </a:lnTo>
                        <a:lnTo>
                          <a:pt x="3931" y="899"/>
                        </a:lnTo>
                        <a:lnTo>
                          <a:pt x="3936" y="901"/>
                        </a:lnTo>
                        <a:lnTo>
                          <a:pt x="3958" y="903"/>
                        </a:lnTo>
                        <a:lnTo>
                          <a:pt x="3960" y="904"/>
                        </a:lnTo>
                        <a:lnTo>
                          <a:pt x="3961" y="906"/>
                        </a:lnTo>
                        <a:lnTo>
                          <a:pt x="3963" y="906"/>
                        </a:lnTo>
                        <a:lnTo>
                          <a:pt x="3973" y="912"/>
                        </a:lnTo>
                        <a:lnTo>
                          <a:pt x="3977" y="915"/>
                        </a:lnTo>
                        <a:lnTo>
                          <a:pt x="3985" y="922"/>
                        </a:lnTo>
                        <a:lnTo>
                          <a:pt x="3990" y="926"/>
                        </a:lnTo>
                        <a:lnTo>
                          <a:pt x="3992" y="926"/>
                        </a:lnTo>
                        <a:lnTo>
                          <a:pt x="4000" y="929"/>
                        </a:lnTo>
                        <a:lnTo>
                          <a:pt x="4009" y="928"/>
                        </a:lnTo>
                        <a:lnTo>
                          <a:pt x="4012" y="931"/>
                        </a:lnTo>
                        <a:lnTo>
                          <a:pt x="4015" y="934"/>
                        </a:lnTo>
                        <a:lnTo>
                          <a:pt x="4017" y="937"/>
                        </a:lnTo>
                        <a:lnTo>
                          <a:pt x="4020" y="939"/>
                        </a:lnTo>
                        <a:lnTo>
                          <a:pt x="4022" y="945"/>
                        </a:lnTo>
                        <a:lnTo>
                          <a:pt x="4025" y="956"/>
                        </a:lnTo>
                        <a:lnTo>
                          <a:pt x="4020" y="964"/>
                        </a:lnTo>
                        <a:lnTo>
                          <a:pt x="4022" y="972"/>
                        </a:lnTo>
                        <a:lnTo>
                          <a:pt x="4025" y="983"/>
                        </a:lnTo>
                        <a:lnTo>
                          <a:pt x="4031" y="985"/>
                        </a:lnTo>
                        <a:lnTo>
                          <a:pt x="4041" y="986"/>
                        </a:lnTo>
                        <a:lnTo>
                          <a:pt x="4042" y="988"/>
                        </a:lnTo>
                        <a:lnTo>
                          <a:pt x="4044" y="988"/>
                        </a:lnTo>
                        <a:lnTo>
                          <a:pt x="4058" y="999"/>
                        </a:lnTo>
                        <a:lnTo>
                          <a:pt x="4064" y="999"/>
                        </a:lnTo>
                        <a:lnTo>
                          <a:pt x="4069" y="999"/>
                        </a:lnTo>
                        <a:lnTo>
                          <a:pt x="4077" y="1007"/>
                        </a:lnTo>
                        <a:lnTo>
                          <a:pt x="4099" y="1029"/>
                        </a:lnTo>
                        <a:lnTo>
                          <a:pt x="4112" y="1029"/>
                        </a:lnTo>
                        <a:lnTo>
                          <a:pt x="4114" y="1031"/>
                        </a:lnTo>
                        <a:lnTo>
                          <a:pt x="4114" y="1034"/>
                        </a:lnTo>
                        <a:lnTo>
                          <a:pt x="4125" y="1037"/>
                        </a:lnTo>
                        <a:lnTo>
                          <a:pt x="4134" y="1040"/>
                        </a:lnTo>
                        <a:lnTo>
                          <a:pt x="4140" y="1042"/>
                        </a:lnTo>
                        <a:lnTo>
                          <a:pt x="4148" y="1043"/>
                        </a:lnTo>
                        <a:lnTo>
                          <a:pt x="4152" y="1045"/>
                        </a:lnTo>
                        <a:lnTo>
                          <a:pt x="4156" y="1043"/>
                        </a:lnTo>
                        <a:lnTo>
                          <a:pt x="4164" y="1042"/>
                        </a:lnTo>
                        <a:lnTo>
                          <a:pt x="4190" y="1062"/>
                        </a:lnTo>
                        <a:lnTo>
                          <a:pt x="4190" y="1067"/>
                        </a:lnTo>
                        <a:lnTo>
                          <a:pt x="4188" y="1067"/>
                        </a:lnTo>
                        <a:lnTo>
                          <a:pt x="4175" y="1074"/>
                        </a:lnTo>
                        <a:lnTo>
                          <a:pt x="4172" y="1074"/>
                        </a:lnTo>
                        <a:lnTo>
                          <a:pt x="4171" y="1074"/>
                        </a:lnTo>
                        <a:lnTo>
                          <a:pt x="4161" y="1078"/>
                        </a:lnTo>
                        <a:lnTo>
                          <a:pt x="4158" y="1078"/>
                        </a:lnTo>
                        <a:lnTo>
                          <a:pt x="4152" y="1067"/>
                        </a:lnTo>
                        <a:lnTo>
                          <a:pt x="4152" y="1061"/>
                        </a:lnTo>
                        <a:lnTo>
                          <a:pt x="4150" y="1055"/>
                        </a:lnTo>
                        <a:lnTo>
                          <a:pt x="4145" y="1053"/>
                        </a:lnTo>
                        <a:lnTo>
                          <a:pt x="4144" y="1053"/>
                        </a:lnTo>
                        <a:lnTo>
                          <a:pt x="4140" y="1053"/>
                        </a:lnTo>
                        <a:lnTo>
                          <a:pt x="4140" y="1061"/>
                        </a:lnTo>
                        <a:lnTo>
                          <a:pt x="4142" y="1069"/>
                        </a:lnTo>
                        <a:lnTo>
                          <a:pt x="4140" y="1070"/>
                        </a:lnTo>
                        <a:lnTo>
                          <a:pt x="4140" y="1077"/>
                        </a:lnTo>
                        <a:lnTo>
                          <a:pt x="4136" y="1083"/>
                        </a:lnTo>
                        <a:lnTo>
                          <a:pt x="4134" y="1083"/>
                        </a:lnTo>
                        <a:lnTo>
                          <a:pt x="4131" y="1088"/>
                        </a:lnTo>
                        <a:lnTo>
                          <a:pt x="4128" y="1088"/>
                        </a:lnTo>
                        <a:lnTo>
                          <a:pt x="4126" y="1086"/>
                        </a:lnTo>
                        <a:lnTo>
                          <a:pt x="4125" y="1086"/>
                        </a:lnTo>
                        <a:lnTo>
                          <a:pt x="4107" y="1085"/>
                        </a:lnTo>
                        <a:lnTo>
                          <a:pt x="4106" y="1080"/>
                        </a:lnTo>
                        <a:lnTo>
                          <a:pt x="4104" y="1080"/>
                        </a:lnTo>
                        <a:lnTo>
                          <a:pt x="4099" y="1077"/>
                        </a:lnTo>
                        <a:lnTo>
                          <a:pt x="4098" y="1075"/>
                        </a:lnTo>
                        <a:lnTo>
                          <a:pt x="4095" y="1078"/>
                        </a:lnTo>
                        <a:lnTo>
                          <a:pt x="4091" y="1078"/>
                        </a:lnTo>
                        <a:lnTo>
                          <a:pt x="4090" y="1078"/>
                        </a:lnTo>
                        <a:lnTo>
                          <a:pt x="4082" y="1075"/>
                        </a:lnTo>
                        <a:lnTo>
                          <a:pt x="4072" y="1069"/>
                        </a:lnTo>
                        <a:lnTo>
                          <a:pt x="4068" y="1066"/>
                        </a:lnTo>
                        <a:lnTo>
                          <a:pt x="4066" y="1066"/>
                        </a:lnTo>
                        <a:lnTo>
                          <a:pt x="4064" y="1064"/>
                        </a:lnTo>
                        <a:lnTo>
                          <a:pt x="4063" y="1064"/>
                        </a:lnTo>
                        <a:lnTo>
                          <a:pt x="4061" y="1062"/>
                        </a:lnTo>
                        <a:lnTo>
                          <a:pt x="4060" y="1062"/>
                        </a:lnTo>
                        <a:lnTo>
                          <a:pt x="4057" y="1061"/>
                        </a:lnTo>
                        <a:lnTo>
                          <a:pt x="4057" y="1059"/>
                        </a:lnTo>
                        <a:lnTo>
                          <a:pt x="4055" y="1059"/>
                        </a:lnTo>
                        <a:lnTo>
                          <a:pt x="4050" y="1058"/>
                        </a:lnTo>
                        <a:lnTo>
                          <a:pt x="4049" y="1056"/>
                        </a:lnTo>
                        <a:lnTo>
                          <a:pt x="4033" y="1058"/>
                        </a:lnTo>
                        <a:lnTo>
                          <a:pt x="4030" y="1056"/>
                        </a:lnTo>
                        <a:lnTo>
                          <a:pt x="4028" y="1055"/>
                        </a:lnTo>
                        <a:lnTo>
                          <a:pt x="4015" y="1053"/>
                        </a:lnTo>
                        <a:lnTo>
                          <a:pt x="4014" y="1055"/>
                        </a:lnTo>
                        <a:lnTo>
                          <a:pt x="4011" y="1055"/>
                        </a:lnTo>
                        <a:lnTo>
                          <a:pt x="4011" y="1083"/>
                        </a:lnTo>
                        <a:lnTo>
                          <a:pt x="4011" y="1085"/>
                        </a:lnTo>
                        <a:lnTo>
                          <a:pt x="4011" y="1091"/>
                        </a:lnTo>
                        <a:lnTo>
                          <a:pt x="4011" y="1123"/>
                        </a:lnTo>
                        <a:lnTo>
                          <a:pt x="4011" y="1159"/>
                        </a:lnTo>
                        <a:lnTo>
                          <a:pt x="4011" y="1165"/>
                        </a:lnTo>
                        <a:lnTo>
                          <a:pt x="4011" y="1183"/>
                        </a:lnTo>
                        <a:lnTo>
                          <a:pt x="4011" y="1202"/>
                        </a:lnTo>
                        <a:lnTo>
                          <a:pt x="4011" y="1218"/>
                        </a:lnTo>
                        <a:lnTo>
                          <a:pt x="4011" y="1226"/>
                        </a:lnTo>
                        <a:lnTo>
                          <a:pt x="4011" y="1232"/>
                        </a:lnTo>
                        <a:lnTo>
                          <a:pt x="4011" y="1243"/>
                        </a:lnTo>
                        <a:lnTo>
                          <a:pt x="4011" y="1248"/>
                        </a:lnTo>
                        <a:lnTo>
                          <a:pt x="4012" y="1256"/>
                        </a:lnTo>
                        <a:lnTo>
                          <a:pt x="4014" y="1284"/>
                        </a:lnTo>
                        <a:lnTo>
                          <a:pt x="4088" y="1284"/>
                        </a:lnTo>
                        <a:lnTo>
                          <a:pt x="4091" y="1284"/>
                        </a:lnTo>
                        <a:lnTo>
                          <a:pt x="4118" y="1305"/>
                        </a:lnTo>
                        <a:lnTo>
                          <a:pt x="4123" y="1310"/>
                        </a:lnTo>
                        <a:lnTo>
                          <a:pt x="4133" y="1319"/>
                        </a:lnTo>
                        <a:lnTo>
                          <a:pt x="4133" y="1318"/>
                        </a:lnTo>
                        <a:lnTo>
                          <a:pt x="4140" y="1322"/>
                        </a:lnTo>
                        <a:lnTo>
                          <a:pt x="4145" y="1329"/>
                        </a:lnTo>
                        <a:lnTo>
                          <a:pt x="4155" y="1337"/>
                        </a:lnTo>
                        <a:lnTo>
                          <a:pt x="4185" y="1360"/>
                        </a:lnTo>
                        <a:lnTo>
                          <a:pt x="4186" y="1362"/>
                        </a:lnTo>
                        <a:lnTo>
                          <a:pt x="4196" y="1370"/>
                        </a:lnTo>
                        <a:lnTo>
                          <a:pt x="4202" y="1375"/>
                        </a:lnTo>
                        <a:lnTo>
                          <a:pt x="4207" y="1378"/>
                        </a:lnTo>
                        <a:lnTo>
                          <a:pt x="4212" y="1382"/>
                        </a:lnTo>
                        <a:lnTo>
                          <a:pt x="4212" y="1384"/>
                        </a:lnTo>
                        <a:lnTo>
                          <a:pt x="4217" y="1386"/>
                        </a:lnTo>
                        <a:lnTo>
                          <a:pt x="4218" y="1387"/>
                        </a:lnTo>
                        <a:lnTo>
                          <a:pt x="4226" y="1395"/>
                        </a:lnTo>
                        <a:lnTo>
                          <a:pt x="4239" y="1405"/>
                        </a:lnTo>
                        <a:lnTo>
                          <a:pt x="4245" y="1411"/>
                        </a:lnTo>
                        <a:lnTo>
                          <a:pt x="4255" y="1419"/>
                        </a:lnTo>
                        <a:lnTo>
                          <a:pt x="4259" y="1422"/>
                        </a:lnTo>
                        <a:lnTo>
                          <a:pt x="4266" y="1428"/>
                        </a:lnTo>
                        <a:lnTo>
                          <a:pt x="4269" y="1430"/>
                        </a:lnTo>
                        <a:lnTo>
                          <a:pt x="4278" y="1438"/>
                        </a:lnTo>
                        <a:lnTo>
                          <a:pt x="4283" y="1441"/>
                        </a:lnTo>
                        <a:lnTo>
                          <a:pt x="4370" y="1509"/>
                        </a:lnTo>
                        <a:lnTo>
                          <a:pt x="4392" y="1512"/>
                        </a:lnTo>
                        <a:lnTo>
                          <a:pt x="4400" y="1512"/>
                        </a:lnTo>
                        <a:lnTo>
                          <a:pt x="4426" y="1514"/>
                        </a:lnTo>
                        <a:lnTo>
                          <a:pt x="4437" y="1516"/>
                        </a:lnTo>
                        <a:lnTo>
                          <a:pt x="4440" y="1514"/>
                        </a:lnTo>
                        <a:lnTo>
                          <a:pt x="4448" y="1514"/>
                        </a:lnTo>
                        <a:lnTo>
                          <a:pt x="4453" y="1516"/>
                        </a:lnTo>
                        <a:lnTo>
                          <a:pt x="4472" y="1516"/>
                        </a:lnTo>
                        <a:lnTo>
                          <a:pt x="4475" y="1516"/>
                        </a:lnTo>
                        <a:lnTo>
                          <a:pt x="4479" y="1516"/>
                        </a:lnTo>
                        <a:lnTo>
                          <a:pt x="4483" y="1516"/>
                        </a:lnTo>
                        <a:lnTo>
                          <a:pt x="4494" y="1517"/>
                        </a:lnTo>
                        <a:lnTo>
                          <a:pt x="4505" y="1517"/>
                        </a:lnTo>
                        <a:lnTo>
                          <a:pt x="4513" y="1517"/>
                        </a:lnTo>
                        <a:lnTo>
                          <a:pt x="4522" y="1519"/>
                        </a:lnTo>
                        <a:lnTo>
                          <a:pt x="4525" y="1519"/>
                        </a:lnTo>
                        <a:lnTo>
                          <a:pt x="4536" y="1519"/>
                        </a:lnTo>
                        <a:lnTo>
                          <a:pt x="4544" y="1520"/>
                        </a:lnTo>
                        <a:lnTo>
                          <a:pt x="4548" y="1520"/>
                        </a:lnTo>
                        <a:lnTo>
                          <a:pt x="4552" y="1519"/>
                        </a:lnTo>
                        <a:lnTo>
                          <a:pt x="4554" y="1519"/>
                        </a:lnTo>
                        <a:lnTo>
                          <a:pt x="4578" y="1481"/>
                        </a:lnTo>
                        <a:lnTo>
                          <a:pt x="4584" y="1468"/>
                        </a:lnTo>
                        <a:lnTo>
                          <a:pt x="4586" y="1465"/>
                        </a:lnTo>
                        <a:lnTo>
                          <a:pt x="4589" y="1466"/>
                        </a:lnTo>
                        <a:lnTo>
                          <a:pt x="4600" y="1470"/>
                        </a:lnTo>
                        <a:lnTo>
                          <a:pt x="4608" y="1462"/>
                        </a:lnTo>
                        <a:lnTo>
                          <a:pt x="4617" y="1446"/>
                        </a:lnTo>
                        <a:lnTo>
                          <a:pt x="4622" y="1446"/>
                        </a:lnTo>
                        <a:lnTo>
                          <a:pt x="4635" y="1449"/>
                        </a:lnTo>
                        <a:lnTo>
                          <a:pt x="4639" y="1451"/>
                        </a:lnTo>
                        <a:lnTo>
                          <a:pt x="4646" y="1451"/>
                        </a:lnTo>
                        <a:lnTo>
                          <a:pt x="4652" y="1451"/>
                        </a:lnTo>
                        <a:lnTo>
                          <a:pt x="4655" y="1451"/>
                        </a:lnTo>
                        <a:lnTo>
                          <a:pt x="4657" y="1451"/>
                        </a:lnTo>
                        <a:lnTo>
                          <a:pt x="4670" y="1452"/>
                        </a:lnTo>
                        <a:lnTo>
                          <a:pt x="4671" y="1452"/>
                        </a:lnTo>
                        <a:lnTo>
                          <a:pt x="4676" y="1454"/>
                        </a:lnTo>
                        <a:lnTo>
                          <a:pt x="4682" y="1455"/>
                        </a:lnTo>
                        <a:lnTo>
                          <a:pt x="4689" y="1452"/>
                        </a:lnTo>
                        <a:lnTo>
                          <a:pt x="4696" y="1449"/>
                        </a:lnTo>
                        <a:lnTo>
                          <a:pt x="4696" y="1451"/>
                        </a:lnTo>
                        <a:lnTo>
                          <a:pt x="4698" y="1454"/>
                        </a:lnTo>
                        <a:lnTo>
                          <a:pt x="4700" y="1465"/>
                        </a:lnTo>
                        <a:lnTo>
                          <a:pt x="4701" y="1465"/>
                        </a:lnTo>
                        <a:lnTo>
                          <a:pt x="4703" y="1465"/>
                        </a:lnTo>
                        <a:lnTo>
                          <a:pt x="4711" y="1470"/>
                        </a:lnTo>
                        <a:lnTo>
                          <a:pt x="4731" y="1476"/>
                        </a:lnTo>
                        <a:lnTo>
                          <a:pt x="4730" y="1481"/>
                        </a:lnTo>
                        <a:lnTo>
                          <a:pt x="4730" y="1492"/>
                        </a:lnTo>
                        <a:lnTo>
                          <a:pt x="4725" y="1500"/>
                        </a:lnTo>
                        <a:lnTo>
                          <a:pt x="4728" y="1501"/>
                        </a:lnTo>
                        <a:lnTo>
                          <a:pt x="4731" y="1503"/>
                        </a:lnTo>
                        <a:lnTo>
                          <a:pt x="4739" y="1508"/>
                        </a:lnTo>
                        <a:lnTo>
                          <a:pt x="4744" y="1509"/>
                        </a:lnTo>
                        <a:lnTo>
                          <a:pt x="4752" y="1516"/>
                        </a:lnTo>
                        <a:lnTo>
                          <a:pt x="4754" y="1516"/>
                        </a:lnTo>
                        <a:lnTo>
                          <a:pt x="4765" y="1533"/>
                        </a:lnTo>
                        <a:lnTo>
                          <a:pt x="4769" y="1539"/>
                        </a:lnTo>
                        <a:lnTo>
                          <a:pt x="4771" y="1541"/>
                        </a:lnTo>
                        <a:lnTo>
                          <a:pt x="4771" y="1544"/>
                        </a:lnTo>
                        <a:lnTo>
                          <a:pt x="4773" y="1579"/>
                        </a:lnTo>
                        <a:lnTo>
                          <a:pt x="4784" y="1592"/>
                        </a:lnTo>
                        <a:lnTo>
                          <a:pt x="4785" y="1593"/>
                        </a:lnTo>
                        <a:lnTo>
                          <a:pt x="4785" y="1595"/>
                        </a:lnTo>
                        <a:lnTo>
                          <a:pt x="4788" y="1596"/>
                        </a:lnTo>
                        <a:lnTo>
                          <a:pt x="4788" y="1598"/>
                        </a:lnTo>
                        <a:lnTo>
                          <a:pt x="4790" y="1598"/>
                        </a:lnTo>
                        <a:lnTo>
                          <a:pt x="4793" y="1603"/>
                        </a:lnTo>
                        <a:lnTo>
                          <a:pt x="4795" y="1604"/>
                        </a:lnTo>
                        <a:lnTo>
                          <a:pt x="4796" y="1607"/>
                        </a:lnTo>
                        <a:lnTo>
                          <a:pt x="4798" y="1607"/>
                        </a:lnTo>
                        <a:lnTo>
                          <a:pt x="4798" y="1611"/>
                        </a:lnTo>
                        <a:lnTo>
                          <a:pt x="4799" y="1612"/>
                        </a:lnTo>
                        <a:lnTo>
                          <a:pt x="4798" y="1620"/>
                        </a:lnTo>
                        <a:lnTo>
                          <a:pt x="4796" y="1626"/>
                        </a:lnTo>
                        <a:lnTo>
                          <a:pt x="4796" y="1631"/>
                        </a:lnTo>
                        <a:lnTo>
                          <a:pt x="4801" y="1636"/>
                        </a:lnTo>
                        <a:lnTo>
                          <a:pt x="4799" y="1638"/>
                        </a:lnTo>
                        <a:lnTo>
                          <a:pt x="4796" y="1638"/>
                        </a:lnTo>
                        <a:lnTo>
                          <a:pt x="4793" y="1638"/>
                        </a:lnTo>
                        <a:lnTo>
                          <a:pt x="4793" y="1639"/>
                        </a:lnTo>
                        <a:lnTo>
                          <a:pt x="4793" y="1642"/>
                        </a:lnTo>
                        <a:lnTo>
                          <a:pt x="4790" y="1642"/>
                        </a:lnTo>
                        <a:lnTo>
                          <a:pt x="4788" y="1644"/>
                        </a:lnTo>
                        <a:lnTo>
                          <a:pt x="4787" y="1642"/>
                        </a:lnTo>
                        <a:lnTo>
                          <a:pt x="4785" y="1641"/>
                        </a:lnTo>
                        <a:lnTo>
                          <a:pt x="4777" y="1638"/>
                        </a:lnTo>
                        <a:lnTo>
                          <a:pt x="4769" y="1639"/>
                        </a:lnTo>
                        <a:lnTo>
                          <a:pt x="4766" y="1642"/>
                        </a:lnTo>
                        <a:lnTo>
                          <a:pt x="4766" y="1644"/>
                        </a:lnTo>
                        <a:lnTo>
                          <a:pt x="4765" y="1644"/>
                        </a:lnTo>
                        <a:lnTo>
                          <a:pt x="4757" y="1641"/>
                        </a:lnTo>
                        <a:lnTo>
                          <a:pt x="4757" y="1639"/>
                        </a:lnTo>
                        <a:lnTo>
                          <a:pt x="4750" y="1639"/>
                        </a:lnTo>
                        <a:lnTo>
                          <a:pt x="4749" y="1639"/>
                        </a:lnTo>
                        <a:lnTo>
                          <a:pt x="4747" y="1641"/>
                        </a:lnTo>
                        <a:lnTo>
                          <a:pt x="4744" y="1639"/>
                        </a:lnTo>
                        <a:lnTo>
                          <a:pt x="4739" y="1638"/>
                        </a:lnTo>
                        <a:lnTo>
                          <a:pt x="4736" y="1639"/>
                        </a:lnTo>
                        <a:lnTo>
                          <a:pt x="4733" y="1641"/>
                        </a:lnTo>
                        <a:lnTo>
                          <a:pt x="4728" y="1641"/>
                        </a:lnTo>
                        <a:lnTo>
                          <a:pt x="4725" y="1642"/>
                        </a:lnTo>
                        <a:lnTo>
                          <a:pt x="4727" y="1645"/>
                        </a:lnTo>
                        <a:lnTo>
                          <a:pt x="4720" y="1647"/>
                        </a:lnTo>
                        <a:lnTo>
                          <a:pt x="4715" y="1652"/>
                        </a:lnTo>
                        <a:lnTo>
                          <a:pt x="4709" y="1653"/>
                        </a:lnTo>
                        <a:lnTo>
                          <a:pt x="4704" y="1658"/>
                        </a:lnTo>
                        <a:lnTo>
                          <a:pt x="4701" y="1661"/>
                        </a:lnTo>
                        <a:lnTo>
                          <a:pt x="4701" y="1664"/>
                        </a:lnTo>
                        <a:lnTo>
                          <a:pt x="4700" y="1666"/>
                        </a:lnTo>
                        <a:lnTo>
                          <a:pt x="4698" y="1666"/>
                        </a:lnTo>
                        <a:lnTo>
                          <a:pt x="4696" y="1666"/>
                        </a:lnTo>
                        <a:lnTo>
                          <a:pt x="4690" y="1660"/>
                        </a:lnTo>
                        <a:lnTo>
                          <a:pt x="4689" y="1657"/>
                        </a:lnTo>
                        <a:lnTo>
                          <a:pt x="4687" y="1657"/>
                        </a:lnTo>
                        <a:lnTo>
                          <a:pt x="4685" y="1657"/>
                        </a:lnTo>
                        <a:lnTo>
                          <a:pt x="4682" y="1657"/>
                        </a:lnTo>
                        <a:lnTo>
                          <a:pt x="4681" y="1660"/>
                        </a:lnTo>
                        <a:lnTo>
                          <a:pt x="4679" y="1661"/>
                        </a:lnTo>
                        <a:lnTo>
                          <a:pt x="4676" y="1664"/>
                        </a:lnTo>
                        <a:lnTo>
                          <a:pt x="4674" y="1668"/>
                        </a:lnTo>
                        <a:lnTo>
                          <a:pt x="4676" y="1669"/>
                        </a:lnTo>
                        <a:lnTo>
                          <a:pt x="4676" y="1671"/>
                        </a:lnTo>
                        <a:lnTo>
                          <a:pt x="4676" y="1672"/>
                        </a:lnTo>
                        <a:lnTo>
                          <a:pt x="4671" y="1677"/>
                        </a:lnTo>
                        <a:lnTo>
                          <a:pt x="4671" y="1680"/>
                        </a:lnTo>
                        <a:lnTo>
                          <a:pt x="4673" y="1683"/>
                        </a:lnTo>
                        <a:lnTo>
                          <a:pt x="4674" y="1687"/>
                        </a:lnTo>
                        <a:lnTo>
                          <a:pt x="4685" y="1699"/>
                        </a:lnTo>
                        <a:lnTo>
                          <a:pt x="4689" y="1704"/>
                        </a:lnTo>
                        <a:lnTo>
                          <a:pt x="4708" y="1729"/>
                        </a:lnTo>
                        <a:lnTo>
                          <a:pt x="4717" y="1742"/>
                        </a:lnTo>
                        <a:lnTo>
                          <a:pt x="4717" y="1744"/>
                        </a:lnTo>
                        <a:lnTo>
                          <a:pt x="4746" y="1780"/>
                        </a:lnTo>
                        <a:lnTo>
                          <a:pt x="4750" y="1788"/>
                        </a:lnTo>
                        <a:lnTo>
                          <a:pt x="4754" y="1790"/>
                        </a:lnTo>
                        <a:lnTo>
                          <a:pt x="4765" y="1805"/>
                        </a:lnTo>
                        <a:lnTo>
                          <a:pt x="4765" y="1807"/>
                        </a:lnTo>
                        <a:lnTo>
                          <a:pt x="4776" y="1820"/>
                        </a:lnTo>
                        <a:lnTo>
                          <a:pt x="4784" y="1831"/>
                        </a:lnTo>
                        <a:lnTo>
                          <a:pt x="4788" y="1839"/>
                        </a:lnTo>
                        <a:lnTo>
                          <a:pt x="4793" y="1845"/>
                        </a:lnTo>
                        <a:lnTo>
                          <a:pt x="4815" y="1874"/>
                        </a:lnTo>
                        <a:lnTo>
                          <a:pt x="4826" y="1888"/>
                        </a:lnTo>
                        <a:lnTo>
                          <a:pt x="4828" y="1891"/>
                        </a:lnTo>
                        <a:lnTo>
                          <a:pt x="4845" y="1915"/>
                        </a:lnTo>
                        <a:lnTo>
                          <a:pt x="4849" y="1918"/>
                        </a:lnTo>
                        <a:lnTo>
                          <a:pt x="4855" y="1927"/>
                        </a:lnTo>
                        <a:lnTo>
                          <a:pt x="4858" y="1931"/>
                        </a:lnTo>
                        <a:lnTo>
                          <a:pt x="4860" y="1935"/>
                        </a:lnTo>
                        <a:lnTo>
                          <a:pt x="4861" y="1935"/>
                        </a:lnTo>
                        <a:lnTo>
                          <a:pt x="4861" y="1937"/>
                        </a:lnTo>
                        <a:lnTo>
                          <a:pt x="4864" y="1938"/>
                        </a:lnTo>
                        <a:lnTo>
                          <a:pt x="4866" y="1940"/>
                        </a:lnTo>
                        <a:lnTo>
                          <a:pt x="4868" y="1942"/>
                        </a:lnTo>
                        <a:lnTo>
                          <a:pt x="4869" y="1945"/>
                        </a:lnTo>
                        <a:lnTo>
                          <a:pt x="4875" y="1954"/>
                        </a:lnTo>
                        <a:lnTo>
                          <a:pt x="4882" y="1961"/>
                        </a:lnTo>
                        <a:lnTo>
                          <a:pt x="4882" y="1962"/>
                        </a:lnTo>
                        <a:lnTo>
                          <a:pt x="4880" y="1964"/>
                        </a:lnTo>
                        <a:lnTo>
                          <a:pt x="4877" y="1964"/>
                        </a:lnTo>
                        <a:lnTo>
                          <a:pt x="4875" y="1965"/>
                        </a:lnTo>
                        <a:lnTo>
                          <a:pt x="4875" y="1969"/>
                        </a:lnTo>
                        <a:lnTo>
                          <a:pt x="4877" y="1972"/>
                        </a:lnTo>
                        <a:lnTo>
                          <a:pt x="4879" y="1973"/>
                        </a:lnTo>
                        <a:lnTo>
                          <a:pt x="4879" y="1976"/>
                        </a:lnTo>
                        <a:lnTo>
                          <a:pt x="4880" y="1976"/>
                        </a:lnTo>
                        <a:lnTo>
                          <a:pt x="4880" y="1980"/>
                        </a:lnTo>
                        <a:lnTo>
                          <a:pt x="4879" y="1981"/>
                        </a:lnTo>
                        <a:lnTo>
                          <a:pt x="4875" y="1983"/>
                        </a:lnTo>
                        <a:lnTo>
                          <a:pt x="4872" y="1984"/>
                        </a:lnTo>
                        <a:lnTo>
                          <a:pt x="4866" y="1989"/>
                        </a:lnTo>
                        <a:lnTo>
                          <a:pt x="4864" y="1992"/>
                        </a:lnTo>
                        <a:lnTo>
                          <a:pt x="4863" y="1995"/>
                        </a:lnTo>
                        <a:lnTo>
                          <a:pt x="4863" y="2000"/>
                        </a:lnTo>
                        <a:lnTo>
                          <a:pt x="4863" y="2002"/>
                        </a:lnTo>
                        <a:lnTo>
                          <a:pt x="4864" y="2003"/>
                        </a:lnTo>
                        <a:lnTo>
                          <a:pt x="4868" y="2005"/>
                        </a:lnTo>
                        <a:lnTo>
                          <a:pt x="4868" y="2007"/>
                        </a:lnTo>
                        <a:lnTo>
                          <a:pt x="4866" y="2008"/>
                        </a:lnTo>
                        <a:lnTo>
                          <a:pt x="4864" y="2010"/>
                        </a:lnTo>
                        <a:lnTo>
                          <a:pt x="4860" y="2011"/>
                        </a:lnTo>
                        <a:lnTo>
                          <a:pt x="4858" y="2015"/>
                        </a:lnTo>
                        <a:lnTo>
                          <a:pt x="4860" y="2019"/>
                        </a:lnTo>
                        <a:lnTo>
                          <a:pt x="4858" y="2021"/>
                        </a:lnTo>
                        <a:lnTo>
                          <a:pt x="4861" y="2024"/>
                        </a:lnTo>
                        <a:lnTo>
                          <a:pt x="4861" y="2026"/>
                        </a:lnTo>
                        <a:lnTo>
                          <a:pt x="4861" y="2027"/>
                        </a:lnTo>
                        <a:lnTo>
                          <a:pt x="4860" y="2027"/>
                        </a:lnTo>
                        <a:lnTo>
                          <a:pt x="4855" y="2029"/>
                        </a:lnTo>
                        <a:lnTo>
                          <a:pt x="4847" y="2029"/>
                        </a:lnTo>
                        <a:lnTo>
                          <a:pt x="4842" y="2032"/>
                        </a:lnTo>
                        <a:lnTo>
                          <a:pt x="4842" y="2034"/>
                        </a:lnTo>
                        <a:lnTo>
                          <a:pt x="4841" y="2040"/>
                        </a:lnTo>
                        <a:lnTo>
                          <a:pt x="4841" y="2041"/>
                        </a:lnTo>
                        <a:lnTo>
                          <a:pt x="4839" y="2043"/>
                        </a:lnTo>
                        <a:lnTo>
                          <a:pt x="4834" y="2046"/>
                        </a:lnTo>
                        <a:lnTo>
                          <a:pt x="4828" y="2049"/>
                        </a:lnTo>
                        <a:lnTo>
                          <a:pt x="4826" y="2054"/>
                        </a:lnTo>
                        <a:lnTo>
                          <a:pt x="4825" y="2056"/>
                        </a:lnTo>
                        <a:lnTo>
                          <a:pt x="4818" y="2062"/>
                        </a:lnTo>
                        <a:lnTo>
                          <a:pt x="4818" y="2068"/>
                        </a:lnTo>
                        <a:lnTo>
                          <a:pt x="4817" y="2072"/>
                        </a:lnTo>
                        <a:lnTo>
                          <a:pt x="4817" y="2076"/>
                        </a:lnTo>
                        <a:lnTo>
                          <a:pt x="4817" y="2079"/>
                        </a:lnTo>
                        <a:lnTo>
                          <a:pt x="4822" y="2086"/>
                        </a:lnTo>
                        <a:lnTo>
                          <a:pt x="4820" y="2092"/>
                        </a:lnTo>
                        <a:lnTo>
                          <a:pt x="4818" y="2094"/>
                        </a:lnTo>
                        <a:lnTo>
                          <a:pt x="4820" y="2095"/>
                        </a:lnTo>
                        <a:lnTo>
                          <a:pt x="4822" y="2095"/>
                        </a:lnTo>
                        <a:lnTo>
                          <a:pt x="4823" y="2097"/>
                        </a:lnTo>
                        <a:lnTo>
                          <a:pt x="4820" y="2100"/>
                        </a:lnTo>
                        <a:lnTo>
                          <a:pt x="4811" y="2106"/>
                        </a:lnTo>
                        <a:lnTo>
                          <a:pt x="4790" y="2116"/>
                        </a:lnTo>
                        <a:lnTo>
                          <a:pt x="4779" y="2129"/>
                        </a:lnTo>
                        <a:lnTo>
                          <a:pt x="4766" y="2140"/>
                        </a:lnTo>
                        <a:lnTo>
                          <a:pt x="4765" y="2141"/>
                        </a:lnTo>
                        <a:lnTo>
                          <a:pt x="4758" y="2146"/>
                        </a:lnTo>
                        <a:lnTo>
                          <a:pt x="4757" y="2146"/>
                        </a:lnTo>
                        <a:lnTo>
                          <a:pt x="4754" y="2146"/>
                        </a:lnTo>
                        <a:lnTo>
                          <a:pt x="4750" y="2146"/>
                        </a:lnTo>
                        <a:lnTo>
                          <a:pt x="4746" y="2148"/>
                        </a:lnTo>
                        <a:lnTo>
                          <a:pt x="4735" y="2160"/>
                        </a:lnTo>
                        <a:lnTo>
                          <a:pt x="4730" y="2165"/>
                        </a:lnTo>
                        <a:lnTo>
                          <a:pt x="4728" y="2165"/>
                        </a:lnTo>
                        <a:lnTo>
                          <a:pt x="4722" y="2174"/>
                        </a:lnTo>
                        <a:lnTo>
                          <a:pt x="4695" y="2200"/>
                        </a:lnTo>
                        <a:lnTo>
                          <a:pt x="4689" y="2208"/>
                        </a:lnTo>
                        <a:lnTo>
                          <a:pt x="4685" y="2211"/>
                        </a:lnTo>
                        <a:lnTo>
                          <a:pt x="4682" y="2214"/>
                        </a:lnTo>
                        <a:lnTo>
                          <a:pt x="4681" y="2214"/>
                        </a:lnTo>
                        <a:lnTo>
                          <a:pt x="4679" y="2216"/>
                        </a:lnTo>
                        <a:lnTo>
                          <a:pt x="4677" y="2217"/>
                        </a:lnTo>
                        <a:lnTo>
                          <a:pt x="4670" y="2227"/>
                        </a:lnTo>
                        <a:lnTo>
                          <a:pt x="4654" y="2243"/>
                        </a:lnTo>
                        <a:lnTo>
                          <a:pt x="4647" y="2249"/>
                        </a:lnTo>
                        <a:lnTo>
                          <a:pt x="4644" y="2252"/>
                        </a:lnTo>
                        <a:lnTo>
                          <a:pt x="4638" y="2255"/>
                        </a:lnTo>
                        <a:lnTo>
                          <a:pt x="4632" y="2255"/>
                        </a:lnTo>
                        <a:lnTo>
                          <a:pt x="4620" y="2257"/>
                        </a:lnTo>
                        <a:lnTo>
                          <a:pt x="4613" y="2257"/>
                        </a:lnTo>
                        <a:lnTo>
                          <a:pt x="4606" y="2257"/>
                        </a:lnTo>
                        <a:lnTo>
                          <a:pt x="4605" y="2257"/>
                        </a:lnTo>
                        <a:lnTo>
                          <a:pt x="4603" y="2257"/>
                        </a:lnTo>
                        <a:lnTo>
                          <a:pt x="4592" y="2254"/>
                        </a:lnTo>
                        <a:lnTo>
                          <a:pt x="4578" y="2251"/>
                        </a:lnTo>
                        <a:lnTo>
                          <a:pt x="4573" y="2247"/>
                        </a:lnTo>
                        <a:lnTo>
                          <a:pt x="4565" y="2246"/>
                        </a:lnTo>
                        <a:lnTo>
                          <a:pt x="4560" y="2246"/>
                        </a:lnTo>
                        <a:lnTo>
                          <a:pt x="4554" y="2241"/>
                        </a:lnTo>
                        <a:lnTo>
                          <a:pt x="4552" y="2241"/>
                        </a:lnTo>
                        <a:lnTo>
                          <a:pt x="4551" y="2241"/>
                        </a:lnTo>
                        <a:lnTo>
                          <a:pt x="4541" y="2246"/>
                        </a:lnTo>
                        <a:lnTo>
                          <a:pt x="4538" y="2246"/>
                        </a:lnTo>
                        <a:lnTo>
                          <a:pt x="4538" y="2244"/>
                        </a:lnTo>
                        <a:lnTo>
                          <a:pt x="4536" y="2243"/>
                        </a:lnTo>
                        <a:lnTo>
                          <a:pt x="4535" y="2243"/>
                        </a:lnTo>
                        <a:lnTo>
                          <a:pt x="4530" y="2246"/>
                        </a:lnTo>
                        <a:lnTo>
                          <a:pt x="4525" y="2249"/>
                        </a:lnTo>
                        <a:lnTo>
                          <a:pt x="4524" y="2249"/>
                        </a:lnTo>
                        <a:lnTo>
                          <a:pt x="4522" y="2249"/>
                        </a:lnTo>
                        <a:lnTo>
                          <a:pt x="4517" y="2247"/>
                        </a:lnTo>
                        <a:lnTo>
                          <a:pt x="4513" y="2247"/>
                        </a:lnTo>
                        <a:lnTo>
                          <a:pt x="4510" y="2247"/>
                        </a:lnTo>
                        <a:lnTo>
                          <a:pt x="4508" y="2249"/>
                        </a:lnTo>
                        <a:lnTo>
                          <a:pt x="4508" y="2251"/>
                        </a:lnTo>
                        <a:lnTo>
                          <a:pt x="4506" y="2254"/>
                        </a:lnTo>
                        <a:lnTo>
                          <a:pt x="4505" y="2254"/>
                        </a:lnTo>
                        <a:lnTo>
                          <a:pt x="4502" y="2254"/>
                        </a:lnTo>
                        <a:lnTo>
                          <a:pt x="4500" y="2255"/>
                        </a:lnTo>
                        <a:lnTo>
                          <a:pt x="4498" y="2255"/>
                        </a:lnTo>
                        <a:lnTo>
                          <a:pt x="4497" y="2255"/>
                        </a:lnTo>
                        <a:lnTo>
                          <a:pt x="4495" y="2255"/>
                        </a:lnTo>
                        <a:lnTo>
                          <a:pt x="4494" y="2257"/>
                        </a:lnTo>
                        <a:lnTo>
                          <a:pt x="4492" y="2257"/>
                        </a:lnTo>
                        <a:lnTo>
                          <a:pt x="4491" y="2257"/>
                        </a:lnTo>
                        <a:lnTo>
                          <a:pt x="4487" y="2257"/>
                        </a:lnTo>
                        <a:lnTo>
                          <a:pt x="4486" y="2255"/>
                        </a:lnTo>
                        <a:lnTo>
                          <a:pt x="4483" y="2255"/>
                        </a:lnTo>
                        <a:lnTo>
                          <a:pt x="4483" y="2257"/>
                        </a:lnTo>
                        <a:lnTo>
                          <a:pt x="4481" y="2258"/>
                        </a:lnTo>
                        <a:lnTo>
                          <a:pt x="4479" y="2258"/>
                        </a:lnTo>
                        <a:lnTo>
                          <a:pt x="4476" y="2257"/>
                        </a:lnTo>
                        <a:lnTo>
                          <a:pt x="4472" y="2258"/>
                        </a:lnTo>
                        <a:lnTo>
                          <a:pt x="4470" y="2258"/>
                        </a:lnTo>
                        <a:lnTo>
                          <a:pt x="4468" y="2255"/>
                        </a:lnTo>
                        <a:lnTo>
                          <a:pt x="4465" y="2255"/>
                        </a:lnTo>
                        <a:lnTo>
                          <a:pt x="4462" y="2255"/>
                        </a:lnTo>
                        <a:lnTo>
                          <a:pt x="4460" y="2255"/>
                        </a:lnTo>
                        <a:lnTo>
                          <a:pt x="4457" y="2251"/>
                        </a:lnTo>
                        <a:lnTo>
                          <a:pt x="4456" y="2252"/>
                        </a:lnTo>
                        <a:lnTo>
                          <a:pt x="4453" y="2257"/>
                        </a:lnTo>
                        <a:lnTo>
                          <a:pt x="4451" y="2260"/>
                        </a:lnTo>
                        <a:lnTo>
                          <a:pt x="4449" y="2263"/>
                        </a:lnTo>
                        <a:lnTo>
                          <a:pt x="4448" y="2265"/>
                        </a:lnTo>
                        <a:lnTo>
                          <a:pt x="4446" y="2265"/>
                        </a:lnTo>
                        <a:lnTo>
                          <a:pt x="4443" y="2263"/>
                        </a:lnTo>
                        <a:lnTo>
                          <a:pt x="4440" y="2260"/>
                        </a:lnTo>
                        <a:lnTo>
                          <a:pt x="4438" y="2260"/>
                        </a:lnTo>
                        <a:lnTo>
                          <a:pt x="4437" y="2260"/>
                        </a:lnTo>
                        <a:lnTo>
                          <a:pt x="4429" y="2270"/>
                        </a:lnTo>
                        <a:lnTo>
                          <a:pt x="4426" y="2271"/>
                        </a:lnTo>
                        <a:lnTo>
                          <a:pt x="4424" y="2271"/>
                        </a:lnTo>
                        <a:lnTo>
                          <a:pt x="4421" y="2273"/>
                        </a:lnTo>
                        <a:lnTo>
                          <a:pt x="4416" y="2271"/>
                        </a:lnTo>
                        <a:lnTo>
                          <a:pt x="4411" y="2268"/>
                        </a:lnTo>
                        <a:lnTo>
                          <a:pt x="4410" y="2268"/>
                        </a:lnTo>
                        <a:lnTo>
                          <a:pt x="4408" y="2268"/>
                        </a:lnTo>
                        <a:lnTo>
                          <a:pt x="4403" y="2274"/>
                        </a:lnTo>
                        <a:lnTo>
                          <a:pt x="4402" y="2274"/>
                        </a:lnTo>
                        <a:lnTo>
                          <a:pt x="4400" y="2274"/>
                        </a:lnTo>
                        <a:lnTo>
                          <a:pt x="4399" y="2276"/>
                        </a:lnTo>
                        <a:lnTo>
                          <a:pt x="4397" y="2274"/>
                        </a:lnTo>
                        <a:lnTo>
                          <a:pt x="4394" y="2273"/>
                        </a:lnTo>
                        <a:lnTo>
                          <a:pt x="4389" y="2273"/>
                        </a:lnTo>
                        <a:lnTo>
                          <a:pt x="4386" y="2273"/>
                        </a:lnTo>
                        <a:lnTo>
                          <a:pt x="4381" y="2271"/>
                        </a:lnTo>
                        <a:lnTo>
                          <a:pt x="4380" y="2270"/>
                        </a:lnTo>
                        <a:lnTo>
                          <a:pt x="4380" y="2268"/>
                        </a:lnTo>
                        <a:lnTo>
                          <a:pt x="4380" y="2265"/>
                        </a:lnTo>
                        <a:lnTo>
                          <a:pt x="4380" y="2258"/>
                        </a:lnTo>
                        <a:lnTo>
                          <a:pt x="4380" y="2257"/>
                        </a:lnTo>
                        <a:lnTo>
                          <a:pt x="4378" y="2255"/>
                        </a:lnTo>
                        <a:lnTo>
                          <a:pt x="4375" y="2252"/>
                        </a:lnTo>
                        <a:lnTo>
                          <a:pt x="4370" y="2251"/>
                        </a:lnTo>
                        <a:lnTo>
                          <a:pt x="4373" y="2246"/>
                        </a:lnTo>
                        <a:lnTo>
                          <a:pt x="4372" y="2243"/>
                        </a:lnTo>
                        <a:lnTo>
                          <a:pt x="4370" y="2243"/>
                        </a:lnTo>
                        <a:lnTo>
                          <a:pt x="4369" y="2243"/>
                        </a:lnTo>
                        <a:lnTo>
                          <a:pt x="4367" y="2241"/>
                        </a:lnTo>
                        <a:lnTo>
                          <a:pt x="4365" y="2241"/>
                        </a:lnTo>
                        <a:lnTo>
                          <a:pt x="4365" y="2238"/>
                        </a:lnTo>
                        <a:lnTo>
                          <a:pt x="4365" y="2235"/>
                        </a:lnTo>
                        <a:lnTo>
                          <a:pt x="4361" y="2232"/>
                        </a:lnTo>
                        <a:lnTo>
                          <a:pt x="4359" y="2227"/>
                        </a:lnTo>
                        <a:lnTo>
                          <a:pt x="4358" y="2225"/>
                        </a:lnTo>
                        <a:lnTo>
                          <a:pt x="4354" y="2225"/>
                        </a:lnTo>
                        <a:lnTo>
                          <a:pt x="4354" y="2230"/>
                        </a:lnTo>
                        <a:lnTo>
                          <a:pt x="4353" y="2232"/>
                        </a:lnTo>
                        <a:lnTo>
                          <a:pt x="4350" y="2238"/>
                        </a:lnTo>
                        <a:lnTo>
                          <a:pt x="4346" y="2239"/>
                        </a:lnTo>
                        <a:lnTo>
                          <a:pt x="4343" y="2241"/>
                        </a:lnTo>
                        <a:lnTo>
                          <a:pt x="4338" y="2239"/>
                        </a:lnTo>
                        <a:lnTo>
                          <a:pt x="4335" y="2236"/>
                        </a:lnTo>
                        <a:lnTo>
                          <a:pt x="4332" y="2235"/>
                        </a:lnTo>
                        <a:lnTo>
                          <a:pt x="4329" y="2235"/>
                        </a:lnTo>
                        <a:lnTo>
                          <a:pt x="4324" y="2228"/>
                        </a:lnTo>
                        <a:lnTo>
                          <a:pt x="4321" y="2228"/>
                        </a:lnTo>
                        <a:lnTo>
                          <a:pt x="4312" y="2236"/>
                        </a:lnTo>
                        <a:lnTo>
                          <a:pt x="4308" y="2236"/>
                        </a:lnTo>
                        <a:lnTo>
                          <a:pt x="4304" y="2228"/>
                        </a:lnTo>
                        <a:lnTo>
                          <a:pt x="4299" y="2230"/>
                        </a:lnTo>
                        <a:lnTo>
                          <a:pt x="4297" y="2230"/>
                        </a:lnTo>
                        <a:lnTo>
                          <a:pt x="4294" y="2232"/>
                        </a:lnTo>
                        <a:lnTo>
                          <a:pt x="4293" y="2230"/>
                        </a:lnTo>
                        <a:lnTo>
                          <a:pt x="4291" y="2230"/>
                        </a:lnTo>
                        <a:lnTo>
                          <a:pt x="4289" y="2225"/>
                        </a:lnTo>
                        <a:lnTo>
                          <a:pt x="4288" y="2224"/>
                        </a:lnTo>
                        <a:lnTo>
                          <a:pt x="4286" y="2224"/>
                        </a:lnTo>
                        <a:lnTo>
                          <a:pt x="4283" y="2225"/>
                        </a:lnTo>
                        <a:lnTo>
                          <a:pt x="4281" y="2228"/>
                        </a:lnTo>
                        <a:lnTo>
                          <a:pt x="4278" y="2228"/>
                        </a:lnTo>
                        <a:lnTo>
                          <a:pt x="4277" y="2233"/>
                        </a:lnTo>
                        <a:lnTo>
                          <a:pt x="4275" y="2235"/>
                        </a:lnTo>
                        <a:lnTo>
                          <a:pt x="4274" y="2238"/>
                        </a:lnTo>
                        <a:lnTo>
                          <a:pt x="4270" y="2238"/>
                        </a:lnTo>
                        <a:lnTo>
                          <a:pt x="4267" y="2236"/>
                        </a:lnTo>
                        <a:lnTo>
                          <a:pt x="4264" y="2236"/>
                        </a:lnTo>
                        <a:lnTo>
                          <a:pt x="4262" y="2238"/>
                        </a:lnTo>
                        <a:lnTo>
                          <a:pt x="4253" y="2243"/>
                        </a:lnTo>
                        <a:lnTo>
                          <a:pt x="4250" y="2255"/>
                        </a:lnTo>
                        <a:lnTo>
                          <a:pt x="4250" y="2257"/>
                        </a:lnTo>
                        <a:lnTo>
                          <a:pt x="4251" y="2260"/>
                        </a:lnTo>
                        <a:lnTo>
                          <a:pt x="4251" y="2262"/>
                        </a:lnTo>
                        <a:lnTo>
                          <a:pt x="4251" y="2263"/>
                        </a:lnTo>
                        <a:lnTo>
                          <a:pt x="4253" y="2263"/>
                        </a:lnTo>
                        <a:lnTo>
                          <a:pt x="4253" y="2265"/>
                        </a:lnTo>
                        <a:lnTo>
                          <a:pt x="4256" y="2265"/>
                        </a:lnTo>
                        <a:lnTo>
                          <a:pt x="4256" y="2268"/>
                        </a:lnTo>
                        <a:lnTo>
                          <a:pt x="4255" y="2270"/>
                        </a:lnTo>
                        <a:lnTo>
                          <a:pt x="4247" y="2271"/>
                        </a:lnTo>
                        <a:lnTo>
                          <a:pt x="4245" y="2276"/>
                        </a:lnTo>
                        <a:lnTo>
                          <a:pt x="4239" y="2279"/>
                        </a:lnTo>
                        <a:lnTo>
                          <a:pt x="4237" y="2279"/>
                        </a:lnTo>
                        <a:lnTo>
                          <a:pt x="4237" y="2277"/>
                        </a:lnTo>
                        <a:lnTo>
                          <a:pt x="4236" y="2276"/>
                        </a:lnTo>
                        <a:lnTo>
                          <a:pt x="4234" y="2276"/>
                        </a:lnTo>
                        <a:lnTo>
                          <a:pt x="4232" y="2276"/>
                        </a:lnTo>
                        <a:lnTo>
                          <a:pt x="4232" y="2277"/>
                        </a:lnTo>
                        <a:lnTo>
                          <a:pt x="4232" y="2279"/>
                        </a:lnTo>
                        <a:lnTo>
                          <a:pt x="4232" y="2281"/>
                        </a:lnTo>
                        <a:lnTo>
                          <a:pt x="4228" y="2287"/>
                        </a:lnTo>
                        <a:lnTo>
                          <a:pt x="4228" y="2289"/>
                        </a:lnTo>
                        <a:lnTo>
                          <a:pt x="4228" y="2290"/>
                        </a:lnTo>
                        <a:lnTo>
                          <a:pt x="4226" y="2292"/>
                        </a:lnTo>
                        <a:lnTo>
                          <a:pt x="4223" y="2293"/>
                        </a:lnTo>
                        <a:lnTo>
                          <a:pt x="4215" y="2292"/>
                        </a:lnTo>
                        <a:lnTo>
                          <a:pt x="4213" y="2292"/>
                        </a:lnTo>
                        <a:lnTo>
                          <a:pt x="4212" y="2295"/>
                        </a:lnTo>
                        <a:lnTo>
                          <a:pt x="4212" y="2296"/>
                        </a:lnTo>
                        <a:lnTo>
                          <a:pt x="4213" y="2298"/>
                        </a:lnTo>
                        <a:lnTo>
                          <a:pt x="4213" y="2300"/>
                        </a:lnTo>
                        <a:lnTo>
                          <a:pt x="4213" y="2301"/>
                        </a:lnTo>
                        <a:lnTo>
                          <a:pt x="4217" y="2309"/>
                        </a:lnTo>
                        <a:lnTo>
                          <a:pt x="4220" y="2312"/>
                        </a:lnTo>
                        <a:lnTo>
                          <a:pt x="4220" y="2314"/>
                        </a:lnTo>
                        <a:lnTo>
                          <a:pt x="4220" y="2317"/>
                        </a:lnTo>
                        <a:lnTo>
                          <a:pt x="4221" y="2319"/>
                        </a:lnTo>
                        <a:lnTo>
                          <a:pt x="4226" y="2323"/>
                        </a:lnTo>
                        <a:lnTo>
                          <a:pt x="4226" y="2325"/>
                        </a:lnTo>
                        <a:lnTo>
                          <a:pt x="4226" y="2327"/>
                        </a:lnTo>
                        <a:lnTo>
                          <a:pt x="4224" y="2327"/>
                        </a:lnTo>
                        <a:lnTo>
                          <a:pt x="4224" y="2328"/>
                        </a:lnTo>
                        <a:lnTo>
                          <a:pt x="4220" y="2330"/>
                        </a:lnTo>
                        <a:lnTo>
                          <a:pt x="4218" y="2336"/>
                        </a:lnTo>
                        <a:lnTo>
                          <a:pt x="4217" y="2336"/>
                        </a:lnTo>
                        <a:lnTo>
                          <a:pt x="4217" y="2338"/>
                        </a:lnTo>
                        <a:lnTo>
                          <a:pt x="4212" y="2336"/>
                        </a:lnTo>
                        <a:lnTo>
                          <a:pt x="4210" y="2336"/>
                        </a:lnTo>
                        <a:lnTo>
                          <a:pt x="4209" y="2333"/>
                        </a:lnTo>
                        <a:lnTo>
                          <a:pt x="4207" y="2331"/>
                        </a:lnTo>
                        <a:lnTo>
                          <a:pt x="4205" y="2330"/>
                        </a:lnTo>
                        <a:lnTo>
                          <a:pt x="4202" y="2331"/>
                        </a:lnTo>
                        <a:lnTo>
                          <a:pt x="4202" y="2334"/>
                        </a:lnTo>
                        <a:lnTo>
                          <a:pt x="4202" y="2336"/>
                        </a:lnTo>
                        <a:lnTo>
                          <a:pt x="4201" y="2336"/>
                        </a:lnTo>
                        <a:lnTo>
                          <a:pt x="4194" y="2334"/>
                        </a:lnTo>
                        <a:lnTo>
                          <a:pt x="4190" y="2325"/>
                        </a:lnTo>
                        <a:lnTo>
                          <a:pt x="4188" y="2323"/>
                        </a:lnTo>
                        <a:lnTo>
                          <a:pt x="4185" y="2320"/>
                        </a:lnTo>
                        <a:lnTo>
                          <a:pt x="4182" y="2319"/>
                        </a:lnTo>
                        <a:lnTo>
                          <a:pt x="4180" y="2319"/>
                        </a:lnTo>
                        <a:lnTo>
                          <a:pt x="4175" y="2319"/>
                        </a:lnTo>
                        <a:lnTo>
                          <a:pt x="4174" y="2320"/>
                        </a:lnTo>
                        <a:lnTo>
                          <a:pt x="4172" y="2322"/>
                        </a:lnTo>
                        <a:lnTo>
                          <a:pt x="4172" y="2323"/>
                        </a:lnTo>
                        <a:lnTo>
                          <a:pt x="4171" y="2325"/>
                        </a:lnTo>
                        <a:lnTo>
                          <a:pt x="4171" y="2327"/>
                        </a:lnTo>
                        <a:lnTo>
                          <a:pt x="4172" y="2328"/>
                        </a:lnTo>
                        <a:lnTo>
                          <a:pt x="4172" y="2330"/>
                        </a:lnTo>
                        <a:lnTo>
                          <a:pt x="4172" y="2333"/>
                        </a:lnTo>
                        <a:lnTo>
                          <a:pt x="4172" y="2338"/>
                        </a:lnTo>
                        <a:lnTo>
                          <a:pt x="4175" y="2342"/>
                        </a:lnTo>
                        <a:lnTo>
                          <a:pt x="4177" y="2344"/>
                        </a:lnTo>
                        <a:lnTo>
                          <a:pt x="4177" y="2346"/>
                        </a:lnTo>
                        <a:lnTo>
                          <a:pt x="4180" y="2346"/>
                        </a:lnTo>
                        <a:lnTo>
                          <a:pt x="4182" y="2344"/>
                        </a:lnTo>
                        <a:lnTo>
                          <a:pt x="4179" y="2339"/>
                        </a:lnTo>
                        <a:lnTo>
                          <a:pt x="4179" y="2338"/>
                        </a:lnTo>
                        <a:lnTo>
                          <a:pt x="4180" y="2338"/>
                        </a:lnTo>
                        <a:lnTo>
                          <a:pt x="4182" y="2338"/>
                        </a:lnTo>
                        <a:lnTo>
                          <a:pt x="4183" y="2338"/>
                        </a:lnTo>
                        <a:lnTo>
                          <a:pt x="4183" y="2339"/>
                        </a:lnTo>
                        <a:lnTo>
                          <a:pt x="4185" y="2341"/>
                        </a:lnTo>
                        <a:lnTo>
                          <a:pt x="4185" y="2347"/>
                        </a:lnTo>
                        <a:lnTo>
                          <a:pt x="4186" y="2353"/>
                        </a:lnTo>
                        <a:lnTo>
                          <a:pt x="4185" y="2355"/>
                        </a:lnTo>
                        <a:lnTo>
                          <a:pt x="4180" y="2358"/>
                        </a:lnTo>
                        <a:lnTo>
                          <a:pt x="4177" y="2360"/>
                        </a:lnTo>
                        <a:lnTo>
                          <a:pt x="4172" y="2365"/>
                        </a:lnTo>
                        <a:lnTo>
                          <a:pt x="4171" y="2365"/>
                        </a:lnTo>
                        <a:lnTo>
                          <a:pt x="4169" y="2365"/>
                        </a:lnTo>
                        <a:lnTo>
                          <a:pt x="4167" y="2363"/>
                        </a:lnTo>
                        <a:lnTo>
                          <a:pt x="4164" y="2361"/>
                        </a:lnTo>
                        <a:lnTo>
                          <a:pt x="4158" y="2358"/>
                        </a:lnTo>
                        <a:lnTo>
                          <a:pt x="4156" y="2357"/>
                        </a:lnTo>
                        <a:lnTo>
                          <a:pt x="4153" y="2355"/>
                        </a:lnTo>
                        <a:lnTo>
                          <a:pt x="4148" y="2357"/>
                        </a:lnTo>
                        <a:lnTo>
                          <a:pt x="4147" y="2357"/>
                        </a:lnTo>
                        <a:lnTo>
                          <a:pt x="4142" y="2355"/>
                        </a:lnTo>
                        <a:lnTo>
                          <a:pt x="4137" y="2355"/>
                        </a:lnTo>
                        <a:lnTo>
                          <a:pt x="4134" y="2357"/>
                        </a:lnTo>
                        <a:lnTo>
                          <a:pt x="4129" y="2357"/>
                        </a:lnTo>
                        <a:lnTo>
                          <a:pt x="4129" y="2355"/>
                        </a:lnTo>
                        <a:lnTo>
                          <a:pt x="4128" y="2355"/>
                        </a:lnTo>
                        <a:lnTo>
                          <a:pt x="4126" y="2355"/>
                        </a:lnTo>
                        <a:lnTo>
                          <a:pt x="4125" y="2353"/>
                        </a:lnTo>
                        <a:lnTo>
                          <a:pt x="4123" y="2355"/>
                        </a:lnTo>
                        <a:lnTo>
                          <a:pt x="4120" y="2355"/>
                        </a:lnTo>
                        <a:lnTo>
                          <a:pt x="4114" y="2355"/>
                        </a:lnTo>
                        <a:lnTo>
                          <a:pt x="4110" y="2350"/>
                        </a:lnTo>
                        <a:lnTo>
                          <a:pt x="4107" y="2349"/>
                        </a:lnTo>
                        <a:lnTo>
                          <a:pt x="4104" y="2349"/>
                        </a:lnTo>
                        <a:lnTo>
                          <a:pt x="4102" y="2349"/>
                        </a:lnTo>
                        <a:lnTo>
                          <a:pt x="4101" y="2350"/>
                        </a:lnTo>
                        <a:lnTo>
                          <a:pt x="4099" y="2352"/>
                        </a:lnTo>
                        <a:lnTo>
                          <a:pt x="4099" y="2353"/>
                        </a:lnTo>
                        <a:lnTo>
                          <a:pt x="4096" y="2358"/>
                        </a:lnTo>
                        <a:lnTo>
                          <a:pt x="4095" y="2361"/>
                        </a:lnTo>
                        <a:lnTo>
                          <a:pt x="4099" y="2369"/>
                        </a:lnTo>
                        <a:lnTo>
                          <a:pt x="4104" y="2374"/>
                        </a:lnTo>
                        <a:lnTo>
                          <a:pt x="4110" y="2376"/>
                        </a:lnTo>
                        <a:lnTo>
                          <a:pt x="4112" y="2377"/>
                        </a:lnTo>
                        <a:lnTo>
                          <a:pt x="4112" y="2380"/>
                        </a:lnTo>
                        <a:lnTo>
                          <a:pt x="4110" y="2382"/>
                        </a:lnTo>
                        <a:lnTo>
                          <a:pt x="4107" y="2387"/>
                        </a:lnTo>
                        <a:lnTo>
                          <a:pt x="4109" y="2387"/>
                        </a:lnTo>
                        <a:lnTo>
                          <a:pt x="4109" y="2388"/>
                        </a:lnTo>
                        <a:lnTo>
                          <a:pt x="4107" y="2390"/>
                        </a:lnTo>
                        <a:lnTo>
                          <a:pt x="4110" y="2393"/>
                        </a:lnTo>
                        <a:lnTo>
                          <a:pt x="4109" y="2398"/>
                        </a:lnTo>
                        <a:lnTo>
                          <a:pt x="4107" y="2399"/>
                        </a:lnTo>
                        <a:lnTo>
                          <a:pt x="4110" y="2404"/>
                        </a:lnTo>
                        <a:lnTo>
                          <a:pt x="4109" y="2407"/>
                        </a:lnTo>
                        <a:lnTo>
                          <a:pt x="4110" y="2409"/>
                        </a:lnTo>
                        <a:lnTo>
                          <a:pt x="4112" y="2411"/>
                        </a:lnTo>
                        <a:lnTo>
                          <a:pt x="4115" y="2415"/>
                        </a:lnTo>
                        <a:lnTo>
                          <a:pt x="4114" y="2415"/>
                        </a:lnTo>
                        <a:lnTo>
                          <a:pt x="4112" y="2417"/>
                        </a:lnTo>
                        <a:lnTo>
                          <a:pt x="4109" y="2417"/>
                        </a:lnTo>
                        <a:lnTo>
                          <a:pt x="4106" y="2415"/>
                        </a:lnTo>
                        <a:lnTo>
                          <a:pt x="4104" y="2412"/>
                        </a:lnTo>
                        <a:lnTo>
                          <a:pt x="4102" y="2409"/>
                        </a:lnTo>
                        <a:lnTo>
                          <a:pt x="4093" y="2409"/>
                        </a:lnTo>
                        <a:lnTo>
                          <a:pt x="4088" y="2411"/>
                        </a:lnTo>
                        <a:lnTo>
                          <a:pt x="4085" y="2414"/>
                        </a:lnTo>
                        <a:lnTo>
                          <a:pt x="4083" y="2414"/>
                        </a:lnTo>
                        <a:lnTo>
                          <a:pt x="4076" y="2425"/>
                        </a:lnTo>
                        <a:lnTo>
                          <a:pt x="4074" y="2426"/>
                        </a:lnTo>
                        <a:lnTo>
                          <a:pt x="4072" y="2426"/>
                        </a:lnTo>
                        <a:lnTo>
                          <a:pt x="4055" y="2426"/>
                        </a:lnTo>
                        <a:lnTo>
                          <a:pt x="4053" y="2426"/>
                        </a:lnTo>
                        <a:lnTo>
                          <a:pt x="4050" y="2428"/>
                        </a:lnTo>
                        <a:lnTo>
                          <a:pt x="4049" y="2430"/>
                        </a:lnTo>
                        <a:lnTo>
                          <a:pt x="4050" y="2434"/>
                        </a:lnTo>
                        <a:lnTo>
                          <a:pt x="4047" y="2437"/>
                        </a:lnTo>
                        <a:lnTo>
                          <a:pt x="4049" y="2439"/>
                        </a:lnTo>
                        <a:lnTo>
                          <a:pt x="4053" y="2442"/>
                        </a:lnTo>
                        <a:lnTo>
                          <a:pt x="4055" y="2442"/>
                        </a:lnTo>
                        <a:lnTo>
                          <a:pt x="4058" y="2441"/>
                        </a:lnTo>
                        <a:lnTo>
                          <a:pt x="4057" y="2439"/>
                        </a:lnTo>
                        <a:lnTo>
                          <a:pt x="4057" y="2437"/>
                        </a:lnTo>
                        <a:lnTo>
                          <a:pt x="4057" y="2436"/>
                        </a:lnTo>
                        <a:lnTo>
                          <a:pt x="4061" y="2439"/>
                        </a:lnTo>
                        <a:lnTo>
                          <a:pt x="4064" y="2442"/>
                        </a:lnTo>
                        <a:lnTo>
                          <a:pt x="4066" y="2444"/>
                        </a:lnTo>
                        <a:lnTo>
                          <a:pt x="4068" y="2444"/>
                        </a:lnTo>
                        <a:lnTo>
                          <a:pt x="4069" y="2445"/>
                        </a:lnTo>
                        <a:lnTo>
                          <a:pt x="4068" y="2452"/>
                        </a:lnTo>
                        <a:lnTo>
                          <a:pt x="4069" y="2453"/>
                        </a:lnTo>
                        <a:lnTo>
                          <a:pt x="4071" y="2455"/>
                        </a:lnTo>
                        <a:lnTo>
                          <a:pt x="4069" y="2458"/>
                        </a:lnTo>
                        <a:lnTo>
                          <a:pt x="4069" y="2460"/>
                        </a:lnTo>
                        <a:lnTo>
                          <a:pt x="4069" y="2461"/>
                        </a:lnTo>
                        <a:lnTo>
                          <a:pt x="4072" y="2463"/>
                        </a:lnTo>
                        <a:lnTo>
                          <a:pt x="4076" y="2466"/>
                        </a:lnTo>
                        <a:lnTo>
                          <a:pt x="4076" y="2468"/>
                        </a:lnTo>
                        <a:lnTo>
                          <a:pt x="4074" y="2474"/>
                        </a:lnTo>
                        <a:lnTo>
                          <a:pt x="4076" y="2475"/>
                        </a:lnTo>
                        <a:lnTo>
                          <a:pt x="4077" y="2477"/>
                        </a:lnTo>
                        <a:lnTo>
                          <a:pt x="4077" y="2479"/>
                        </a:lnTo>
                        <a:lnTo>
                          <a:pt x="4077" y="2480"/>
                        </a:lnTo>
                        <a:lnTo>
                          <a:pt x="4083" y="2488"/>
                        </a:lnTo>
                        <a:lnTo>
                          <a:pt x="4087" y="2490"/>
                        </a:lnTo>
                        <a:lnTo>
                          <a:pt x="4087" y="2493"/>
                        </a:lnTo>
                        <a:lnTo>
                          <a:pt x="4085" y="2494"/>
                        </a:lnTo>
                        <a:lnTo>
                          <a:pt x="4083" y="2498"/>
                        </a:lnTo>
                        <a:lnTo>
                          <a:pt x="4079" y="2491"/>
                        </a:lnTo>
                        <a:lnTo>
                          <a:pt x="4077" y="2490"/>
                        </a:lnTo>
                        <a:lnTo>
                          <a:pt x="4072" y="2487"/>
                        </a:lnTo>
                        <a:lnTo>
                          <a:pt x="4069" y="2485"/>
                        </a:lnTo>
                        <a:lnTo>
                          <a:pt x="4068" y="2483"/>
                        </a:lnTo>
                        <a:lnTo>
                          <a:pt x="4061" y="2483"/>
                        </a:lnTo>
                        <a:lnTo>
                          <a:pt x="4060" y="2480"/>
                        </a:lnTo>
                        <a:lnTo>
                          <a:pt x="4058" y="2480"/>
                        </a:lnTo>
                        <a:lnTo>
                          <a:pt x="4057" y="2480"/>
                        </a:lnTo>
                        <a:lnTo>
                          <a:pt x="4045" y="2485"/>
                        </a:lnTo>
                        <a:lnTo>
                          <a:pt x="4042" y="2485"/>
                        </a:lnTo>
                        <a:lnTo>
                          <a:pt x="4038" y="2485"/>
                        </a:lnTo>
                        <a:lnTo>
                          <a:pt x="4034" y="2483"/>
                        </a:lnTo>
                        <a:lnTo>
                          <a:pt x="4030" y="2477"/>
                        </a:lnTo>
                        <a:lnTo>
                          <a:pt x="4026" y="2469"/>
                        </a:lnTo>
                        <a:lnTo>
                          <a:pt x="4026" y="2468"/>
                        </a:lnTo>
                        <a:lnTo>
                          <a:pt x="4025" y="2466"/>
                        </a:lnTo>
                        <a:lnTo>
                          <a:pt x="4025" y="2464"/>
                        </a:lnTo>
                        <a:lnTo>
                          <a:pt x="4023" y="2464"/>
                        </a:lnTo>
                        <a:lnTo>
                          <a:pt x="4022" y="2463"/>
                        </a:lnTo>
                        <a:lnTo>
                          <a:pt x="4015" y="2463"/>
                        </a:lnTo>
                        <a:lnTo>
                          <a:pt x="4012" y="2464"/>
                        </a:lnTo>
                        <a:lnTo>
                          <a:pt x="4009" y="2466"/>
                        </a:lnTo>
                        <a:lnTo>
                          <a:pt x="4006" y="2461"/>
                        </a:lnTo>
                        <a:lnTo>
                          <a:pt x="4004" y="2460"/>
                        </a:lnTo>
                        <a:lnTo>
                          <a:pt x="4003" y="2460"/>
                        </a:lnTo>
                        <a:lnTo>
                          <a:pt x="4003" y="2461"/>
                        </a:lnTo>
                        <a:lnTo>
                          <a:pt x="4001" y="2461"/>
                        </a:lnTo>
                        <a:lnTo>
                          <a:pt x="3998" y="2466"/>
                        </a:lnTo>
                        <a:lnTo>
                          <a:pt x="3998" y="2469"/>
                        </a:lnTo>
                        <a:lnTo>
                          <a:pt x="3998" y="2471"/>
                        </a:lnTo>
                        <a:lnTo>
                          <a:pt x="3998" y="2472"/>
                        </a:lnTo>
                        <a:lnTo>
                          <a:pt x="3998" y="2475"/>
                        </a:lnTo>
                        <a:lnTo>
                          <a:pt x="3998" y="2479"/>
                        </a:lnTo>
                        <a:lnTo>
                          <a:pt x="3998" y="2480"/>
                        </a:lnTo>
                        <a:lnTo>
                          <a:pt x="3995" y="2483"/>
                        </a:lnTo>
                        <a:lnTo>
                          <a:pt x="3993" y="2483"/>
                        </a:lnTo>
                        <a:lnTo>
                          <a:pt x="3993" y="2485"/>
                        </a:lnTo>
                        <a:lnTo>
                          <a:pt x="3984" y="2494"/>
                        </a:lnTo>
                        <a:lnTo>
                          <a:pt x="3982" y="2494"/>
                        </a:lnTo>
                        <a:lnTo>
                          <a:pt x="3981" y="2496"/>
                        </a:lnTo>
                        <a:lnTo>
                          <a:pt x="3968" y="2506"/>
                        </a:lnTo>
                        <a:lnTo>
                          <a:pt x="3965" y="2510"/>
                        </a:lnTo>
                        <a:lnTo>
                          <a:pt x="3961" y="2518"/>
                        </a:lnTo>
                        <a:lnTo>
                          <a:pt x="3955" y="2518"/>
                        </a:lnTo>
                        <a:lnTo>
                          <a:pt x="3954" y="2517"/>
                        </a:lnTo>
                        <a:lnTo>
                          <a:pt x="3949" y="2518"/>
                        </a:lnTo>
                        <a:lnTo>
                          <a:pt x="3947" y="2518"/>
                        </a:lnTo>
                        <a:lnTo>
                          <a:pt x="3936" y="2518"/>
                        </a:lnTo>
                        <a:lnTo>
                          <a:pt x="3927" y="2518"/>
                        </a:lnTo>
                        <a:lnTo>
                          <a:pt x="3922" y="2518"/>
                        </a:lnTo>
                        <a:lnTo>
                          <a:pt x="3903" y="2518"/>
                        </a:lnTo>
                        <a:lnTo>
                          <a:pt x="3901" y="2518"/>
                        </a:lnTo>
                        <a:lnTo>
                          <a:pt x="3893" y="2518"/>
                        </a:lnTo>
                        <a:lnTo>
                          <a:pt x="3892" y="2518"/>
                        </a:lnTo>
                        <a:lnTo>
                          <a:pt x="3870" y="2518"/>
                        </a:lnTo>
                        <a:lnTo>
                          <a:pt x="3866" y="2518"/>
                        </a:lnTo>
                        <a:lnTo>
                          <a:pt x="3855" y="2518"/>
                        </a:lnTo>
                        <a:lnTo>
                          <a:pt x="3849" y="2518"/>
                        </a:lnTo>
                        <a:lnTo>
                          <a:pt x="3841" y="2517"/>
                        </a:lnTo>
                        <a:lnTo>
                          <a:pt x="3832" y="2517"/>
                        </a:lnTo>
                        <a:lnTo>
                          <a:pt x="3817" y="2518"/>
                        </a:lnTo>
                        <a:lnTo>
                          <a:pt x="3811" y="2517"/>
                        </a:lnTo>
                        <a:lnTo>
                          <a:pt x="3809" y="2517"/>
                        </a:lnTo>
                        <a:lnTo>
                          <a:pt x="3808" y="2517"/>
                        </a:lnTo>
                        <a:lnTo>
                          <a:pt x="3805" y="2518"/>
                        </a:lnTo>
                        <a:lnTo>
                          <a:pt x="3771" y="2531"/>
                        </a:lnTo>
                        <a:lnTo>
                          <a:pt x="3767" y="2534"/>
                        </a:lnTo>
                        <a:lnTo>
                          <a:pt x="3763" y="2534"/>
                        </a:lnTo>
                        <a:lnTo>
                          <a:pt x="3762" y="2534"/>
                        </a:lnTo>
                        <a:lnTo>
                          <a:pt x="3754" y="2537"/>
                        </a:lnTo>
                        <a:lnTo>
                          <a:pt x="3740" y="2544"/>
                        </a:lnTo>
                        <a:lnTo>
                          <a:pt x="3729" y="2550"/>
                        </a:lnTo>
                        <a:lnTo>
                          <a:pt x="3727" y="2550"/>
                        </a:lnTo>
                        <a:lnTo>
                          <a:pt x="3722" y="2551"/>
                        </a:lnTo>
                        <a:lnTo>
                          <a:pt x="3705" y="2558"/>
                        </a:lnTo>
                        <a:lnTo>
                          <a:pt x="3708" y="2548"/>
                        </a:lnTo>
                        <a:lnTo>
                          <a:pt x="3708" y="2547"/>
                        </a:lnTo>
                        <a:lnTo>
                          <a:pt x="3711" y="2532"/>
                        </a:lnTo>
                        <a:lnTo>
                          <a:pt x="3711" y="2528"/>
                        </a:lnTo>
                        <a:lnTo>
                          <a:pt x="3710" y="2526"/>
                        </a:lnTo>
                        <a:lnTo>
                          <a:pt x="3705" y="2526"/>
                        </a:lnTo>
                        <a:lnTo>
                          <a:pt x="3703" y="2526"/>
                        </a:lnTo>
                        <a:lnTo>
                          <a:pt x="3702" y="2525"/>
                        </a:lnTo>
                        <a:lnTo>
                          <a:pt x="3708" y="2513"/>
                        </a:lnTo>
                        <a:lnTo>
                          <a:pt x="3710" y="2512"/>
                        </a:lnTo>
                        <a:lnTo>
                          <a:pt x="3710" y="2510"/>
                        </a:lnTo>
                        <a:lnTo>
                          <a:pt x="3708" y="2510"/>
                        </a:lnTo>
                        <a:lnTo>
                          <a:pt x="3661" y="2501"/>
                        </a:lnTo>
                        <a:lnTo>
                          <a:pt x="3659" y="2501"/>
                        </a:lnTo>
                        <a:lnTo>
                          <a:pt x="3649" y="2498"/>
                        </a:lnTo>
                        <a:lnTo>
                          <a:pt x="3635" y="2496"/>
                        </a:lnTo>
                        <a:lnTo>
                          <a:pt x="3632" y="2494"/>
                        </a:lnTo>
                        <a:lnTo>
                          <a:pt x="3619" y="2493"/>
                        </a:lnTo>
                        <a:lnTo>
                          <a:pt x="3618" y="2491"/>
                        </a:lnTo>
                        <a:lnTo>
                          <a:pt x="3588" y="2485"/>
                        </a:lnTo>
                        <a:lnTo>
                          <a:pt x="3583" y="2485"/>
                        </a:lnTo>
                        <a:lnTo>
                          <a:pt x="3575" y="2483"/>
                        </a:lnTo>
                        <a:lnTo>
                          <a:pt x="3562" y="2480"/>
                        </a:lnTo>
                        <a:lnTo>
                          <a:pt x="3561" y="2480"/>
                        </a:lnTo>
                        <a:lnTo>
                          <a:pt x="3559" y="2480"/>
                        </a:lnTo>
                        <a:lnTo>
                          <a:pt x="3551" y="2479"/>
                        </a:lnTo>
                        <a:lnTo>
                          <a:pt x="3546" y="2477"/>
                        </a:lnTo>
                        <a:lnTo>
                          <a:pt x="3545" y="2477"/>
                        </a:lnTo>
                        <a:lnTo>
                          <a:pt x="3543" y="2477"/>
                        </a:lnTo>
                        <a:lnTo>
                          <a:pt x="3516" y="2472"/>
                        </a:lnTo>
                        <a:lnTo>
                          <a:pt x="3480" y="2464"/>
                        </a:lnTo>
                        <a:lnTo>
                          <a:pt x="3478" y="2464"/>
                        </a:lnTo>
                        <a:lnTo>
                          <a:pt x="3470" y="2463"/>
                        </a:lnTo>
                        <a:lnTo>
                          <a:pt x="3459" y="2460"/>
                        </a:lnTo>
                        <a:lnTo>
                          <a:pt x="3456" y="2460"/>
                        </a:lnTo>
                        <a:lnTo>
                          <a:pt x="3451" y="2460"/>
                        </a:lnTo>
                        <a:lnTo>
                          <a:pt x="3450" y="2458"/>
                        </a:lnTo>
                        <a:lnTo>
                          <a:pt x="3436" y="2455"/>
                        </a:lnTo>
                        <a:lnTo>
                          <a:pt x="3431" y="2455"/>
                        </a:lnTo>
                        <a:lnTo>
                          <a:pt x="3426" y="2453"/>
                        </a:lnTo>
                        <a:lnTo>
                          <a:pt x="3421" y="2453"/>
                        </a:lnTo>
                        <a:lnTo>
                          <a:pt x="3420" y="2453"/>
                        </a:lnTo>
                        <a:lnTo>
                          <a:pt x="3399" y="2449"/>
                        </a:lnTo>
                        <a:lnTo>
                          <a:pt x="3398" y="2447"/>
                        </a:lnTo>
                        <a:lnTo>
                          <a:pt x="3388" y="2445"/>
                        </a:lnTo>
                        <a:lnTo>
                          <a:pt x="3382" y="2445"/>
                        </a:lnTo>
                        <a:lnTo>
                          <a:pt x="3377" y="2444"/>
                        </a:lnTo>
                        <a:lnTo>
                          <a:pt x="3371" y="2442"/>
                        </a:lnTo>
                        <a:lnTo>
                          <a:pt x="3364" y="2442"/>
                        </a:lnTo>
                        <a:lnTo>
                          <a:pt x="3356" y="2439"/>
                        </a:lnTo>
                        <a:lnTo>
                          <a:pt x="3355" y="2439"/>
                        </a:lnTo>
                        <a:lnTo>
                          <a:pt x="3341" y="2437"/>
                        </a:lnTo>
                        <a:lnTo>
                          <a:pt x="3337" y="2436"/>
                        </a:lnTo>
                        <a:lnTo>
                          <a:pt x="3336" y="2436"/>
                        </a:lnTo>
                        <a:lnTo>
                          <a:pt x="3333" y="2434"/>
                        </a:lnTo>
                        <a:lnTo>
                          <a:pt x="3331" y="2434"/>
                        </a:lnTo>
                        <a:lnTo>
                          <a:pt x="3329" y="2434"/>
                        </a:lnTo>
                        <a:lnTo>
                          <a:pt x="3318" y="2433"/>
                        </a:lnTo>
                        <a:lnTo>
                          <a:pt x="3314" y="2431"/>
                        </a:lnTo>
                        <a:lnTo>
                          <a:pt x="3312" y="2430"/>
                        </a:lnTo>
                        <a:lnTo>
                          <a:pt x="3301" y="2428"/>
                        </a:lnTo>
                        <a:lnTo>
                          <a:pt x="3288" y="2423"/>
                        </a:lnTo>
                        <a:lnTo>
                          <a:pt x="3284" y="2422"/>
                        </a:lnTo>
                        <a:lnTo>
                          <a:pt x="3280" y="2422"/>
                        </a:lnTo>
                        <a:lnTo>
                          <a:pt x="3279" y="2422"/>
                        </a:lnTo>
                        <a:lnTo>
                          <a:pt x="3277" y="2420"/>
                        </a:lnTo>
                        <a:lnTo>
                          <a:pt x="3274" y="2420"/>
                        </a:lnTo>
                        <a:lnTo>
                          <a:pt x="3268" y="2418"/>
                        </a:lnTo>
                        <a:lnTo>
                          <a:pt x="3258" y="2417"/>
                        </a:lnTo>
                        <a:lnTo>
                          <a:pt x="3236" y="2411"/>
                        </a:lnTo>
                        <a:lnTo>
                          <a:pt x="3231" y="2409"/>
                        </a:lnTo>
                        <a:lnTo>
                          <a:pt x="3228" y="2412"/>
                        </a:lnTo>
                        <a:lnTo>
                          <a:pt x="3225" y="2420"/>
                        </a:lnTo>
                        <a:lnTo>
                          <a:pt x="3225" y="2422"/>
                        </a:lnTo>
                        <a:lnTo>
                          <a:pt x="3225" y="2423"/>
                        </a:lnTo>
                        <a:lnTo>
                          <a:pt x="3223" y="2423"/>
                        </a:lnTo>
                        <a:lnTo>
                          <a:pt x="3222" y="2423"/>
                        </a:lnTo>
                        <a:lnTo>
                          <a:pt x="3220" y="2423"/>
                        </a:lnTo>
                        <a:lnTo>
                          <a:pt x="3220" y="2426"/>
                        </a:lnTo>
                        <a:lnTo>
                          <a:pt x="3220" y="2428"/>
                        </a:lnTo>
                        <a:lnTo>
                          <a:pt x="3222" y="2430"/>
                        </a:lnTo>
                        <a:lnTo>
                          <a:pt x="3225" y="2431"/>
                        </a:lnTo>
                        <a:lnTo>
                          <a:pt x="3227" y="2431"/>
                        </a:lnTo>
                        <a:lnTo>
                          <a:pt x="3230" y="2434"/>
                        </a:lnTo>
                        <a:lnTo>
                          <a:pt x="3230" y="2437"/>
                        </a:lnTo>
                        <a:lnTo>
                          <a:pt x="3231" y="2441"/>
                        </a:lnTo>
                        <a:lnTo>
                          <a:pt x="3223" y="2444"/>
                        </a:lnTo>
                        <a:lnTo>
                          <a:pt x="3222" y="2445"/>
                        </a:lnTo>
                        <a:lnTo>
                          <a:pt x="3219" y="2445"/>
                        </a:lnTo>
                        <a:lnTo>
                          <a:pt x="3212" y="2447"/>
                        </a:lnTo>
                        <a:lnTo>
                          <a:pt x="3211" y="2447"/>
                        </a:lnTo>
                        <a:lnTo>
                          <a:pt x="3207" y="2447"/>
                        </a:lnTo>
                        <a:lnTo>
                          <a:pt x="3207" y="2449"/>
                        </a:lnTo>
                        <a:lnTo>
                          <a:pt x="3204" y="2449"/>
                        </a:lnTo>
                        <a:lnTo>
                          <a:pt x="3196" y="2450"/>
                        </a:lnTo>
                        <a:lnTo>
                          <a:pt x="3192" y="2452"/>
                        </a:lnTo>
                        <a:lnTo>
                          <a:pt x="3190" y="2453"/>
                        </a:lnTo>
                        <a:lnTo>
                          <a:pt x="3188" y="2456"/>
                        </a:lnTo>
                        <a:lnTo>
                          <a:pt x="3187" y="2464"/>
                        </a:lnTo>
                        <a:lnTo>
                          <a:pt x="3185" y="2466"/>
                        </a:lnTo>
                        <a:lnTo>
                          <a:pt x="3181" y="2468"/>
                        </a:lnTo>
                        <a:lnTo>
                          <a:pt x="3179" y="2469"/>
                        </a:lnTo>
                        <a:lnTo>
                          <a:pt x="3179" y="2471"/>
                        </a:lnTo>
                        <a:lnTo>
                          <a:pt x="3179" y="2472"/>
                        </a:lnTo>
                        <a:lnTo>
                          <a:pt x="3177" y="2474"/>
                        </a:lnTo>
                        <a:lnTo>
                          <a:pt x="3177" y="2472"/>
                        </a:lnTo>
                        <a:lnTo>
                          <a:pt x="3169" y="2464"/>
                        </a:lnTo>
                        <a:lnTo>
                          <a:pt x="3169" y="2463"/>
                        </a:lnTo>
                        <a:lnTo>
                          <a:pt x="3169" y="2458"/>
                        </a:lnTo>
                        <a:lnTo>
                          <a:pt x="3166" y="2453"/>
                        </a:lnTo>
                        <a:lnTo>
                          <a:pt x="3166" y="2449"/>
                        </a:lnTo>
                        <a:lnTo>
                          <a:pt x="3168" y="2445"/>
                        </a:lnTo>
                        <a:lnTo>
                          <a:pt x="3168" y="2444"/>
                        </a:lnTo>
                        <a:lnTo>
                          <a:pt x="3166" y="2444"/>
                        </a:lnTo>
                        <a:lnTo>
                          <a:pt x="3165" y="2444"/>
                        </a:lnTo>
                        <a:lnTo>
                          <a:pt x="3158" y="2442"/>
                        </a:lnTo>
                        <a:lnTo>
                          <a:pt x="3154" y="2442"/>
                        </a:lnTo>
                        <a:lnTo>
                          <a:pt x="3133" y="2455"/>
                        </a:lnTo>
                        <a:lnTo>
                          <a:pt x="3131" y="2463"/>
                        </a:lnTo>
                        <a:lnTo>
                          <a:pt x="3128" y="2474"/>
                        </a:lnTo>
                        <a:lnTo>
                          <a:pt x="3127" y="2480"/>
                        </a:lnTo>
                        <a:lnTo>
                          <a:pt x="3127" y="2482"/>
                        </a:lnTo>
                        <a:lnTo>
                          <a:pt x="3128" y="2491"/>
                        </a:lnTo>
                        <a:lnTo>
                          <a:pt x="3130" y="2496"/>
                        </a:lnTo>
                        <a:lnTo>
                          <a:pt x="3130" y="2498"/>
                        </a:lnTo>
                        <a:lnTo>
                          <a:pt x="3128" y="2498"/>
                        </a:lnTo>
                        <a:lnTo>
                          <a:pt x="3122" y="2502"/>
                        </a:lnTo>
                        <a:lnTo>
                          <a:pt x="3119" y="2504"/>
                        </a:lnTo>
                        <a:lnTo>
                          <a:pt x="3106" y="2501"/>
                        </a:lnTo>
                        <a:lnTo>
                          <a:pt x="3105" y="2501"/>
                        </a:lnTo>
                        <a:lnTo>
                          <a:pt x="3103" y="2501"/>
                        </a:lnTo>
                        <a:lnTo>
                          <a:pt x="3097" y="2507"/>
                        </a:lnTo>
                        <a:lnTo>
                          <a:pt x="3090" y="2510"/>
                        </a:lnTo>
                        <a:lnTo>
                          <a:pt x="3090" y="2512"/>
                        </a:lnTo>
                        <a:lnTo>
                          <a:pt x="3087" y="2520"/>
                        </a:lnTo>
                        <a:lnTo>
                          <a:pt x="3086" y="2521"/>
                        </a:lnTo>
                        <a:lnTo>
                          <a:pt x="3082" y="2525"/>
                        </a:lnTo>
                        <a:lnTo>
                          <a:pt x="3079" y="2526"/>
                        </a:lnTo>
                        <a:lnTo>
                          <a:pt x="3078" y="2525"/>
                        </a:lnTo>
                        <a:lnTo>
                          <a:pt x="3074" y="2525"/>
                        </a:lnTo>
                        <a:lnTo>
                          <a:pt x="3071" y="2521"/>
                        </a:lnTo>
                        <a:lnTo>
                          <a:pt x="3070" y="2521"/>
                        </a:lnTo>
                        <a:lnTo>
                          <a:pt x="3068" y="2523"/>
                        </a:lnTo>
                        <a:lnTo>
                          <a:pt x="3060" y="2531"/>
                        </a:lnTo>
                        <a:lnTo>
                          <a:pt x="3060" y="2532"/>
                        </a:lnTo>
                        <a:lnTo>
                          <a:pt x="3059" y="2532"/>
                        </a:lnTo>
                        <a:lnTo>
                          <a:pt x="3055" y="2528"/>
                        </a:lnTo>
                        <a:lnTo>
                          <a:pt x="3049" y="2528"/>
                        </a:lnTo>
                        <a:lnTo>
                          <a:pt x="3046" y="2529"/>
                        </a:lnTo>
                        <a:lnTo>
                          <a:pt x="3043" y="2532"/>
                        </a:lnTo>
                        <a:lnTo>
                          <a:pt x="3040" y="2539"/>
                        </a:lnTo>
                        <a:lnTo>
                          <a:pt x="3038" y="2540"/>
                        </a:lnTo>
                        <a:lnTo>
                          <a:pt x="3033" y="2550"/>
                        </a:lnTo>
                        <a:lnTo>
                          <a:pt x="3033" y="2556"/>
                        </a:lnTo>
                        <a:lnTo>
                          <a:pt x="3032" y="2558"/>
                        </a:lnTo>
                        <a:lnTo>
                          <a:pt x="3032" y="2564"/>
                        </a:lnTo>
                        <a:lnTo>
                          <a:pt x="3033" y="2571"/>
                        </a:lnTo>
                        <a:lnTo>
                          <a:pt x="3024" y="2575"/>
                        </a:lnTo>
                        <a:lnTo>
                          <a:pt x="3022" y="2575"/>
                        </a:lnTo>
                        <a:lnTo>
                          <a:pt x="3017" y="2577"/>
                        </a:lnTo>
                        <a:lnTo>
                          <a:pt x="3013" y="2559"/>
                        </a:lnTo>
                        <a:lnTo>
                          <a:pt x="3009" y="2555"/>
                        </a:lnTo>
                        <a:lnTo>
                          <a:pt x="3009" y="2553"/>
                        </a:lnTo>
                        <a:lnTo>
                          <a:pt x="3008" y="2553"/>
                        </a:lnTo>
                        <a:lnTo>
                          <a:pt x="3005" y="2551"/>
                        </a:lnTo>
                        <a:lnTo>
                          <a:pt x="3000" y="2551"/>
                        </a:lnTo>
                        <a:lnTo>
                          <a:pt x="2998" y="2551"/>
                        </a:lnTo>
                        <a:lnTo>
                          <a:pt x="2998" y="2550"/>
                        </a:lnTo>
                        <a:lnTo>
                          <a:pt x="2998" y="2548"/>
                        </a:lnTo>
                        <a:lnTo>
                          <a:pt x="2998" y="2545"/>
                        </a:lnTo>
                        <a:lnTo>
                          <a:pt x="2998" y="2544"/>
                        </a:lnTo>
                        <a:lnTo>
                          <a:pt x="2995" y="2542"/>
                        </a:lnTo>
                        <a:lnTo>
                          <a:pt x="2994" y="2542"/>
                        </a:lnTo>
                        <a:lnTo>
                          <a:pt x="2994" y="2544"/>
                        </a:lnTo>
                        <a:lnTo>
                          <a:pt x="2992" y="2545"/>
                        </a:lnTo>
                        <a:lnTo>
                          <a:pt x="2992" y="2547"/>
                        </a:lnTo>
                        <a:lnTo>
                          <a:pt x="2990" y="2548"/>
                        </a:lnTo>
                        <a:lnTo>
                          <a:pt x="2989" y="2547"/>
                        </a:lnTo>
                        <a:lnTo>
                          <a:pt x="2984" y="2544"/>
                        </a:lnTo>
                        <a:lnTo>
                          <a:pt x="2984" y="2542"/>
                        </a:lnTo>
                        <a:lnTo>
                          <a:pt x="2986" y="2539"/>
                        </a:lnTo>
                        <a:lnTo>
                          <a:pt x="2989" y="2536"/>
                        </a:lnTo>
                        <a:lnTo>
                          <a:pt x="2994" y="2534"/>
                        </a:lnTo>
                        <a:lnTo>
                          <a:pt x="2994" y="2532"/>
                        </a:lnTo>
                        <a:lnTo>
                          <a:pt x="2995" y="2531"/>
                        </a:lnTo>
                        <a:lnTo>
                          <a:pt x="2995" y="2528"/>
                        </a:lnTo>
                        <a:lnTo>
                          <a:pt x="2990" y="2528"/>
                        </a:lnTo>
                        <a:lnTo>
                          <a:pt x="2989" y="2528"/>
                        </a:lnTo>
                        <a:lnTo>
                          <a:pt x="2986" y="2526"/>
                        </a:lnTo>
                        <a:lnTo>
                          <a:pt x="2984" y="2526"/>
                        </a:lnTo>
                        <a:lnTo>
                          <a:pt x="2981" y="2531"/>
                        </a:lnTo>
                        <a:lnTo>
                          <a:pt x="2979" y="2531"/>
                        </a:lnTo>
                        <a:lnTo>
                          <a:pt x="2978" y="2529"/>
                        </a:lnTo>
                        <a:lnTo>
                          <a:pt x="2976" y="2529"/>
                        </a:lnTo>
                        <a:lnTo>
                          <a:pt x="2975" y="2528"/>
                        </a:lnTo>
                        <a:lnTo>
                          <a:pt x="2975" y="2526"/>
                        </a:lnTo>
                        <a:lnTo>
                          <a:pt x="2975" y="2525"/>
                        </a:lnTo>
                        <a:lnTo>
                          <a:pt x="2976" y="2523"/>
                        </a:lnTo>
                        <a:lnTo>
                          <a:pt x="2976" y="2521"/>
                        </a:lnTo>
                        <a:lnTo>
                          <a:pt x="2975" y="2521"/>
                        </a:lnTo>
                        <a:lnTo>
                          <a:pt x="2967" y="2521"/>
                        </a:lnTo>
                        <a:lnTo>
                          <a:pt x="2959" y="2521"/>
                        </a:lnTo>
                        <a:lnTo>
                          <a:pt x="2948" y="2521"/>
                        </a:lnTo>
                        <a:lnTo>
                          <a:pt x="2940" y="2521"/>
                        </a:lnTo>
                        <a:lnTo>
                          <a:pt x="2938" y="2521"/>
                        </a:lnTo>
                        <a:lnTo>
                          <a:pt x="2937" y="2521"/>
                        </a:lnTo>
                        <a:lnTo>
                          <a:pt x="2933" y="2523"/>
                        </a:lnTo>
                        <a:lnTo>
                          <a:pt x="2929" y="2521"/>
                        </a:lnTo>
                        <a:lnTo>
                          <a:pt x="2926" y="2521"/>
                        </a:lnTo>
                        <a:lnTo>
                          <a:pt x="2911" y="2521"/>
                        </a:lnTo>
                        <a:lnTo>
                          <a:pt x="2905" y="2520"/>
                        </a:lnTo>
                        <a:lnTo>
                          <a:pt x="2902" y="2520"/>
                        </a:lnTo>
                        <a:lnTo>
                          <a:pt x="2899" y="2513"/>
                        </a:lnTo>
                        <a:lnTo>
                          <a:pt x="2886" y="2513"/>
                        </a:lnTo>
                        <a:lnTo>
                          <a:pt x="2884" y="2521"/>
                        </a:lnTo>
                        <a:lnTo>
                          <a:pt x="2876" y="2521"/>
                        </a:lnTo>
                        <a:lnTo>
                          <a:pt x="2873" y="2523"/>
                        </a:lnTo>
                        <a:lnTo>
                          <a:pt x="2870" y="2523"/>
                        </a:lnTo>
                        <a:lnTo>
                          <a:pt x="2869" y="2523"/>
                        </a:lnTo>
                        <a:lnTo>
                          <a:pt x="2867" y="2525"/>
                        </a:lnTo>
                        <a:lnTo>
                          <a:pt x="2867" y="2526"/>
                        </a:lnTo>
                        <a:lnTo>
                          <a:pt x="2862" y="2532"/>
                        </a:lnTo>
                        <a:lnTo>
                          <a:pt x="2861" y="2536"/>
                        </a:lnTo>
                        <a:lnTo>
                          <a:pt x="2861" y="2537"/>
                        </a:lnTo>
                        <a:lnTo>
                          <a:pt x="2859" y="2540"/>
                        </a:lnTo>
                        <a:lnTo>
                          <a:pt x="2857" y="2540"/>
                        </a:lnTo>
                        <a:lnTo>
                          <a:pt x="2853" y="2540"/>
                        </a:lnTo>
                        <a:lnTo>
                          <a:pt x="2851" y="2540"/>
                        </a:lnTo>
                        <a:lnTo>
                          <a:pt x="2850" y="2539"/>
                        </a:lnTo>
                        <a:lnTo>
                          <a:pt x="2843" y="2534"/>
                        </a:lnTo>
                        <a:lnTo>
                          <a:pt x="2843" y="2532"/>
                        </a:lnTo>
                        <a:lnTo>
                          <a:pt x="2832" y="2532"/>
                        </a:lnTo>
                        <a:lnTo>
                          <a:pt x="2830" y="2525"/>
                        </a:lnTo>
                        <a:lnTo>
                          <a:pt x="2827" y="2521"/>
                        </a:lnTo>
                        <a:lnTo>
                          <a:pt x="2824" y="2520"/>
                        </a:lnTo>
                        <a:lnTo>
                          <a:pt x="2807" y="2520"/>
                        </a:lnTo>
                        <a:lnTo>
                          <a:pt x="2805" y="2520"/>
                        </a:lnTo>
                        <a:lnTo>
                          <a:pt x="2804" y="2520"/>
                        </a:lnTo>
                        <a:lnTo>
                          <a:pt x="2799" y="2521"/>
                        </a:lnTo>
                        <a:lnTo>
                          <a:pt x="2785" y="2521"/>
                        </a:lnTo>
                        <a:lnTo>
                          <a:pt x="2778" y="2517"/>
                        </a:lnTo>
                        <a:lnTo>
                          <a:pt x="2766" y="2517"/>
                        </a:lnTo>
                        <a:lnTo>
                          <a:pt x="2745" y="2515"/>
                        </a:lnTo>
                        <a:lnTo>
                          <a:pt x="2742" y="2515"/>
                        </a:lnTo>
                        <a:lnTo>
                          <a:pt x="2740" y="2515"/>
                        </a:lnTo>
                        <a:lnTo>
                          <a:pt x="2731" y="2515"/>
                        </a:lnTo>
                        <a:lnTo>
                          <a:pt x="2721" y="2515"/>
                        </a:lnTo>
                        <a:lnTo>
                          <a:pt x="2715" y="2515"/>
                        </a:lnTo>
                        <a:lnTo>
                          <a:pt x="2710" y="2515"/>
                        </a:lnTo>
                        <a:lnTo>
                          <a:pt x="2709" y="2526"/>
                        </a:lnTo>
                        <a:lnTo>
                          <a:pt x="2696" y="2526"/>
                        </a:lnTo>
                        <a:lnTo>
                          <a:pt x="2690" y="2526"/>
                        </a:lnTo>
                        <a:lnTo>
                          <a:pt x="2682" y="2525"/>
                        </a:lnTo>
                        <a:lnTo>
                          <a:pt x="2664" y="2525"/>
                        </a:lnTo>
                        <a:lnTo>
                          <a:pt x="2639" y="2521"/>
                        </a:lnTo>
                        <a:lnTo>
                          <a:pt x="2625" y="2521"/>
                        </a:lnTo>
                        <a:lnTo>
                          <a:pt x="2596" y="2521"/>
                        </a:lnTo>
                        <a:lnTo>
                          <a:pt x="2594" y="2521"/>
                        </a:lnTo>
                        <a:lnTo>
                          <a:pt x="2593" y="2520"/>
                        </a:lnTo>
                        <a:lnTo>
                          <a:pt x="2585" y="2521"/>
                        </a:lnTo>
                        <a:lnTo>
                          <a:pt x="2579" y="2521"/>
                        </a:lnTo>
                        <a:lnTo>
                          <a:pt x="2574" y="2521"/>
                        </a:lnTo>
                        <a:lnTo>
                          <a:pt x="2572" y="2521"/>
                        </a:lnTo>
                        <a:lnTo>
                          <a:pt x="2568" y="2521"/>
                        </a:lnTo>
                        <a:lnTo>
                          <a:pt x="2560" y="2521"/>
                        </a:lnTo>
                        <a:lnTo>
                          <a:pt x="2552" y="2521"/>
                        </a:lnTo>
                        <a:lnTo>
                          <a:pt x="2539" y="2521"/>
                        </a:lnTo>
                        <a:lnTo>
                          <a:pt x="2531" y="2517"/>
                        </a:lnTo>
                        <a:lnTo>
                          <a:pt x="2530" y="2513"/>
                        </a:lnTo>
                        <a:lnTo>
                          <a:pt x="2522" y="2509"/>
                        </a:lnTo>
                        <a:lnTo>
                          <a:pt x="2520" y="2507"/>
                        </a:lnTo>
                        <a:lnTo>
                          <a:pt x="2518" y="2506"/>
                        </a:lnTo>
                        <a:lnTo>
                          <a:pt x="2517" y="2504"/>
                        </a:lnTo>
                        <a:lnTo>
                          <a:pt x="2514" y="2504"/>
                        </a:lnTo>
                        <a:lnTo>
                          <a:pt x="2506" y="2504"/>
                        </a:lnTo>
                        <a:lnTo>
                          <a:pt x="2499" y="2504"/>
                        </a:lnTo>
                        <a:lnTo>
                          <a:pt x="2492" y="2506"/>
                        </a:lnTo>
                        <a:lnTo>
                          <a:pt x="2484" y="2506"/>
                        </a:lnTo>
                        <a:lnTo>
                          <a:pt x="2480" y="2506"/>
                        </a:lnTo>
                        <a:lnTo>
                          <a:pt x="2469" y="2504"/>
                        </a:lnTo>
                        <a:lnTo>
                          <a:pt x="2461" y="2506"/>
                        </a:lnTo>
                        <a:lnTo>
                          <a:pt x="2455" y="2504"/>
                        </a:lnTo>
                        <a:lnTo>
                          <a:pt x="2422" y="2504"/>
                        </a:lnTo>
                        <a:lnTo>
                          <a:pt x="2420" y="2507"/>
                        </a:lnTo>
                        <a:lnTo>
                          <a:pt x="2420" y="2510"/>
                        </a:lnTo>
                        <a:lnTo>
                          <a:pt x="2422" y="2513"/>
                        </a:lnTo>
                        <a:lnTo>
                          <a:pt x="2422" y="2515"/>
                        </a:lnTo>
                        <a:lnTo>
                          <a:pt x="2420" y="2518"/>
                        </a:lnTo>
                        <a:lnTo>
                          <a:pt x="2420" y="2521"/>
                        </a:lnTo>
                        <a:lnTo>
                          <a:pt x="2419" y="2523"/>
                        </a:lnTo>
                        <a:lnTo>
                          <a:pt x="2408" y="2521"/>
                        </a:lnTo>
                        <a:lnTo>
                          <a:pt x="2403" y="2521"/>
                        </a:lnTo>
                        <a:lnTo>
                          <a:pt x="2401" y="2523"/>
                        </a:lnTo>
                        <a:lnTo>
                          <a:pt x="2395" y="2520"/>
                        </a:lnTo>
                        <a:lnTo>
                          <a:pt x="2385" y="2517"/>
                        </a:lnTo>
                        <a:lnTo>
                          <a:pt x="2382" y="2517"/>
                        </a:lnTo>
                        <a:lnTo>
                          <a:pt x="2377" y="2518"/>
                        </a:lnTo>
                        <a:lnTo>
                          <a:pt x="2352" y="2525"/>
                        </a:lnTo>
                        <a:lnTo>
                          <a:pt x="2351" y="2526"/>
                        </a:lnTo>
                        <a:lnTo>
                          <a:pt x="2346" y="2528"/>
                        </a:lnTo>
                        <a:lnTo>
                          <a:pt x="2343" y="2529"/>
                        </a:lnTo>
                        <a:lnTo>
                          <a:pt x="2327" y="2531"/>
                        </a:lnTo>
                        <a:lnTo>
                          <a:pt x="2324" y="2529"/>
                        </a:lnTo>
                        <a:lnTo>
                          <a:pt x="2322" y="2529"/>
                        </a:lnTo>
                        <a:lnTo>
                          <a:pt x="2317" y="2526"/>
                        </a:lnTo>
                        <a:lnTo>
                          <a:pt x="2309" y="2526"/>
                        </a:lnTo>
                        <a:lnTo>
                          <a:pt x="2297" y="2526"/>
                        </a:lnTo>
                        <a:lnTo>
                          <a:pt x="2286" y="2526"/>
                        </a:lnTo>
                        <a:lnTo>
                          <a:pt x="2281" y="2528"/>
                        </a:lnTo>
                        <a:lnTo>
                          <a:pt x="2273" y="2526"/>
                        </a:lnTo>
                        <a:lnTo>
                          <a:pt x="2240" y="2526"/>
                        </a:lnTo>
                        <a:lnTo>
                          <a:pt x="2233" y="2526"/>
                        </a:lnTo>
                        <a:lnTo>
                          <a:pt x="2230" y="2526"/>
                        </a:lnTo>
                        <a:lnTo>
                          <a:pt x="2227" y="2526"/>
                        </a:lnTo>
                        <a:lnTo>
                          <a:pt x="2208" y="2528"/>
                        </a:lnTo>
                        <a:lnTo>
                          <a:pt x="2187" y="2529"/>
                        </a:lnTo>
                        <a:lnTo>
                          <a:pt x="2181" y="2528"/>
                        </a:lnTo>
                        <a:lnTo>
                          <a:pt x="2170" y="2528"/>
                        </a:lnTo>
                        <a:lnTo>
                          <a:pt x="2164" y="2528"/>
                        </a:lnTo>
                        <a:lnTo>
                          <a:pt x="2138" y="2529"/>
                        </a:lnTo>
                        <a:lnTo>
                          <a:pt x="2137" y="2529"/>
                        </a:lnTo>
                        <a:lnTo>
                          <a:pt x="2135" y="2529"/>
                        </a:lnTo>
                        <a:lnTo>
                          <a:pt x="2134" y="2529"/>
                        </a:lnTo>
                        <a:lnTo>
                          <a:pt x="2130" y="2529"/>
                        </a:lnTo>
                        <a:lnTo>
                          <a:pt x="2122" y="2529"/>
                        </a:lnTo>
                        <a:lnTo>
                          <a:pt x="2108" y="2529"/>
                        </a:lnTo>
                        <a:lnTo>
                          <a:pt x="2102" y="2529"/>
                        </a:lnTo>
                        <a:lnTo>
                          <a:pt x="2086" y="2529"/>
                        </a:lnTo>
                        <a:lnTo>
                          <a:pt x="2076" y="2529"/>
                        </a:lnTo>
                        <a:lnTo>
                          <a:pt x="2070" y="2529"/>
                        </a:lnTo>
                        <a:lnTo>
                          <a:pt x="2054" y="2528"/>
                        </a:lnTo>
                        <a:lnTo>
                          <a:pt x="2050" y="2526"/>
                        </a:lnTo>
                        <a:lnTo>
                          <a:pt x="2046" y="2526"/>
                        </a:lnTo>
                        <a:lnTo>
                          <a:pt x="2042" y="2526"/>
                        </a:lnTo>
                        <a:lnTo>
                          <a:pt x="2034" y="2525"/>
                        </a:lnTo>
                        <a:lnTo>
                          <a:pt x="2029" y="2525"/>
                        </a:lnTo>
                        <a:lnTo>
                          <a:pt x="2023" y="2525"/>
                        </a:lnTo>
                        <a:lnTo>
                          <a:pt x="2013" y="2523"/>
                        </a:lnTo>
                        <a:lnTo>
                          <a:pt x="2010" y="2523"/>
                        </a:lnTo>
                        <a:lnTo>
                          <a:pt x="2007" y="2523"/>
                        </a:lnTo>
                        <a:lnTo>
                          <a:pt x="2007" y="2525"/>
                        </a:lnTo>
                        <a:lnTo>
                          <a:pt x="1997" y="2525"/>
                        </a:lnTo>
                        <a:lnTo>
                          <a:pt x="1985" y="2525"/>
                        </a:lnTo>
                        <a:lnTo>
                          <a:pt x="1977" y="2525"/>
                        </a:lnTo>
                        <a:lnTo>
                          <a:pt x="1961" y="2526"/>
                        </a:lnTo>
                        <a:lnTo>
                          <a:pt x="1947" y="2526"/>
                        </a:lnTo>
                        <a:lnTo>
                          <a:pt x="1945" y="2526"/>
                        </a:lnTo>
                        <a:lnTo>
                          <a:pt x="1940" y="2525"/>
                        </a:lnTo>
                        <a:lnTo>
                          <a:pt x="1939" y="2525"/>
                        </a:lnTo>
                        <a:lnTo>
                          <a:pt x="1928" y="2525"/>
                        </a:lnTo>
                        <a:lnTo>
                          <a:pt x="1918" y="2525"/>
                        </a:lnTo>
                        <a:lnTo>
                          <a:pt x="1901" y="2525"/>
                        </a:lnTo>
                        <a:lnTo>
                          <a:pt x="1893" y="2525"/>
                        </a:lnTo>
                        <a:lnTo>
                          <a:pt x="1856" y="2526"/>
                        </a:lnTo>
                        <a:lnTo>
                          <a:pt x="1847" y="2525"/>
                        </a:lnTo>
                        <a:lnTo>
                          <a:pt x="1840" y="2523"/>
                        </a:lnTo>
                        <a:lnTo>
                          <a:pt x="1839" y="2523"/>
                        </a:lnTo>
                        <a:lnTo>
                          <a:pt x="1828" y="2523"/>
                        </a:lnTo>
                        <a:lnTo>
                          <a:pt x="1825" y="2523"/>
                        </a:lnTo>
                        <a:lnTo>
                          <a:pt x="1812" y="2521"/>
                        </a:lnTo>
                        <a:lnTo>
                          <a:pt x="1810" y="2520"/>
                        </a:lnTo>
                        <a:lnTo>
                          <a:pt x="1809" y="2520"/>
                        </a:lnTo>
                        <a:lnTo>
                          <a:pt x="1801" y="2520"/>
                        </a:lnTo>
                        <a:lnTo>
                          <a:pt x="1793" y="2518"/>
                        </a:lnTo>
                        <a:lnTo>
                          <a:pt x="1791" y="2518"/>
                        </a:lnTo>
                        <a:lnTo>
                          <a:pt x="1777" y="2518"/>
                        </a:lnTo>
                        <a:lnTo>
                          <a:pt x="1753" y="2520"/>
                        </a:lnTo>
                        <a:lnTo>
                          <a:pt x="1750" y="2520"/>
                        </a:lnTo>
                        <a:lnTo>
                          <a:pt x="1738" y="2518"/>
                        </a:lnTo>
                        <a:lnTo>
                          <a:pt x="1736" y="2518"/>
                        </a:lnTo>
                        <a:lnTo>
                          <a:pt x="1733" y="2518"/>
                        </a:lnTo>
                        <a:lnTo>
                          <a:pt x="1728" y="2518"/>
                        </a:lnTo>
                        <a:lnTo>
                          <a:pt x="1726" y="2518"/>
                        </a:lnTo>
                        <a:lnTo>
                          <a:pt x="1725" y="2518"/>
                        </a:lnTo>
                        <a:lnTo>
                          <a:pt x="1723" y="2518"/>
                        </a:lnTo>
                        <a:lnTo>
                          <a:pt x="1719" y="2518"/>
                        </a:lnTo>
                        <a:lnTo>
                          <a:pt x="1709" y="2518"/>
                        </a:lnTo>
                        <a:lnTo>
                          <a:pt x="1704" y="2517"/>
                        </a:lnTo>
                        <a:lnTo>
                          <a:pt x="1703" y="2517"/>
                        </a:lnTo>
                        <a:lnTo>
                          <a:pt x="1698" y="2517"/>
                        </a:lnTo>
                        <a:lnTo>
                          <a:pt x="1692" y="2513"/>
                        </a:lnTo>
                        <a:lnTo>
                          <a:pt x="1685" y="2513"/>
                        </a:lnTo>
                        <a:lnTo>
                          <a:pt x="1668" y="2513"/>
                        </a:lnTo>
                        <a:lnTo>
                          <a:pt x="1663" y="2513"/>
                        </a:lnTo>
                        <a:lnTo>
                          <a:pt x="1654" y="2513"/>
                        </a:lnTo>
                        <a:lnTo>
                          <a:pt x="1652" y="2515"/>
                        </a:lnTo>
                        <a:lnTo>
                          <a:pt x="1652" y="2517"/>
                        </a:lnTo>
                        <a:lnTo>
                          <a:pt x="1650" y="2521"/>
                        </a:lnTo>
                        <a:lnTo>
                          <a:pt x="1649" y="2528"/>
                        </a:lnTo>
                        <a:lnTo>
                          <a:pt x="1649" y="2529"/>
                        </a:lnTo>
                        <a:lnTo>
                          <a:pt x="1649" y="2531"/>
                        </a:lnTo>
                        <a:lnTo>
                          <a:pt x="1649" y="2532"/>
                        </a:lnTo>
                        <a:lnTo>
                          <a:pt x="1649" y="2534"/>
                        </a:lnTo>
                        <a:lnTo>
                          <a:pt x="1647" y="2539"/>
                        </a:lnTo>
                        <a:lnTo>
                          <a:pt x="1647" y="2540"/>
                        </a:lnTo>
                        <a:lnTo>
                          <a:pt x="1649" y="2545"/>
                        </a:lnTo>
                        <a:lnTo>
                          <a:pt x="1650" y="2547"/>
                        </a:lnTo>
                        <a:lnTo>
                          <a:pt x="1654" y="2550"/>
                        </a:lnTo>
                        <a:lnTo>
                          <a:pt x="1657" y="2553"/>
                        </a:lnTo>
                        <a:lnTo>
                          <a:pt x="1660" y="2558"/>
                        </a:lnTo>
                        <a:lnTo>
                          <a:pt x="1660" y="2559"/>
                        </a:lnTo>
                        <a:lnTo>
                          <a:pt x="1660" y="2561"/>
                        </a:lnTo>
                        <a:lnTo>
                          <a:pt x="1658" y="2569"/>
                        </a:lnTo>
                        <a:lnTo>
                          <a:pt x="1654" y="2580"/>
                        </a:lnTo>
                        <a:lnTo>
                          <a:pt x="1649" y="2585"/>
                        </a:lnTo>
                        <a:lnTo>
                          <a:pt x="1642" y="2586"/>
                        </a:lnTo>
                        <a:lnTo>
                          <a:pt x="1641" y="2588"/>
                        </a:lnTo>
                        <a:lnTo>
                          <a:pt x="1636" y="2586"/>
                        </a:lnTo>
                        <a:lnTo>
                          <a:pt x="1636" y="2588"/>
                        </a:lnTo>
                        <a:lnTo>
                          <a:pt x="1635" y="2588"/>
                        </a:lnTo>
                        <a:lnTo>
                          <a:pt x="1633" y="2590"/>
                        </a:lnTo>
                        <a:lnTo>
                          <a:pt x="1631" y="2590"/>
                        </a:lnTo>
                        <a:lnTo>
                          <a:pt x="1631" y="2591"/>
                        </a:lnTo>
                        <a:lnTo>
                          <a:pt x="1631" y="2593"/>
                        </a:lnTo>
                        <a:lnTo>
                          <a:pt x="1631" y="2599"/>
                        </a:lnTo>
                        <a:lnTo>
                          <a:pt x="1631" y="2602"/>
                        </a:lnTo>
                        <a:lnTo>
                          <a:pt x="1631" y="2604"/>
                        </a:lnTo>
                        <a:lnTo>
                          <a:pt x="1631" y="2607"/>
                        </a:lnTo>
                        <a:lnTo>
                          <a:pt x="1631" y="2609"/>
                        </a:lnTo>
                        <a:lnTo>
                          <a:pt x="1630" y="2610"/>
                        </a:lnTo>
                        <a:lnTo>
                          <a:pt x="1630" y="2612"/>
                        </a:lnTo>
                        <a:lnTo>
                          <a:pt x="1623" y="2623"/>
                        </a:lnTo>
                        <a:lnTo>
                          <a:pt x="1623" y="2632"/>
                        </a:lnTo>
                        <a:lnTo>
                          <a:pt x="1622" y="2637"/>
                        </a:lnTo>
                        <a:lnTo>
                          <a:pt x="1622" y="2640"/>
                        </a:lnTo>
                        <a:lnTo>
                          <a:pt x="1620" y="2645"/>
                        </a:lnTo>
                        <a:lnTo>
                          <a:pt x="1617" y="2654"/>
                        </a:lnTo>
                        <a:lnTo>
                          <a:pt x="1614" y="2659"/>
                        </a:lnTo>
                        <a:lnTo>
                          <a:pt x="1614" y="2661"/>
                        </a:lnTo>
                        <a:lnTo>
                          <a:pt x="1612" y="2664"/>
                        </a:lnTo>
                        <a:lnTo>
                          <a:pt x="1609" y="2667"/>
                        </a:lnTo>
                        <a:lnTo>
                          <a:pt x="1600" y="2678"/>
                        </a:lnTo>
                        <a:lnTo>
                          <a:pt x="1597" y="2681"/>
                        </a:lnTo>
                        <a:lnTo>
                          <a:pt x="1592" y="2685"/>
                        </a:lnTo>
                        <a:lnTo>
                          <a:pt x="1590" y="2686"/>
                        </a:lnTo>
                        <a:lnTo>
                          <a:pt x="1589" y="2688"/>
                        </a:lnTo>
                        <a:lnTo>
                          <a:pt x="1589" y="2689"/>
                        </a:lnTo>
                        <a:lnTo>
                          <a:pt x="1587" y="2691"/>
                        </a:lnTo>
                        <a:lnTo>
                          <a:pt x="1587" y="2694"/>
                        </a:lnTo>
                        <a:lnTo>
                          <a:pt x="1585" y="2696"/>
                        </a:lnTo>
                        <a:lnTo>
                          <a:pt x="1587" y="2697"/>
                        </a:lnTo>
                        <a:lnTo>
                          <a:pt x="1587" y="2699"/>
                        </a:lnTo>
                        <a:lnTo>
                          <a:pt x="1589" y="2697"/>
                        </a:lnTo>
                        <a:lnTo>
                          <a:pt x="1590" y="2697"/>
                        </a:lnTo>
                        <a:lnTo>
                          <a:pt x="1592" y="2699"/>
                        </a:lnTo>
                        <a:lnTo>
                          <a:pt x="1595" y="2702"/>
                        </a:lnTo>
                        <a:lnTo>
                          <a:pt x="1603" y="2704"/>
                        </a:lnTo>
                        <a:lnTo>
                          <a:pt x="1606" y="2705"/>
                        </a:lnTo>
                        <a:lnTo>
                          <a:pt x="1606" y="2708"/>
                        </a:lnTo>
                        <a:lnTo>
                          <a:pt x="1606" y="2710"/>
                        </a:lnTo>
                        <a:lnTo>
                          <a:pt x="1604" y="2711"/>
                        </a:lnTo>
                        <a:lnTo>
                          <a:pt x="1603" y="2716"/>
                        </a:lnTo>
                        <a:lnTo>
                          <a:pt x="1603" y="2721"/>
                        </a:lnTo>
                        <a:lnTo>
                          <a:pt x="1600" y="2726"/>
                        </a:lnTo>
                        <a:lnTo>
                          <a:pt x="1592" y="2732"/>
                        </a:lnTo>
                        <a:lnTo>
                          <a:pt x="1587" y="2735"/>
                        </a:lnTo>
                        <a:lnTo>
                          <a:pt x="1587" y="2737"/>
                        </a:lnTo>
                        <a:lnTo>
                          <a:pt x="1585" y="2738"/>
                        </a:lnTo>
                        <a:lnTo>
                          <a:pt x="1585" y="2742"/>
                        </a:lnTo>
                        <a:lnTo>
                          <a:pt x="1585" y="2745"/>
                        </a:lnTo>
                        <a:lnTo>
                          <a:pt x="1587" y="2754"/>
                        </a:lnTo>
                        <a:lnTo>
                          <a:pt x="1597" y="2772"/>
                        </a:lnTo>
                        <a:lnTo>
                          <a:pt x="1601" y="2783"/>
                        </a:lnTo>
                        <a:lnTo>
                          <a:pt x="1604" y="2789"/>
                        </a:lnTo>
                        <a:lnTo>
                          <a:pt x="1609" y="2795"/>
                        </a:lnTo>
                        <a:lnTo>
                          <a:pt x="1611" y="2807"/>
                        </a:lnTo>
                        <a:lnTo>
                          <a:pt x="1614" y="2818"/>
                        </a:lnTo>
                        <a:lnTo>
                          <a:pt x="1617" y="2821"/>
                        </a:lnTo>
                        <a:lnTo>
                          <a:pt x="1620" y="2826"/>
                        </a:lnTo>
                        <a:lnTo>
                          <a:pt x="1623" y="2829"/>
                        </a:lnTo>
                        <a:lnTo>
                          <a:pt x="1623" y="2830"/>
                        </a:lnTo>
                        <a:lnTo>
                          <a:pt x="1625" y="2833"/>
                        </a:lnTo>
                        <a:lnTo>
                          <a:pt x="1627" y="2838"/>
                        </a:lnTo>
                        <a:lnTo>
                          <a:pt x="1627" y="2841"/>
                        </a:lnTo>
                        <a:lnTo>
                          <a:pt x="1630" y="2848"/>
                        </a:lnTo>
                        <a:lnTo>
                          <a:pt x="1630" y="2849"/>
                        </a:lnTo>
                        <a:lnTo>
                          <a:pt x="1631" y="2854"/>
                        </a:lnTo>
                        <a:lnTo>
                          <a:pt x="1633" y="2856"/>
                        </a:lnTo>
                        <a:lnTo>
                          <a:pt x="1635" y="2857"/>
                        </a:lnTo>
                        <a:lnTo>
                          <a:pt x="1638" y="2859"/>
                        </a:lnTo>
                        <a:lnTo>
                          <a:pt x="1646" y="2862"/>
                        </a:lnTo>
                        <a:lnTo>
                          <a:pt x="1650" y="2864"/>
                        </a:lnTo>
                        <a:lnTo>
                          <a:pt x="1657" y="2868"/>
                        </a:lnTo>
                        <a:lnTo>
                          <a:pt x="1669" y="2871"/>
                        </a:lnTo>
                        <a:lnTo>
                          <a:pt x="1684" y="2871"/>
                        </a:lnTo>
                        <a:lnTo>
                          <a:pt x="1684" y="2873"/>
                        </a:lnTo>
                        <a:lnTo>
                          <a:pt x="1685" y="2873"/>
                        </a:lnTo>
                        <a:lnTo>
                          <a:pt x="1688" y="2875"/>
                        </a:lnTo>
                        <a:lnTo>
                          <a:pt x="1687" y="2879"/>
                        </a:lnTo>
                        <a:lnTo>
                          <a:pt x="1680" y="2886"/>
                        </a:lnTo>
                        <a:lnTo>
                          <a:pt x="1677" y="2886"/>
                        </a:lnTo>
                        <a:lnTo>
                          <a:pt x="1674" y="2887"/>
                        </a:lnTo>
                        <a:lnTo>
                          <a:pt x="1671" y="2890"/>
                        </a:lnTo>
                        <a:lnTo>
                          <a:pt x="1669" y="2890"/>
                        </a:lnTo>
                        <a:lnTo>
                          <a:pt x="1668" y="2889"/>
                        </a:lnTo>
                        <a:lnTo>
                          <a:pt x="1663" y="2889"/>
                        </a:lnTo>
                        <a:lnTo>
                          <a:pt x="1660" y="2890"/>
                        </a:lnTo>
                        <a:lnTo>
                          <a:pt x="1658" y="2890"/>
                        </a:lnTo>
                        <a:lnTo>
                          <a:pt x="1654" y="2895"/>
                        </a:lnTo>
                        <a:lnTo>
                          <a:pt x="1650" y="2900"/>
                        </a:lnTo>
                        <a:lnTo>
                          <a:pt x="1647" y="2913"/>
                        </a:lnTo>
                        <a:lnTo>
                          <a:pt x="1646" y="2921"/>
                        </a:lnTo>
                        <a:lnTo>
                          <a:pt x="1644" y="2924"/>
                        </a:lnTo>
                        <a:lnTo>
                          <a:pt x="1642" y="2930"/>
                        </a:lnTo>
                        <a:lnTo>
                          <a:pt x="1641" y="2933"/>
                        </a:lnTo>
                        <a:lnTo>
                          <a:pt x="1641" y="2936"/>
                        </a:lnTo>
                        <a:lnTo>
                          <a:pt x="1642" y="2940"/>
                        </a:lnTo>
                        <a:lnTo>
                          <a:pt x="1644" y="2944"/>
                        </a:lnTo>
                        <a:lnTo>
                          <a:pt x="1646" y="2944"/>
                        </a:lnTo>
                        <a:lnTo>
                          <a:pt x="1646" y="2946"/>
                        </a:lnTo>
                        <a:lnTo>
                          <a:pt x="1649" y="2949"/>
                        </a:lnTo>
                        <a:lnTo>
                          <a:pt x="1650" y="2951"/>
                        </a:lnTo>
                        <a:lnTo>
                          <a:pt x="1658" y="2957"/>
                        </a:lnTo>
                        <a:lnTo>
                          <a:pt x="1669" y="2963"/>
                        </a:lnTo>
                        <a:lnTo>
                          <a:pt x="1673" y="2965"/>
                        </a:lnTo>
                        <a:lnTo>
                          <a:pt x="1688" y="2970"/>
                        </a:lnTo>
                        <a:lnTo>
                          <a:pt x="1693" y="2974"/>
                        </a:lnTo>
                        <a:lnTo>
                          <a:pt x="1695" y="2976"/>
                        </a:lnTo>
                        <a:lnTo>
                          <a:pt x="1696" y="2981"/>
                        </a:lnTo>
                        <a:lnTo>
                          <a:pt x="1698" y="2986"/>
                        </a:lnTo>
                        <a:lnTo>
                          <a:pt x="1696" y="2990"/>
                        </a:lnTo>
                        <a:lnTo>
                          <a:pt x="1693" y="2997"/>
                        </a:lnTo>
                        <a:lnTo>
                          <a:pt x="1693" y="2998"/>
                        </a:lnTo>
                        <a:lnTo>
                          <a:pt x="1679" y="3012"/>
                        </a:lnTo>
                        <a:lnTo>
                          <a:pt x="1677" y="3012"/>
                        </a:lnTo>
                        <a:lnTo>
                          <a:pt x="1674" y="3020"/>
                        </a:lnTo>
                        <a:lnTo>
                          <a:pt x="1674" y="3022"/>
                        </a:lnTo>
                        <a:lnTo>
                          <a:pt x="1676" y="3024"/>
                        </a:lnTo>
                        <a:lnTo>
                          <a:pt x="1676" y="3027"/>
                        </a:lnTo>
                        <a:lnTo>
                          <a:pt x="1676" y="3035"/>
                        </a:lnTo>
                        <a:lnTo>
                          <a:pt x="1677" y="3038"/>
                        </a:lnTo>
                        <a:lnTo>
                          <a:pt x="1680" y="3049"/>
                        </a:lnTo>
                        <a:lnTo>
                          <a:pt x="1680" y="3052"/>
                        </a:lnTo>
                        <a:lnTo>
                          <a:pt x="1679" y="3057"/>
                        </a:lnTo>
                        <a:lnTo>
                          <a:pt x="1677" y="3066"/>
                        </a:lnTo>
                        <a:lnTo>
                          <a:pt x="1679" y="3082"/>
                        </a:lnTo>
                        <a:lnTo>
                          <a:pt x="1679" y="3084"/>
                        </a:lnTo>
                        <a:lnTo>
                          <a:pt x="1679" y="3088"/>
                        </a:lnTo>
                        <a:lnTo>
                          <a:pt x="1679" y="3100"/>
                        </a:lnTo>
                        <a:lnTo>
                          <a:pt x="1684" y="3111"/>
                        </a:lnTo>
                        <a:lnTo>
                          <a:pt x="1684" y="3115"/>
                        </a:lnTo>
                        <a:lnTo>
                          <a:pt x="1685" y="3117"/>
                        </a:lnTo>
                        <a:lnTo>
                          <a:pt x="1693" y="3131"/>
                        </a:lnTo>
                        <a:lnTo>
                          <a:pt x="1695" y="3134"/>
                        </a:lnTo>
                        <a:lnTo>
                          <a:pt x="1698" y="3144"/>
                        </a:lnTo>
                        <a:lnTo>
                          <a:pt x="1704" y="3158"/>
                        </a:lnTo>
                        <a:lnTo>
                          <a:pt x="1704" y="3165"/>
                        </a:lnTo>
                        <a:lnTo>
                          <a:pt x="1693" y="3185"/>
                        </a:lnTo>
                        <a:lnTo>
                          <a:pt x="1692" y="3188"/>
                        </a:lnTo>
                        <a:lnTo>
                          <a:pt x="1692" y="3191"/>
                        </a:lnTo>
                        <a:lnTo>
                          <a:pt x="1692" y="3193"/>
                        </a:lnTo>
                        <a:lnTo>
                          <a:pt x="1692" y="3195"/>
                        </a:lnTo>
                        <a:lnTo>
                          <a:pt x="1692" y="3196"/>
                        </a:lnTo>
                        <a:lnTo>
                          <a:pt x="1692" y="3198"/>
                        </a:lnTo>
                        <a:lnTo>
                          <a:pt x="1696" y="3212"/>
                        </a:lnTo>
                        <a:lnTo>
                          <a:pt x="1696" y="3214"/>
                        </a:lnTo>
                        <a:lnTo>
                          <a:pt x="1696" y="3215"/>
                        </a:lnTo>
                        <a:lnTo>
                          <a:pt x="1701" y="3222"/>
                        </a:lnTo>
                        <a:lnTo>
                          <a:pt x="1703" y="3223"/>
                        </a:lnTo>
                        <a:lnTo>
                          <a:pt x="1706" y="3226"/>
                        </a:lnTo>
                        <a:lnTo>
                          <a:pt x="1712" y="3234"/>
                        </a:lnTo>
                        <a:lnTo>
                          <a:pt x="1714" y="3234"/>
                        </a:lnTo>
                        <a:lnTo>
                          <a:pt x="1714" y="3237"/>
                        </a:lnTo>
                        <a:lnTo>
                          <a:pt x="1714" y="3239"/>
                        </a:lnTo>
                        <a:lnTo>
                          <a:pt x="1714" y="3242"/>
                        </a:lnTo>
                        <a:lnTo>
                          <a:pt x="1712" y="3244"/>
                        </a:lnTo>
                        <a:lnTo>
                          <a:pt x="1711" y="3245"/>
                        </a:lnTo>
                        <a:lnTo>
                          <a:pt x="1706" y="3248"/>
                        </a:lnTo>
                        <a:lnTo>
                          <a:pt x="1699" y="3253"/>
                        </a:lnTo>
                        <a:lnTo>
                          <a:pt x="1696" y="3255"/>
                        </a:lnTo>
                        <a:lnTo>
                          <a:pt x="1693" y="3258"/>
                        </a:lnTo>
                        <a:lnTo>
                          <a:pt x="1687" y="3269"/>
                        </a:lnTo>
                        <a:lnTo>
                          <a:pt x="1687" y="3271"/>
                        </a:lnTo>
                        <a:lnTo>
                          <a:pt x="1685" y="3275"/>
                        </a:lnTo>
                        <a:lnTo>
                          <a:pt x="1684" y="3280"/>
                        </a:lnTo>
                        <a:lnTo>
                          <a:pt x="1677" y="3288"/>
                        </a:lnTo>
                        <a:lnTo>
                          <a:pt x="1676" y="3291"/>
                        </a:lnTo>
                        <a:lnTo>
                          <a:pt x="1677" y="3294"/>
                        </a:lnTo>
                        <a:lnTo>
                          <a:pt x="1679" y="3298"/>
                        </a:lnTo>
                        <a:lnTo>
                          <a:pt x="1679" y="3301"/>
                        </a:lnTo>
                        <a:lnTo>
                          <a:pt x="1679" y="3302"/>
                        </a:lnTo>
                        <a:lnTo>
                          <a:pt x="1679" y="3304"/>
                        </a:lnTo>
                        <a:lnTo>
                          <a:pt x="1677" y="3313"/>
                        </a:lnTo>
                        <a:lnTo>
                          <a:pt x="1679" y="3318"/>
                        </a:lnTo>
                        <a:lnTo>
                          <a:pt x="1680" y="3320"/>
                        </a:lnTo>
                        <a:lnTo>
                          <a:pt x="1682" y="3323"/>
                        </a:lnTo>
                        <a:lnTo>
                          <a:pt x="1687" y="3325"/>
                        </a:lnTo>
                        <a:lnTo>
                          <a:pt x="1693" y="3328"/>
                        </a:lnTo>
                        <a:lnTo>
                          <a:pt x="1698" y="3332"/>
                        </a:lnTo>
                        <a:lnTo>
                          <a:pt x="1699" y="3342"/>
                        </a:lnTo>
                        <a:lnTo>
                          <a:pt x="1699" y="3344"/>
                        </a:lnTo>
                        <a:lnTo>
                          <a:pt x="1699" y="3345"/>
                        </a:lnTo>
                        <a:lnTo>
                          <a:pt x="1701" y="3348"/>
                        </a:lnTo>
                        <a:lnTo>
                          <a:pt x="1703" y="3353"/>
                        </a:lnTo>
                        <a:lnTo>
                          <a:pt x="1701" y="3356"/>
                        </a:lnTo>
                        <a:lnTo>
                          <a:pt x="1695" y="3364"/>
                        </a:lnTo>
                        <a:lnTo>
                          <a:pt x="1692" y="3372"/>
                        </a:lnTo>
                        <a:lnTo>
                          <a:pt x="1688" y="3380"/>
                        </a:lnTo>
                        <a:lnTo>
                          <a:pt x="1687" y="3388"/>
                        </a:lnTo>
                        <a:lnTo>
                          <a:pt x="1688" y="3393"/>
                        </a:lnTo>
                        <a:lnTo>
                          <a:pt x="1692" y="3401"/>
                        </a:lnTo>
                        <a:lnTo>
                          <a:pt x="1695" y="3405"/>
                        </a:lnTo>
                        <a:lnTo>
                          <a:pt x="1703" y="3412"/>
                        </a:lnTo>
                        <a:lnTo>
                          <a:pt x="1707" y="3415"/>
                        </a:lnTo>
                        <a:lnTo>
                          <a:pt x="1715" y="3421"/>
                        </a:lnTo>
                        <a:lnTo>
                          <a:pt x="1725" y="3424"/>
                        </a:lnTo>
                        <a:lnTo>
                          <a:pt x="1726" y="3426"/>
                        </a:lnTo>
                        <a:lnTo>
                          <a:pt x="1728" y="3426"/>
                        </a:lnTo>
                        <a:lnTo>
                          <a:pt x="1730" y="3429"/>
                        </a:lnTo>
                        <a:lnTo>
                          <a:pt x="1736" y="3435"/>
                        </a:lnTo>
                        <a:lnTo>
                          <a:pt x="1742" y="3442"/>
                        </a:lnTo>
                        <a:lnTo>
                          <a:pt x="1742" y="3443"/>
                        </a:lnTo>
                        <a:lnTo>
                          <a:pt x="1742" y="3446"/>
                        </a:lnTo>
                        <a:lnTo>
                          <a:pt x="1742" y="3448"/>
                        </a:lnTo>
                        <a:lnTo>
                          <a:pt x="1738" y="3450"/>
                        </a:lnTo>
                        <a:lnTo>
                          <a:pt x="1736" y="3451"/>
                        </a:lnTo>
                        <a:lnTo>
                          <a:pt x="1731" y="3456"/>
                        </a:lnTo>
                        <a:lnTo>
                          <a:pt x="1720" y="3470"/>
                        </a:lnTo>
                        <a:lnTo>
                          <a:pt x="1717" y="3477"/>
                        </a:lnTo>
                        <a:lnTo>
                          <a:pt x="1715" y="3478"/>
                        </a:lnTo>
                        <a:lnTo>
                          <a:pt x="1714" y="3480"/>
                        </a:lnTo>
                        <a:lnTo>
                          <a:pt x="1712" y="3483"/>
                        </a:lnTo>
                        <a:lnTo>
                          <a:pt x="1703" y="3496"/>
                        </a:lnTo>
                        <a:lnTo>
                          <a:pt x="1696" y="3500"/>
                        </a:lnTo>
                        <a:lnTo>
                          <a:pt x="1695" y="3500"/>
                        </a:lnTo>
                        <a:lnTo>
                          <a:pt x="1692" y="3500"/>
                        </a:lnTo>
                        <a:lnTo>
                          <a:pt x="1682" y="3496"/>
                        </a:lnTo>
                        <a:lnTo>
                          <a:pt x="1676" y="3489"/>
                        </a:lnTo>
                        <a:lnTo>
                          <a:pt x="1671" y="3486"/>
                        </a:lnTo>
                        <a:lnTo>
                          <a:pt x="1666" y="3481"/>
                        </a:lnTo>
                        <a:lnTo>
                          <a:pt x="1650" y="3464"/>
                        </a:lnTo>
                        <a:lnTo>
                          <a:pt x="1646" y="3458"/>
                        </a:lnTo>
                        <a:lnTo>
                          <a:pt x="1631" y="3446"/>
                        </a:lnTo>
                        <a:lnTo>
                          <a:pt x="1625" y="3439"/>
                        </a:lnTo>
                        <a:lnTo>
                          <a:pt x="1612" y="3421"/>
                        </a:lnTo>
                        <a:lnTo>
                          <a:pt x="1608" y="3415"/>
                        </a:lnTo>
                        <a:lnTo>
                          <a:pt x="1606" y="3412"/>
                        </a:lnTo>
                        <a:lnTo>
                          <a:pt x="1600" y="3397"/>
                        </a:lnTo>
                        <a:lnTo>
                          <a:pt x="1597" y="3394"/>
                        </a:lnTo>
                        <a:lnTo>
                          <a:pt x="1587" y="3374"/>
                        </a:lnTo>
                        <a:lnTo>
                          <a:pt x="1585" y="3374"/>
                        </a:lnTo>
                        <a:lnTo>
                          <a:pt x="1581" y="3366"/>
                        </a:lnTo>
                        <a:lnTo>
                          <a:pt x="1573" y="3350"/>
                        </a:lnTo>
                        <a:lnTo>
                          <a:pt x="1571" y="3347"/>
                        </a:lnTo>
                        <a:lnTo>
                          <a:pt x="1570" y="3345"/>
                        </a:lnTo>
                        <a:lnTo>
                          <a:pt x="1568" y="3342"/>
                        </a:lnTo>
                        <a:lnTo>
                          <a:pt x="1565" y="3334"/>
                        </a:lnTo>
                        <a:lnTo>
                          <a:pt x="1562" y="3323"/>
                        </a:lnTo>
                        <a:lnTo>
                          <a:pt x="1560" y="3320"/>
                        </a:lnTo>
                        <a:lnTo>
                          <a:pt x="1554" y="3305"/>
                        </a:lnTo>
                        <a:lnTo>
                          <a:pt x="1547" y="3294"/>
                        </a:lnTo>
                        <a:lnTo>
                          <a:pt x="1543" y="3290"/>
                        </a:lnTo>
                        <a:lnTo>
                          <a:pt x="1541" y="3290"/>
                        </a:lnTo>
                        <a:lnTo>
                          <a:pt x="1540" y="3291"/>
                        </a:lnTo>
                        <a:lnTo>
                          <a:pt x="1538" y="3293"/>
                        </a:lnTo>
                        <a:lnTo>
                          <a:pt x="1536" y="3293"/>
                        </a:lnTo>
                        <a:lnTo>
                          <a:pt x="1525" y="3302"/>
                        </a:lnTo>
                        <a:lnTo>
                          <a:pt x="1524" y="3304"/>
                        </a:lnTo>
                        <a:lnTo>
                          <a:pt x="1522" y="3305"/>
                        </a:lnTo>
                        <a:lnTo>
                          <a:pt x="1514" y="3305"/>
                        </a:lnTo>
                        <a:lnTo>
                          <a:pt x="1511" y="3302"/>
                        </a:lnTo>
                        <a:lnTo>
                          <a:pt x="1506" y="3296"/>
                        </a:lnTo>
                        <a:lnTo>
                          <a:pt x="1503" y="3291"/>
                        </a:lnTo>
                        <a:lnTo>
                          <a:pt x="1501" y="3290"/>
                        </a:lnTo>
                        <a:lnTo>
                          <a:pt x="1498" y="3282"/>
                        </a:lnTo>
                        <a:lnTo>
                          <a:pt x="1497" y="3282"/>
                        </a:lnTo>
                        <a:lnTo>
                          <a:pt x="1495" y="3279"/>
                        </a:lnTo>
                        <a:lnTo>
                          <a:pt x="1494" y="3272"/>
                        </a:lnTo>
                        <a:lnTo>
                          <a:pt x="1492" y="3263"/>
                        </a:lnTo>
                        <a:lnTo>
                          <a:pt x="1492" y="3261"/>
                        </a:lnTo>
                        <a:lnTo>
                          <a:pt x="1489" y="3255"/>
                        </a:lnTo>
                        <a:lnTo>
                          <a:pt x="1484" y="3250"/>
                        </a:lnTo>
                        <a:lnTo>
                          <a:pt x="1481" y="3241"/>
                        </a:lnTo>
                        <a:lnTo>
                          <a:pt x="1476" y="3231"/>
                        </a:lnTo>
                        <a:lnTo>
                          <a:pt x="1475" y="3229"/>
                        </a:lnTo>
                        <a:lnTo>
                          <a:pt x="1475" y="3228"/>
                        </a:lnTo>
                        <a:lnTo>
                          <a:pt x="1473" y="3228"/>
                        </a:lnTo>
                        <a:lnTo>
                          <a:pt x="1471" y="3228"/>
                        </a:lnTo>
                        <a:lnTo>
                          <a:pt x="1467" y="3226"/>
                        </a:lnTo>
                        <a:lnTo>
                          <a:pt x="1462" y="3226"/>
                        </a:lnTo>
                        <a:lnTo>
                          <a:pt x="1449" y="3229"/>
                        </a:lnTo>
                        <a:lnTo>
                          <a:pt x="1438" y="3229"/>
                        </a:lnTo>
                        <a:lnTo>
                          <a:pt x="1437" y="3228"/>
                        </a:lnTo>
                        <a:lnTo>
                          <a:pt x="1432" y="3223"/>
                        </a:lnTo>
                        <a:lnTo>
                          <a:pt x="1432" y="3222"/>
                        </a:lnTo>
                        <a:lnTo>
                          <a:pt x="1432" y="3220"/>
                        </a:lnTo>
                        <a:lnTo>
                          <a:pt x="1432" y="3214"/>
                        </a:lnTo>
                        <a:lnTo>
                          <a:pt x="1432" y="3207"/>
                        </a:lnTo>
                        <a:lnTo>
                          <a:pt x="1432" y="3203"/>
                        </a:lnTo>
                        <a:lnTo>
                          <a:pt x="1432" y="3199"/>
                        </a:lnTo>
                        <a:lnTo>
                          <a:pt x="1432" y="3196"/>
                        </a:lnTo>
                        <a:lnTo>
                          <a:pt x="1432" y="3187"/>
                        </a:lnTo>
                        <a:lnTo>
                          <a:pt x="1433" y="3185"/>
                        </a:lnTo>
                        <a:lnTo>
                          <a:pt x="1430" y="3177"/>
                        </a:lnTo>
                        <a:lnTo>
                          <a:pt x="1429" y="3177"/>
                        </a:lnTo>
                        <a:lnTo>
                          <a:pt x="1427" y="3177"/>
                        </a:lnTo>
                        <a:lnTo>
                          <a:pt x="1425" y="3179"/>
                        </a:lnTo>
                        <a:lnTo>
                          <a:pt x="1424" y="3179"/>
                        </a:lnTo>
                        <a:lnTo>
                          <a:pt x="1422" y="3179"/>
                        </a:lnTo>
                        <a:lnTo>
                          <a:pt x="1419" y="3180"/>
                        </a:lnTo>
                        <a:lnTo>
                          <a:pt x="1419" y="3185"/>
                        </a:lnTo>
                        <a:lnTo>
                          <a:pt x="1418" y="3188"/>
                        </a:lnTo>
                        <a:lnTo>
                          <a:pt x="1413" y="3195"/>
                        </a:lnTo>
                        <a:lnTo>
                          <a:pt x="1411" y="3195"/>
                        </a:lnTo>
                        <a:lnTo>
                          <a:pt x="1406" y="3195"/>
                        </a:lnTo>
                        <a:lnTo>
                          <a:pt x="1405" y="3196"/>
                        </a:lnTo>
                        <a:lnTo>
                          <a:pt x="1403" y="3196"/>
                        </a:lnTo>
                        <a:lnTo>
                          <a:pt x="1403" y="3198"/>
                        </a:lnTo>
                        <a:lnTo>
                          <a:pt x="1400" y="3199"/>
                        </a:lnTo>
                        <a:lnTo>
                          <a:pt x="1399" y="3204"/>
                        </a:lnTo>
                        <a:lnTo>
                          <a:pt x="1395" y="3207"/>
                        </a:lnTo>
                        <a:lnTo>
                          <a:pt x="1395" y="3209"/>
                        </a:lnTo>
                        <a:lnTo>
                          <a:pt x="1389" y="3210"/>
                        </a:lnTo>
                        <a:lnTo>
                          <a:pt x="1389" y="3212"/>
                        </a:lnTo>
                        <a:lnTo>
                          <a:pt x="1384" y="3217"/>
                        </a:lnTo>
                        <a:lnTo>
                          <a:pt x="1380" y="3223"/>
                        </a:lnTo>
                        <a:lnTo>
                          <a:pt x="1378" y="3223"/>
                        </a:lnTo>
                        <a:lnTo>
                          <a:pt x="1373" y="3220"/>
                        </a:lnTo>
                        <a:lnTo>
                          <a:pt x="1368" y="3223"/>
                        </a:lnTo>
                        <a:lnTo>
                          <a:pt x="1367" y="3223"/>
                        </a:lnTo>
                        <a:lnTo>
                          <a:pt x="1359" y="3222"/>
                        </a:lnTo>
                        <a:lnTo>
                          <a:pt x="1359" y="3223"/>
                        </a:lnTo>
                        <a:lnTo>
                          <a:pt x="1357" y="3222"/>
                        </a:lnTo>
                        <a:lnTo>
                          <a:pt x="1354" y="3218"/>
                        </a:lnTo>
                        <a:lnTo>
                          <a:pt x="1354" y="3215"/>
                        </a:lnTo>
                        <a:lnTo>
                          <a:pt x="1359" y="3206"/>
                        </a:lnTo>
                        <a:lnTo>
                          <a:pt x="1359" y="3203"/>
                        </a:lnTo>
                        <a:lnTo>
                          <a:pt x="1361" y="3201"/>
                        </a:lnTo>
                        <a:lnTo>
                          <a:pt x="1361" y="3199"/>
                        </a:lnTo>
                        <a:lnTo>
                          <a:pt x="1359" y="3196"/>
                        </a:lnTo>
                        <a:lnTo>
                          <a:pt x="1357" y="3193"/>
                        </a:lnTo>
                        <a:lnTo>
                          <a:pt x="1356" y="3193"/>
                        </a:lnTo>
                        <a:lnTo>
                          <a:pt x="1354" y="3191"/>
                        </a:lnTo>
                        <a:lnTo>
                          <a:pt x="1345" y="3196"/>
                        </a:lnTo>
                        <a:lnTo>
                          <a:pt x="1342" y="3199"/>
                        </a:lnTo>
                        <a:lnTo>
                          <a:pt x="1340" y="3199"/>
                        </a:lnTo>
                        <a:lnTo>
                          <a:pt x="1338" y="3199"/>
                        </a:lnTo>
                        <a:lnTo>
                          <a:pt x="1335" y="3199"/>
                        </a:lnTo>
                        <a:lnTo>
                          <a:pt x="1335" y="3198"/>
                        </a:lnTo>
                        <a:lnTo>
                          <a:pt x="1332" y="3195"/>
                        </a:lnTo>
                        <a:lnTo>
                          <a:pt x="1326" y="3191"/>
                        </a:lnTo>
                        <a:lnTo>
                          <a:pt x="1307" y="3184"/>
                        </a:lnTo>
                        <a:lnTo>
                          <a:pt x="1302" y="3184"/>
                        </a:lnTo>
                        <a:lnTo>
                          <a:pt x="1297" y="3185"/>
                        </a:lnTo>
                        <a:lnTo>
                          <a:pt x="1292" y="3187"/>
                        </a:lnTo>
                        <a:lnTo>
                          <a:pt x="1284" y="3185"/>
                        </a:lnTo>
                        <a:lnTo>
                          <a:pt x="1267" y="3179"/>
                        </a:lnTo>
                        <a:lnTo>
                          <a:pt x="1265" y="3179"/>
                        </a:lnTo>
                        <a:lnTo>
                          <a:pt x="1262" y="3179"/>
                        </a:lnTo>
                        <a:lnTo>
                          <a:pt x="1256" y="3179"/>
                        </a:lnTo>
                        <a:lnTo>
                          <a:pt x="1251" y="3179"/>
                        </a:lnTo>
                        <a:lnTo>
                          <a:pt x="1248" y="3179"/>
                        </a:lnTo>
                        <a:lnTo>
                          <a:pt x="1242" y="3179"/>
                        </a:lnTo>
                        <a:lnTo>
                          <a:pt x="1240" y="3179"/>
                        </a:lnTo>
                        <a:lnTo>
                          <a:pt x="1239" y="3179"/>
                        </a:lnTo>
                        <a:lnTo>
                          <a:pt x="1229" y="3179"/>
                        </a:lnTo>
                        <a:lnTo>
                          <a:pt x="1221" y="3179"/>
                        </a:lnTo>
                        <a:lnTo>
                          <a:pt x="1213" y="3177"/>
                        </a:lnTo>
                        <a:lnTo>
                          <a:pt x="1205" y="3177"/>
                        </a:lnTo>
                        <a:lnTo>
                          <a:pt x="1201" y="3177"/>
                        </a:lnTo>
                        <a:lnTo>
                          <a:pt x="1197" y="3179"/>
                        </a:lnTo>
                        <a:lnTo>
                          <a:pt x="1194" y="3180"/>
                        </a:lnTo>
                        <a:lnTo>
                          <a:pt x="1186" y="3182"/>
                        </a:lnTo>
                        <a:lnTo>
                          <a:pt x="1183" y="3182"/>
                        </a:lnTo>
                        <a:lnTo>
                          <a:pt x="1182" y="3182"/>
                        </a:lnTo>
                        <a:lnTo>
                          <a:pt x="1180" y="3179"/>
                        </a:lnTo>
                        <a:lnTo>
                          <a:pt x="1177" y="3176"/>
                        </a:lnTo>
                        <a:lnTo>
                          <a:pt x="1169" y="3168"/>
                        </a:lnTo>
                        <a:lnTo>
                          <a:pt x="1163" y="3163"/>
                        </a:lnTo>
                        <a:lnTo>
                          <a:pt x="1161" y="3161"/>
                        </a:lnTo>
                        <a:lnTo>
                          <a:pt x="1158" y="3160"/>
                        </a:lnTo>
                        <a:lnTo>
                          <a:pt x="1156" y="3158"/>
                        </a:lnTo>
                        <a:lnTo>
                          <a:pt x="1151" y="3160"/>
                        </a:lnTo>
                        <a:lnTo>
                          <a:pt x="1148" y="3161"/>
                        </a:lnTo>
                        <a:lnTo>
                          <a:pt x="1136" y="3169"/>
                        </a:lnTo>
                        <a:lnTo>
                          <a:pt x="1131" y="3169"/>
                        </a:lnTo>
                        <a:lnTo>
                          <a:pt x="1128" y="3169"/>
                        </a:lnTo>
                        <a:lnTo>
                          <a:pt x="1124" y="3168"/>
                        </a:lnTo>
                        <a:lnTo>
                          <a:pt x="1115" y="3168"/>
                        </a:lnTo>
                        <a:lnTo>
                          <a:pt x="1113" y="3169"/>
                        </a:lnTo>
                        <a:lnTo>
                          <a:pt x="1110" y="3169"/>
                        </a:lnTo>
                        <a:lnTo>
                          <a:pt x="1107" y="3169"/>
                        </a:lnTo>
                        <a:lnTo>
                          <a:pt x="1104" y="3169"/>
                        </a:lnTo>
                        <a:lnTo>
                          <a:pt x="1088" y="3174"/>
                        </a:lnTo>
                        <a:lnTo>
                          <a:pt x="1083" y="3176"/>
                        </a:lnTo>
                        <a:lnTo>
                          <a:pt x="1075" y="3179"/>
                        </a:lnTo>
                        <a:lnTo>
                          <a:pt x="1072" y="3182"/>
                        </a:lnTo>
                        <a:lnTo>
                          <a:pt x="1066" y="3187"/>
                        </a:lnTo>
                        <a:lnTo>
                          <a:pt x="1053" y="3199"/>
                        </a:lnTo>
                        <a:lnTo>
                          <a:pt x="1053" y="3201"/>
                        </a:lnTo>
                        <a:lnTo>
                          <a:pt x="1050" y="3201"/>
                        </a:lnTo>
                        <a:lnTo>
                          <a:pt x="1036" y="3198"/>
                        </a:lnTo>
                        <a:lnTo>
                          <a:pt x="1033" y="3198"/>
                        </a:lnTo>
                        <a:lnTo>
                          <a:pt x="1023" y="3198"/>
                        </a:lnTo>
                        <a:lnTo>
                          <a:pt x="1018" y="3196"/>
                        </a:lnTo>
                        <a:lnTo>
                          <a:pt x="1014" y="3195"/>
                        </a:lnTo>
                        <a:lnTo>
                          <a:pt x="1009" y="3195"/>
                        </a:lnTo>
                        <a:lnTo>
                          <a:pt x="1007" y="3195"/>
                        </a:lnTo>
                        <a:lnTo>
                          <a:pt x="1003" y="3195"/>
                        </a:lnTo>
                        <a:lnTo>
                          <a:pt x="996" y="3193"/>
                        </a:lnTo>
                        <a:lnTo>
                          <a:pt x="993" y="3198"/>
                        </a:lnTo>
                        <a:lnTo>
                          <a:pt x="987" y="3206"/>
                        </a:lnTo>
                        <a:lnTo>
                          <a:pt x="985" y="3207"/>
                        </a:lnTo>
                        <a:lnTo>
                          <a:pt x="980" y="3206"/>
                        </a:lnTo>
                        <a:lnTo>
                          <a:pt x="979" y="3206"/>
                        </a:lnTo>
                        <a:lnTo>
                          <a:pt x="974" y="3212"/>
                        </a:lnTo>
                        <a:lnTo>
                          <a:pt x="969" y="3210"/>
                        </a:lnTo>
                        <a:lnTo>
                          <a:pt x="965" y="3212"/>
                        </a:lnTo>
                        <a:lnTo>
                          <a:pt x="963" y="3212"/>
                        </a:lnTo>
                        <a:lnTo>
                          <a:pt x="961" y="3212"/>
                        </a:lnTo>
                        <a:lnTo>
                          <a:pt x="958" y="3210"/>
                        </a:lnTo>
                        <a:lnTo>
                          <a:pt x="957" y="3210"/>
                        </a:lnTo>
                        <a:lnTo>
                          <a:pt x="953" y="3212"/>
                        </a:lnTo>
                        <a:lnTo>
                          <a:pt x="952" y="3212"/>
                        </a:lnTo>
                        <a:lnTo>
                          <a:pt x="950" y="3214"/>
                        </a:lnTo>
                        <a:lnTo>
                          <a:pt x="950" y="3215"/>
                        </a:lnTo>
                        <a:lnTo>
                          <a:pt x="952" y="3217"/>
                        </a:lnTo>
                        <a:lnTo>
                          <a:pt x="950" y="3217"/>
                        </a:lnTo>
                        <a:lnTo>
                          <a:pt x="949" y="3223"/>
                        </a:lnTo>
                        <a:lnTo>
                          <a:pt x="949" y="3225"/>
                        </a:lnTo>
                        <a:lnTo>
                          <a:pt x="952" y="3228"/>
                        </a:lnTo>
                        <a:lnTo>
                          <a:pt x="950" y="3229"/>
                        </a:lnTo>
                        <a:lnTo>
                          <a:pt x="950" y="3231"/>
                        </a:lnTo>
                        <a:lnTo>
                          <a:pt x="949" y="3234"/>
                        </a:lnTo>
                        <a:lnTo>
                          <a:pt x="947" y="3234"/>
                        </a:lnTo>
                        <a:lnTo>
                          <a:pt x="942" y="3237"/>
                        </a:lnTo>
                        <a:lnTo>
                          <a:pt x="939" y="3237"/>
                        </a:lnTo>
                        <a:lnTo>
                          <a:pt x="936" y="3236"/>
                        </a:lnTo>
                        <a:lnTo>
                          <a:pt x="934" y="3236"/>
                        </a:lnTo>
                        <a:lnTo>
                          <a:pt x="930" y="3233"/>
                        </a:lnTo>
                        <a:lnTo>
                          <a:pt x="926" y="3234"/>
                        </a:lnTo>
                        <a:lnTo>
                          <a:pt x="925" y="3234"/>
                        </a:lnTo>
                        <a:lnTo>
                          <a:pt x="915" y="3234"/>
                        </a:lnTo>
                        <a:lnTo>
                          <a:pt x="915" y="3236"/>
                        </a:lnTo>
                        <a:lnTo>
                          <a:pt x="914" y="3236"/>
                        </a:lnTo>
                        <a:lnTo>
                          <a:pt x="907" y="3244"/>
                        </a:lnTo>
                        <a:lnTo>
                          <a:pt x="909" y="3255"/>
                        </a:lnTo>
                        <a:lnTo>
                          <a:pt x="904" y="3255"/>
                        </a:lnTo>
                        <a:lnTo>
                          <a:pt x="901" y="3255"/>
                        </a:lnTo>
                        <a:lnTo>
                          <a:pt x="896" y="3256"/>
                        </a:lnTo>
                        <a:lnTo>
                          <a:pt x="895" y="3255"/>
                        </a:lnTo>
                        <a:lnTo>
                          <a:pt x="887" y="3253"/>
                        </a:lnTo>
                        <a:lnTo>
                          <a:pt x="884" y="3250"/>
                        </a:lnTo>
                        <a:lnTo>
                          <a:pt x="879" y="3247"/>
                        </a:lnTo>
                        <a:lnTo>
                          <a:pt x="869" y="3244"/>
                        </a:lnTo>
                        <a:lnTo>
                          <a:pt x="868" y="3242"/>
                        </a:lnTo>
                        <a:lnTo>
                          <a:pt x="858" y="3236"/>
                        </a:lnTo>
                        <a:lnTo>
                          <a:pt x="855" y="3236"/>
                        </a:lnTo>
                        <a:lnTo>
                          <a:pt x="854" y="3236"/>
                        </a:lnTo>
                        <a:lnTo>
                          <a:pt x="852" y="3237"/>
                        </a:lnTo>
                        <a:lnTo>
                          <a:pt x="849" y="3239"/>
                        </a:lnTo>
                        <a:lnTo>
                          <a:pt x="849" y="3241"/>
                        </a:lnTo>
                        <a:lnTo>
                          <a:pt x="846" y="3248"/>
                        </a:lnTo>
                        <a:lnTo>
                          <a:pt x="839" y="3252"/>
                        </a:lnTo>
                        <a:lnTo>
                          <a:pt x="836" y="3255"/>
                        </a:lnTo>
                        <a:lnTo>
                          <a:pt x="833" y="3256"/>
                        </a:lnTo>
                        <a:lnTo>
                          <a:pt x="831" y="3256"/>
                        </a:lnTo>
                        <a:lnTo>
                          <a:pt x="831" y="3260"/>
                        </a:lnTo>
                        <a:lnTo>
                          <a:pt x="830" y="3263"/>
                        </a:lnTo>
                        <a:lnTo>
                          <a:pt x="828" y="3266"/>
                        </a:lnTo>
                        <a:lnTo>
                          <a:pt x="825" y="3269"/>
                        </a:lnTo>
                        <a:lnTo>
                          <a:pt x="824" y="3271"/>
                        </a:lnTo>
                        <a:lnTo>
                          <a:pt x="820" y="3272"/>
                        </a:lnTo>
                        <a:lnTo>
                          <a:pt x="806" y="3279"/>
                        </a:lnTo>
                        <a:lnTo>
                          <a:pt x="800" y="3279"/>
                        </a:lnTo>
                        <a:lnTo>
                          <a:pt x="795" y="3279"/>
                        </a:lnTo>
                        <a:lnTo>
                          <a:pt x="792" y="3280"/>
                        </a:lnTo>
                        <a:lnTo>
                          <a:pt x="790" y="3283"/>
                        </a:lnTo>
                        <a:lnTo>
                          <a:pt x="784" y="3283"/>
                        </a:lnTo>
                        <a:lnTo>
                          <a:pt x="782" y="3283"/>
                        </a:lnTo>
                        <a:lnTo>
                          <a:pt x="779" y="3283"/>
                        </a:lnTo>
                        <a:lnTo>
                          <a:pt x="778" y="3283"/>
                        </a:lnTo>
                        <a:lnTo>
                          <a:pt x="776" y="3282"/>
                        </a:lnTo>
                        <a:lnTo>
                          <a:pt x="773" y="3283"/>
                        </a:lnTo>
                        <a:lnTo>
                          <a:pt x="771" y="3283"/>
                        </a:lnTo>
                        <a:lnTo>
                          <a:pt x="770" y="3282"/>
                        </a:lnTo>
                        <a:lnTo>
                          <a:pt x="768" y="3282"/>
                        </a:lnTo>
                        <a:lnTo>
                          <a:pt x="765" y="3290"/>
                        </a:lnTo>
                        <a:lnTo>
                          <a:pt x="763" y="3293"/>
                        </a:lnTo>
                        <a:lnTo>
                          <a:pt x="765" y="3294"/>
                        </a:lnTo>
                        <a:lnTo>
                          <a:pt x="770" y="3294"/>
                        </a:lnTo>
                        <a:lnTo>
                          <a:pt x="771" y="3294"/>
                        </a:lnTo>
                        <a:lnTo>
                          <a:pt x="771" y="3296"/>
                        </a:lnTo>
                        <a:lnTo>
                          <a:pt x="770" y="3298"/>
                        </a:lnTo>
                        <a:lnTo>
                          <a:pt x="768" y="3301"/>
                        </a:lnTo>
                        <a:lnTo>
                          <a:pt x="768" y="3304"/>
                        </a:lnTo>
                        <a:lnTo>
                          <a:pt x="768" y="3309"/>
                        </a:lnTo>
                        <a:lnTo>
                          <a:pt x="766" y="3310"/>
                        </a:lnTo>
                        <a:lnTo>
                          <a:pt x="765" y="3312"/>
                        </a:lnTo>
                        <a:lnTo>
                          <a:pt x="765" y="3315"/>
                        </a:lnTo>
                        <a:lnTo>
                          <a:pt x="765" y="3317"/>
                        </a:lnTo>
                        <a:lnTo>
                          <a:pt x="763" y="3318"/>
                        </a:lnTo>
                        <a:lnTo>
                          <a:pt x="760" y="3321"/>
                        </a:lnTo>
                        <a:lnTo>
                          <a:pt x="760" y="3323"/>
                        </a:lnTo>
                        <a:lnTo>
                          <a:pt x="762" y="3326"/>
                        </a:lnTo>
                        <a:lnTo>
                          <a:pt x="760" y="3332"/>
                        </a:lnTo>
                        <a:lnTo>
                          <a:pt x="759" y="3334"/>
                        </a:lnTo>
                        <a:lnTo>
                          <a:pt x="757" y="3336"/>
                        </a:lnTo>
                        <a:lnTo>
                          <a:pt x="757" y="3339"/>
                        </a:lnTo>
                        <a:lnTo>
                          <a:pt x="759" y="3340"/>
                        </a:lnTo>
                        <a:lnTo>
                          <a:pt x="757" y="3345"/>
                        </a:lnTo>
                        <a:lnTo>
                          <a:pt x="757" y="3348"/>
                        </a:lnTo>
                        <a:lnTo>
                          <a:pt x="757" y="3350"/>
                        </a:lnTo>
                        <a:lnTo>
                          <a:pt x="755" y="3355"/>
                        </a:lnTo>
                        <a:lnTo>
                          <a:pt x="754" y="3359"/>
                        </a:lnTo>
                        <a:lnTo>
                          <a:pt x="751" y="3364"/>
                        </a:lnTo>
                        <a:lnTo>
                          <a:pt x="747" y="3367"/>
                        </a:lnTo>
                        <a:lnTo>
                          <a:pt x="747" y="3369"/>
                        </a:lnTo>
                        <a:lnTo>
                          <a:pt x="743" y="3374"/>
                        </a:lnTo>
                        <a:lnTo>
                          <a:pt x="738" y="3378"/>
                        </a:lnTo>
                        <a:lnTo>
                          <a:pt x="727" y="3370"/>
                        </a:lnTo>
                        <a:lnTo>
                          <a:pt x="721" y="3364"/>
                        </a:lnTo>
                        <a:lnTo>
                          <a:pt x="719" y="3363"/>
                        </a:lnTo>
                        <a:lnTo>
                          <a:pt x="713" y="3363"/>
                        </a:lnTo>
                        <a:lnTo>
                          <a:pt x="711" y="3363"/>
                        </a:lnTo>
                        <a:lnTo>
                          <a:pt x="708" y="3364"/>
                        </a:lnTo>
                        <a:lnTo>
                          <a:pt x="706" y="3366"/>
                        </a:lnTo>
                        <a:lnTo>
                          <a:pt x="706" y="3367"/>
                        </a:lnTo>
                        <a:lnTo>
                          <a:pt x="705" y="3370"/>
                        </a:lnTo>
                        <a:lnTo>
                          <a:pt x="705" y="3372"/>
                        </a:lnTo>
                        <a:lnTo>
                          <a:pt x="706" y="3375"/>
                        </a:lnTo>
                        <a:lnTo>
                          <a:pt x="706" y="3377"/>
                        </a:lnTo>
                        <a:lnTo>
                          <a:pt x="705" y="3380"/>
                        </a:lnTo>
                        <a:lnTo>
                          <a:pt x="703" y="3382"/>
                        </a:lnTo>
                        <a:lnTo>
                          <a:pt x="700" y="3382"/>
                        </a:lnTo>
                        <a:lnTo>
                          <a:pt x="695" y="3382"/>
                        </a:lnTo>
                        <a:lnTo>
                          <a:pt x="694" y="3382"/>
                        </a:lnTo>
                        <a:lnTo>
                          <a:pt x="692" y="3380"/>
                        </a:lnTo>
                        <a:lnTo>
                          <a:pt x="686" y="3375"/>
                        </a:lnTo>
                        <a:lnTo>
                          <a:pt x="684" y="3370"/>
                        </a:lnTo>
                        <a:lnTo>
                          <a:pt x="683" y="3366"/>
                        </a:lnTo>
                        <a:lnTo>
                          <a:pt x="678" y="3350"/>
                        </a:lnTo>
                        <a:lnTo>
                          <a:pt x="676" y="3347"/>
                        </a:lnTo>
                        <a:lnTo>
                          <a:pt x="675" y="3345"/>
                        </a:lnTo>
                        <a:lnTo>
                          <a:pt x="673" y="3344"/>
                        </a:lnTo>
                        <a:lnTo>
                          <a:pt x="671" y="3342"/>
                        </a:lnTo>
                        <a:lnTo>
                          <a:pt x="668" y="3340"/>
                        </a:lnTo>
                        <a:lnTo>
                          <a:pt x="667" y="3340"/>
                        </a:lnTo>
                        <a:lnTo>
                          <a:pt x="665" y="3340"/>
                        </a:lnTo>
                        <a:lnTo>
                          <a:pt x="664" y="3340"/>
                        </a:lnTo>
                        <a:lnTo>
                          <a:pt x="657" y="3344"/>
                        </a:lnTo>
                        <a:lnTo>
                          <a:pt x="652" y="3345"/>
                        </a:lnTo>
                        <a:lnTo>
                          <a:pt x="648" y="3345"/>
                        </a:lnTo>
                        <a:lnTo>
                          <a:pt x="643" y="3347"/>
                        </a:lnTo>
                        <a:lnTo>
                          <a:pt x="641" y="3347"/>
                        </a:lnTo>
                        <a:lnTo>
                          <a:pt x="630" y="3347"/>
                        </a:lnTo>
                        <a:lnTo>
                          <a:pt x="627" y="3348"/>
                        </a:lnTo>
                        <a:lnTo>
                          <a:pt x="626" y="3350"/>
                        </a:lnTo>
                        <a:lnTo>
                          <a:pt x="622" y="3350"/>
                        </a:lnTo>
                        <a:lnTo>
                          <a:pt x="621" y="3348"/>
                        </a:lnTo>
                        <a:lnTo>
                          <a:pt x="618" y="3344"/>
                        </a:lnTo>
                        <a:lnTo>
                          <a:pt x="616" y="3342"/>
                        </a:lnTo>
                        <a:lnTo>
                          <a:pt x="614" y="3336"/>
                        </a:lnTo>
                        <a:lnTo>
                          <a:pt x="614" y="3334"/>
                        </a:lnTo>
                        <a:lnTo>
                          <a:pt x="613" y="3332"/>
                        </a:lnTo>
                        <a:lnTo>
                          <a:pt x="614" y="3329"/>
                        </a:lnTo>
                        <a:lnTo>
                          <a:pt x="613" y="3326"/>
                        </a:lnTo>
                        <a:lnTo>
                          <a:pt x="613" y="3325"/>
                        </a:lnTo>
                        <a:lnTo>
                          <a:pt x="613" y="3318"/>
                        </a:lnTo>
                        <a:lnTo>
                          <a:pt x="613" y="3313"/>
                        </a:lnTo>
                        <a:lnTo>
                          <a:pt x="621" y="3307"/>
                        </a:lnTo>
                        <a:lnTo>
                          <a:pt x="622" y="3304"/>
                        </a:lnTo>
                        <a:lnTo>
                          <a:pt x="622" y="3301"/>
                        </a:lnTo>
                        <a:lnTo>
                          <a:pt x="624" y="3296"/>
                        </a:lnTo>
                        <a:lnTo>
                          <a:pt x="622" y="3293"/>
                        </a:lnTo>
                        <a:lnTo>
                          <a:pt x="621" y="3291"/>
                        </a:lnTo>
                        <a:lnTo>
                          <a:pt x="614" y="3288"/>
                        </a:lnTo>
                        <a:lnTo>
                          <a:pt x="613" y="3288"/>
                        </a:lnTo>
                        <a:lnTo>
                          <a:pt x="611" y="3288"/>
                        </a:lnTo>
                        <a:lnTo>
                          <a:pt x="594" y="3288"/>
                        </a:lnTo>
                        <a:lnTo>
                          <a:pt x="591" y="3291"/>
                        </a:lnTo>
                        <a:lnTo>
                          <a:pt x="589" y="3293"/>
                        </a:lnTo>
                        <a:lnTo>
                          <a:pt x="589" y="3294"/>
                        </a:lnTo>
                        <a:lnTo>
                          <a:pt x="591" y="3296"/>
                        </a:lnTo>
                        <a:lnTo>
                          <a:pt x="594" y="3301"/>
                        </a:lnTo>
                        <a:lnTo>
                          <a:pt x="599" y="3302"/>
                        </a:lnTo>
                        <a:lnTo>
                          <a:pt x="599" y="3304"/>
                        </a:lnTo>
                        <a:lnTo>
                          <a:pt x="599" y="3305"/>
                        </a:lnTo>
                        <a:lnTo>
                          <a:pt x="599" y="3307"/>
                        </a:lnTo>
                        <a:lnTo>
                          <a:pt x="597" y="3309"/>
                        </a:lnTo>
                        <a:lnTo>
                          <a:pt x="592" y="3317"/>
                        </a:lnTo>
                        <a:lnTo>
                          <a:pt x="588" y="3323"/>
                        </a:lnTo>
                        <a:lnTo>
                          <a:pt x="583" y="3325"/>
                        </a:lnTo>
                        <a:lnTo>
                          <a:pt x="578" y="3325"/>
                        </a:lnTo>
                        <a:lnTo>
                          <a:pt x="576" y="3323"/>
                        </a:lnTo>
                        <a:lnTo>
                          <a:pt x="575" y="3323"/>
                        </a:lnTo>
                        <a:lnTo>
                          <a:pt x="572" y="3321"/>
                        </a:lnTo>
                        <a:lnTo>
                          <a:pt x="572" y="3320"/>
                        </a:lnTo>
                        <a:lnTo>
                          <a:pt x="572" y="3318"/>
                        </a:lnTo>
                        <a:lnTo>
                          <a:pt x="570" y="3317"/>
                        </a:lnTo>
                        <a:lnTo>
                          <a:pt x="570" y="3315"/>
                        </a:lnTo>
                        <a:lnTo>
                          <a:pt x="568" y="3313"/>
                        </a:lnTo>
                        <a:lnTo>
                          <a:pt x="567" y="3312"/>
                        </a:lnTo>
                        <a:lnTo>
                          <a:pt x="565" y="3312"/>
                        </a:lnTo>
                        <a:lnTo>
                          <a:pt x="565" y="3310"/>
                        </a:lnTo>
                        <a:lnTo>
                          <a:pt x="564" y="3307"/>
                        </a:lnTo>
                        <a:lnTo>
                          <a:pt x="559" y="3307"/>
                        </a:lnTo>
                        <a:lnTo>
                          <a:pt x="557" y="3305"/>
                        </a:lnTo>
                        <a:lnTo>
                          <a:pt x="556" y="3304"/>
                        </a:lnTo>
                        <a:lnTo>
                          <a:pt x="554" y="3302"/>
                        </a:lnTo>
                        <a:lnTo>
                          <a:pt x="553" y="3304"/>
                        </a:lnTo>
                        <a:lnTo>
                          <a:pt x="554" y="3309"/>
                        </a:lnTo>
                        <a:lnTo>
                          <a:pt x="551" y="3310"/>
                        </a:lnTo>
                        <a:lnTo>
                          <a:pt x="549" y="3315"/>
                        </a:lnTo>
                        <a:lnTo>
                          <a:pt x="548" y="3315"/>
                        </a:lnTo>
                        <a:lnTo>
                          <a:pt x="548" y="3317"/>
                        </a:lnTo>
                        <a:lnTo>
                          <a:pt x="546" y="3315"/>
                        </a:lnTo>
                        <a:lnTo>
                          <a:pt x="543" y="3313"/>
                        </a:lnTo>
                        <a:lnTo>
                          <a:pt x="538" y="3312"/>
                        </a:lnTo>
                        <a:lnTo>
                          <a:pt x="535" y="3309"/>
                        </a:lnTo>
                        <a:lnTo>
                          <a:pt x="532" y="3309"/>
                        </a:lnTo>
                        <a:lnTo>
                          <a:pt x="530" y="3310"/>
                        </a:lnTo>
                        <a:lnTo>
                          <a:pt x="529" y="3312"/>
                        </a:lnTo>
                        <a:lnTo>
                          <a:pt x="529" y="3313"/>
                        </a:lnTo>
                        <a:lnTo>
                          <a:pt x="529" y="3317"/>
                        </a:lnTo>
                        <a:lnTo>
                          <a:pt x="529" y="3318"/>
                        </a:lnTo>
                        <a:lnTo>
                          <a:pt x="524" y="3325"/>
                        </a:lnTo>
                        <a:lnTo>
                          <a:pt x="523" y="3325"/>
                        </a:lnTo>
                        <a:lnTo>
                          <a:pt x="519" y="3323"/>
                        </a:lnTo>
                        <a:lnTo>
                          <a:pt x="518" y="3325"/>
                        </a:lnTo>
                        <a:lnTo>
                          <a:pt x="518" y="3328"/>
                        </a:lnTo>
                        <a:lnTo>
                          <a:pt x="515" y="3329"/>
                        </a:lnTo>
                        <a:lnTo>
                          <a:pt x="513" y="3331"/>
                        </a:lnTo>
                        <a:lnTo>
                          <a:pt x="508" y="3331"/>
                        </a:lnTo>
                        <a:lnTo>
                          <a:pt x="507" y="3331"/>
                        </a:lnTo>
                        <a:lnTo>
                          <a:pt x="507" y="3329"/>
                        </a:lnTo>
                        <a:lnTo>
                          <a:pt x="507" y="3325"/>
                        </a:lnTo>
                        <a:lnTo>
                          <a:pt x="504" y="3325"/>
                        </a:lnTo>
                        <a:lnTo>
                          <a:pt x="502" y="3325"/>
                        </a:lnTo>
                        <a:lnTo>
                          <a:pt x="499" y="3325"/>
                        </a:lnTo>
                        <a:lnTo>
                          <a:pt x="496" y="3320"/>
                        </a:lnTo>
                        <a:lnTo>
                          <a:pt x="491" y="3307"/>
                        </a:lnTo>
                        <a:lnTo>
                          <a:pt x="488" y="3304"/>
                        </a:lnTo>
                        <a:lnTo>
                          <a:pt x="486" y="3299"/>
                        </a:lnTo>
                        <a:lnTo>
                          <a:pt x="481" y="3296"/>
                        </a:lnTo>
                        <a:lnTo>
                          <a:pt x="481" y="3294"/>
                        </a:lnTo>
                        <a:lnTo>
                          <a:pt x="480" y="3291"/>
                        </a:lnTo>
                        <a:lnTo>
                          <a:pt x="480" y="3288"/>
                        </a:lnTo>
                        <a:lnTo>
                          <a:pt x="478" y="3286"/>
                        </a:lnTo>
                        <a:lnTo>
                          <a:pt x="475" y="3285"/>
                        </a:lnTo>
                        <a:lnTo>
                          <a:pt x="473" y="3285"/>
                        </a:lnTo>
                        <a:lnTo>
                          <a:pt x="467" y="3283"/>
                        </a:lnTo>
                        <a:lnTo>
                          <a:pt x="459" y="3283"/>
                        </a:lnTo>
                        <a:lnTo>
                          <a:pt x="459" y="3286"/>
                        </a:lnTo>
                        <a:lnTo>
                          <a:pt x="459" y="3291"/>
                        </a:lnTo>
                        <a:lnTo>
                          <a:pt x="459" y="3294"/>
                        </a:lnTo>
                        <a:lnTo>
                          <a:pt x="456" y="3294"/>
                        </a:lnTo>
                        <a:lnTo>
                          <a:pt x="453" y="3293"/>
                        </a:lnTo>
                        <a:lnTo>
                          <a:pt x="451" y="3291"/>
                        </a:lnTo>
                        <a:lnTo>
                          <a:pt x="451" y="3283"/>
                        </a:lnTo>
                        <a:lnTo>
                          <a:pt x="448" y="3282"/>
                        </a:lnTo>
                        <a:lnTo>
                          <a:pt x="445" y="3282"/>
                        </a:lnTo>
                        <a:lnTo>
                          <a:pt x="442" y="3283"/>
                        </a:lnTo>
                        <a:lnTo>
                          <a:pt x="442" y="3282"/>
                        </a:lnTo>
                        <a:lnTo>
                          <a:pt x="443" y="3277"/>
                        </a:lnTo>
                        <a:lnTo>
                          <a:pt x="442" y="3274"/>
                        </a:lnTo>
                        <a:lnTo>
                          <a:pt x="440" y="3274"/>
                        </a:lnTo>
                        <a:lnTo>
                          <a:pt x="439" y="3275"/>
                        </a:lnTo>
                        <a:lnTo>
                          <a:pt x="437" y="3275"/>
                        </a:lnTo>
                        <a:lnTo>
                          <a:pt x="435" y="3275"/>
                        </a:lnTo>
                        <a:lnTo>
                          <a:pt x="431" y="3264"/>
                        </a:lnTo>
                        <a:lnTo>
                          <a:pt x="432" y="3264"/>
                        </a:lnTo>
                        <a:lnTo>
                          <a:pt x="437" y="3264"/>
                        </a:lnTo>
                        <a:lnTo>
                          <a:pt x="443" y="3266"/>
                        </a:lnTo>
                        <a:lnTo>
                          <a:pt x="448" y="3266"/>
                        </a:lnTo>
                        <a:lnTo>
                          <a:pt x="450" y="3264"/>
                        </a:lnTo>
                        <a:lnTo>
                          <a:pt x="450" y="3263"/>
                        </a:lnTo>
                        <a:lnTo>
                          <a:pt x="447" y="3260"/>
                        </a:lnTo>
                        <a:lnTo>
                          <a:pt x="445" y="3255"/>
                        </a:lnTo>
                        <a:lnTo>
                          <a:pt x="447" y="3248"/>
                        </a:lnTo>
                        <a:lnTo>
                          <a:pt x="447" y="3247"/>
                        </a:lnTo>
                        <a:lnTo>
                          <a:pt x="445" y="3244"/>
                        </a:lnTo>
                        <a:lnTo>
                          <a:pt x="447" y="3241"/>
                        </a:lnTo>
                        <a:lnTo>
                          <a:pt x="450" y="3237"/>
                        </a:lnTo>
                        <a:lnTo>
                          <a:pt x="450" y="3236"/>
                        </a:lnTo>
                        <a:lnTo>
                          <a:pt x="450" y="3234"/>
                        </a:lnTo>
                        <a:lnTo>
                          <a:pt x="448" y="3234"/>
                        </a:lnTo>
                        <a:lnTo>
                          <a:pt x="445" y="3233"/>
                        </a:lnTo>
                        <a:lnTo>
                          <a:pt x="440" y="3228"/>
                        </a:lnTo>
                        <a:lnTo>
                          <a:pt x="437" y="3228"/>
                        </a:lnTo>
                        <a:lnTo>
                          <a:pt x="434" y="3229"/>
                        </a:lnTo>
                        <a:lnTo>
                          <a:pt x="431" y="3229"/>
                        </a:lnTo>
                        <a:lnTo>
                          <a:pt x="429" y="3229"/>
                        </a:lnTo>
                        <a:lnTo>
                          <a:pt x="428" y="3226"/>
                        </a:lnTo>
                        <a:lnTo>
                          <a:pt x="424" y="3223"/>
                        </a:lnTo>
                        <a:lnTo>
                          <a:pt x="424" y="3220"/>
                        </a:lnTo>
                        <a:lnTo>
                          <a:pt x="424" y="3217"/>
                        </a:lnTo>
                        <a:lnTo>
                          <a:pt x="423" y="3217"/>
                        </a:lnTo>
                        <a:lnTo>
                          <a:pt x="423" y="3215"/>
                        </a:lnTo>
                        <a:lnTo>
                          <a:pt x="413" y="3214"/>
                        </a:lnTo>
                        <a:lnTo>
                          <a:pt x="410" y="3215"/>
                        </a:lnTo>
                        <a:lnTo>
                          <a:pt x="407" y="3215"/>
                        </a:lnTo>
                        <a:lnTo>
                          <a:pt x="402" y="3210"/>
                        </a:lnTo>
                        <a:lnTo>
                          <a:pt x="393" y="3212"/>
                        </a:lnTo>
                        <a:lnTo>
                          <a:pt x="391" y="3209"/>
                        </a:lnTo>
                        <a:lnTo>
                          <a:pt x="389" y="3207"/>
                        </a:lnTo>
                        <a:lnTo>
                          <a:pt x="385" y="3207"/>
                        </a:lnTo>
                        <a:lnTo>
                          <a:pt x="377" y="3201"/>
                        </a:lnTo>
                        <a:lnTo>
                          <a:pt x="372" y="3198"/>
                        </a:lnTo>
                        <a:lnTo>
                          <a:pt x="369" y="3198"/>
                        </a:lnTo>
                        <a:lnTo>
                          <a:pt x="366" y="3201"/>
                        </a:lnTo>
                        <a:lnTo>
                          <a:pt x="363" y="3203"/>
                        </a:lnTo>
                        <a:lnTo>
                          <a:pt x="361" y="3204"/>
                        </a:lnTo>
                        <a:lnTo>
                          <a:pt x="361" y="3207"/>
                        </a:lnTo>
                        <a:lnTo>
                          <a:pt x="361" y="3209"/>
                        </a:lnTo>
                        <a:lnTo>
                          <a:pt x="359" y="3210"/>
                        </a:lnTo>
                        <a:lnTo>
                          <a:pt x="358" y="3210"/>
                        </a:lnTo>
                        <a:lnTo>
                          <a:pt x="356" y="3209"/>
                        </a:lnTo>
                        <a:lnTo>
                          <a:pt x="355" y="3206"/>
                        </a:lnTo>
                        <a:lnTo>
                          <a:pt x="347" y="3204"/>
                        </a:lnTo>
                        <a:lnTo>
                          <a:pt x="344" y="3203"/>
                        </a:lnTo>
                        <a:lnTo>
                          <a:pt x="339" y="3198"/>
                        </a:lnTo>
                        <a:lnTo>
                          <a:pt x="339" y="3196"/>
                        </a:lnTo>
                        <a:lnTo>
                          <a:pt x="336" y="3191"/>
                        </a:lnTo>
                        <a:lnTo>
                          <a:pt x="336" y="3190"/>
                        </a:lnTo>
                        <a:lnTo>
                          <a:pt x="336" y="3188"/>
                        </a:lnTo>
                        <a:lnTo>
                          <a:pt x="336" y="3187"/>
                        </a:lnTo>
                        <a:lnTo>
                          <a:pt x="340" y="3185"/>
                        </a:lnTo>
                        <a:lnTo>
                          <a:pt x="342" y="3180"/>
                        </a:lnTo>
                        <a:lnTo>
                          <a:pt x="344" y="3179"/>
                        </a:lnTo>
                        <a:lnTo>
                          <a:pt x="344" y="3176"/>
                        </a:lnTo>
                        <a:lnTo>
                          <a:pt x="342" y="3174"/>
                        </a:lnTo>
                        <a:lnTo>
                          <a:pt x="340" y="3169"/>
                        </a:lnTo>
                        <a:lnTo>
                          <a:pt x="342" y="3168"/>
                        </a:lnTo>
                        <a:lnTo>
                          <a:pt x="342" y="3166"/>
                        </a:lnTo>
                        <a:lnTo>
                          <a:pt x="345" y="3166"/>
                        </a:lnTo>
                        <a:lnTo>
                          <a:pt x="350" y="3165"/>
                        </a:lnTo>
                        <a:lnTo>
                          <a:pt x="351" y="3163"/>
                        </a:lnTo>
                        <a:lnTo>
                          <a:pt x="351" y="3161"/>
                        </a:lnTo>
                        <a:lnTo>
                          <a:pt x="350" y="3160"/>
                        </a:lnTo>
                        <a:lnTo>
                          <a:pt x="344" y="3157"/>
                        </a:lnTo>
                        <a:lnTo>
                          <a:pt x="342" y="3157"/>
                        </a:lnTo>
                        <a:lnTo>
                          <a:pt x="342" y="3155"/>
                        </a:lnTo>
                        <a:lnTo>
                          <a:pt x="342" y="3153"/>
                        </a:lnTo>
                        <a:lnTo>
                          <a:pt x="342" y="3150"/>
                        </a:lnTo>
                        <a:lnTo>
                          <a:pt x="340" y="3149"/>
                        </a:lnTo>
                        <a:lnTo>
                          <a:pt x="339" y="3149"/>
                        </a:lnTo>
                        <a:lnTo>
                          <a:pt x="336" y="3147"/>
                        </a:lnTo>
                        <a:lnTo>
                          <a:pt x="329" y="3144"/>
                        </a:lnTo>
                        <a:lnTo>
                          <a:pt x="326" y="3142"/>
                        </a:lnTo>
                        <a:lnTo>
                          <a:pt x="326" y="3134"/>
                        </a:lnTo>
                        <a:lnTo>
                          <a:pt x="326" y="3131"/>
                        </a:lnTo>
                        <a:lnTo>
                          <a:pt x="325" y="3128"/>
                        </a:lnTo>
                        <a:lnTo>
                          <a:pt x="326" y="3125"/>
                        </a:lnTo>
                        <a:lnTo>
                          <a:pt x="328" y="3125"/>
                        </a:lnTo>
                        <a:lnTo>
                          <a:pt x="334" y="3126"/>
                        </a:lnTo>
                        <a:lnTo>
                          <a:pt x="340" y="3130"/>
                        </a:lnTo>
                        <a:lnTo>
                          <a:pt x="340" y="3126"/>
                        </a:lnTo>
                        <a:lnTo>
                          <a:pt x="339" y="3123"/>
                        </a:lnTo>
                        <a:lnTo>
                          <a:pt x="342" y="3119"/>
                        </a:lnTo>
                        <a:lnTo>
                          <a:pt x="342" y="3117"/>
                        </a:lnTo>
                        <a:lnTo>
                          <a:pt x="337" y="3114"/>
                        </a:lnTo>
                        <a:lnTo>
                          <a:pt x="337" y="3111"/>
                        </a:lnTo>
                        <a:lnTo>
                          <a:pt x="337" y="3107"/>
                        </a:lnTo>
                        <a:lnTo>
                          <a:pt x="336" y="3106"/>
                        </a:lnTo>
                        <a:lnTo>
                          <a:pt x="331" y="3104"/>
                        </a:lnTo>
                        <a:lnTo>
                          <a:pt x="329" y="3104"/>
                        </a:lnTo>
                        <a:lnTo>
                          <a:pt x="328" y="3103"/>
                        </a:lnTo>
                        <a:lnTo>
                          <a:pt x="325" y="3100"/>
                        </a:lnTo>
                        <a:lnTo>
                          <a:pt x="323" y="3096"/>
                        </a:lnTo>
                        <a:lnTo>
                          <a:pt x="323" y="3095"/>
                        </a:lnTo>
                        <a:lnTo>
                          <a:pt x="321" y="3093"/>
                        </a:lnTo>
                        <a:lnTo>
                          <a:pt x="318" y="3093"/>
                        </a:lnTo>
                        <a:lnTo>
                          <a:pt x="317" y="3092"/>
                        </a:lnTo>
                        <a:lnTo>
                          <a:pt x="315" y="3092"/>
                        </a:lnTo>
                        <a:lnTo>
                          <a:pt x="312" y="3093"/>
                        </a:lnTo>
                        <a:lnTo>
                          <a:pt x="309" y="3092"/>
                        </a:lnTo>
                        <a:lnTo>
                          <a:pt x="307" y="3090"/>
                        </a:lnTo>
                        <a:lnTo>
                          <a:pt x="306" y="3088"/>
                        </a:lnTo>
                        <a:lnTo>
                          <a:pt x="306" y="3087"/>
                        </a:lnTo>
                        <a:lnTo>
                          <a:pt x="306" y="3085"/>
                        </a:lnTo>
                        <a:lnTo>
                          <a:pt x="307" y="3084"/>
                        </a:lnTo>
                        <a:lnTo>
                          <a:pt x="310" y="3081"/>
                        </a:lnTo>
                        <a:lnTo>
                          <a:pt x="313" y="3073"/>
                        </a:lnTo>
                        <a:lnTo>
                          <a:pt x="317" y="3068"/>
                        </a:lnTo>
                        <a:lnTo>
                          <a:pt x="312" y="3068"/>
                        </a:lnTo>
                        <a:lnTo>
                          <a:pt x="310" y="3068"/>
                        </a:lnTo>
                        <a:lnTo>
                          <a:pt x="309" y="3069"/>
                        </a:lnTo>
                        <a:lnTo>
                          <a:pt x="304" y="3069"/>
                        </a:lnTo>
                        <a:lnTo>
                          <a:pt x="302" y="3071"/>
                        </a:lnTo>
                        <a:lnTo>
                          <a:pt x="299" y="3074"/>
                        </a:lnTo>
                        <a:lnTo>
                          <a:pt x="296" y="3074"/>
                        </a:lnTo>
                        <a:lnTo>
                          <a:pt x="293" y="3077"/>
                        </a:lnTo>
                        <a:lnTo>
                          <a:pt x="293" y="3079"/>
                        </a:lnTo>
                        <a:lnTo>
                          <a:pt x="291" y="3082"/>
                        </a:lnTo>
                        <a:lnTo>
                          <a:pt x="290" y="3082"/>
                        </a:lnTo>
                        <a:lnTo>
                          <a:pt x="288" y="3082"/>
                        </a:lnTo>
                        <a:lnTo>
                          <a:pt x="287" y="3081"/>
                        </a:lnTo>
                        <a:lnTo>
                          <a:pt x="282" y="3082"/>
                        </a:lnTo>
                        <a:lnTo>
                          <a:pt x="280" y="3082"/>
                        </a:lnTo>
                        <a:lnTo>
                          <a:pt x="280" y="3081"/>
                        </a:lnTo>
                        <a:lnTo>
                          <a:pt x="279" y="3079"/>
                        </a:lnTo>
                        <a:lnTo>
                          <a:pt x="280" y="3077"/>
                        </a:lnTo>
                        <a:lnTo>
                          <a:pt x="288" y="3069"/>
                        </a:lnTo>
                        <a:lnTo>
                          <a:pt x="290" y="3068"/>
                        </a:lnTo>
                        <a:lnTo>
                          <a:pt x="290" y="3066"/>
                        </a:lnTo>
                        <a:lnTo>
                          <a:pt x="287" y="3066"/>
                        </a:lnTo>
                        <a:lnTo>
                          <a:pt x="282" y="3068"/>
                        </a:lnTo>
                        <a:lnTo>
                          <a:pt x="279" y="3065"/>
                        </a:lnTo>
                        <a:lnTo>
                          <a:pt x="277" y="3066"/>
                        </a:lnTo>
                        <a:lnTo>
                          <a:pt x="275" y="3066"/>
                        </a:lnTo>
                        <a:lnTo>
                          <a:pt x="272" y="3066"/>
                        </a:lnTo>
                        <a:lnTo>
                          <a:pt x="269" y="3065"/>
                        </a:lnTo>
                        <a:lnTo>
                          <a:pt x="269" y="3060"/>
                        </a:lnTo>
                        <a:lnTo>
                          <a:pt x="271" y="3055"/>
                        </a:lnTo>
                        <a:lnTo>
                          <a:pt x="274" y="3057"/>
                        </a:lnTo>
                        <a:lnTo>
                          <a:pt x="279" y="3055"/>
                        </a:lnTo>
                        <a:lnTo>
                          <a:pt x="280" y="3057"/>
                        </a:lnTo>
                        <a:lnTo>
                          <a:pt x="282" y="3058"/>
                        </a:lnTo>
                        <a:lnTo>
                          <a:pt x="283" y="3060"/>
                        </a:lnTo>
                        <a:lnTo>
                          <a:pt x="285" y="3058"/>
                        </a:lnTo>
                        <a:lnTo>
                          <a:pt x="287" y="3058"/>
                        </a:lnTo>
                        <a:lnTo>
                          <a:pt x="290" y="3058"/>
                        </a:lnTo>
                        <a:lnTo>
                          <a:pt x="291" y="3055"/>
                        </a:lnTo>
                        <a:lnTo>
                          <a:pt x="288" y="3050"/>
                        </a:lnTo>
                        <a:lnTo>
                          <a:pt x="277" y="3049"/>
                        </a:lnTo>
                        <a:lnTo>
                          <a:pt x="272" y="3046"/>
                        </a:lnTo>
                        <a:lnTo>
                          <a:pt x="269" y="3044"/>
                        </a:lnTo>
                        <a:lnTo>
                          <a:pt x="269" y="3041"/>
                        </a:lnTo>
                        <a:lnTo>
                          <a:pt x="269" y="3038"/>
                        </a:lnTo>
                        <a:lnTo>
                          <a:pt x="269" y="3036"/>
                        </a:lnTo>
                        <a:lnTo>
                          <a:pt x="269" y="3035"/>
                        </a:lnTo>
                        <a:lnTo>
                          <a:pt x="271" y="3031"/>
                        </a:lnTo>
                        <a:lnTo>
                          <a:pt x="272" y="3027"/>
                        </a:lnTo>
                        <a:lnTo>
                          <a:pt x="272" y="3025"/>
                        </a:lnTo>
                        <a:lnTo>
                          <a:pt x="274" y="3022"/>
                        </a:lnTo>
                        <a:lnTo>
                          <a:pt x="274" y="3020"/>
                        </a:lnTo>
                        <a:lnTo>
                          <a:pt x="272" y="3019"/>
                        </a:lnTo>
                        <a:lnTo>
                          <a:pt x="260" y="3022"/>
                        </a:lnTo>
                        <a:lnTo>
                          <a:pt x="258" y="3022"/>
                        </a:lnTo>
                        <a:lnTo>
                          <a:pt x="255" y="3024"/>
                        </a:lnTo>
                        <a:lnTo>
                          <a:pt x="250" y="3024"/>
                        </a:lnTo>
                        <a:lnTo>
                          <a:pt x="249" y="3022"/>
                        </a:lnTo>
                        <a:lnTo>
                          <a:pt x="249" y="3020"/>
                        </a:lnTo>
                        <a:lnTo>
                          <a:pt x="249" y="3019"/>
                        </a:lnTo>
                        <a:lnTo>
                          <a:pt x="250" y="3019"/>
                        </a:lnTo>
                        <a:lnTo>
                          <a:pt x="258" y="3016"/>
                        </a:lnTo>
                        <a:lnTo>
                          <a:pt x="261" y="3009"/>
                        </a:lnTo>
                        <a:lnTo>
                          <a:pt x="263" y="3008"/>
                        </a:lnTo>
                        <a:lnTo>
                          <a:pt x="263" y="3006"/>
                        </a:lnTo>
                        <a:lnTo>
                          <a:pt x="264" y="3003"/>
                        </a:lnTo>
                        <a:lnTo>
                          <a:pt x="264" y="3001"/>
                        </a:lnTo>
                        <a:lnTo>
                          <a:pt x="264" y="2997"/>
                        </a:lnTo>
                        <a:lnTo>
                          <a:pt x="261" y="2992"/>
                        </a:lnTo>
                        <a:lnTo>
                          <a:pt x="260" y="2993"/>
                        </a:lnTo>
                        <a:lnTo>
                          <a:pt x="256" y="2998"/>
                        </a:lnTo>
                        <a:lnTo>
                          <a:pt x="255" y="2998"/>
                        </a:lnTo>
                        <a:lnTo>
                          <a:pt x="244" y="3003"/>
                        </a:lnTo>
                        <a:lnTo>
                          <a:pt x="247" y="2995"/>
                        </a:lnTo>
                        <a:lnTo>
                          <a:pt x="252" y="2990"/>
                        </a:lnTo>
                        <a:lnTo>
                          <a:pt x="253" y="2986"/>
                        </a:lnTo>
                        <a:lnTo>
                          <a:pt x="249" y="2986"/>
                        </a:lnTo>
                        <a:lnTo>
                          <a:pt x="245" y="2982"/>
                        </a:lnTo>
                        <a:lnTo>
                          <a:pt x="244" y="2978"/>
                        </a:lnTo>
                        <a:lnTo>
                          <a:pt x="245" y="2974"/>
                        </a:lnTo>
                        <a:lnTo>
                          <a:pt x="249" y="2973"/>
                        </a:lnTo>
                        <a:lnTo>
                          <a:pt x="253" y="2971"/>
                        </a:lnTo>
                        <a:lnTo>
                          <a:pt x="256" y="2967"/>
                        </a:lnTo>
                        <a:lnTo>
                          <a:pt x="258" y="2965"/>
                        </a:lnTo>
                        <a:lnTo>
                          <a:pt x="255" y="2962"/>
                        </a:lnTo>
                        <a:lnTo>
                          <a:pt x="245" y="2960"/>
                        </a:lnTo>
                        <a:lnTo>
                          <a:pt x="244" y="2959"/>
                        </a:lnTo>
                        <a:lnTo>
                          <a:pt x="245" y="2957"/>
                        </a:lnTo>
                        <a:lnTo>
                          <a:pt x="247" y="2955"/>
                        </a:lnTo>
                        <a:lnTo>
                          <a:pt x="249" y="2952"/>
                        </a:lnTo>
                        <a:lnTo>
                          <a:pt x="250" y="2944"/>
                        </a:lnTo>
                        <a:lnTo>
                          <a:pt x="249" y="2944"/>
                        </a:lnTo>
                        <a:lnTo>
                          <a:pt x="242" y="2948"/>
                        </a:lnTo>
                        <a:lnTo>
                          <a:pt x="239" y="2943"/>
                        </a:lnTo>
                        <a:lnTo>
                          <a:pt x="237" y="2943"/>
                        </a:lnTo>
                        <a:lnTo>
                          <a:pt x="237" y="2946"/>
                        </a:lnTo>
                        <a:lnTo>
                          <a:pt x="234" y="2948"/>
                        </a:lnTo>
                        <a:lnTo>
                          <a:pt x="230" y="2952"/>
                        </a:lnTo>
                        <a:lnTo>
                          <a:pt x="228" y="2954"/>
                        </a:lnTo>
                        <a:lnTo>
                          <a:pt x="222" y="2957"/>
                        </a:lnTo>
                        <a:lnTo>
                          <a:pt x="218" y="2957"/>
                        </a:lnTo>
                        <a:lnTo>
                          <a:pt x="214" y="2955"/>
                        </a:lnTo>
                        <a:lnTo>
                          <a:pt x="211" y="2952"/>
                        </a:lnTo>
                        <a:lnTo>
                          <a:pt x="203" y="2957"/>
                        </a:lnTo>
                        <a:lnTo>
                          <a:pt x="201" y="2952"/>
                        </a:lnTo>
                        <a:lnTo>
                          <a:pt x="204" y="2948"/>
                        </a:lnTo>
                        <a:lnTo>
                          <a:pt x="201" y="2946"/>
                        </a:lnTo>
                        <a:lnTo>
                          <a:pt x="198" y="2944"/>
                        </a:lnTo>
                        <a:lnTo>
                          <a:pt x="191" y="2941"/>
                        </a:lnTo>
                        <a:lnTo>
                          <a:pt x="190" y="2940"/>
                        </a:lnTo>
                        <a:lnTo>
                          <a:pt x="191" y="2938"/>
                        </a:lnTo>
                        <a:lnTo>
                          <a:pt x="191" y="2933"/>
                        </a:lnTo>
                        <a:lnTo>
                          <a:pt x="190" y="2933"/>
                        </a:lnTo>
                        <a:lnTo>
                          <a:pt x="182" y="2941"/>
                        </a:lnTo>
                        <a:lnTo>
                          <a:pt x="176" y="2938"/>
                        </a:lnTo>
                        <a:lnTo>
                          <a:pt x="171" y="2938"/>
                        </a:lnTo>
                        <a:lnTo>
                          <a:pt x="168" y="2938"/>
                        </a:lnTo>
                        <a:lnTo>
                          <a:pt x="165" y="2938"/>
                        </a:lnTo>
                        <a:lnTo>
                          <a:pt x="160" y="2940"/>
                        </a:lnTo>
                        <a:lnTo>
                          <a:pt x="155" y="2941"/>
                        </a:lnTo>
                        <a:lnTo>
                          <a:pt x="153" y="2940"/>
                        </a:lnTo>
                        <a:lnTo>
                          <a:pt x="152" y="2938"/>
                        </a:lnTo>
                        <a:lnTo>
                          <a:pt x="149" y="2938"/>
                        </a:lnTo>
                        <a:lnTo>
                          <a:pt x="147" y="2938"/>
                        </a:lnTo>
                        <a:lnTo>
                          <a:pt x="146" y="2938"/>
                        </a:lnTo>
                        <a:lnTo>
                          <a:pt x="146" y="2941"/>
                        </a:lnTo>
                        <a:lnTo>
                          <a:pt x="142" y="2941"/>
                        </a:lnTo>
                        <a:lnTo>
                          <a:pt x="141" y="2940"/>
                        </a:lnTo>
                        <a:lnTo>
                          <a:pt x="136" y="2935"/>
                        </a:lnTo>
                        <a:lnTo>
                          <a:pt x="134" y="2935"/>
                        </a:lnTo>
                        <a:lnTo>
                          <a:pt x="131" y="2936"/>
                        </a:lnTo>
                        <a:lnTo>
                          <a:pt x="130" y="2936"/>
                        </a:lnTo>
                        <a:lnTo>
                          <a:pt x="130" y="2938"/>
                        </a:lnTo>
                        <a:lnTo>
                          <a:pt x="131" y="2940"/>
                        </a:lnTo>
                        <a:lnTo>
                          <a:pt x="133" y="2940"/>
                        </a:lnTo>
                        <a:lnTo>
                          <a:pt x="133" y="2943"/>
                        </a:lnTo>
                        <a:lnTo>
                          <a:pt x="131" y="2944"/>
                        </a:lnTo>
                        <a:lnTo>
                          <a:pt x="130" y="2944"/>
                        </a:lnTo>
                        <a:lnTo>
                          <a:pt x="130" y="2943"/>
                        </a:lnTo>
                        <a:lnTo>
                          <a:pt x="128" y="2943"/>
                        </a:lnTo>
                        <a:lnTo>
                          <a:pt x="125" y="2946"/>
                        </a:lnTo>
                        <a:lnTo>
                          <a:pt x="122" y="2946"/>
                        </a:lnTo>
                        <a:lnTo>
                          <a:pt x="117" y="2951"/>
                        </a:lnTo>
                        <a:lnTo>
                          <a:pt x="115" y="2951"/>
                        </a:lnTo>
                        <a:lnTo>
                          <a:pt x="112" y="2951"/>
                        </a:lnTo>
                        <a:lnTo>
                          <a:pt x="106" y="2948"/>
                        </a:lnTo>
                        <a:lnTo>
                          <a:pt x="103" y="2946"/>
                        </a:lnTo>
                        <a:lnTo>
                          <a:pt x="101" y="2946"/>
                        </a:lnTo>
                        <a:lnTo>
                          <a:pt x="101" y="2944"/>
                        </a:lnTo>
                        <a:lnTo>
                          <a:pt x="103" y="2943"/>
                        </a:lnTo>
                        <a:lnTo>
                          <a:pt x="101" y="2943"/>
                        </a:lnTo>
                        <a:lnTo>
                          <a:pt x="100" y="2943"/>
                        </a:lnTo>
                        <a:lnTo>
                          <a:pt x="98" y="2944"/>
                        </a:lnTo>
                        <a:lnTo>
                          <a:pt x="93" y="2955"/>
                        </a:lnTo>
                        <a:lnTo>
                          <a:pt x="92" y="2957"/>
                        </a:lnTo>
                        <a:lnTo>
                          <a:pt x="90" y="2955"/>
                        </a:lnTo>
                        <a:lnTo>
                          <a:pt x="89" y="2955"/>
                        </a:lnTo>
                        <a:lnTo>
                          <a:pt x="84" y="2951"/>
                        </a:lnTo>
                        <a:lnTo>
                          <a:pt x="77" y="2952"/>
                        </a:lnTo>
                        <a:lnTo>
                          <a:pt x="74" y="2951"/>
                        </a:lnTo>
                        <a:lnTo>
                          <a:pt x="68" y="2951"/>
                        </a:lnTo>
                        <a:lnTo>
                          <a:pt x="65" y="2946"/>
                        </a:lnTo>
                        <a:lnTo>
                          <a:pt x="62" y="2943"/>
                        </a:lnTo>
                        <a:lnTo>
                          <a:pt x="58" y="2943"/>
                        </a:lnTo>
                        <a:lnTo>
                          <a:pt x="58" y="2936"/>
                        </a:lnTo>
                        <a:lnTo>
                          <a:pt x="57" y="2935"/>
                        </a:lnTo>
                        <a:lnTo>
                          <a:pt x="55" y="2933"/>
                        </a:lnTo>
                        <a:lnTo>
                          <a:pt x="52" y="2933"/>
                        </a:lnTo>
                        <a:lnTo>
                          <a:pt x="49" y="2935"/>
                        </a:lnTo>
                        <a:lnTo>
                          <a:pt x="47" y="2935"/>
                        </a:lnTo>
                        <a:lnTo>
                          <a:pt x="46" y="2932"/>
                        </a:lnTo>
                        <a:lnTo>
                          <a:pt x="44" y="2927"/>
                        </a:lnTo>
                        <a:lnTo>
                          <a:pt x="44" y="2925"/>
                        </a:lnTo>
                        <a:lnTo>
                          <a:pt x="44" y="2924"/>
                        </a:lnTo>
                        <a:lnTo>
                          <a:pt x="41" y="2922"/>
                        </a:lnTo>
                        <a:lnTo>
                          <a:pt x="35" y="2921"/>
                        </a:lnTo>
                        <a:lnTo>
                          <a:pt x="30" y="2919"/>
                        </a:lnTo>
                        <a:lnTo>
                          <a:pt x="28" y="2916"/>
                        </a:lnTo>
                        <a:lnTo>
                          <a:pt x="28" y="2914"/>
                        </a:lnTo>
                        <a:lnTo>
                          <a:pt x="32" y="2913"/>
                        </a:lnTo>
                        <a:lnTo>
                          <a:pt x="32" y="2911"/>
                        </a:lnTo>
                        <a:lnTo>
                          <a:pt x="32" y="2909"/>
                        </a:lnTo>
                        <a:lnTo>
                          <a:pt x="33" y="2909"/>
                        </a:lnTo>
                        <a:lnTo>
                          <a:pt x="32" y="2908"/>
                        </a:lnTo>
                        <a:lnTo>
                          <a:pt x="30" y="2905"/>
                        </a:lnTo>
                        <a:lnTo>
                          <a:pt x="30" y="2902"/>
                        </a:lnTo>
                        <a:lnTo>
                          <a:pt x="28" y="2900"/>
                        </a:lnTo>
                        <a:lnTo>
                          <a:pt x="24" y="2900"/>
                        </a:lnTo>
                        <a:lnTo>
                          <a:pt x="22" y="2902"/>
                        </a:lnTo>
                        <a:lnTo>
                          <a:pt x="19" y="2900"/>
                        </a:lnTo>
                        <a:lnTo>
                          <a:pt x="17" y="2898"/>
                        </a:lnTo>
                        <a:lnTo>
                          <a:pt x="19" y="2895"/>
                        </a:lnTo>
                        <a:lnTo>
                          <a:pt x="11" y="2881"/>
                        </a:lnTo>
                        <a:lnTo>
                          <a:pt x="9" y="2879"/>
                        </a:lnTo>
                        <a:lnTo>
                          <a:pt x="6" y="2876"/>
                        </a:lnTo>
                        <a:lnTo>
                          <a:pt x="5" y="2875"/>
                        </a:lnTo>
                        <a:lnTo>
                          <a:pt x="5" y="2870"/>
                        </a:lnTo>
                        <a:lnTo>
                          <a:pt x="3" y="2871"/>
                        </a:lnTo>
                        <a:lnTo>
                          <a:pt x="0" y="2871"/>
                        </a:lnTo>
                        <a:lnTo>
                          <a:pt x="0" y="2870"/>
                        </a:lnTo>
                        <a:lnTo>
                          <a:pt x="1" y="2868"/>
                        </a:lnTo>
                        <a:lnTo>
                          <a:pt x="0" y="2865"/>
                        </a:lnTo>
                        <a:lnTo>
                          <a:pt x="0" y="2864"/>
                        </a:lnTo>
                        <a:lnTo>
                          <a:pt x="0" y="2862"/>
                        </a:lnTo>
                        <a:lnTo>
                          <a:pt x="0" y="2859"/>
                        </a:lnTo>
                        <a:lnTo>
                          <a:pt x="3" y="2854"/>
                        </a:lnTo>
                        <a:lnTo>
                          <a:pt x="3" y="2852"/>
                        </a:lnTo>
                        <a:lnTo>
                          <a:pt x="1" y="2849"/>
                        </a:lnTo>
                        <a:lnTo>
                          <a:pt x="1" y="2848"/>
                        </a:lnTo>
                        <a:lnTo>
                          <a:pt x="3" y="2846"/>
                        </a:lnTo>
                        <a:lnTo>
                          <a:pt x="5" y="2845"/>
                        </a:lnTo>
                        <a:lnTo>
                          <a:pt x="5" y="2843"/>
                        </a:lnTo>
                        <a:lnTo>
                          <a:pt x="5" y="2841"/>
                        </a:lnTo>
                        <a:lnTo>
                          <a:pt x="6" y="2841"/>
                        </a:lnTo>
                        <a:lnTo>
                          <a:pt x="6" y="2840"/>
                        </a:lnTo>
                        <a:lnTo>
                          <a:pt x="9" y="2837"/>
                        </a:lnTo>
                        <a:lnTo>
                          <a:pt x="11" y="2835"/>
                        </a:lnTo>
                        <a:lnTo>
                          <a:pt x="12" y="2830"/>
                        </a:lnTo>
                        <a:lnTo>
                          <a:pt x="14" y="2829"/>
                        </a:lnTo>
                        <a:lnTo>
                          <a:pt x="14" y="2827"/>
                        </a:lnTo>
                        <a:lnTo>
                          <a:pt x="16" y="2821"/>
                        </a:lnTo>
                        <a:lnTo>
                          <a:pt x="17" y="2819"/>
                        </a:lnTo>
                        <a:lnTo>
                          <a:pt x="20" y="2813"/>
                        </a:lnTo>
                        <a:lnTo>
                          <a:pt x="22" y="2807"/>
                        </a:lnTo>
                        <a:lnTo>
                          <a:pt x="25" y="2795"/>
                        </a:lnTo>
                        <a:lnTo>
                          <a:pt x="27" y="2792"/>
                        </a:lnTo>
                        <a:lnTo>
                          <a:pt x="28" y="2791"/>
                        </a:lnTo>
                        <a:lnTo>
                          <a:pt x="30" y="2789"/>
                        </a:lnTo>
                        <a:lnTo>
                          <a:pt x="32" y="2786"/>
                        </a:lnTo>
                        <a:lnTo>
                          <a:pt x="30" y="2780"/>
                        </a:lnTo>
                        <a:lnTo>
                          <a:pt x="27" y="2775"/>
                        </a:lnTo>
                        <a:lnTo>
                          <a:pt x="32" y="2767"/>
                        </a:lnTo>
                        <a:lnTo>
                          <a:pt x="32" y="2764"/>
                        </a:lnTo>
                        <a:lnTo>
                          <a:pt x="32" y="2762"/>
                        </a:lnTo>
                        <a:lnTo>
                          <a:pt x="32" y="2761"/>
                        </a:lnTo>
                        <a:lnTo>
                          <a:pt x="32" y="2759"/>
                        </a:lnTo>
                        <a:lnTo>
                          <a:pt x="28" y="2757"/>
                        </a:lnTo>
                        <a:lnTo>
                          <a:pt x="25" y="2756"/>
                        </a:lnTo>
                        <a:lnTo>
                          <a:pt x="24" y="2754"/>
                        </a:lnTo>
                        <a:lnTo>
                          <a:pt x="22" y="2753"/>
                        </a:lnTo>
                        <a:lnTo>
                          <a:pt x="22" y="2748"/>
                        </a:lnTo>
                        <a:lnTo>
                          <a:pt x="22" y="2746"/>
                        </a:lnTo>
                        <a:lnTo>
                          <a:pt x="24" y="2745"/>
                        </a:lnTo>
                        <a:lnTo>
                          <a:pt x="24" y="2735"/>
                        </a:lnTo>
                        <a:lnTo>
                          <a:pt x="24" y="2726"/>
                        </a:lnTo>
                        <a:lnTo>
                          <a:pt x="25" y="2689"/>
                        </a:lnTo>
                        <a:lnTo>
                          <a:pt x="25" y="2688"/>
                        </a:lnTo>
                        <a:lnTo>
                          <a:pt x="27" y="2686"/>
                        </a:lnTo>
                        <a:lnTo>
                          <a:pt x="30" y="2678"/>
                        </a:lnTo>
                        <a:lnTo>
                          <a:pt x="27" y="2664"/>
                        </a:lnTo>
                        <a:lnTo>
                          <a:pt x="28" y="2664"/>
                        </a:lnTo>
                        <a:lnTo>
                          <a:pt x="32" y="2662"/>
                        </a:lnTo>
                        <a:lnTo>
                          <a:pt x="36" y="2661"/>
                        </a:lnTo>
                        <a:lnTo>
                          <a:pt x="39" y="2661"/>
                        </a:lnTo>
                        <a:lnTo>
                          <a:pt x="41" y="2658"/>
                        </a:lnTo>
                        <a:lnTo>
                          <a:pt x="43" y="2658"/>
                        </a:lnTo>
                        <a:lnTo>
                          <a:pt x="43" y="2654"/>
                        </a:lnTo>
                        <a:lnTo>
                          <a:pt x="43" y="2650"/>
                        </a:lnTo>
                        <a:lnTo>
                          <a:pt x="44" y="2645"/>
                        </a:lnTo>
                        <a:lnTo>
                          <a:pt x="44" y="2643"/>
                        </a:lnTo>
                        <a:lnTo>
                          <a:pt x="46" y="2642"/>
                        </a:lnTo>
                        <a:lnTo>
                          <a:pt x="46" y="2637"/>
                        </a:lnTo>
                        <a:lnTo>
                          <a:pt x="47" y="2635"/>
                        </a:lnTo>
                        <a:lnTo>
                          <a:pt x="49" y="2632"/>
                        </a:lnTo>
                        <a:lnTo>
                          <a:pt x="51" y="2631"/>
                        </a:lnTo>
                        <a:lnTo>
                          <a:pt x="51" y="2629"/>
                        </a:lnTo>
                        <a:lnTo>
                          <a:pt x="52" y="2628"/>
                        </a:lnTo>
                        <a:lnTo>
                          <a:pt x="55" y="2624"/>
                        </a:lnTo>
                        <a:lnTo>
                          <a:pt x="57" y="2616"/>
                        </a:lnTo>
                        <a:lnTo>
                          <a:pt x="58" y="2607"/>
                        </a:lnTo>
                        <a:lnTo>
                          <a:pt x="57" y="2604"/>
                        </a:lnTo>
                        <a:lnTo>
                          <a:pt x="55" y="2602"/>
                        </a:lnTo>
                        <a:lnTo>
                          <a:pt x="54" y="2599"/>
                        </a:lnTo>
                        <a:lnTo>
                          <a:pt x="52" y="2599"/>
                        </a:lnTo>
                        <a:lnTo>
                          <a:pt x="51" y="2597"/>
                        </a:lnTo>
                        <a:lnTo>
                          <a:pt x="46" y="2596"/>
                        </a:lnTo>
                        <a:lnTo>
                          <a:pt x="44" y="2594"/>
                        </a:lnTo>
                        <a:lnTo>
                          <a:pt x="43" y="2594"/>
                        </a:lnTo>
                        <a:lnTo>
                          <a:pt x="33" y="2574"/>
                        </a:lnTo>
                        <a:lnTo>
                          <a:pt x="33" y="2556"/>
                        </a:lnTo>
                        <a:lnTo>
                          <a:pt x="30" y="2551"/>
                        </a:lnTo>
                        <a:lnTo>
                          <a:pt x="30" y="2539"/>
                        </a:lnTo>
                        <a:lnTo>
                          <a:pt x="28" y="2537"/>
                        </a:lnTo>
                        <a:lnTo>
                          <a:pt x="24" y="2536"/>
                        </a:lnTo>
                        <a:lnTo>
                          <a:pt x="22" y="2536"/>
                        </a:lnTo>
                        <a:lnTo>
                          <a:pt x="19" y="2534"/>
                        </a:lnTo>
                        <a:lnTo>
                          <a:pt x="17" y="2532"/>
                        </a:lnTo>
                        <a:lnTo>
                          <a:pt x="17" y="2531"/>
                        </a:lnTo>
                        <a:lnTo>
                          <a:pt x="17" y="2529"/>
                        </a:lnTo>
                        <a:lnTo>
                          <a:pt x="19" y="2528"/>
                        </a:lnTo>
                        <a:lnTo>
                          <a:pt x="19" y="2523"/>
                        </a:lnTo>
                        <a:lnTo>
                          <a:pt x="19" y="2520"/>
                        </a:lnTo>
                        <a:lnTo>
                          <a:pt x="19" y="2518"/>
                        </a:lnTo>
                        <a:lnTo>
                          <a:pt x="14" y="2504"/>
                        </a:lnTo>
                        <a:lnTo>
                          <a:pt x="14" y="2501"/>
                        </a:lnTo>
                        <a:lnTo>
                          <a:pt x="14" y="2487"/>
                        </a:lnTo>
                        <a:lnTo>
                          <a:pt x="12" y="2480"/>
                        </a:lnTo>
                        <a:lnTo>
                          <a:pt x="12" y="2477"/>
                        </a:lnTo>
                        <a:lnTo>
                          <a:pt x="16" y="2472"/>
                        </a:lnTo>
                        <a:lnTo>
                          <a:pt x="17" y="2472"/>
                        </a:lnTo>
                        <a:lnTo>
                          <a:pt x="20" y="2471"/>
                        </a:lnTo>
                        <a:lnTo>
                          <a:pt x="24" y="2469"/>
                        </a:lnTo>
                        <a:lnTo>
                          <a:pt x="28" y="2468"/>
                        </a:lnTo>
                        <a:lnTo>
                          <a:pt x="32" y="2466"/>
                        </a:lnTo>
                        <a:lnTo>
                          <a:pt x="36" y="2466"/>
                        </a:lnTo>
                        <a:lnTo>
                          <a:pt x="65" y="2460"/>
                        </a:lnTo>
                        <a:lnTo>
                          <a:pt x="66" y="2458"/>
                        </a:lnTo>
                        <a:lnTo>
                          <a:pt x="68" y="2458"/>
                        </a:lnTo>
                        <a:lnTo>
                          <a:pt x="70" y="2458"/>
                        </a:lnTo>
                        <a:lnTo>
                          <a:pt x="76" y="2455"/>
                        </a:lnTo>
                        <a:lnTo>
                          <a:pt x="95" y="2444"/>
                        </a:lnTo>
                        <a:lnTo>
                          <a:pt x="96" y="2442"/>
                        </a:lnTo>
                        <a:lnTo>
                          <a:pt x="104" y="2436"/>
                        </a:lnTo>
                        <a:lnTo>
                          <a:pt x="106" y="2434"/>
                        </a:lnTo>
                        <a:lnTo>
                          <a:pt x="108" y="2433"/>
                        </a:lnTo>
                        <a:lnTo>
                          <a:pt x="109" y="2431"/>
                        </a:lnTo>
                        <a:lnTo>
                          <a:pt x="111" y="2426"/>
                        </a:lnTo>
                        <a:lnTo>
                          <a:pt x="112" y="2422"/>
                        </a:lnTo>
                        <a:lnTo>
                          <a:pt x="112" y="2420"/>
                        </a:lnTo>
                        <a:lnTo>
                          <a:pt x="114" y="2409"/>
                        </a:lnTo>
                        <a:lnTo>
                          <a:pt x="114" y="2406"/>
                        </a:lnTo>
                        <a:lnTo>
                          <a:pt x="114" y="2404"/>
                        </a:lnTo>
                        <a:lnTo>
                          <a:pt x="114" y="2403"/>
                        </a:lnTo>
                        <a:lnTo>
                          <a:pt x="117" y="2395"/>
                        </a:lnTo>
                        <a:lnTo>
                          <a:pt x="120" y="2392"/>
                        </a:lnTo>
                        <a:lnTo>
                          <a:pt x="123" y="2390"/>
                        </a:lnTo>
                        <a:lnTo>
                          <a:pt x="125" y="2388"/>
                        </a:lnTo>
                        <a:lnTo>
                          <a:pt x="142" y="2380"/>
                        </a:lnTo>
                        <a:lnTo>
                          <a:pt x="146" y="2377"/>
                        </a:lnTo>
                        <a:lnTo>
                          <a:pt x="147" y="2376"/>
                        </a:lnTo>
                        <a:lnTo>
                          <a:pt x="150" y="2372"/>
                        </a:lnTo>
                        <a:lnTo>
                          <a:pt x="152" y="2371"/>
                        </a:lnTo>
                        <a:lnTo>
                          <a:pt x="153" y="2366"/>
                        </a:lnTo>
                        <a:lnTo>
                          <a:pt x="153" y="2363"/>
                        </a:lnTo>
                        <a:lnTo>
                          <a:pt x="155" y="2352"/>
                        </a:lnTo>
                        <a:lnTo>
                          <a:pt x="157" y="2347"/>
                        </a:lnTo>
                        <a:lnTo>
                          <a:pt x="155" y="2339"/>
                        </a:lnTo>
                        <a:lnTo>
                          <a:pt x="155" y="2331"/>
                        </a:lnTo>
                        <a:lnTo>
                          <a:pt x="153" y="2309"/>
                        </a:lnTo>
                        <a:lnTo>
                          <a:pt x="153" y="2303"/>
                        </a:lnTo>
                        <a:lnTo>
                          <a:pt x="153" y="2300"/>
                        </a:lnTo>
                        <a:lnTo>
                          <a:pt x="155" y="2295"/>
                        </a:lnTo>
                        <a:lnTo>
                          <a:pt x="157" y="2293"/>
                        </a:lnTo>
                        <a:lnTo>
                          <a:pt x="160" y="2289"/>
                        </a:lnTo>
                        <a:lnTo>
                          <a:pt x="168" y="2282"/>
                        </a:lnTo>
                        <a:lnTo>
                          <a:pt x="174" y="2281"/>
                        </a:lnTo>
                        <a:lnTo>
                          <a:pt x="174" y="2279"/>
                        </a:lnTo>
                        <a:lnTo>
                          <a:pt x="176" y="2279"/>
                        </a:lnTo>
                        <a:lnTo>
                          <a:pt x="184" y="2274"/>
                        </a:lnTo>
                        <a:lnTo>
                          <a:pt x="185" y="2273"/>
                        </a:lnTo>
                        <a:lnTo>
                          <a:pt x="188" y="2266"/>
                        </a:lnTo>
                        <a:lnTo>
                          <a:pt x="191" y="2258"/>
                        </a:lnTo>
                        <a:lnTo>
                          <a:pt x="191" y="2257"/>
                        </a:lnTo>
                        <a:lnTo>
                          <a:pt x="195" y="2254"/>
                        </a:lnTo>
                        <a:lnTo>
                          <a:pt x="195" y="2252"/>
                        </a:lnTo>
                        <a:lnTo>
                          <a:pt x="196" y="2249"/>
                        </a:lnTo>
                        <a:lnTo>
                          <a:pt x="195" y="2247"/>
                        </a:lnTo>
                        <a:lnTo>
                          <a:pt x="195" y="2246"/>
                        </a:lnTo>
                        <a:lnTo>
                          <a:pt x="195" y="2244"/>
                        </a:lnTo>
                        <a:lnTo>
                          <a:pt x="193" y="2243"/>
                        </a:lnTo>
                        <a:lnTo>
                          <a:pt x="193" y="2241"/>
                        </a:lnTo>
                        <a:lnTo>
                          <a:pt x="191" y="2239"/>
                        </a:lnTo>
                        <a:lnTo>
                          <a:pt x="188" y="2236"/>
                        </a:lnTo>
                        <a:lnTo>
                          <a:pt x="188" y="2233"/>
                        </a:lnTo>
                        <a:lnTo>
                          <a:pt x="187" y="2232"/>
                        </a:lnTo>
                        <a:lnTo>
                          <a:pt x="187" y="2228"/>
                        </a:lnTo>
                        <a:lnTo>
                          <a:pt x="187" y="2227"/>
                        </a:lnTo>
                        <a:lnTo>
                          <a:pt x="190" y="2219"/>
                        </a:lnTo>
                        <a:lnTo>
                          <a:pt x="188" y="2216"/>
                        </a:lnTo>
                        <a:lnTo>
                          <a:pt x="188" y="2214"/>
                        </a:lnTo>
                        <a:lnTo>
                          <a:pt x="187" y="2200"/>
                        </a:lnTo>
                        <a:lnTo>
                          <a:pt x="188" y="2198"/>
                        </a:lnTo>
                        <a:lnTo>
                          <a:pt x="190" y="2195"/>
                        </a:lnTo>
                        <a:lnTo>
                          <a:pt x="193" y="2190"/>
                        </a:lnTo>
                        <a:lnTo>
                          <a:pt x="193" y="2189"/>
                        </a:lnTo>
                        <a:lnTo>
                          <a:pt x="193" y="2187"/>
                        </a:lnTo>
                        <a:lnTo>
                          <a:pt x="188" y="2179"/>
                        </a:lnTo>
                        <a:lnTo>
                          <a:pt x="187" y="2178"/>
                        </a:lnTo>
                        <a:lnTo>
                          <a:pt x="185" y="2174"/>
                        </a:lnTo>
                        <a:lnTo>
                          <a:pt x="184" y="2171"/>
                        </a:lnTo>
                        <a:lnTo>
                          <a:pt x="182" y="2163"/>
                        </a:lnTo>
                        <a:lnTo>
                          <a:pt x="182" y="2160"/>
                        </a:lnTo>
                        <a:lnTo>
                          <a:pt x="182" y="2155"/>
                        </a:lnTo>
                        <a:lnTo>
                          <a:pt x="179" y="2152"/>
                        </a:lnTo>
                        <a:lnTo>
                          <a:pt x="177" y="2151"/>
                        </a:lnTo>
                        <a:lnTo>
                          <a:pt x="174" y="2149"/>
                        </a:lnTo>
                        <a:lnTo>
                          <a:pt x="171" y="2144"/>
                        </a:lnTo>
                        <a:lnTo>
                          <a:pt x="171" y="2143"/>
                        </a:lnTo>
                        <a:lnTo>
                          <a:pt x="166" y="2143"/>
                        </a:lnTo>
                        <a:lnTo>
                          <a:pt x="161" y="2143"/>
                        </a:lnTo>
                        <a:lnTo>
                          <a:pt x="157" y="2143"/>
                        </a:lnTo>
                        <a:lnTo>
                          <a:pt x="147" y="2144"/>
                        </a:lnTo>
                        <a:lnTo>
                          <a:pt x="144" y="2143"/>
                        </a:lnTo>
                        <a:lnTo>
                          <a:pt x="142" y="2141"/>
                        </a:lnTo>
                        <a:lnTo>
                          <a:pt x="138" y="2140"/>
                        </a:lnTo>
                        <a:lnTo>
                          <a:pt x="134" y="2135"/>
                        </a:lnTo>
                        <a:lnTo>
                          <a:pt x="134" y="2133"/>
                        </a:lnTo>
                        <a:lnTo>
                          <a:pt x="134" y="2130"/>
                        </a:lnTo>
                        <a:lnTo>
                          <a:pt x="138" y="2124"/>
                        </a:lnTo>
                        <a:lnTo>
                          <a:pt x="139" y="2119"/>
                        </a:lnTo>
                        <a:lnTo>
                          <a:pt x="141" y="2117"/>
                        </a:lnTo>
                        <a:lnTo>
                          <a:pt x="141" y="2116"/>
                        </a:lnTo>
                        <a:lnTo>
                          <a:pt x="149" y="2100"/>
                        </a:lnTo>
                        <a:lnTo>
                          <a:pt x="152" y="2094"/>
                        </a:lnTo>
                        <a:lnTo>
                          <a:pt x="152" y="2092"/>
                        </a:lnTo>
                        <a:lnTo>
                          <a:pt x="152" y="2089"/>
                        </a:lnTo>
                        <a:lnTo>
                          <a:pt x="150" y="2086"/>
                        </a:lnTo>
                        <a:lnTo>
                          <a:pt x="150" y="2084"/>
                        </a:lnTo>
                        <a:lnTo>
                          <a:pt x="149" y="2078"/>
                        </a:lnTo>
                        <a:lnTo>
                          <a:pt x="150" y="2075"/>
                        </a:lnTo>
                        <a:lnTo>
                          <a:pt x="152" y="2072"/>
                        </a:lnTo>
                        <a:lnTo>
                          <a:pt x="152" y="2067"/>
                        </a:lnTo>
                        <a:lnTo>
                          <a:pt x="152" y="2065"/>
                        </a:lnTo>
                        <a:lnTo>
                          <a:pt x="153" y="2060"/>
                        </a:lnTo>
                        <a:lnTo>
                          <a:pt x="155" y="2057"/>
                        </a:lnTo>
                        <a:lnTo>
                          <a:pt x="155" y="2056"/>
                        </a:lnTo>
                        <a:lnTo>
                          <a:pt x="155" y="2054"/>
                        </a:lnTo>
                        <a:lnTo>
                          <a:pt x="153" y="2051"/>
                        </a:lnTo>
                        <a:lnTo>
                          <a:pt x="157" y="2045"/>
                        </a:lnTo>
                        <a:lnTo>
                          <a:pt x="153" y="2045"/>
                        </a:lnTo>
                        <a:lnTo>
                          <a:pt x="152" y="2043"/>
                        </a:lnTo>
                        <a:lnTo>
                          <a:pt x="150" y="2045"/>
                        </a:lnTo>
                        <a:lnTo>
                          <a:pt x="147" y="2046"/>
                        </a:lnTo>
                        <a:lnTo>
                          <a:pt x="146" y="2048"/>
                        </a:lnTo>
                        <a:lnTo>
                          <a:pt x="142" y="2048"/>
                        </a:lnTo>
                        <a:lnTo>
                          <a:pt x="141" y="2046"/>
                        </a:lnTo>
                        <a:lnTo>
                          <a:pt x="136" y="2041"/>
                        </a:lnTo>
                        <a:lnTo>
                          <a:pt x="138" y="2038"/>
                        </a:lnTo>
                        <a:lnTo>
                          <a:pt x="136" y="2035"/>
                        </a:lnTo>
                        <a:lnTo>
                          <a:pt x="136" y="2034"/>
                        </a:lnTo>
                        <a:lnTo>
                          <a:pt x="134" y="2032"/>
                        </a:lnTo>
                        <a:lnTo>
                          <a:pt x="133" y="2032"/>
                        </a:lnTo>
                        <a:lnTo>
                          <a:pt x="128" y="2032"/>
                        </a:lnTo>
                        <a:lnTo>
                          <a:pt x="127" y="2030"/>
                        </a:lnTo>
                        <a:lnTo>
                          <a:pt x="125" y="2027"/>
                        </a:lnTo>
                        <a:lnTo>
                          <a:pt x="119" y="2027"/>
                        </a:lnTo>
                        <a:lnTo>
                          <a:pt x="112" y="2024"/>
                        </a:lnTo>
                        <a:lnTo>
                          <a:pt x="112" y="2022"/>
                        </a:lnTo>
                        <a:lnTo>
                          <a:pt x="111" y="2022"/>
                        </a:lnTo>
                        <a:lnTo>
                          <a:pt x="104" y="2021"/>
                        </a:lnTo>
                        <a:lnTo>
                          <a:pt x="103" y="2019"/>
                        </a:lnTo>
                        <a:lnTo>
                          <a:pt x="101" y="2021"/>
                        </a:lnTo>
                        <a:lnTo>
                          <a:pt x="100" y="2024"/>
                        </a:lnTo>
                        <a:lnTo>
                          <a:pt x="98" y="2026"/>
                        </a:lnTo>
                        <a:lnTo>
                          <a:pt x="96" y="2024"/>
                        </a:lnTo>
                        <a:lnTo>
                          <a:pt x="95" y="2022"/>
                        </a:lnTo>
                        <a:lnTo>
                          <a:pt x="93" y="2021"/>
                        </a:lnTo>
                        <a:lnTo>
                          <a:pt x="92" y="2021"/>
                        </a:lnTo>
                        <a:lnTo>
                          <a:pt x="89" y="2016"/>
                        </a:lnTo>
                        <a:lnTo>
                          <a:pt x="84" y="2015"/>
                        </a:lnTo>
                        <a:lnTo>
                          <a:pt x="82" y="2015"/>
                        </a:lnTo>
                        <a:lnTo>
                          <a:pt x="81" y="2013"/>
                        </a:lnTo>
                        <a:lnTo>
                          <a:pt x="79" y="2011"/>
                        </a:lnTo>
                        <a:lnTo>
                          <a:pt x="77" y="2013"/>
                        </a:lnTo>
                        <a:lnTo>
                          <a:pt x="76" y="2013"/>
                        </a:lnTo>
                        <a:lnTo>
                          <a:pt x="76" y="2015"/>
                        </a:lnTo>
                        <a:lnTo>
                          <a:pt x="74" y="2015"/>
                        </a:lnTo>
                        <a:lnTo>
                          <a:pt x="74" y="2013"/>
                        </a:lnTo>
                        <a:lnTo>
                          <a:pt x="73" y="2011"/>
                        </a:lnTo>
                        <a:lnTo>
                          <a:pt x="68" y="2008"/>
                        </a:lnTo>
                        <a:lnTo>
                          <a:pt x="66" y="2007"/>
                        </a:lnTo>
                        <a:lnTo>
                          <a:pt x="66" y="2005"/>
                        </a:lnTo>
                        <a:lnTo>
                          <a:pt x="66" y="2003"/>
                        </a:lnTo>
                        <a:lnTo>
                          <a:pt x="68" y="2002"/>
                        </a:lnTo>
                        <a:lnTo>
                          <a:pt x="68" y="2000"/>
                        </a:lnTo>
                        <a:lnTo>
                          <a:pt x="70" y="2000"/>
                        </a:lnTo>
                        <a:lnTo>
                          <a:pt x="74" y="2000"/>
                        </a:lnTo>
                        <a:lnTo>
                          <a:pt x="79" y="1999"/>
                        </a:lnTo>
                        <a:lnTo>
                          <a:pt x="79" y="1997"/>
                        </a:lnTo>
                        <a:lnTo>
                          <a:pt x="84" y="1997"/>
                        </a:lnTo>
                        <a:lnTo>
                          <a:pt x="85" y="2000"/>
                        </a:lnTo>
                        <a:lnTo>
                          <a:pt x="87" y="2000"/>
                        </a:lnTo>
                        <a:lnTo>
                          <a:pt x="89" y="2000"/>
                        </a:lnTo>
                        <a:lnTo>
                          <a:pt x="92" y="2002"/>
                        </a:lnTo>
                        <a:lnTo>
                          <a:pt x="93" y="2003"/>
                        </a:lnTo>
                        <a:lnTo>
                          <a:pt x="96" y="2008"/>
                        </a:lnTo>
                        <a:lnTo>
                          <a:pt x="98" y="2008"/>
                        </a:lnTo>
                        <a:lnTo>
                          <a:pt x="101" y="2008"/>
                        </a:lnTo>
                        <a:lnTo>
                          <a:pt x="104" y="2007"/>
                        </a:lnTo>
                        <a:lnTo>
                          <a:pt x="112" y="2000"/>
                        </a:lnTo>
                        <a:lnTo>
                          <a:pt x="114" y="2000"/>
                        </a:lnTo>
                        <a:lnTo>
                          <a:pt x="114" y="1999"/>
                        </a:lnTo>
                        <a:lnTo>
                          <a:pt x="117" y="1995"/>
                        </a:lnTo>
                        <a:lnTo>
                          <a:pt x="119" y="1997"/>
                        </a:lnTo>
                        <a:lnTo>
                          <a:pt x="120" y="1997"/>
                        </a:lnTo>
                        <a:lnTo>
                          <a:pt x="120" y="1999"/>
                        </a:lnTo>
                        <a:lnTo>
                          <a:pt x="125" y="1999"/>
                        </a:lnTo>
                        <a:lnTo>
                          <a:pt x="128" y="1999"/>
                        </a:lnTo>
                        <a:lnTo>
                          <a:pt x="130" y="1999"/>
                        </a:lnTo>
                        <a:lnTo>
                          <a:pt x="131" y="1994"/>
                        </a:lnTo>
                        <a:lnTo>
                          <a:pt x="133" y="1992"/>
                        </a:lnTo>
                        <a:lnTo>
                          <a:pt x="134" y="1992"/>
                        </a:lnTo>
                        <a:lnTo>
                          <a:pt x="138" y="1989"/>
                        </a:lnTo>
                        <a:lnTo>
                          <a:pt x="139" y="1989"/>
                        </a:lnTo>
                        <a:lnTo>
                          <a:pt x="142" y="1989"/>
                        </a:lnTo>
                        <a:lnTo>
                          <a:pt x="144" y="1991"/>
                        </a:lnTo>
                        <a:lnTo>
                          <a:pt x="144" y="1992"/>
                        </a:lnTo>
                        <a:lnTo>
                          <a:pt x="144" y="1994"/>
                        </a:lnTo>
                        <a:lnTo>
                          <a:pt x="144" y="1995"/>
                        </a:lnTo>
                        <a:lnTo>
                          <a:pt x="146" y="1997"/>
                        </a:lnTo>
                        <a:lnTo>
                          <a:pt x="147" y="1997"/>
                        </a:lnTo>
                        <a:lnTo>
                          <a:pt x="147" y="1999"/>
                        </a:lnTo>
                        <a:lnTo>
                          <a:pt x="149" y="1999"/>
                        </a:lnTo>
                        <a:lnTo>
                          <a:pt x="150" y="1999"/>
                        </a:lnTo>
                        <a:lnTo>
                          <a:pt x="152" y="2000"/>
                        </a:lnTo>
                        <a:lnTo>
                          <a:pt x="153" y="2000"/>
                        </a:lnTo>
                        <a:lnTo>
                          <a:pt x="157" y="1997"/>
                        </a:lnTo>
                        <a:lnTo>
                          <a:pt x="161" y="1997"/>
                        </a:lnTo>
                        <a:lnTo>
                          <a:pt x="163" y="1997"/>
                        </a:lnTo>
                        <a:lnTo>
                          <a:pt x="163" y="1995"/>
                        </a:lnTo>
                        <a:lnTo>
                          <a:pt x="161" y="1994"/>
                        </a:lnTo>
                        <a:lnTo>
                          <a:pt x="163" y="1994"/>
                        </a:lnTo>
                        <a:lnTo>
                          <a:pt x="163" y="1992"/>
                        </a:lnTo>
                        <a:lnTo>
                          <a:pt x="163" y="1991"/>
                        </a:lnTo>
                        <a:lnTo>
                          <a:pt x="161" y="1989"/>
                        </a:lnTo>
                        <a:lnTo>
                          <a:pt x="165" y="1984"/>
                        </a:lnTo>
                        <a:lnTo>
                          <a:pt x="169" y="1980"/>
                        </a:lnTo>
                        <a:lnTo>
                          <a:pt x="171" y="1980"/>
                        </a:lnTo>
                        <a:lnTo>
                          <a:pt x="174" y="1980"/>
                        </a:lnTo>
                        <a:lnTo>
                          <a:pt x="180" y="1975"/>
                        </a:lnTo>
                        <a:lnTo>
                          <a:pt x="182" y="1972"/>
                        </a:lnTo>
                        <a:lnTo>
                          <a:pt x="184" y="1970"/>
                        </a:lnTo>
                        <a:lnTo>
                          <a:pt x="185" y="1969"/>
                        </a:lnTo>
                        <a:lnTo>
                          <a:pt x="188" y="1964"/>
                        </a:lnTo>
                        <a:lnTo>
                          <a:pt x="190" y="1964"/>
                        </a:lnTo>
                        <a:lnTo>
                          <a:pt x="191" y="1964"/>
                        </a:lnTo>
                        <a:lnTo>
                          <a:pt x="198" y="1962"/>
                        </a:lnTo>
                        <a:lnTo>
                          <a:pt x="199" y="1961"/>
                        </a:lnTo>
                        <a:lnTo>
                          <a:pt x="199" y="1959"/>
                        </a:lnTo>
                        <a:lnTo>
                          <a:pt x="203" y="1959"/>
                        </a:lnTo>
                        <a:lnTo>
                          <a:pt x="204" y="1956"/>
                        </a:lnTo>
                        <a:lnTo>
                          <a:pt x="206" y="1954"/>
                        </a:lnTo>
                        <a:lnTo>
                          <a:pt x="207" y="1948"/>
                        </a:lnTo>
                        <a:lnTo>
                          <a:pt x="207" y="1945"/>
                        </a:lnTo>
                        <a:lnTo>
                          <a:pt x="209" y="1943"/>
                        </a:lnTo>
                        <a:lnTo>
                          <a:pt x="211" y="1942"/>
                        </a:lnTo>
                        <a:lnTo>
                          <a:pt x="215" y="1940"/>
                        </a:lnTo>
                        <a:lnTo>
                          <a:pt x="218" y="1942"/>
                        </a:lnTo>
                        <a:lnTo>
                          <a:pt x="222" y="1942"/>
                        </a:lnTo>
                        <a:lnTo>
                          <a:pt x="222" y="1938"/>
                        </a:lnTo>
                        <a:lnTo>
                          <a:pt x="222" y="1932"/>
                        </a:lnTo>
                        <a:lnTo>
                          <a:pt x="223" y="1932"/>
                        </a:lnTo>
                        <a:lnTo>
                          <a:pt x="223" y="1931"/>
                        </a:lnTo>
                        <a:lnTo>
                          <a:pt x="225" y="1931"/>
                        </a:lnTo>
                        <a:lnTo>
                          <a:pt x="226" y="1931"/>
                        </a:lnTo>
                        <a:lnTo>
                          <a:pt x="228" y="1932"/>
                        </a:lnTo>
                        <a:lnTo>
                          <a:pt x="230" y="1932"/>
                        </a:lnTo>
                        <a:lnTo>
                          <a:pt x="231" y="1932"/>
                        </a:lnTo>
                        <a:lnTo>
                          <a:pt x="233" y="1931"/>
                        </a:lnTo>
                        <a:lnTo>
                          <a:pt x="239" y="1926"/>
                        </a:lnTo>
                        <a:lnTo>
                          <a:pt x="241" y="1926"/>
                        </a:lnTo>
                        <a:lnTo>
                          <a:pt x="241" y="1924"/>
                        </a:lnTo>
                        <a:lnTo>
                          <a:pt x="249" y="1923"/>
                        </a:lnTo>
                        <a:lnTo>
                          <a:pt x="250" y="1923"/>
                        </a:lnTo>
                        <a:lnTo>
                          <a:pt x="255" y="1921"/>
                        </a:lnTo>
                        <a:lnTo>
                          <a:pt x="256" y="1919"/>
                        </a:lnTo>
                        <a:lnTo>
                          <a:pt x="261" y="1918"/>
                        </a:lnTo>
                        <a:lnTo>
                          <a:pt x="263" y="1918"/>
                        </a:lnTo>
                        <a:lnTo>
                          <a:pt x="264" y="1916"/>
                        </a:lnTo>
                        <a:lnTo>
                          <a:pt x="264" y="1915"/>
                        </a:lnTo>
                        <a:lnTo>
                          <a:pt x="264" y="1913"/>
                        </a:lnTo>
                        <a:lnTo>
                          <a:pt x="266" y="1913"/>
                        </a:lnTo>
                        <a:lnTo>
                          <a:pt x="268" y="1913"/>
                        </a:lnTo>
                        <a:lnTo>
                          <a:pt x="268" y="1912"/>
                        </a:lnTo>
                        <a:lnTo>
                          <a:pt x="269" y="1912"/>
                        </a:lnTo>
                        <a:lnTo>
                          <a:pt x="271" y="1912"/>
                        </a:lnTo>
                        <a:lnTo>
                          <a:pt x="272" y="1913"/>
                        </a:lnTo>
                        <a:lnTo>
                          <a:pt x="274" y="1913"/>
                        </a:lnTo>
                        <a:lnTo>
                          <a:pt x="280" y="1913"/>
                        </a:lnTo>
                        <a:lnTo>
                          <a:pt x="282" y="1913"/>
                        </a:lnTo>
                        <a:lnTo>
                          <a:pt x="288" y="1912"/>
                        </a:lnTo>
                        <a:lnTo>
                          <a:pt x="298" y="1910"/>
                        </a:lnTo>
                        <a:lnTo>
                          <a:pt x="306" y="1912"/>
                        </a:lnTo>
                        <a:lnTo>
                          <a:pt x="307" y="1910"/>
                        </a:lnTo>
                        <a:lnTo>
                          <a:pt x="309" y="1910"/>
                        </a:lnTo>
                        <a:lnTo>
                          <a:pt x="312" y="1908"/>
                        </a:lnTo>
                        <a:lnTo>
                          <a:pt x="315" y="1908"/>
                        </a:lnTo>
                        <a:lnTo>
                          <a:pt x="317" y="1908"/>
                        </a:lnTo>
                        <a:lnTo>
                          <a:pt x="318" y="1910"/>
                        </a:lnTo>
                        <a:lnTo>
                          <a:pt x="321" y="1910"/>
                        </a:lnTo>
                        <a:lnTo>
                          <a:pt x="325" y="1910"/>
                        </a:lnTo>
                        <a:lnTo>
                          <a:pt x="326" y="1910"/>
                        </a:lnTo>
                        <a:lnTo>
                          <a:pt x="328" y="1908"/>
                        </a:lnTo>
                        <a:lnTo>
                          <a:pt x="331" y="1905"/>
                        </a:lnTo>
                        <a:lnTo>
                          <a:pt x="332" y="1905"/>
                        </a:lnTo>
                        <a:lnTo>
                          <a:pt x="332" y="1907"/>
                        </a:lnTo>
                        <a:lnTo>
                          <a:pt x="336" y="1905"/>
                        </a:lnTo>
                        <a:lnTo>
                          <a:pt x="337" y="1904"/>
                        </a:lnTo>
                        <a:lnTo>
                          <a:pt x="339" y="1904"/>
                        </a:lnTo>
                        <a:lnTo>
                          <a:pt x="344" y="1902"/>
                        </a:lnTo>
                        <a:lnTo>
                          <a:pt x="348" y="1899"/>
                        </a:lnTo>
                        <a:lnTo>
                          <a:pt x="355" y="1899"/>
                        </a:lnTo>
                        <a:lnTo>
                          <a:pt x="366" y="1899"/>
                        </a:lnTo>
                        <a:lnTo>
                          <a:pt x="367" y="1899"/>
                        </a:lnTo>
                        <a:lnTo>
                          <a:pt x="369" y="1899"/>
                        </a:lnTo>
                        <a:lnTo>
                          <a:pt x="377" y="1896"/>
                        </a:lnTo>
                        <a:lnTo>
                          <a:pt x="380" y="1897"/>
                        </a:lnTo>
                        <a:lnTo>
                          <a:pt x="380" y="1899"/>
                        </a:lnTo>
                        <a:lnTo>
                          <a:pt x="385" y="1897"/>
                        </a:lnTo>
                        <a:lnTo>
                          <a:pt x="388" y="1899"/>
                        </a:lnTo>
                        <a:lnTo>
                          <a:pt x="391" y="1899"/>
                        </a:lnTo>
                        <a:lnTo>
                          <a:pt x="393" y="1899"/>
                        </a:lnTo>
                        <a:lnTo>
                          <a:pt x="401" y="1896"/>
                        </a:lnTo>
                        <a:lnTo>
                          <a:pt x="404" y="1893"/>
                        </a:lnTo>
                        <a:lnTo>
                          <a:pt x="407" y="1891"/>
                        </a:lnTo>
                        <a:lnTo>
                          <a:pt x="413" y="1891"/>
                        </a:lnTo>
                        <a:lnTo>
                          <a:pt x="416" y="1889"/>
                        </a:lnTo>
                        <a:lnTo>
                          <a:pt x="418" y="1889"/>
                        </a:lnTo>
                        <a:lnTo>
                          <a:pt x="420" y="1889"/>
                        </a:lnTo>
                        <a:lnTo>
                          <a:pt x="421" y="1893"/>
                        </a:lnTo>
                        <a:lnTo>
                          <a:pt x="423" y="1894"/>
                        </a:lnTo>
                        <a:lnTo>
                          <a:pt x="426" y="1896"/>
                        </a:lnTo>
                        <a:lnTo>
                          <a:pt x="432" y="1894"/>
                        </a:lnTo>
                        <a:lnTo>
                          <a:pt x="437" y="1894"/>
                        </a:lnTo>
                        <a:lnTo>
                          <a:pt x="439" y="1894"/>
                        </a:lnTo>
                        <a:lnTo>
                          <a:pt x="447" y="1894"/>
                        </a:lnTo>
                        <a:lnTo>
                          <a:pt x="450" y="1896"/>
                        </a:lnTo>
                        <a:lnTo>
                          <a:pt x="464" y="1896"/>
                        </a:lnTo>
                        <a:lnTo>
                          <a:pt x="467" y="1896"/>
                        </a:lnTo>
                        <a:lnTo>
                          <a:pt x="470" y="1899"/>
                        </a:lnTo>
                        <a:lnTo>
                          <a:pt x="472" y="1899"/>
                        </a:lnTo>
                        <a:lnTo>
                          <a:pt x="473" y="1900"/>
                        </a:lnTo>
                        <a:lnTo>
                          <a:pt x="475" y="1899"/>
                        </a:lnTo>
                        <a:lnTo>
                          <a:pt x="475" y="1900"/>
                        </a:lnTo>
                        <a:lnTo>
                          <a:pt x="483" y="1902"/>
                        </a:lnTo>
                        <a:lnTo>
                          <a:pt x="483" y="1900"/>
                        </a:lnTo>
                        <a:lnTo>
                          <a:pt x="485" y="1900"/>
                        </a:lnTo>
                        <a:lnTo>
                          <a:pt x="488" y="1896"/>
                        </a:lnTo>
                        <a:lnTo>
                          <a:pt x="489" y="1896"/>
                        </a:lnTo>
                        <a:lnTo>
                          <a:pt x="492" y="1880"/>
                        </a:lnTo>
                        <a:lnTo>
                          <a:pt x="492" y="1878"/>
                        </a:lnTo>
                        <a:lnTo>
                          <a:pt x="492" y="1877"/>
                        </a:lnTo>
                        <a:lnTo>
                          <a:pt x="496" y="1874"/>
                        </a:lnTo>
                        <a:lnTo>
                          <a:pt x="496" y="1872"/>
                        </a:lnTo>
                        <a:lnTo>
                          <a:pt x="497" y="1870"/>
                        </a:lnTo>
                        <a:lnTo>
                          <a:pt x="499" y="1869"/>
                        </a:lnTo>
                        <a:lnTo>
                          <a:pt x="504" y="1867"/>
                        </a:lnTo>
                        <a:lnTo>
                          <a:pt x="505" y="1866"/>
                        </a:lnTo>
                        <a:lnTo>
                          <a:pt x="510" y="1864"/>
                        </a:lnTo>
                        <a:lnTo>
                          <a:pt x="515" y="1864"/>
                        </a:lnTo>
                        <a:lnTo>
                          <a:pt x="523" y="1867"/>
                        </a:lnTo>
                        <a:lnTo>
                          <a:pt x="529" y="1867"/>
                        </a:lnTo>
                        <a:lnTo>
                          <a:pt x="534" y="1862"/>
                        </a:lnTo>
                        <a:lnTo>
                          <a:pt x="534" y="1861"/>
                        </a:lnTo>
                        <a:lnTo>
                          <a:pt x="537" y="1859"/>
                        </a:lnTo>
                        <a:lnTo>
                          <a:pt x="537" y="1858"/>
                        </a:lnTo>
                        <a:lnTo>
                          <a:pt x="538" y="1858"/>
                        </a:lnTo>
                        <a:lnTo>
                          <a:pt x="538" y="1856"/>
                        </a:lnTo>
                        <a:lnTo>
                          <a:pt x="540" y="1855"/>
                        </a:lnTo>
                        <a:lnTo>
                          <a:pt x="540" y="1851"/>
                        </a:lnTo>
                        <a:lnTo>
                          <a:pt x="540" y="1850"/>
                        </a:lnTo>
                        <a:lnTo>
                          <a:pt x="542" y="1840"/>
                        </a:lnTo>
                        <a:lnTo>
                          <a:pt x="545" y="1836"/>
                        </a:lnTo>
                        <a:lnTo>
                          <a:pt x="548" y="1832"/>
                        </a:lnTo>
                        <a:lnTo>
                          <a:pt x="549" y="1829"/>
                        </a:lnTo>
                        <a:lnTo>
                          <a:pt x="556" y="1824"/>
                        </a:lnTo>
                        <a:lnTo>
                          <a:pt x="557" y="1824"/>
                        </a:lnTo>
                        <a:lnTo>
                          <a:pt x="559" y="1824"/>
                        </a:lnTo>
                        <a:lnTo>
                          <a:pt x="561" y="1823"/>
                        </a:lnTo>
                        <a:lnTo>
                          <a:pt x="565" y="1823"/>
                        </a:lnTo>
                        <a:lnTo>
                          <a:pt x="570" y="1821"/>
                        </a:lnTo>
                        <a:lnTo>
                          <a:pt x="572" y="1820"/>
                        </a:lnTo>
                        <a:lnTo>
                          <a:pt x="575" y="1820"/>
                        </a:lnTo>
                        <a:lnTo>
                          <a:pt x="576" y="1820"/>
                        </a:lnTo>
                        <a:lnTo>
                          <a:pt x="581" y="1818"/>
                        </a:lnTo>
                        <a:lnTo>
                          <a:pt x="584" y="1817"/>
                        </a:lnTo>
                        <a:lnTo>
                          <a:pt x="589" y="1807"/>
                        </a:lnTo>
                        <a:lnTo>
                          <a:pt x="589" y="1805"/>
                        </a:lnTo>
                        <a:lnTo>
                          <a:pt x="588" y="1804"/>
                        </a:lnTo>
                        <a:lnTo>
                          <a:pt x="586" y="1804"/>
                        </a:lnTo>
                        <a:lnTo>
                          <a:pt x="583" y="1801"/>
                        </a:lnTo>
                        <a:lnTo>
                          <a:pt x="580" y="1799"/>
                        </a:lnTo>
                        <a:lnTo>
                          <a:pt x="578" y="1797"/>
                        </a:lnTo>
                        <a:lnTo>
                          <a:pt x="576" y="1797"/>
                        </a:lnTo>
                        <a:lnTo>
                          <a:pt x="575" y="1796"/>
                        </a:lnTo>
                        <a:lnTo>
                          <a:pt x="573" y="1794"/>
                        </a:lnTo>
                        <a:lnTo>
                          <a:pt x="572" y="1788"/>
                        </a:lnTo>
                        <a:lnTo>
                          <a:pt x="572" y="1786"/>
                        </a:lnTo>
                        <a:lnTo>
                          <a:pt x="572" y="1783"/>
                        </a:lnTo>
                        <a:lnTo>
                          <a:pt x="573" y="1778"/>
                        </a:lnTo>
                        <a:lnTo>
                          <a:pt x="583" y="1772"/>
                        </a:lnTo>
                        <a:lnTo>
                          <a:pt x="599" y="1759"/>
                        </a:lnTo>
                        <a:lnTo>
                          <a:pt x="600" y="1758"/>
                        </a:lnTo>
                        <a:lnTo>
                          <a:pt x="602" y="1756"/>
                        </a:lnTo>
                        <a:lnTo>
                          <a:pt x="603" y="1755"/>
                        </a:lnTo>
                        <a:lnTo>
                          <a:pt x="613" y="1747"/>
                        </a:lnTo>
                        <a:lnTo>
                          <a:pt x="616" y="1744"/>
                        </a:lnTo>
                        <a:lnTo>
                          <a:pt x="618" y="1744"/>
                        </a:lnTo>
                        <a:lnTo>
                          <a:pt x="618" y="1742"/>
                        </a:lnTo>
                        <a:lnTo>
                          <a:pt x="622" y="1737"/>
                        </a:lnTo>
                        <a:lnTo>
                          <a:pt x="626" y="1734"/>
                        </a:lnTo>
                        <a:lnTo>
                          <a:pt x="629" y="1729"/>
                        </a:lnTo>
                        <a:lnTo>
                          <a:pt x="629" y="1728"/>
                        </a:lnTo>
                        <a:lnTo>
                          <a:pt x="630" y="1728"/>
                        </a:lnTo>
                        <a:lnTo>
                          <a:pt x="635" y="1718"/>
                        </a:lnTo>
                        <a:lnTo>
                          <a:pt x="635" y="1714"/>
                        </a:lnTo>
                        <a:lnTo>
                          <a:pt x="635" y="1704"/>
                        </a:lnTo>
                        <a:lnTo>
                          <a:pt x="637" y="1701"/>
                        </a:lnTo>
                        <a:lnTo>
                          <a:pt x="641" y="1698"/>
                        </a:lnTo>
                        <a:lnTo>
                          <a:pt x="648" y="1699"/>
                        </a:lnTo>
                        <a:lnTo>
                          <a:pt x="659" y="1702"/>
                        </a:lnTo>
                        <a:lnTo>
                          <a:pt x="667" y="1706"/>
                        </a:lnTo>
                        <a:lnTo>
                          <a:pt x="670" y="1709"/>
                        </a:lnTo>
                        <a:lnTo>
                          <a:pt x="671" y="1709"/>
                        </a:lnTo>
                        <a:lnTo>
                          <a:pt x="673" y="1709"/>
                        </a:lnTo>
                        <a:lnTo>
                          <a:pt x="675" y="1709"/>
                        </a:lnTo>
                        <a:lnTo>
                          <a:pt x="676" y="1706"/>
                        </a:lnTo>
                        <a:lnTo>
                          <a:pt x="675" y="1701"/>
                        </a:lnTo>
                        <a:lnTo>
                          <a:pt x="671" y="1699"/>
                        </a:lnTo>
                        <a:lnTo>
                          <a:pt x="671" y="1698"/>
                        </a:lnTo>
                        <a:lnTo>
                          <a:pt x="670" y="1696"/>
                        </a:lnTo>
                        <a:lnTo>
                          <a:pt x="665" y="1690"/>
                        </a:lnTo>
                        <a:lnTo>
                          <a:pt x="665" y="1687"/>
                        </a:lnTo>
                        <a:lnTo>
                          <a:pt x="664" y="1685"/>
                        </a:lnTo>
                        <a:lnTo>
                          <a:pt x="664" y="1682"/>
                        </a:lnTo>
                        <a:lnTo>
                          <a:pt x="657" y="1668"/>
                        </a:lnTo>
                        <a:lnTo>
                          <a:pt x="657" y="1660"/>
                        </a:lnTo>
                        <a:lnTo>
                          <a:pt x="657" y="1653"/>
                        </a:lnTo>
                        <a:lnTo>
                          <a:pt x="656" y="1649"/>
                        </a:lnTo>
                        <a:lnTo>
                          <a:pt x="656" y="1644"/>
                        </a:lnTo>
                        <a:lnTo>
                          <a:pt x="657" y="1638"/>
                        </a:lnTo>
                        <a:lnTo>
                          <a:pt x="659" y="1633"/>
                        </a:lnTo>
                        <a:lnTo>
                          <a:pt x="662" y="1628"/>
                        </a:lnTo>
                        <a:lnTo>
                          <a:pt x="662" y="1626"/>
                        </a:lnTo>
                        <a:lnTo>
                          <a:pt x="665" y="1620"/>
                        </a:lnTo>
                        <a:lnTo>
                          <a:pt x="670" y="1601"/>
                        </a:lnTo>
                        <a:lnTo>
                          <a:pt x="673" y="1598"/>
                        </a:lnTo>
                        <a:lnTo>
                          <a:pt x="675" y="1596"/>
                        </a:lnTo>
                        <a:lnTo>
                          <a:pt x="681" y="1590"/>
                        </a:lnTo>
                        <a:lnTo>
                          <a:pt x="684" y="1585"/>
                        </a:lnTo>
                        <a:lnTo>
                          <a:pt x="689" y="1580"/>
                        </a:lnTo>
                        <a:lnTo>
                          <a:pt x="692" y="1573"/>
                        </a:lnTo>
                        <a:lnTo>
                          <a:pt x="690" y="1566"/>
                        </a:lnTo>
                        <a:lnTo>
                          <a:pt x="684" y="1558"/>
                        </a:lnTo>
                        <a:lnTo>
                          <a:pt x="683" y="1554"/>
                        </a:lnTo>
                        <a:lnTo>
                          <a:pt x="681" y="1546"/>
                        </a:lnTo>
                        <a:lnTo>
                          <a:pt x="679" y="1544"/>
                        </a:lnTo>
                        <a:lnTo>
                          <a:pt x="678" y="1539"/>
                        </a:lnTo>
                        <a:lnTo>
                          <a:pt x="676" y="1536"/>
                        </a:lnTo>
                        <a:lnTo>
                          <a:pt x="673" y="1531"/>
                        </a:lnTo>
                        <a:lnTo>
                          <a:pt x="671" y="1528"/>
                        </a:lnTo>
                        <a:lnTo>
                          <a:pt x="670" y="1528"/>
                        </a:lnTo>
                        <a:lnTo>
                          <a:pt x="668" y="1525"/>
                        </a:lnTo>
                        <a:lnTo>
                          <a:pt x="665" y="1523"/>
                        </a:lnTo>
                        <a:lnTo>
                          <a:pt x="664" y="1522"/>
                        </a:lnTo>
                        <a:lnTo>
                          <a:pt x="660" y="1520"/>
                        </a:lnTo>
                        <a:lnTo>
                          <a:pt x="659" y="1519"/>
                        </a:lnTo>
                        <a:lnTo>
                          <a:pt x="649" y="1516"/>
                        </a:lnTo>
                        <a:lnTo>
                          <a:pt x="648" y="1514"/>
                        </a:lnTo>
                        <a:lnTo>
                          <a:pt x="648" y="1512"/>
                        </a:lnTo>
                        <a:lnTo>
                          <a:pt x="645" y="1511"/>
                        </a:lnTo>
                        <a:lnTo>
                          <a:pt x="643" y="1511"/>
                        </a:lnTo>
                        <a:lnTo>
                          <a:pt x="641" y="1509"/>
                        </a:lnTo>
                        <a:lnTo>
                          <a:pt x="640" y="1509"/>
                        </a:lnTo>
                        <a:lnTo>
                          <a:pt x="635" y="1498"/>
                        </a:lnTo>
                        <a:lnTo>
                          <a:pt x="633" y="1493"/>
                        </a:lnTo>
                        <a:lnTo>
                          <a:pt x="632" y="1490"/>
                        </a:lnTo>
                        <a:lnTo>
                          <a:pt x="633" y="1484"/>
                        </a:lnTo>
                        <a:lnTo>
                          <a:pt x="635" y="1478"/>
                        </a:lnTo>
                        <a:lnTo>
                          <a:pt x="633" y="1462"/>
                        </a:lnTo>
                        <a:lnTo>
                          <a:pt x="635" y="1460"/>
                        </a:lnTo>
                        <a:lnTo>
                          <a:pt x="637" y="1457"/>
                        </a:lnTo>
                        <a:lnTo>
                          <a:pt x="638" y="1455"/>
                        </a:lnTo>
                        <a:lnTo>
                          <a:pt x="640" y="1455"/>
                        </a:lnTo>
                        <a:lnTo>
                          <a:pt x="641" y="1455"/>
                        </a:lnTo>
                        <a:lnTo>
                          <a:pt x="643" y="1455"/>
                        </a:lnTo>
                        <a:lnTo>
                          <a:pt x="645" y="1455"/>
                        </a:lnTo>
                        <a:lnTo>
                          <a:pt x="646" y="1455"/>
                        </a:lnTo>
                        <a:lnTo>
                          <a:pt x="652" y="1455"/>
                        </a:lnTo>
                        <a:lnTo>
                          <a:pt x="659" y="1455"/>
                        </a:lnTo>
                        <a:lnTo>
                          <a:pt x="664" y="1454"/>
                        </a:lnTo>
                        <a:lnTo>
                          <a:pt x="671" y="1454"/>
                        </a:lnTo>
                        <a:lnTo>
                          <a:pt x="679" y="1454"/>
                        </a:lnTo>
                        <a:lnTo>
                          <a:pt x="683" y="1452"/>
                        </a:lnTo>
                        <a:lnTo>
                          <a:pt x="689" y="1452"/>
                        </a:lnTo>
                        <a:lnTo>
                          <a:pt x="692" y="1451"/>
                        </a:lnTo>
                        <a:lnTo>
                          <a:pt x="697" y="1451"/>
                        </a:lnTo>
                        <a:lnTo>
                          <a:pt x="698" y="1449"/>
                        </a:lnTo>
                        <a:lnTo>
                          <a:pt x="700" y="1449"/>
                        </a:lnTo>
                        <a:lnTo>
                          <a:pt x="702" y="1449"/>
                        </a:lnTo>
                        <a:lnTo>
                          <a:pt x="708" y="1449"/>
                        </a:lnTo>
                        <a:lnTo>
                          <a:pt x="709" y="1451"/>
                        </a:lnTo>
                        <a:lnTo>
                          <a:pt x="714" y="1452"/>
                        </a:lnTo>
                        <a:lnTo>
                          <a:pt x="717" y="1454"/>
                        </a:lnTo>
                        <a:lnTo>
                          <a:pt x="728" y="1465"/>
                        </a:lnTo>
                        <a:lnTo>
                          <a:pt x="733" y="1466"/>
                        </a:lnTo>
                        <a:lnTo>
                          <a:pt x="736" y="1468"/>
                        </a:lnTo>
                        <a:lnTo>
                          <a:pt x="740" y="1470"/>
                        </a:lnTo>
                        <a:lnTo>
                          <a:pt x="743" y="1470"/>
                        </a:lnTo>
                        <a:lnTo>
                          <a:pt x="754" y="1470"/>
                        </a:lnTo>
                        <a:lnTo>
                          <a:pt x="757" y="1466"/>
                        </a:lnTo>
                        <a:lnTo>
                          <a:pt x="765" y="1463"/>
                        </a:lnTo>
                        <a:lnTo>
                          <a:pt x="768" y="1462"/>
                        </a:lnTo>
                        <a:lnTo>
                          <a:pt x="770" y="1460"/>
                        </a:lnTo>
                        <a:lnTo>
                          <a:pt x="771" y="1459"/>
                        </a:lnTo>
                        <a:lnTo>
                          <a:pt x="776" y="1455"/>
                        </a:lnTo>
                        <a:lnTo>
                          <a:pt x="781" y="1452"/>
                        </a:lnTo>
                        <a:lnTo>
                          <a:pt x="782" y="1452"/>
                        </a:lnTo>
                        <a:lnTo>
                          <a:pt x="784" y="1451"/>
                        </a:lnTo>
                        <a:lnTo>
                          <a:pt x="787" y="1446"/>
                        </a:lnTo>
                        <a:lnTo>
                          <a:pt x="787" y="1444"/>
                        </a:lnTo>
                        <a:lnTo>
                          <a:pt x="792" y="1435"/>
                        </a:lnTo>
                        <a:lnTo>
                          <a:pt x="795" y="1420"/>
                        </a:lnTo>
                        <a:lnTo>
                          <a:pt x="795" y="1416"/>
                        </a:lnTo>
                        <a:lnTo>
                          <a:pt x="795" y="1406"/>
                        </a:lnTo>
                        <a:lnTo>
                          <a:pt x="795" y="1403"/>
                        </a:lnTo>
                        <a:lnTo>
                          <a:pt x="792" y="1392"/>
                        </a:lnTo>
                        <a:lnTo>
                          <a:pt x="789" y="1379"/>
                        </a:lnTo>
                        <a:lnTo>
                          <a:pt x="789" y="1371"/>
                        </a:lnTo>
                        <a:lnTo>
                          <a:pt x="789" y="1365"/>
                        </a:lnTo>
                        <a:lnTo>
                          <a:pt x="789" y="1360"/>
                        </a:lnTo>
                        <a:lnTo>
                          <a:pt x="789" y="1359"/>
                        </a:lnTo>
                        <a:lnTo>
                          <a:pt x="790" y="1348"/>
                        </a:lnTo>
                        <a:lnTo>
                          <a:pt x="792" y="1343"/>
                        </a:lnTo>
                        <a:lnTo>
                          <a:pt x="792" y="1338"/>
                        </a:lnTo>
                        <a:lnTo>
                          <a:pt x="792" y="1337"/>
                        </a:lnTo>
                        <a:lnTo>
                          <a:pt x="792" y="1333"/>
                        </a:lnTo>
                        <a:lnTo>
                          <a:pt x="793" y="1324"/>
                        </a:lnTo>
                        <a:lnTo>
                          <a:pt x="793" y="1322"/>
                        </a:lnTo>
                        <a:lnTo>
                          <a:pt x="793" y="1319"/>
                        </a:lnTo>
                        <a:lnTo>
                          <a:pt x="792" y="1318"/>
                        </a:lnTo>
                        <a:lnTo>
                          <a:pt x="792" y="1314"/>
                        </a:lnTo>
                        <a:lnTo>
                          <a:pt x="790" y="1311"/>
                        </a:lnTo>
                        <a:lnTo>
                          <a:pt x="789" y="1308"/>
                        </a:lnTo>
                        <a:lnTo>
                          <a:pt x="789" y="1306"/>
                        </a:lnTo>
                        <a:lnTo>
                          <a:pt x="786" y="1305"/>
                        </a:lnTo>
                        <a:lnTo>
                          <a:pt x="778" y="1297"/>
                        </a:lnTo>
                        <a:lnTo>
                          <a:pt x="766" y="1284"/>
                        </a:lnTo>
                        <a:lnTo>
                          <a:pt x="766" y="1283"/>
                        </a:lnTo>
                        <a:lnTo>
                          <a:pt x="762" y="1278"/>
                        </a:lnTo>
                        <a:lnTo>
                          <a:pt x="757" y="1265"/>
                        </a:lnTo>
                        <a:lnTo>
                          <a:pt x="757" y="1264"/>
                        </a:lnTo>
                        <a:lnTo>
                          <a:pt x="755" y="1261"/>
                        </a:lnTo>
                        <a:lnTo>
                          <a:pt x="752" y="1253"/>
                        </a:lnTo>
                        <a:lnTo>
                          <a:pt x="749" y="1246"/>
                        </a:lnTo>
                        <a:lnTo>
                          <a:pt x="746" y="1243"/>
                        </a:lnTo>
                        <a:lnTo>
                          <a:pt x="743" y="1235"/>
                        </a:lnTo>
                        <a:lnTo>
                          <a:pt x="736" y="1227"/>
                        </a:lnTo>
                        <a:lnTo>
                          <a:pt x="730" y="1221"/>
                        </a:lnTo>
                        <a:lnTo>
                          <a:pt x="719" y="1213"/>
                        </a:lnTo>
                        <a:lnTo>
                          <a:pt x="717" y="1211"/>
                        </a:lnTo>
                        <a:lnTo>
                          <a:pt x="716" y="1208"/>
                        </a:lnTo>
                        <a:lnTo>
                          <a:pt x="716" y="1205"/>
                        </a:lnTo>
                        <a:lnTo>
                          <a:pt x="716" y="1203"/>
                        </a:lnTo>
                        <a:lnTo>
                          <a:pt x="716" y="1200"/>
                        </a:lnTo>
                        <a:lnTo>
                          <a:pt x="719" y="1197"/>
                        </a:lnTo>
                        <a:lnTo>
                          <a:pt x="722" y="1194"/>
                        </a:lnTo>
                        <a:lnTo>
                          <a:pt x="724" y="1192"/>
                        </a:lnTo>
                        <a:lnTo>
                          <a:pt x="727" y="1191"/>
                        </a:lnTo>
                        <a:lnTo>
                          <a:pt x="730" y="1189"/>
                        </a:lnTo>
                        <a:lnTo>
                          <a:pt x="736" y="1184"/>
                        </a:lnTo>
                        <a:lnTo>
                          <a:pt x="738" y="1184"/>
                        </a:lnTo>
                        <a:lnTo>
                          <a:pt x="747" y="1177"/>
                        </a:lnTo>
                        <a:lnTo>
                          <a:pt x="752" y="1175"/>
                        </a:lnTo>
                        <a:lnTo>
                          <a:pt x="759" y="1172"/>
                        </a:lnTo>
                        <a:lnTo>
                          <a:pt x="763" y="1172"/>
                        </a:lnTo>
                        <a:lnTo>
                          <a:pt x="765" y="1172"/>
                        </a:lnTo>
                        <a:lnTo>
                          <a:pt x="766" y="1172"/>
                        </a:lnTo>
                        <a:lnTo>
                          <a:pt x="773" y="1173"/>
                        </a:lnTo>
                        <a:lnTo>
                          <a:pt x="779" y="1173"/>
                        </a:lnTo>
                        <a:lnTo>
                          <a:pt x="781" y="1172"/>
                        </a:lnTo>
                        <a:lnTo>
                          <a:pt x="784" y="1172"/>
                        </a:lnTo>
                        <a:lnTo>
                          <a:pt x="786" y="1169"/>
                        </a:lnTo>
                        <a:lnTo>
                          <a:pt x="786" y="1167"/>
                        </a:lnTo>
                        <a:lnTo>
                          <a:pt x="786" y="1162"/>
                        </a:lnTo>
                        <a:lnTo>
                          <a:pt x="784" y="1159"/>
                        </a:lnTo>
                        <a:lnTo>
                          <a:pt x="782" y="1159"/>
                        </a:lnTo>
                        <a:lnTo>
                          <a:pt x="781" y="1158"/>
                        </a:lnTo>
                        <a:lnTo>
                          <a:pt x="778" y="1154"/>
                        </a:lnTo>
                        <a:lnTo>
                          <a:pt x="776" y="1151"/>
                        </a:lnTo>
                        <a:lnTo>
                          <a:pt x="774" y="1148"/>
                        </a:lnTo>
                        <a:lnTo>
                          <a:pt x="774" y="1145"/>
                        </a:lnTo>
                        <a:lnTo>
                          <a:pt x="776" y="1142"/>
                        </a:lnTo>
                        <a:lnTo>
                          <a:pt x="779" y="1140"/>
                        </a:lnTo>
                        <a:lnTo>
                          <a:pt x="779" y="1139"/>
                        </a:lnTo>
                        <a:lnTo>
                          <a:pt x="781" y="1139"/>
                        </a:lnTo>
                        <a:lnTo>
                          <a:pt x="784" y="1135"/>
                        </a:lnTo>
                        <a:lnTo>
                          <a:pt x="786" y="1134"/>
                        </a:lnTo>
                        <a:lnTo>
                          <a:pt x="787" y="1132"/>
                        </a:lnTo>
                        <a:lnTo>
                          <a:pt x="789" y="1132"/>
                        </a:lnTo>
                        <a:lnTo>
                          <a:pt x="798" y="1124"/>
                        </a:lnTo>
                        <a:lnTo>
                          <a:pt x="800" y="1124"/>
                        </a:lnTo>
                        <a:lnTo>
                          <a:pt x="801" y="1123"/>
                        </a:lnTo>
                        <a:lnTo>
                          <a:pt x="803" y="1121"/>
                        </a:lnTo>
                        <a:lnTo>
                          <a:pt x="808" y="1120"/>
                        </a:lnTo>
                        <a:lnTo>
                          <a:pt x="809" y="1118"/>
                        </a:lnTo>
                        <a:lnTo>
                          <a:pt x="812" y="1116"/>
                        </a:lnTo>
                        <a:lnTo>
                          <a:pt x="814" y="1116"/>
                        </a:lnTo>
                        <a:lnTo>
                          <a:pt x="817" y="1116"/>
                        </a:lnTo>
                        <a:lnTo>
                          <a:pt x="817" y="1115"/>
                        </a:lnTo>
                        <a:lnTo>
                          <a:pt x="825" y="1113"/>
                        </a:lnTo>
                        <a:lnTo>
                          <a:pt x="835" y="1107"/>
                        </a:lnTo>
                        <a:lnTo>
                          <a:pt x="836" y="1107"/>
                        </a:lnTo>
                        <a:lnTo>
                          <a:pt x="839" y="1105"/>
                        </a:lnTo>
                        <a:lnTo>
                          <a:pt x="841" y="1104"/>
                        </a:lnTo>
                        <a:lnTo>
                          <a:pt x="844" y="1099"/>
                        </a:lnTo>
                        <a:lnTo>
                          <a:pt x="846" y="1097"/>
                        </a:lnTo>
                        <a:lnTo>
                          <a:pt x="849" y="1094"/>
                        </a:lnTo>
                        <a:lnTo>
                          <a:pt x="850" y="1093"/>
                        </a:lnTo>
                        <a:lnTo>
                          <a:pt x="852" y="1091"/>
                        </a:lnTo>
                        <a:lnTo>
                          <a:pt x="860" y="1083"/>
                        </a:lnTo>
                        <a:lnTo>
                          <a:pt x="863" y="1072"/>
                        </a:lnTo>
                        <a:lnTo>
                          <a:pt x="866" y="1066"/>
                        </a:lnTo>
                        <a:lnTo>
                          <a:pt x="866" y="1062"/>
                        </a:lnTo>
                        <a:lnTo>
                          <a:pt x="868" y="1053"/>
                        </a:lnTo>
                        <a:lnTo>
                          <a:pt x="871" y="1047"/>
                        </a:lnTo>
                        <a:lnTo>
                          <a:pt x="871" y="1045"/>
                        </a:lnTo>
                        <a:lnTo>
                          <a:pt x="877" y="1040"/>
                        </a:lnTo>
                        <a:lnTo>
                          <a:pt x="881" y="1039"/>
                        </a:lnTo>
                        <a:lnTo>
                          <a:pt x="882" y="1039"/>
                        </a:lnTo>
                        <a:lnTo>
                          <a:pt x="887" y="1037"/>
                        </a:lnTo>
                        <a:lnTo>
                          <a:pt x="893" y="1036"/>
                        </a:lnTo>
                        <a:lnTo>
                          <a:pt x="898" y="1031"/>
                        </a:lnTo>
                        <a:lnTo>
                          <a:pt x="900" y="1029"/>
                        </a:lnTo>
                        <a:lnTo>
                          <a:pt x="903" y="1026"/>
                        </a:lnTo>
                        <a:lnTo>
                          <a:pt x="904" y="1024"/>
                        </a:lnTo>
                        <a:lnTo>
                          <a:pt x="912" y="1021"/>
                        </a:lnTo>
                        <a:lnTo>
                          <a:pt x="922" y="1018"/>
                        </a:lnTo>
                        <a:lnTo>
                          <a:pt x="923" y="1018"/>
                        </a:lnTo>
                        <a:lnTo>
                          <a:pt x="925" y="1018"/>
                        </a:lnTo>
                        <a:lnTo>
                          <a:pt x="931" y="1017"/>
                        </a:lnTo>
                        <a:lnTo>
                          <a:pt x="936" y="1013"/>
                        </a:lnTo>
                        <a:lnTo>
                          <a:pt x="936" y="1012"/>
                        </a:lnTo>
                        <a:lnTo>
                          <a:pt x="944" y="1001"/>
                        </a:lnTo>
                        <a:lnTo>
                          <a:pt x="944" y="999"/>
                        </a:lnTo>
                        <a:lnTo>
                          <a:pt x="945" y="998"/>
                        </a:lnTo>
                        <a:lnTo>
                          <a:pt x="945" y="991"/>
                        </a:lnTo>
                        <a:lnTo>
                          <a:pt x="944" y="986"/>
                        </a:lnTo>
                        <a:lnTo>
                          <a:pt x="944" y="980"/>
                        </a:lnTo>
                        <a:lnTo>
                          <a:pt x="944" y="979"/>
                        </a:lnTo>
                        <a:lnTo>
                          <a:pt x="947" y="977"/>
                        </a:lnTo>
                        <a:lnTo>
                          <a:pt x="952" y="975"/>
                        </a:lnTo>
                        <a:lnTo>
                          <a:pt x="955" y="975"/>
                        </a:lnTo>
                        <a:lnTo>
                          <a:pt x="958" y="975"/>
                        </a:lnTo>
                        <a:lnTo>
                          <a:pt x="960" y="977"/>
                        </a:lnTo>
                        <a:lnTo>
                          <a:pt x="961" y="977"/>
                        </a:lnTo>
                        <a:lnTo>
                          <a:pt x="961" y="979"/>
                        </a:lnTo>
                        <a:lnTo>
                          <a:pt x="965" y="988"/>
                        </a:lnTo>
                        <a:lnTo>
                          <a:pt x="965" y="990"/>
                        </a:lnTo>
                        <a:lnTo>
                          <a:pt x="966" y="993"/>
                        </a:lnTo>
                        <a:lnTo>
                          <a:pt x="966" y="996"/>
                        </a:lnTo>
                        <a:lnTo>
                          <a:pt x="968" y="1001"/>
                        </a:lnTo>
                        <a:lnTo>
                          <a:pt x="972" y="1004"/>
                        </a:lnTo>
                        <a:lnTo>
                          <a:pt x="976" y="1004"/>
                        </a:lnTo>
                        <a:lnTo>
                          <a:pt x="984" y="1007"/>
                        </a:lnTo>
                        <a:lnTo>
                          <a:pt x="987" y="1010"/>
                        </a:lnTo>
                        <a:lnTo>
                          <a:pt x="987" y="1012"/>
                        </a:lnTo>
                        <a:lnTo>
                          <a:pt x="987" y="1013"/>
                        </a:lnTo>
                        <a:lnTo>
                          <a:pt x="987" y="1015"/>
                        </a:lnTo>
                        <a:lnTo>
                          <a:pt x="985" y="1018"/>
                        </a:lnTo>
                        <a:lnTo>
                          <a:pt x="980" y="1018"/>
                        </a:lnTo>
                        <a:lnTo>
                          <a:pt x="977" y="1020"/>
                        </a:lnTo>
                        <a:lnTo>
                          <a:pt x="974" y="1020"/>
                        </a:lnTo>
                        <a:lnTo>
                          <a:pt x="968" y="1023"/>
                        </a:lnTo>
                        <a:lnTo>
                          <a:pt x="961" y="1024"/>
                        </a:lnTo>
                        <a:lnTo>
                          <a:pt x="957" y="1026"/>
                        </a:lnTo>
                        <a:lnTo>
                          <a:pt x="953" y="1029"/>
                        </a:lnTo>
                        <a:lnTo>
                          <a:pt x="952" y="1031"/>
                        </a:lnTo>
                        <a:lnTo>
                          <a:pt x="950" y="1032"/>
                        </a:lnTo>
                        <a:lnTo>
                          <a:pt x="950" y="1034"/>
                        </a:lnTo>
                        <a:lnTo>
                          <a:pt x="950" y="1037"/>
                        </a:lnTo>
                        <a:lnTo>
                          <a:pt x="950" y="1039"/>
                        </a:lnTo>
                        <a:lnTo>
                          <a:pt x="952" y="1040"/>
                        </a:lnTo>
                        <a:lnTo>
                          <a:pt x="952" y="1042"/>
                        </a:lnTo>
                        <a:lnTo>
                          <a:pt x="955" y="1045"/>
                        </a:lnTo>
                        <a:lnTo>
                          <a:pt x="957" y="1045"/>
                        </a:lnTo>
                        <a:lnTo>
                          <a:pt x="960" y="1048"/>
                        </a:lnTo>
                        <a:lnTo>
                          <a:pt x="966" y="1050"/>
                        </a:lnTo>
                        <a:lnTo>
                          <a:pt x="968" y="1051"/>
                        </a:lnTo>
                        <a:lnTo>
                          <a:pt x="974" y="1050"/>
                        </a:lnTo>
                        <a:lnTo>
                          <a:pt x="977" y="1050"/>
                        </a:lnTo>
                        <a:lnTo>
                          <a:pt x="988" y="1050"/>
                        </a:lnTo>
                        <a:lnTo>
                          <a:pt x="991" y="1050"/>
                        </a:lnTo>
                        <a:lnTo>
                          <a:pt x="993" y="1051"/>
                        </a:lnTo>
                        <a:lnTo>
                          <a:pt x="999" y="1053"/>
                        </a:lnTo>
                        <a:lnTo>
                          <a:pt x="1001" y="1053"/>
                        </a:lnTo>
                        <a:lnTo>
                          <a:pt x="1007" y="1055"/>
                        </a:lnTo>
                        <a:lnTo>
                          <a:pt x="1010" y="1055"/>
                        </a:lnTo>
                        <a:lnTo>
                          <a:pt x="1017" y="1058"/>
                        </a:lnTo>
                        <a:lnTo>
                          <a:pt x="1018" y="1058"/>
                        </a:lnTo>
                        <a:lnTo>
                          <a:pt x="1023" y="1059"/>
                        </a:lnTo>
                        <a:lnTo>
                          <a:pt x="1026" y="1061"/>
                        </a:lnTo>
                        <a:lnTo>
                          <a:pt x="1036" y="1061"/>
                        </a:lnTo>
                        <a:lnTo>
                          <a:pt x="1037" y="1061"/>
                        </a:lnTo>
                        <a:lnTo>
                          <a:pt x="1042" y="1061"/>
                        </a:lnTo>
                        <a:lnTo>
                          <a:pt x="1045" y="1061"/>
                        </a:lnTo>
                        <a:lnTo>
                          <a:pt x="1047" y="1061"/>
                        </a:lnTo>
                        <a:lnTo>
                          <a:pt x="1047" y="1059"/>
                        </a:lnTo>
                        <a:lnTo>
                          <a:pt x="1050" y="1059"/>
                        </a:lnTo>
                        <a:lnTo>
                          <a:pt x="1060" y="1062"/>
                        </a:lnTo>
                        <a:lnTo>
                          <a:pt x="1067" y="1067"/>
                        </a:lnTo>
                        <a:lnTo>
                          <a:pt x="1072" y="1070"/>
                        </a:lnTo>
                        <a:lnTo>
                          <a:pt x="1075" y="1074"/>
                        </a:lnTo>
                        <a:lnTo>
                          <a:pt x="1080" y="1078"/>
                        </a:lnTo>
                        <a:lnTo>
                          <a:pt x="1098" y="1102"/>
                        </a:lnTo>
                        <a:lnTo>
                          <a:pt x="1105" y="1108"/>
                        </a:lnTo>
                        <a:lnTo>
                          <a:pt x="1115" y="1112"/>
                        </a:lnTo>
                        <a:lnTo>
                          <a:pt x="1117" y="1112"/>
                        </a:lnTo>
                        <a:lnTo>
                          <a:pt x="1128" y="1116"/>
                        </a:lnTo>
                        <a:lnTo>
                          <a:pt x="1137" y="1121"/>
                        </a:lnTo>
                        <a:lnTo>
                          <a:pt x="1143" y="1127"/>
                        </a:lnTo>
                        <a:lnTo>
                          <a:pt x="1151" y="1134"/>
                        </a:lnTo>
                        <a:lnTo>
                          <a:pt x="1166" y="1148"/>
                        </a:lnTo>
                        <a:lnTo>
                          <a:pt x="1177" y="1156"/>
                        </a:lnTo>
                        <a:lnTo>
                          <a:pt x="1182" y="1159"/>
                        </a:lnTo>
                        <a:lnTo>
                          <a:pt x="1188" y="1161"/>
                        </a:lnTo>
                        <a:lnTo>
                          <a:pt x="1189" y="1162"/>
                        </a:lnTo>
                        <a:lnTo>
                          <a:pt x="1193" y="1162"/>
                        </a:lnTo>
                        <a:lnTo>
                          <a:pt x="1194" y="1164"/>
                        </a:lnTo>
                        <a:lnTo>
                          <a:pt x="1212" y="1172"/>
                        </a:lnTo>
                        <a:lnTo>
                          <a:pt x="1213" y="1172"/>
                        </a:lnTo>
                        <a:lnTo>
                          <a:pt x="1223" y="1178"/>
                        </a:lnTo>
                        <a:lnTo>
                          <a:pt x="1240" y="1181"/>
                        </a:lnTo>
                        <a:lnTo>
                          <a:pt x="1243" y="1181"/>
                        </a:lnTo>
                        <a:lnTo>
                          <a:pt x="1251" y="1183"/>
                        </a:lnTo>
                        <a:lnTo>
                          <a:pt x="1254" y="1184"/>
                        </a:lnTo>
                        <a:lnTo>
                          <a:pt x="1256" y="1184"/>
                        </a:lnTo>
                        <a:lnTo>
                          <a:pt x="1262" y="1184"/>
                        </a:lnTo>
                        <a:lnTo>
                          <a:pt x="1265" y="1186"/>
                        </a:lnTo>
                        <a:lnTo>
                          <a:pt x="1275" y="1186"/>
                        </a:lnTo>
                        <a:lnTo>
                          <a:pt x="1281" y="1184"/>
                        </a:lnTo>
                        <a:lnTo>
                          <a:pt x="1283" y="1183"/>
                        </a:lnTo>
                        <a:lnTo>
                          <a:pt x="1284" y="1183"/>
                        </a:lnTo>
                        <a:lnTo>
                          <a:pt x="1286" y="1181"/>
                        </a:lnTo>
                        <a:lnTo>
                          <a:pt x="1288" y="1180"/>
                        </a:lnTo>
                        <a:lnTo>
                          <a:pt x="1288" y="1178"/>
                        </a:lnTo>
                        <a:lnTo>
                          <a:pt x="1291" y="1175"/>
                        </a:lnTo>
                        <a:lnTo>
                          <a:pt x="1291" y="1173"/>
                        </a:lnTo>
                        <a:lnTo>
                          <a:pt x="1292" y="1164"/>
                        </a:lnTo>
                        <a:lnTo>
                          <a:pt x="1292" y="1162"/>
                        </a:lnTo>
                        <a:lnTo>
                          <a:pt x="1292" y="1158"/>
                        </a:lnTo>
                        <a:lnTo>
                          <a:pt x="1291" y="1146"/>
                        </a:lnTo>
                        <a:lnTo>
                          <a:pt x="1289" y="1142"/>
                        </a:lnTo>
                        <a:lnTo>
                          <a:pt x="1283" y="1131"/>
                        </a:lnTo>
                        <a:lnTo>
                          <a:pt x="1283" y="1126"/>
                        </a:lnTo>
                        <a:lnTo>
                          <a:pt x="1284" y="1123"/>
                        </a:lnTo>
                        <a:lnTo>
                          <a:pt x="1286" y="1121"/>
                        </a:lnTo>
                        <a:lnTo>
                          <a:pt x="1289" y="1120"/>
                        </a:lnTo>
                        <a:lnTo>
                          <a:pt x="1297" y="1118"/>
                        </a:lnTo>
                        <a:lnTo>
                          <a:pt x="1302" y="1116"/>
                        </a:lnTo>
                        <a:lnTo>
                          <a:pt x="1307" y="1116"/>
                        </a:lnTo>
                        <a:lnTo>
                          <a:pt x="1313" y="1115"/>
                        </a:lnTo>
                        <a:lnTo>
                          <a:pt x="1322" y="1115"/>
                        </a:lnTo>
                        <a:lnTo>
                          <a:pt x="1324" y="1115"/>
                        </a:lnTo>
                        <a:lnTo>
                          <a:pt x="1334" y="1115"/>
                        </a:lnTo>
                        <a:lnTo>
                          <a:pt x="1342" y="1113"/>
                        </a:lnTo>
                        <a:lnTo>
                          <a:pt x="1353" y="1112"/>
                        </a:lnTo>
                        <a:lnTo>
                          <a:pt x="1362" y="1112"/>
                        </a:lnTo>
                        <a:lnTo>
                          <a:pt x="1364" y="1112"/>
                        </a:lnTo>
                        <a:lnTo>
                          <a:pt x="1365" y="1112"/>
                        </a:lnTo>
                        <a:lnTo>
                          <a:pt x="1383" y="1110"/>
                        </a:lnTo>
                        <a:lnTo>
                          <a:pt x="1384" y="1110"/>
                        </a:lnTo>
                        <a:lnTo>
                          <a:pt x="1394" y="1108"/>
                        </a:lnTo>
                        <a:lnTo>
                          <a:pt x="1400" y="1105"/>
                        </a:lnTo>
                        <a:lnTo>
                          <a:pt x="1402" y="1104"/>
                        </a:lnTo>
                        <a:lnTo>
                          <a:pt x="1405" y="1096"/>
                        </a:lnTo>
                        <a:lnTo>
                          <a:pt x="1405" y="1093"/>
                        </a:lnTo>
                        <a:lnTo>
                          <a:pt x="1405" y="1091"/>
                        </a:lnTo>
                        <a:lnTo>
                          <a:pt x="1405" y="1088"/>
                        </a:lnTo>
                        <a:lnTo>
                          <a:pt x="1402" y="1083"/>
                        </a:lnTo>
                        <a:lnTo>
                          <a:pt x="1402" y="1082"/>
                        </a:lnTo>
                        <a:lnTo>
                          <a:pt x="1400" y="1075"/>
                        </a:lnTo>
                        <a:lnTo>
                          <a:pt x="1391" y="1062"/>
                        </a:lnTo>
                        <a:lnTo>
                          <a:pt x="1391" y="1061"/>
                        </a:lnTo>
                        <a:lnTo>
                          <a:pt x="1391" y="1056"/>
                        </a:lnTo>
                        <a:lnTo>
                          <a:pt x="1391" y="1040"/>
                        </a:lnTo>
                        <a:lnTo>
                          <a:pt x="1391" y="1036"/>
                        </a:lnTo>
                        <a:lnTo>
                          <a:pt x="1391" y="1034"/>
                        </a:lnTo>
                        <a:lnTo>
                          <a:pt x="1389" y="1023"/>
                        </a:lnTo>
                        <a:lnTo>
                          <a:pt x="1387" y="1007"/>
                        </a:lnTo>
                        <a:lnTo>
                          <a:pt x="1386" y="996"/>
                        </a:lnTo>
                        <a:lnTo>
                          <a:pt x="1384" y="990"/>
                        </a:lnTo>
                        <a:lnTo>
                          <a:pt x="1383" y="979"/>
                        </a:lnTo>
                        <a:lnTo>
                          <a:pt x="1381" y="969"/>
                        </a:lnTo>
                        <a:lnTo>
                          <a:pt x="1378" y="955"/>
                        </a:lnTo>
                        <a:lnTo>
                          <a:pt x="1380" y="947"/>
                        </a:lnTo>
                        <a:lnTo>
                          <a:pt x="1384" y="939"/>
                        </a:lnTo>
                        <a:lnTo>
                          <a:pt x="1386" y="939"/>
                        </a:lnTo>
                        <a:lnTo>
                          <a:pt x="1386" y="937"/>
                        </a:lnTo>
                        <a:lnTo>
                          <a:pt x="1391" y="929"/>
                        </a:lnTo>
                        <a:lnTo>
                          <a:pt x="1392" y="920"/>
                        </a:lnTo>
                        <a:lnTo>
                          <a:pt x="1392" y="914"/>
                        </a:lnTo>
                        <a:lnTo>
                          <a:pt x="1392" y="910"/>
                        </a:lnTo>
                        <a:lnTo>
                          <a:pt x="1394" y="899"/>
                        </a:lnTo>
                        <a:lnTo>
                          <a:pt x="1394" y="898"/>
                        </a:lnTo>
                        <a:lnTo>
                          <a:pt x="1392" y="895"/>
                        </a:lnTo>
                        <a:lnTo>
                          <a:pt x="1394" y="884"/>
                        </a:lnTo>
                        <a:lnTo>
                          <a:pt x="1394" y="871"/>
                        </a:lnTo>
                        <a:lnTo>
                          <a:pt x="1389" y="866"/>
                        </a:lnTo>
                        <a:lnTo>
                          <a:pt x="1386" y="861"/>
                        </a:lnTo>
                        <a:lnTo>
                          <a:pt x="1381" y="858"/>
                        </a:lnTo>
                        <a:lnTo>
                          <a:pt x="1378" y="855"/>
                        </a:lnTo>
                        <a:lnTo>
                          <a:pt x="1376" y="852"/>
                        </a:lnTo>
                        <a:lnTo>
                          <a:pt x="1376" y="850"/>
                        </a:lnTo>
                        <a:lnTo>
                          <a:pt x="1376" y="849"/>
                        </a:lnTo>
                        <a:lnTo>
                          <a:pt x="1380" y="842"/>
                        </a:lnTo>
                        <a:lnTo>
                          <a:pt x="1383" y="841"/>
                        </a:lnTo>
                        <a:lnTo>
                          <a:pt x="1384" y="841"/>
                        </a:lnTo>
                        <a:lnTo>
                          <a:pt x="1391" y="841"/>
                        </a:lnTo>
                        <a:lnTo>
                          <a:pt x="1392" y="841"/>
                        </a:lnTo>
                        <a:lnTo>
                          <a:pt x="1394" y="842"/>
                        </a:lnTo>
                        <a:lnTo>
                          <a:pt x="1403" y="844"/>
                        </a:lnTo>
                        <a:lnTo>
                          <a:pt x="1410" y="847"/>
                        </a:lnTo>
                        <a:lnTo>
                          <a:pt x="1422" y="855"/>
                        </a:lnTo>
                        <a:lnTo>
                          <a:pt x="1437" y="861"/>
                        </a:lnTo>
                        <a:lnTo>
                          <a:pt x="1440" y="861"/>
                        </a:lnTo>
                        <a:lnTo>
                          <a:pt x="1441" y="861"/>
                        </a:lnTo>
                        <a:lnTo>
                          <a:pt x="1446" y="861"/>
                        </a:lnTo>
                        <a:lnTo>
                          <a:pt x="1448" y="861"/>
                        </a:lnTo>
                        <a:lnTo>
                          <a:pt x="1452" y="860"/>
                        </a:lnTo>
                        <a:lnTo>
                          <a:pt x="1454" y="860"/>
                        </a:lnTo>
                        <a:lnTo>
                          <a:pt x="1456" y="858"/>
                        </a:lnTo>
                        <a:lnTo>
                          <a:pt x="1460" y="857"/>
                        </a:lnTo>
                        <a:lnTo>
                          <a:pt x="1468" y="855"/>
                        </a:lnTo>
                        <a:lnTo>
                          <a:pt x="1471" y="855"/>
                        </a:lnTo>
                        <a:lnTo>
                          <a:pt x="1475" y="855"/>
                        </a:lnTo>
                        <a:lnTo>
                          <a:pt x="1476" y="855"/>
                        </a:lnTo>
                        <a:lnTo>
                          <a:pt x="1486" y="855"/>
                        </a:lnTo>
                        <a:lnTo>
                          <a:pt x="1487" y="857"/>
                        </a:lnTo>
                        <a:lnTo>
                          <a:pt x="1495" y="861"/>
                        </a:lnTo>
                        <a:lnTo>
                          <a:pt x="1500" y="866"/>
                        </a:lnTo>
                        <a:lnTo>
                          <a:pt x="1509" y="876"/>
                        </a:lnTo>
                        <a:lnTo>
                          <a:pt x="1514" y="891"/>
                        </a:lnTo>
                        <a:lnTo>
                          <a:pt x="1519" y="899"/>
                        </a:lnTo>
                        <a:lnTo>
                          <a:pt x="1522" y="899"/>
                        </a:lnTo>
                        <a:lnTo>
                          <a:pt x="1524" y="899"/>
                        </a:lnTo>
                        <a:lnTo>
                          <a:pt x="1527" y="896"/>
                        </a:lnTo>
                        <a:lnTo>
                          <a:pt x="1536" y="880"/>
                        </a:lnTo>
                        <a:lnTo>
                          <a:pt x="1536" y="879"/>
                        </a:lnTo>
                        <a:lnTo>
                          <a:pt x="1538" y="877"/>
                        </a:lnTo>
                        <a:lnTo>
                          <a:pt x="1540" y="877"/>
                        </a:lnTo>
                        <a:lnTo>
                          <a:pt x="1541" y="876"/>
                        </a:lnTo>
                        <a:lnTo>
                          <a:pt x="1543" y="874"/>
                        </a:lnTo>
                        <a:lnTo>
                          <a:pt x="1546" y="872"/>
                        </a:lnTo>
                        <a:lnTo>
                          <a:pt x="1547" y="872"/>
                        </a:lnTo>
                        <a:lnTo>
                          <a:pt x="1551" y="872"/>
                        </a:lnTo>
                        <a:lnTo>
                          <a:pt x="1552" y="874"/>
                        </a:lnTo>
                        <a:lnTo>
                          <a:pt x="1554" y="874"/>
                        </a:lnTo>
                        <a:lnTo>
                          <a:pt x="1562" y="882"/>
                        </a:lnTo>
                        <a:lnTo>
                          <a:pt x="1563" y="884"/>
                        </a:lnTo>
                        <a:lnTo>
                          <a:pt x="1565" y="884"/>
                        </a:lnTo>
                        <a:lnTo>
                          <a:pt x="1576" y="895"/>
                        </a:lnTo>
                        <a:lnTo>
                          <a:pt x="1579" y="898"/>
                        </a:lnTo>
                        <a:lnTo>
                          <a:pt x="1582" y="896"/>
                        </a:lnTo>
                        <a:lnTo>
                          <a:pt x="1584" y="896"/>
                        </a:lnTo>
                        <a:lnTo>
                          <a:pt x="1585" y="896"/>
                        </a:lnTo>
                        <a:lnTo>
                          <a:pt x="1587" y="895"/>
                        </a:lnTo>
                        <a:lnTo>
                          <a:pt x="1590" y="893"/>
                        </a:lnTo>
                        <a:lnTo>
                          <a:pt x="1595" y="891"/>
                        </a:lnTo>
                        <a:lnTo>
                          <a:pt x="1630" y="880"/>
                        </a:lnTo>
                        <a:lnTo>
                          <a:pt x="1611" y="838"/>
                        </a:lnTo>
                        <a:lnTo>
                          <a:pt x="1612" y="826"/>
                        </a:lnTo>
                        <a:lnTo>
                          <a:pt x="1614" y="796"/>
                        </a:lnTo>
                        <a:lnTo>
                          <a:pt x="1614" y="790"/>
                        </a:lnTo>
                        <a:lnTo>
                          <a:pt x="1616" y="782"/>
                        </a:lnTo>
                        <a:lnTo>
                          <a:pt x="1616" y="774"/>
                        </a:lnTo>
                        <a:lnTo>
                          <a:pt x="1617" y="769"/>
                        </a:lnTo>
                        <a:lnTo>
                          <a:pt x="1625" y="749"/>
                        </a:lnTo>
                        <a:lnTo>
                          <a:pt x="1641" y="706"/>
                        </a:lnTo>
                        <a:lnTo>
                          <a:pt x="1655" y="668"/>
                        </a:lnTo>
                        <a:lnTo>
                          <a:pt x="1644" y="666"/>
                        </a:lnTo>
                        <a:lnTo>
                          <a:pt x="1642" y="666"/>
                        </a:lnTo>
                        <a:lnTo>
                          <a:pt x="1647" y="649"/>
                        </a:lnTo>
                        <a:lnTo>
                          <a:pt x="1652" y="630"/>
                        </a:lnTo>
                        <a:lnTo>
                          <a:pt x="1663" y="624"/>
                        </a:lnTo>
                        <a:lnTo>
                          <a:pt x="1663" y="625"/>
                        </a:lnTo>
                        <a:lnTo>
                          <a:pt x="1673" y="621"/>
                        </a:lnTo>
                        <a:lnTo>
                          <a:pt x="1753" y="584"/>
                        </a:lnTo>
                        <a:lnTo>
                          <a:pt x="1760" y="579"/>
                        </a:lnTo>
                        <a:lnTo>
                          <a:pt x="1815" y="530"/>
                        </a:lnTo>
                        <a:lnTo>
                          <a:pt x="1815" y="529"/>
                        </a:lnTo>
                        <a:lnTo>
                          <a:pt x="1812" y="526"/>
                        </a:lnTo>
                        <a:lnTo>
                          <a:pt x="1874" y="484"/>
                        </a:lnTo>
                        <a:lnTo>
                          <a:pt x="1921" y="499"/>
                        </a:lnTo>
                        <a:lnTo>
                          <a:pt x="1921" y="497"/>
                        </a:lnTo>
                        <a:lnTo>
                          <a:pt x="1924" y="497"/>
                        </a:lnTo>
                        <a:lnTo>
                          <a:pt x="1988" y="511"/>
                        </a:lnTo>
                        <a:lnTo>
                          <a:pt x="2007" y="522"/>
                        </a:lnTo>
                        <a:lnTo>
                          <a:pt x="2019" y="530"/>
                        </a:lnTo>
                        <a:lnTo>
                          <a:pt x="2086" y="565"/>
                        </a:lnTo>
                        <a:lnTo>
                          <a:pt x="2102" y="575"/>
                        </a:lnTo>
                        <a:lnTo>
                          <a:pt x="2103" y="575"/>
                        </a:lnTo>
                        <a:lnTo>
                          <a:pt x="2105" y="575"/>
                        </a:lnTo>
                        <a:lnTo>
                          <a:pt x="2113" y="570"/>
                        </a:lnTo>
                        <a:lnTo>
                          <a:pt x="2172" y="546"/>
                        </a:lnTo>
                        <a:lnTo>
                          <a:pt x="2175" y="486"/>
                        </a:lnTo>
                        <a:lnTo>
                          <a:pt x="2176" y="475"/>
                        </a:lnTo>
                        <a:lnTo>
                          <a:pt x="2176" y="467"/>
                        </a:lnTo>
                        <a:lnTo>
                          <a:pt x="2179" y="407"/>
                        </a:lnTo>
                        <a:lnTo>
                          <a:pt x="2183" y="372"/>
                        </a:lnTo>
                        <a:lnTo>
                          <a:pt x="2292" y="369"/>
                        </a:lnTo>
                        <a:lnTo>
                          <a:pt x="2313" y="369"/>
                        </a:lnTo>
                        <a:lnTo>
                          <a:pt x="2324" y="369"/>
                        </a:lnTo>
                        <a:lnTo>
                          <a:pt x="2368" y="354"/>
                        </a:lnTo>
                        <a:lnTo>
                          <a:pt x="2438" y="310"/>
                        </a:lnTo>
                        <a:lnTo>
                          <a:pt x="2531" y="251"/>
                        </a:lnTo>
                        <a:lnTo>
                          <a:pt x="2590" y="215"/>
                        </a:lnTo>
                        <a:lnTo>
                          <a:pt x="2631" y="206"/>
                        </a:lnTo>
                        <a:lnTo>
                          <a:pt x="2688" y="191"/>
                        </a:lnTo>
                        <a:lnTo>
                          <a:pt x="2715" y="185"/>
                        </a:lnTo>
                        <a:lnTo>
                          <a:pt x="2729" y="180"/>
                        </a:lnTo>
                        <a:lnTo>
                          <a:pt x="2754" y="160"/>
                        </a:lnTo>
                        <a:lnTo>
                          <a:pt x="2754" y="161"/>
                        </a:lnTo>
                        <a:lnTo>
                          <a:pt x="2754" y="160"/>
                        </a:lnTo>
                        <a:lnTo>
                          <a:pt x="2764" y="153"/>
                        </a:lnTo>
                        <a:lnTo>
                          <a:pt x="2772" y="150"/>
                        </a:lnTo>
                        <a:lnTo>
                          <a:pt x="2777" y="149"/>
                        </a:lnTo>
                        <a:lnTo>
                          <a:pt x="2783" y="145"/>
                        </a:lnTo>
                        <a:lnTo>
                          <a:pt x="2794" y="137"/>
                        </a:lnTo>
                        <a:lnTo>
                          <a:pt x="2813" y="122"/>
                        </a:lnTo>
                        <a:lnTo>
                          <a:pt x="2815" y="122"/>
                        </a:lnTo>
                        <a:lnTo>
                          <a:pt x="2816" y="118"/>
                        </a:lnTo>
                        <a:lnTo>
                          <a:pt x="2823" y="112"/>
                        </a:lnTo>
                        <a:lnTo>
                          <a:pt x="2826" y="110"/>
                        </a:lnTo>
                        <a:lnTo>
                          <a:pt x="2829" y="106"/>
                        </a:lnTo>
                        <a:lnTo>
                          <a:pt x="2824" y="104"/>
                        </a:lnTo>
                        <a:lnTo>
                          <a:pt x="2854" y="80"/>
                        </a:lnTo>
                        <a:lnTo>
                          <a:pt x="2856" y="80"/>
                        </a:lnTo>
                        <a:lnTo>
                          <a:pt x="2859" y="76"/>
                        </a:lnTo>
                        <a:lnTo>
                          <a:pt x="2864" y="72"/>
                        </a:lnTo>
                        <a:lnTo>
                          <a:pt x="2872" y="63"/>
                        </a:lnTo>
                        <a:lnTo>
                          <a:pt x="2875" y="60"/>
                        </a:lnTo>
                        <a:lnTo>
                          <a:pt x="2876" y="60"/>
                        </a:lnTo>
                        <a:lnTo>
                          <a:pt x="2880" y="57"/>
                        </a:lnTo>
                        <a:lnTo>
                          <a:pt x="2881" y="53"/>
                        </a:lnTo>
                        <a:lnTo>
                          <a:pt x="2883" y="52"/>
                        </a:lnTo>
                        <a:lnTo>
                          <a:pt x="2884" y="52"/>
                        </a:lnTo>
                        <a:lnTo>
                          <a:pt x="2886" y="49"/>
                        </a:lnTo>
                        <a:lnTo>
                          <a:pt x="2889" y="46"/>
                        </a:lnTo>
                        <a:lnTo>
                          <a:pt x="2892" y="42"/>
                        </a:lnTo>
                        <a:lnTo>
                          <a:pt x="2895" y="41"/>
                        </a:lnTo>
                        <a:lnTo>
                          <a:pt x="2899" y="39"/>
                        </a:lnTo>
                        <a:lnTo>
                          <a:pt x="2903" y="34"/>
                        </a:lnTo>
                        <a:lnTo>
                          <a:pt x="2907" y="33"/>
                        </a:lnTo>
                        <a:lnTo>
                          <a:pt x="2908" y="31"/>
                        </a:lnTo>
                        <a:lnTo>
                          <a:pt x="2910" y="30"/>
                        </a:lnTo>
                        <a:lnTo>
                          <a:pt x="2914" y="27"/>
                        </a:lnTo>
                        <a:lnTo>
                          <a:pt x="2922" y="22"/>
                        </a:lnTo>
                        <a:lnTo>
                          <a:pt x="2929" y="19"/>
                        </a:lnTo>
                        <a:lnTo>
                          <a:pt x="2930" y="19"/>
                        </a:lnTo>
                        <a:lnTo>
                          <a:pt x="2930" y="17"/>
                        </a:lnTo>
                        <a:lnTo>
                          <a:pt x="2938" y="12"/>
                        </a:lnTo>
                        <a:lnTo>
                          <a:pt x="2940" y="11"/>
                        </a:lnTo>
                        <a:lnTo>
                          <a:pt x="2941" y="9"/>
                        </a:lnTo>
                        <a:lnTo>
                          <a:pt x="2945" y="8"/>
                        </a:lnTo>
                        <a:lnTo>
                          <a:pt x="2956" y="3"/>
                        </a:lnTo>
                        <a:lnTo>
                          <a:pt x="2956" y="1"/>
                        </a:lnTo>
                        <a:lnTo>
                          <a:pt x="2957" y="1"/>
                        </a:lnTo>
                        <a:lnTo>
                          <a:pt x="2959" y="1"/>
                        </a:lnTo>
                        <a:lnTo>
                          <a:pt x="2962" y="1"/>
                        </a:lnTo>
                        <a:lnTo>
                          <a:pt x="2967" y="1"/>
                        </a:lnTo>
                        <a:lnTo>
                          <a:pt x="2970" y="1"/>
                        </a:lnTo>
                        <a:lnTo>
                          <a:pt x="2981" y="1"/>
                        </a:lnTo>
                        <a:lnTo>
                          <a:pt x="3006" y="1"/>
                        </a:lnTo>
                        <a:lnTo>
                          <a:pt x="3024" y="1"/>
                        </a:lnTo>
                        <a:lnTo>
                          <a:pt x="3044" y="1"/>
                        </a:lnTo>
                        <a:lnTo>
                          <a:pt x="3051" y="1"/>
                        </a:lnTo>
                        <a:lnTo>
                          <a:pt x="3060" y="1"/>
                        </a:lnTo>
                        <a:lnTo>
                          <a:pt x="3073" y="1"/>
                        </a:lnTo>
                        <a:lnTo>
                          <a:pt x="3087" y="1"/>
                        </a:lnTo>
                        <a:lnTo>
                          <a:pt x="3092" y="1"/>
                        </a:lnTo>
                        <a:lnTo>
                          <a:pt x="3106" y="1"/>
                        </a:lnTo>
                        <a:lnTo>
                          <a:pt x="3116" y="0"/>
                        </a:lnTo>
                        <a:lnTo>
                          <a:pt x="3117" y="1"/>
                        </a:lnTo>
                        <a:lnTo>
                          <a:pt x="3119" y="1"/>
                        </a:lnTo>
                        <a:close/>
                      </a:path>
                    </a:pathLst>
                  </a:custGeom>
                  <a:solidFill>
                    <a:srgbClr val="CDE9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33" name="Freeform 32"/>
                  <p:cNvSpPr>
                    <a:spLocks/>
                  </p:cNvSpPr>
                  <p:nvPr/>
                </p:nvSpPr>
                <p:spPr bwMode="auto">
                  <a:xfrm>
                    <a:off x="4756" y="636"/>
                    <a:ext cx="1763" cy="2557"/>
                  </a:xfrm>
                  <a:custGeom>
                    <a:avLst/>
                    <a:gdLst>
                      <a:gd name="T0" fmla="*/ 88 w 1763"/>
                      <a:gd name="T1" fmla="*/ 21 h 2557"/>
                      <a:gd name="T2" fmla="*/ 214 w 1763"/>
                      <a:gd name="T3" fmla="*/ 33 h 2557"/>
                      <a:gd name="T4" fmla="*/ 318 w 1763"/>
                      <a:gd name="T5" fmla="*/ 64 h 2557"/>
                      <a:gd name="T6" fmla="*/ 402 w 1763"/>
                      <a:gd name="T7" fmla="*/ 57 h 2557"/>
                      <a:gd name="T8" fmla="*/ 410 w 1763"/>
                      <a:gd name="T9" fmla="*/ 162 h 2557"/>
                      <a:gd name="T10" fmla="*/ 410 w 1763"/>
                      <a:gd name="T11" fmla="*/ 393 h 2557"/>
                      <a:gd name="T12" fmla="*/ 518 w 1763"/>
                      <a:gd name="T13" fmla="*/ 488 h 2557"/>
                      <a:gd name="T14" fmla="*/ 534 w 1763"/>
                      <a:gd name="T15" fmla="*/ 659 h 2557"/>
                      <a:gd name="T16" fmla="*/ 578 w 1763"/>
                      <a:gd name="T17" fmla="*/ 697 h 2557"/>
                      <a:gd name="T18" fmla="*/ 603 w 1763"/>
                      <a:gd name="T19" fmla="*/ 746 h 2557"/>
                      <a:gd name="T20" fmla="*/ 659 w 1763"/>
                      <a:gd name="T21" fmla="*/ 803 h 2557"/>
                      <a:gd name="T22" fmla="*/ 671 w 1763"/>
                      <a:gd name="T23" fmla="*/ 856 h 2557"/>
                      <a:gd name="T24" fmla="*/ 797 w 1763"/>
                      <a:gd name="T25" fmla="*/ 900 h 2557"/>
                      <a:gd name="T26" fmla="*/ 893 w 1763"/>
                      <a:gd name="T27" fmla="*/ 930 h 2557"/>
                      <a:gd name="T28" fmla="*/ 980 w 1763"/>
                      <a:gd name="T29" fmla="*/ 1028 h 2557"/>
                      <a:gd name="T30" fmla="*/ 1042 w 1763"/>
                      <a:gd name="T31" fmla="*/ 1077 h 2557"/>
                      <a:gd name="T32" fmla="*/ 1006 w 1763"/>
                      <a:gd name="T33" fmla="*/ 1085 h 2557"/>
                      <a:gd name="T34" fmla="*/ 938 w 1763"/>
                      <a:gd name="T35" fmla="*/ 1060 h 2557"/>
                      <a:gd name="T36" fmla="*/ 892 w 1763"/>
                      <a:gd name="T37" fmla="*/ 1182 h 2557"/>
                      <a:gd name="T38" fmla="*/ 1036 w 1763"/>
                      <a:gd name="T39" fmla="*/ 1336 h 2557"/>
                      <a:gd name="T40" fmla="*/ 1159 w 1763"/>
                      <a:gd name="T41" fmla="*/ 1437 h 2557"/>
                      <a:gd name="T42" fmla="*/ 1403 w 1763"/>
                      <a:gd name="T43" fmla="*/ 1518 h 2557"/>
                      <a:gd name="T44" fmla="*/ 1527 w 1763"/>
                      <a:gd name="T45" fmla="*/ 1450 h 2557"/>
                      <a:gd name="T46" fmla="*/ 1611 w 1763"/>
                      <a:gd name="T47" fmla="*/ 1480 h 2557"/>
                      <a:gd name="T48" fmla="*/ 1669 w 1763"/>
                      <a:gd name="T49" fmla="*/ 1595 h 2557"/>
                      <a:gd name="T50" fmla="*/ 1674 w 1763"/>
                      <a:gd name="T51" fmla="*/ 1641 h 2557"/>
                      <a:gd name="T52" fmla="*/ 1617 w 1763"/>
                      <a:gd name="T53" fmla="*/ 1638 h 2557"/>
                      <a:gd name="T54" fmla="*/ 1566 w 1763"/>
                      <a:gd name="T55" fmla="*/ 1656 h 2557"/>
                      <a:gd name="T56" fmla="*/ 1598 w 1763"/>
                      <a:gd name="T57" fmla="*/ 1743 h 2557"/>
                      <a:gd name="T58" fmla="*/ 1741 w 1763"/>
                      <a:gd name="T59" fmla="*/ 1934 h 2557"/>
                      <a:gd name="T60" fmla="*/ 1761 w 1763"/>
                      <a:gd name="T61" fmla="*/ 1975 h 2557"/>
                      <a:gd name="T62" fmla="*/ 1741 w 1763"/>
                      <a:gd name="T63" fmla="*/ 2018 h 2557"/>
                      <a:gd name="T64" fmla="*/ 1699 w 1763"/>
                      <a:gd name="T65" fmla="*/ 2061 h 2557"/>
                      <a:gd name="T66" fmla="*/ 1639 w 1763"/>
                      <a:gd name="T67" fmla="*/ 2145 h 2557"/>
                      <a:gd name="T68" fmla="*/ 1535 w 1763"/>
                      <a:gd name="T69" fmla="*/ 2242 h 2557"/>
                      <a:gd name="T70" fmla="*/ 1432 w 1763"/>
                      <a:gd name="T71" fmla="*/ 2240 h 2557"/>
                      <a:gd name="T72" fmla="*/ 1383 w 1763"/>
                      <a:gd name="T73" fmla="*/ 2253 h 2557"/>
                      <a:gd name="T74" fmla="*/ 1349 w 1763"/>
                      <a:gd name="T75" fmla="*/ 2254 h 2557"/>
                      <a:gd name="T76" fmla="*/ 1305 w 1763"/>
                      <a:gd name="T77" fmla="*/ 2270 h 2557"/>
                      <a:gd name="T78" fmla="*/ 1261 w 1763"/>
                      <a:gd name="T79" fmla="*/ 2264 h 2557"/>
                      <a:gd name="T80" fmla="*/ 1235 w 1763"/>
                      <a:gd name="T81" fmla="*/ 2224 h 2557"/>
                      <a:gd name="T82" fmla="*/ 1175 w 1763"/>
                      <a:gd name="T83" fmla="*/ 2231 h 2557"/>
                      <a:gd name="T84" fmla="*/ 1131 w 1763"/>
                      <a:gd name="T85" fmla="*/ 2254 h 2557"/>
                      <a:gd name="T86" fmla="*/ 1113 w 1763"/>
                      <a:gd name="T87" fmla="*/ 2275 h 2557"/>
                      <a:gd name="T88" fmla="*/ 1101 w 1763"/>
                      <a:gd name="T89" fmla="*/ 2311 h 2557"/>
                      <a:gd name="T90" fmla="*/ 1086 w 1763"/>
                      <a:gd name="T91" fmla="*/ 2329 h 2557"/>
                      <a:gd name="T92" fmla="*/ 1053 w 1763"/>
                      <a:gd name="T93" fmla="*/ 2327 h 2557"/>
                      <a:gd name="T94" fmla="*/ 1067 w 1763"/>
                      <a:gd name="T95" fmla="*/ 2352 h 2557"/>
                      <a:gd name="T96" fmla="*/ 1010 w 1763"/>
                      <a:gd name="T97" fmla="*/ 2356 h 2557"/>
                      <a:gd name="T98" fmla="*/ 980 w 1763"/>
                      <a:gd name="T99" fmla="*/ 2368 h 2557"/>
                      <a:gd name="T100" fmla="*/ 996 w 1763"/>
                      <a:gd name="T101" fmla="*/ 2414 h 2557"/>
                      <a:gd name="T102" fmla="*/ 930 w 1763"/>
                      <a:gd name="T103" fmla="*/ 2429 h 2557"/>
                      <a:gd name="T104" fmla="*/ 952 w 1763"/>
                      <a:gd name="T105" fmla="*/ 2454 h 2557"/>
                      <a:gd name="T106" fmla="*/ 960 w 1763"/>
                      <a:gd name="T107" fmla="*/ 2490 h 2557"/>
                      <a:gd name="T108" fmla="*/ 906 w 1763"/>
                      <a:gd name="T109" fmla="*/ 2463 h 2557"/>
                      <a:gd name="T110" fmla="*/ 879 w 1763"/>
                      <a:gd name="T111" fmla="*/ 2479 h 2557"/>
                      <a:gd name="T112" fmla="*/ 784 w 1763"/>
                      <a:gd name="T113" fmla="*/ 2517 h 2557"/>
                      <a:gd name="T114" fmla="*/ 644 w 1763"/>
                      <a:gd name="T115" fmla="*/ 2533 h 2557"/>
                      <a:gd name="T116" fmla="*/ 591 w 1763"/>
                      <a:gd name="T117" fmla="*/ 2511 h 2557"/>
                      <a:gd name="T118" fmla="*/ 427 w 1763"/>
                      <a:gd name="T119" fmla="*/ 2476 h 2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63" h="2557">
                        <a:moveTo>
                          <a:pt x="0" y="0"/>
                        </a:moveTo>
                        <a:lnTo>
                          <a:pt x="3" y="3"/>
                        </a:lnTo>
                        <a:lnTo>
                          <a:pt x="8" y="8"/>
                        </a:lnTo>
                        <a:lnTo>
                          <a:pt x="22" y="26"/>
                        </a:lnTo>
                        <a:lnTo>
                          <a:pt x="25" y="32"/>
                        </a:lnTo>
                        <a:lnTo>
                          <a:pt x="31" y="41"/>
                        </a:lnTo>
                        <a:lnTo>
                          <a:pt x="36" y="45"/>
                        </a:lnTo>
                        <a:lnTo>
                          <a:pt x="38" y="45"/>
                        </a:lnTo>
                        <a:lnTo>
                          <a:pt x="41" y="46"/>
                        </a:lnTo>
                        <a:lnTo>
                          <a:pt x="44" y="45"/>
                        </a:lnTo>
                        <a:lnTo>
                          <a:pt x="49" y="43"/>
                        </a:lnTo>
                        <a:lnTo>
                          <a:pt x="50" y="41"/>
                        </a:lnTo>
                        <a:lnTo>
                          <a:pt x="65" y="33"/>
                        </a:lnTo>
                        <a:lnTo>
                          <a:pt x="76" y="27"/>
                        </a:lnTo>
                        <a:lnTo>
                          <a:pt x="81" y="24"/>
                        </a:lnTo>
                        <a:lnTo>
                          <a:pt x="85" y="22"/>
                        </a:lnTo>
                        <a:lnTo>
                          <a:pt x="88" y="21"/>
                        </a:lnTo>
                        <a:lnTo>
                          <a:pt x="95" y="18"/>
                        </a:lnTo>
                        <a:lnTo>
                          <a:pt x="96" y="16"/>
                        </a:lnTo>
                        <a:lnTo>
                          <a:pt x="114" y="7"/>
                        </a:lnTo>
                        <a:lnTo>
                          <a:pt x="125" y="3"/>
                        </a:lnTo>
                        <a:lnTo>
                          <a:pt x="128" y="3"/>
                        </a:lnTo>
                        <a:lnTo>
                          <a:pt x="130" y="3"/>
                        </a:lnTo>
                        <a:lnTo>
                          <a:pt x="138" y="7"/>
                        </a:lnTo>
                        <a:lnTo>
                          <a:pt x="146" y="10"/>
                        </a:lnTo>
                        <a:lnTo>
                          <a:pt x="169" y="19"/>
                        </a:lnTo>
                        <a:lnTo>
                          <a:pt x="177" y="19"/>
                        </a:lnTo>
                        <a:lnTo>
                          <a:pt x="180" y="22"/>
                        </a:lnTo>
                        <a:lnTo>
                          <a:pt x="184" y="22"/>
                        </a:lnTo>
                        <a:lnTo>
                          <a:pt x="188" y="26"/>
                        </a:lnTo>
                        <a:lnTo>
                          <a:pt x="193" y="27"/>
                        </a:lnTo>
                        <a:lnTo>
                          <a:pt x="198" y="27"/>
                        </a:lnTo>
                        <a:lnTo>
                          <a:pt x="199" y="29"/>
                        </a:lnTo>
                        <a:lnTo>
                          <a:pt x="214" y="33"/>
                        </a:lnTo>
                        <a:lnTo>
                          <a:pt x="220" y="37"/>
                        </a:lnTo>
                        <a:lnTo>
                          <a:pt x="223" y="38"/>
                        </a:lnTo>
                        <a:lnTo>
                          <a:pt x="233" y="41"/>
                        </a:lnTo>
                        <a:lnTo>
                          <a:pt x="255" y="51"/>
                        </a:lnTo>
                        <a:lnTo>
                          <a:pt x="258" y="52"/>
                        </a:lnTo>
                        <a:lnTo>
                          <a:pt x="264" y="54"/>
                        </a:lnTo>
                        <a:lnTo>
                          <a:pt x="275" y="59"/>
                        </a:lnTo>
                        <a:lnTo>
                          <a:pt x="280" y="60"/>
                        </a:lnTo>
                        <a:lnTo>
                          <a:pt x="282" y="60"/>
                        </a:lnTo>
                        <a:lnTo>
                          <a:pt x="288" y="60"/>
                        </a:lnTo>
                        <a:lnTo>
                          <a:pt x="290" y="60"/>
                        </a:lnTo>
                        <a:lnTo>
                          <a:pt x="298" y="62"/>
                        </a:lnTo>
                        <a:lnTo>
                          <a:pt x="302" y="62"/>
                        </a:lnTo>
                        <a:lnTo>
                          <a:pt x="304" y="62"/>
                        </a:lnTo>
                        <a:lnTo>
                          <a:pt x="309" y="62"/>
                        </a:lnTo>
                        <a:lnTo>
                          <a:pt x="312" y="64"/>
                        </a:lnTo>
                        <a:lnTo>
                          <a:pt x="318" y="64"/>
                        </a:lnTo>
                        <a:lnTo>
                          <a:pt x="325" y="64"/>
                        </a:lnTo>
                        <a:lnTo>
                          <a:pt x="329" y="64"/>
                        </a:lnTo>
                        <a:lnTo>
                          <a:pt x="334" y="64"/>
                        </a:lnTo>
                        <a:lnTo>
                          <a:pt x="339" y="64"/>
                        </a:lnTo>
                        <a:lnTo>
                          <a:pt x="344" y="64"/>
                        </a:lnTo>
                        <a:lnTo>
                          <a:pt x="345" y="64"/>
                        </a:lnTo>
                        <a:lnTo>
                          <a:pt x="355" y="62"/>
                        </a:lnTo>
                        <a:lnTo>
                          <a:pt x="363" y="62"/>
                        </a:lnTo>
                        <a:lnTo>
                          <a:pt x="367" y="62"/>
                        </a:lnTo>
                        <a:lnTo>
                          <a:pt x="370" y="62"/>
                        </a:lnTo>
                        <a:lnTo>
                          <a:pt x="372" y="62"/>
                        </a:lnTo>
                        <a:lnTo>
                          <a:pt x="374" y="62"/>
                        </a:lnTo>
                        <a:lnTo>
                          <a:pt x="380" y="62"/>
                        </a:lnTo>
                        <a:lnTo>
                          <a:pt x="382" y="62"/>
                        </a:lnTo>
                        <a:lnTo>
                          <a:pt x="393" y="60"/>
                        </a:lnTo>
                        <a:lnTo>
                          <a:pt x="399" y="59"/>
                        </a:lnTo>
                        <a:lnTo>
                          <a:pt x="402" y="57"/>
                        </a:lnTo>
                        <a:lnTo>
                          <a:pt x="404" y="57"/>
                        </a:lnTo>
                        <a:lnTo>
                          <a:pt x="412" y="57"/>
                        </a:lnTo>
                        <a:lnTo>
                          <a:pt x="416" y="57"/>
                        </a:lnTo>
                        <a:lnTo>
                          <a:pt x="421" y="57"/>
                        </a:lnTo>
                        <a:lnTo>
                          <a:pt x="421" y="64"/>
                        </a:lnTo>
                        <a:lnTo>
                          <a:pt x="424" y="102"/>
                        </a:lnTo>
                        <a:lnTo>
                          <a:pt x="424" y="108"/>
                        </a:lnTo>
                        <a:lnTo>
                          <a:pt x="424" y="114"/>
                        </a:lnTo>
                        <a:lnTo>
                          <a:pt x="426" y="116"/>
                        </a:lnTo>
                        <a:lnTo>
                          <a:pt x="426" y="117"/>
                        </a:lnTo>
                        <a:lnTo>
                          <a:pt x="426" y="121"/>
                        </a:lnTo>
                        <a:lnTo>
                          <a:pt x="421" y="130"/>
                        </a:lnTo>
                        <a:lnTo>
                          <a:pt x="407" y="148"/>
                        </a:lnTo>
                        <a:lnTo>
                          <a:pt x="405" y="149"/>
                        </a:lnTo>
                        <a:lnTo>
                          <a:pt x="405" y="152"/>
                        </a:lnTo>
                        <a:lnTo>
                          <a:pt x="407" y="152"/>
                        </a:lnTo>
                        <a:lnTo>
                          <a:pt x="410" y="162"/>
                        </a:lnTo>
                        <a:lnTo>
                          <a:pt x="416" y="178"/>
                        </a:lnTo>
                        <a:lnTo>
                          <a:pt x="416" y="181"/>
                        </a:lnTo>
                        <a:lnTo>
                          <a:pt x="418" y="182"/>
                        </a:lnTo>
                        <a:lnTo>
                          <a:pt x="420" y="187"/>
                        </a:lnTo>
                        <a:lnTo>
                          <a:pt x="426" y="205"/>
                        </a:lnTo>
                        <a:lnTo>
                          <a:pt x="426" y="208"/>
                        </a:lnTo>
                        <a:lnTo>
                          <a:pt x="424" y="211"/>
                        </a:lnTo>
                        <a:lnTo>
                          <a:pt x="424" y="216"/>
                        </a:lnTo>
                        <a:lnTo>
                          <a:pt x="423" y="222"/>
                        </a:lnTo>
                        <a:lnTo>
                          <a:pt x="412" y="255"/>
                        </a:lnTo>
                        <a:lnTo>
                          <a:pt x="389" y="307"/>
                        </a:lnTo>
                        <a:lnTo>
                          <a:pt x="383" y="338"/>
                        </a:lnTo>
                        <a:lnTo>
                          <a:pt x="385" y="344"/>
                        </a:lnTo>
                        <a:lnTo>
                          <a:pt x="388" y="355"/>
                        </a:lnTo>
                        <a:lnTo>
                          <a:pt x="389" y="363"/>
                        </a:lnTo>
                        <a:lnTo>
                          <a:pt x="399" y="382"/>
                        </a:lnTo>
                        <a:lnTo>
                          <a:pt x="410" y="393"/>
                        </a:lnTo>
                        <a:lnTo>
                          <a:pt x="412" y="391"/>
                        </a:lnTo>
                        <a:lnTo>
                          <a:pt x="413" y="390"/>
                        </a:lnTo>
                        <a:lnTo>
                          <a:pt x="418" y="396"/>
                        </a:lnTo>
                        <a:lnTo>
                          <a:pt x="423" y="401"/>
                        </a:lnTo>
                        <a:lnTo>
                          <a:pt x="434" y="412"/>
                        </a:lnTo>
                        <a:lnTo>
                          <a:pt x="445" y="426"/>
                        </a:lnTo>
                        <a:lnTo>
                          <a:pt x="450" y="433"/>
                        </a:lnTo>
                        <a:lnTo>
                          <a:pt x="464" y="441"/>
                        </a:lnTo>
                        <a:lnTo>
                          <a:pt x="465" y="441"/>
                        </a:lnTo>
                        <a:lnTo>
                          <a:pt x="480" y="444"/>
                        </a:lnTo>
                        <a:lnTo>
                          <a:pt x="483" y="447"/>
                        </a:lnTo>
                        <a:lnTo>
                          <a:pt x="489" y="455"/>
                        </a:lnTo>
                        <a:lnTo>
                          <a:pt x="494" y="463"/>
                        </a:lnTo>
                        <a:lnTo>
                          <a:pt x="499" y="469"/>
                        </a:lnTo>
                        <a:lnTo>
                          <a:pt x="502" y="471"/>
                        </a:lnTo>
                        <a:lnTo>
                          <a:pt x="508" y="477"/>
                        </a:lnTo>
                        <a:lnTo>
                          <a:pt x="518" y="488"/>
                        </a:lnTo>
                        <a:lnTo>
                          <a:pt x="529" y="510"/>
                        </a:lnTo>
                        <a:lnTo>
                          <a:pt x="529" y="512"/>
                        </a:lnTo>
                        <a:lnTo>
                          <a:pt x="519" y="529"/>
                        </a:lnTo>
                        <a:lnTo>
                          <a:pt x="521" y="550"/>
                        </a:lnTo>
                        <a:lnTo>
                          <a:pt x="510" y="559"/>
                        </a:lnTo>
                        <a:lnTo>
                          <a:pt x="500" y="575"/>
                        </a:lnTo>
                        <a:lnTo>
                          <a:pt x="502" y="582"/>
                        </a:lnTo>
                        <a:lnTo>
                          <a:pt x="505" y="588"/>
                        </a:lnTo>
                        <a:lnTo>
                          <a:pt x="516" y="604"/>
                        </a:lnTo>
                        <a:lnTo>
                          <a:pt x="518" y="607"/>
                        </a:lnTo>
                        <a:lnTo>
                          <a:pt x="518" y="608"/>
                        </a:lnTo>
                        <a:lnTo>
                          <a:pt x="524" y="613"/>
                        </a:lnTo>
                        <a:lnTo>
                          <a:pt x="518" y="623"/>
                        </a:lnTo>
                        <a:lnTo>
                          <a:pt x="519" y="631"/>
                        </a:lnTo>
                        <a:lnTo>
                          <a:pt x="526" y="650"/>
                        </a:lnTo>
                        <a:lnTo>
                          <a:pt x="532" y="658"/>
                        </a:lnTo>
                        <a:lnTo>
                          <a:pt x="534" y="659"/>
                        </a:lnTo>
                        <a:lnTo>
                          <a:pt x="537" y="664"/>
                        </a:lnTo>
                        <a:lnTo>
                          <a:pt x="540" y="667"/>
                        </a:lnTo>
                        <a:lnTo>
                          <a:pt x="553" y="675"/>
                        </a:lnTo>
                        <a:lnTo>
                          <a:pt x="553" y="677"/>
                        </a:lnTo>
                        <a:lnTo>
                          <a:pt x="554" y="677"/>
                        </a:lnTo>
                        <a:lnTo>
                          <a:pt x="556" y="678"/>
                        </a:lnTo>
                        <a:lnTo>
                          <a:pt x="557" y="680"/>
                        </a:lnTo>
                        <a:lnTo>
                          <a:pt x="561" y="684"/>
                        </a:lnTo>
                        <a:lnTo>
                          <a:pt x="557" y="692"/>
                        </a:lnTo>
                        <a:lnTo>
                          <a:pt x="561" y="697"/>
                        </a:lnTo>
                        <a:lnTo>
                          <a:pt x="567" y="696"/>
                        </a:lnTo>
                        <a:lnTo>
                          <a:pt x="570" y="694"/>
                        </a:lnTo>
                        <a:lnTo>
                          <a:pt x="572" y="692"/>
                        </a:lnTo>
                        <a:lnTo>
                          <a:pt x="572" y="691"/>
                        </a:lnTo>
                        <a:lnTo>
                          <a:pt x="576" y="688"/>
                        </a:lnTo>
                        <a:lnTo>
                          <a:pt x="578" y="691"/>
                        </a:lnTo>
                        <a:lnTo>
                          <a:pt x="578" y="697"/>
                        </a:lnTo>
                        <a:lnTo>
                          <a:pt x="578" y="699"/>
                        </a:lnTo>
                        <a:lnTo>
                          <a:pt x="576" y="702"/>
                        </a:lnTo>
                        <a:lnTo>
                          <a:pt x="573" y="705"/>
                        </a:lnTo>
                        <a:lnTo>
                          <a:pt x="572" y="705"/>
                        </a:lnTo>
                        <a:lnTo>
                          <a:pt x="572" y="707"/>
                        </a:lnTo>
                        <a:lnTo>
                          <a:pt x="572" y="710"/>
                        </a:lnTo>
                        <a:lnTo>
                          <a:pt x="572" y="718"/>
                        </a:lnTo>
                        <a:lnTo>
                          <a:pt x="573" y="718"/>
                        </a:lnTo>
                        <a:lnTo>
                          <a:pt x="575" y="721"/>
                        </a:lnTo>
                        <a:lnTo>
                          <a:pt x="581" y="729"/>
                        </a:lnTo>
                        <a:lnTo>
                          <a:pt x="584" y="732"/>
                        </a:lnTo>
                        <a:lnTo>
                          <a:pt x="587" y="734"/>
                        </a:lnTo>
                        <a:lnTo>
                          <a:pt x="592" y="737"/>
                        </a:lnTo>
                        <a:lnTo>
                          <a:pt x="597" y="740"/>
                        </a:lnTo>
                        <a:lnTo>
                          <a:pt x="600" y="743"/>
                        </a:lnTo>
                        <a:lnTo>
                          <a:pt x="602" y="745"/>
                        </a:lnTo>
                        <a:lnTo>
                          <a:pt x="603" y="746"/>
                        </a:lnTo>
                        <a:lnTo>
                          <a:pt x="605" y="749"/>
                        </a:lnTo>
                        <a:lnTo>
                          <a:pt x="605" y="754"/>
                        </a:lnTo>
                        <a:lnTo>
                          <a:pt x="605" y="761"/>
                        </a:lnTo>
                        <a:lnTo>
                          <a:pt x="606" y="762"/>
                        </a:lnTo>
                        <a:lnTo>
                          <a:pt x="608" y="765"/>
                        </a:lnTo>
                        <a:lnTo>
                          <a:pt x="613" y="768"/>
                        </a:lnTo>
                        <a:lnTo>
                          <a:pt x="621" y="770"/>
                        </a:lnTo>
                        <a:lnTo>
                          <a:pt x="622" y="773"/>
                        </a:lnTo>
                        <a:lnTo>
                          <a:pt x="629" y="775"/>
                        </a:lnTo>
                        <a:lnTo>
                          <a:pt x="629" y="776"/>
                        </a:lnTo>
                        <a:lnTo>
                          <a:pt x="637" y="781"/>
                        </a:lnTo>
                        <a:lnTo>
                          <a:pt x="640" y="784"/>
                        </a:lnTo>
                        <a:lnTo>
                          <a:pt x="641" y="792"/>
                        </a:lnTo>
                        <a:lnTo>
                          <a:pt x="644" y="797"/>
                        </a:lnTo>
                        <a:lnTo>
                          <a:pt x="652" y="802"/>
                        </a:lnTo>
                        <a:lnTo>
                          <a:pt x="657" y="802"/>
                        </a:lnTo>
                        <a:lnTo>
                          <a:pt x="659" y="803"/>
                        </a:lnTo>
                        <a:lnTo>
                          <a:pt x="659" y="802"/>
                        </a:lnTo>
                        <a:lnTo>
                          <a:pt x="659" y="800"/>
                        </a:lnTo>
                        <a:lnTo>
                          <a:pt x="659" y="799"/>
                        </a:lnTo>
                        <a:lnTo>
                          <a:pt x="663" y="799"/>
                        </a:lnTo>
                        <a:lnTo>
                          <a:pt x="663" y="802"/>
                        </a:lnTo>
                        <a:lnTo>
                          <a:pt x="662" y="803"/>
                        </a:lnTo>
                        <a:lnTo>
                          <a:pt x="663" y="805"/>
                        </a:lnTo>
                        <a:lnTo>
                          <a:pt x="667" y="808"/>
                        </a:lnTo>
                        <a:lnTo>
                          <a:pt x="667" y="811"/>
                        </a:lnTo>
                        <a:lnTo>
                          <a:pt x="663" y="818"/>
                        </a:lnTo>
                        <a:lnTo>
                          <a:pt x="659" y="822"/>
                        </a:lnTo>
                        <a:lnTo>
                          <a:pt x="651" y="832"/>
                        </a:lnTo>
                        <a:lnTo>
                          <a:pt x="651" y="840"/>
                        </a:lnTo>
                        <a:lnTo>
                          <a:pt x="652" y="844"/>
                        </a:lnTo>
                        <a:lnTo>
                          <a:pt x="654" y="844"/>
                        </a:lnTo>
                        <a:lnTo>
                          <a:pt x="662" y="852"/>
                        </a:lnTo>
                        <a:lnTo>
                          <a:pt x="671" y="856"/>
                        </a:lnTo>
                        <a:lnTo>
                          <a:pt x="684" y="856"/>
                        </a:lnTo>
                        <a:lnTo>
                          <a:pt x="692" y="856"/>
                        </a:lnTo>
                        <a:lnTo>
                          <a:pt x="702" y="856"/>
                        </a:lnTo>
                        <a:lnTo>
                          <a:pt x="724" y="856"/>
                        </a:lnTo>
                        <a:lnTo>
                          <a:pt x="743" y="856"/>
                        </a:lnTo>
                        <a:lnTo>
                          <a:pt x="754" y="856"/>
                        </a:lnTo>
                        <a:lnTo>
                          <a:pt x="757" y="856"/>
                        </a:lnTo>
                        <a:lnTo>
                          <a:pt x="763" y="860"/>
                        </a:lnTo>
                        <a:lnTo>
                          <a:pt x="771" y="865"/>
                        </a:lnTo>
                        <a:lnTo>
                          <a:pt x="765" y="868"/>
                        </a:lnTo>
                        <a:lnTo>
                          <a:pt x="763" y="868"/>
                        </a:lnTo>
                        <a:lnTo>
                          <a:pt x="763" y="870"/>
                        </a:lnTo>
                        <a:lnTo>
                          <a:pt x="760" y="873"/>
                        </a:lnTo>
                        <a:lnTo>
                          <a:pt x="762" y="887"/>
                        </a:lnTo>
                        <a:lnTo>
                          <a:pt x="768" y="889"/>
                        </a:lnTo>
                        <a:lnTo>
                          <a:pt x="790" y="902"/>
                        </a:lnTo>
                        <a:lnTo>
                          <a:pt x="797" y="900"/>
                        </a:lnTo>
                        <a:lnTo>
                          <a:pt x="803" y="898"/>
                        </a:lnTo>
                        <a:lnTo>
                          <a:pt x="806" y="898"/>
                        </a:lnTo>
                        <a:lnTo>
                          <a:pt x="809" y="898"/>
                        </a:lnTo>
                        <a:lnTo>
                          <a:pt x="812" y="898"/>
                        </a:lnTo>
                        <a:lnTo>
                          <a:pt x="817" y="900"/>
                        </a:lnTo>
                        <a:lnTo>
                          <a:pt x="839" y="902"/>
                        </a:lnTo>
                        <a:lnTo>
                          <a:pt x="841" y="903"/>
                        </a:lnTo>
                        <a:lnTo>
                          <a:pt x="842" y="905"/>
                        </a:lnTo>
                        <a:lnTo>
                          <a:pt x="844" y="905"/>
                        </a:lnTo>
                        <a:lnTo>
                          <a:pt x="854" y="911"/>
                        </a:lnTo>
                        <a:lnTo>
                          <a:pt x="858" y="914"/>
                        </a:lnTo>
                        <a:lnTo>
                          <a:pt x="866" y="921"/>
                        </a:lnTo>
                        <a:lnTo>
                          <a:pt x="871" y="925"/>
                        </a:lnTo>
                        <a:lnTo>
                          <a:pt x="873" y="925"/>
                        </a:lnTo>
                        <a:lnTo>
                          <a:pt x="881" y="928"/>
                        </a:lnTo>
                        <a:lnTo>
                          <a:pt x="890" y="927"/>
                        </a:lnTo>
                        <a:lnTo>
                          <a:pt x="893" y="930"/>
                        </a:lnTo>
                        <a:lnTo>
                          <a:pt x="896" y="933"/>
                        </a:lnTo>
                        <a:lnTo>
                          <a:pt x="898" y="936"/>
                        </a:lnTo>
                        <a:lnTo>
                          <a:pt x="901" y="938"/>
                        </a:lnTo>
                        <a:lnTo>
                          <a:pt x="903" y="944"/>
                        </a:lnTo>
                        <a:lnTo>
                          <a:pt x="906" y="955"/>
                        </a:lnTo>
                        <a:lnTo>
                          <a:pt x="901" y="963"/>
                        </a:lnTo>
                        <a:lnTo>
                          <a:pt x="903" y="971"/>
                        </a:lnTo>
                        <a:lnTo>
                          <a:pt x="906" y="982"/>
                        </a:lnTo>
                        <a:lnTo>
                          <a:pt x="912" y="984"/>
                        </a:lnTo>
                        <a:lnTo>
                          <a:pt x="922" y="985"/>
                        </a:lnTo>
                        <a:lnTo>
                          <a:pt x="923" y="987"/>
                        </a:lnTo>
                        <a:lnTo>
                          <a:pt x="925" y="987"/>
                        </a:lnTo>
                        <a:lnTo>
                          <a:pt x="939" y="998"/>
                        </a:lnTo>
                        <a:lnTo>
                          <a:pt x="945" y="998"/>
                        </a:lnTo>
                        <a:lnTo>
                          <a:pt x="950" y="998"/>
                        </a:lnTo>
                        <a:lnTo>
                          <a:pt x="958" y="1006"/>
                        </a:lnTo>
                        <a:lnTo>
                          <a:pt x="980" y="1028"/>
                        </a:lnTo>
                        <a:lnTo>
                          <a:pt x="993" y="1028"/>
                        </a:lnTo>
                        <a:lnTo>
                          <a:pt x="995" y="1030"/>
                        </a:lnTo>
                        <a:lnTo>
                          <a:pt x="995" y="1033"/>
                        </a:lnTo>
                        <a:lnTo>
                          <a:pt x="1006" y="1036"/>
                        </a:lnTo>
                        <a:lnTo>
                          <a:pt x="1015" y="1039"/>
                        </a:lnTo>
                        <a:lnTo>
                          <a:pt x="1021" y="1041"/>
                        </a:lnTo>
                        <a:lnTo>
                          <a:pt x="1029" y="1042"/>
                        </a:lnTo>
                        <a:lnTo>
                          <a:pt x="1033" y="1044"/>
                        </a:lnTo>
                        <a:lnTo>
                          <a:pt x="1037" y="1042"/>
                        </a:lnTo>
                        <a:lnTo>
                          <a:pt x="1045" y="1041"/>
                        </a:lnTo>
                        <a:lnTo>
                          <a:pt x="1071" y="1061"/>
                        </a:lnTo>
                        <a:lnTo>
                          <a:pt x="1071" y="1066"/>
                        </a:lnTo>
                        <a:lnTo>
                          <a:pt x="1069" y="1066"/>
                        </a:lnTo>
                        <a:lnTo>
                          <a:pt x="1056" y="1073"/>
                        </a:lnTo>
                        <a:lnTo>
                          <a:pt x="1053" y="1073"/>
                        </a:lnTo>
                        <a:lnTo>
                          <a:pt x="1052" y="1073"/>
                        </a:lnTo>
                        <a:lnTo>
                          <a:pt x="1042" y="1077"/>
                        </a:lnTo>
                        <a:lnTo>
                          <a:pt x="1039" y="1077"/>
                        </a:lnTo>
                        <a:lnTo>
                          <a:pt x="1033" y="1066"/>
                        </a:lnTo>
                        <a:lnTo>
                          <a:pt x="1033" y="1060"/>
                        </a:lnTo>
                        <a:lnTo>
                          <a:pt x="1031" y="1054"/>
                        </a:lnTo>
                        <a:lnTo>
                          <a:pt x="1026" y="1052"/>
                        </a:lnTo>
                        <a:lnTo>
                          <a:pt x="1025" y="1052"/>
                        </a:lnTo>
                        <a:lnTo>
                          <a:pt x="1021" y="1052"/>
                        </a:lnTo>
                        <a:lnTo>
                          <a:pt x="1021" y="1060"/>
                        </a:lnTo>
                        <a:lnTo>
                          <a:pt x="1023" y="1068"/>
                        </a:lnTo>
                        <a:lnTo>
                          <a:pt x="1021" y="1069"/>
                        </a:lnTo>
                        <a:lnTo>
                          <a:pt x="1021" y="1076"/>
                        </a:lnTo>
                        <a:lnTo>
                          <a:pt x="1017" y="1082"/>
                        </a:lnTo>
                        <a:lnTo>
                          <a:pt x="1015" y="1082"/>
                        </a:lnTo>
                        <a:lnTo>
                          <a:pt x="1012" y="1087"/>
                        </a:lnTo>
                        <a:lnTo>
                          <a:pt x="1009" y="1087"/>
                        </a:lnTo>
                        <a:lnTo>
                          <a:pt x="1007" y="1085"/>
                        </a:lnTo>
                        <a:lnTo>
                          <a:pt x="1006" y="1085"/>
                        </a:lnTo>
                        <a:lnTo>
                          <a:pt x="988" y="1084"/>
                        </a:lnTo>
                        <a:lnTo>
                          <a:pt x="987" y="1079"/>
                        </a:lnTo>
                        <a:lnTo>
                          <a:pt x="985" y="1079"/>
                        </a:lnTo>
                        <a:lnTo>
                          <a:pt x="980" y="1076"/>
                        </a:lnTo>
                        <a:lnTo>
                          <a:pt x="979" y="1074"/>
                        </a:lnTo>
                        <a:lnTo>
                          <a:pt x="976" y="1077"/>
                        </a:lnTo>
                        <a:lnTo>
                          <a:pt x="972" y="1077"/>
                        </a:lnTo>
                        <a:lnTo>
                          <a:pt x="971" y="1077"/>
                        </a:lnTo>
                        <a:lnTo>
                          <a:pt x="963" y="1074"/>
                        </a:lnTo>
                        <a:lnTo>
                          <a:pt x="953" y="1068"/>
                        </a:lnTo>
                        <a:lnTo>
                          <a:pt x="949" y="1065"/>
                        </a:lnTo>
                        <a:lnTo>
                          <a:pt x="947" y="1065"/>
                        </a:lnTo>
                        <a:lnTo>
                          <a:pt x="945" y="1063"/>
                        </a:lnTo>
                        <a:lnTo>
                          <a:pt x="944" y="1063"/>
                        </a:lnTo>
                        <a:lnTo>
                          <a:pt x="942" y="1061"/>
                        </a:lnTo>
                        <a:lnTo>
                          <a:pt x="941" y="1061"/>
                        </a:lnTo>
                        <a:lnTo>
                          <a:pt x="938" y="1060"/>
                        </a:lnTo>
                        <a:lnTo>
                          <a:pt x="938" y="1058"/>
                        </a:lnTo>
                        <a:lnTo>
                          <a:pt x="936" y="1058"/>
                        </a:lnTo>
                        <a:lnTo>
                          <a:pt x="931" y="1057"/>
                        </a:lnTo>
                        <a:lnTo>
                          <a:pt x="930" y="1055"/>
                        </a:lnTo>
                        <a:lnTo>
                          <a:pt x="914" y="1057"/>
                        </a:lnTo>
                        <a:lnTo>
                          <a:pt x="911" y="1055"/>
                        </a:lnTo>
                        <a:lnTo>
                          <a:pt x="909" y="1054"/>
                        </a:lnTo>
                        <a:lnTo>
                          <a:pt x="896" y="1052"/>
                        </a:lnTo>
                        <a:lnTo>
                          <a:pt x="895" y="1054"/>
                        </a:lnTo>
                        <a:lnTo>
                          <a:pt x="892" y="1054"/>
                        </a:lnTo>
                        <a:lnTo>
                          <a:pt x="892" y="1082"/>
                        </a:lnTo>
                        <a:lnTo>
                          <a:pt x="892" y="1084"/>
                        </a:lnTo>
                        <a:lnTo>
                          <a:pt x="892" y="1090"/>
                        </a:lnTo>
                        <a:lnTo>
                          <a:pt x="892" y="1122"/>
                        </a:lnTo>
                        <a:lnTo>
                          <a:pt x="892" y="1158"/>
                        </a:lnTo>
                        <a:lnTo>
                          <a:pt x="892" y="1164"/>
                        </a:lnTo>
                        <a:lnTo>
                          <a:pt x="892" y="1182"/>
                        </a:lnTo>
                        <a:lnTo>
                          <a:pt x="892" y="1201"/>
                        </a:lnTo>
                        <a:lnTo>
                          <a:pt x="892" y="1217"/>
                        </a:lnTo>
                        <a:lnTo>
                          <a:pt x="892" y="1225"/>
                        </a:lnTo>
                        <a:lnTo>
                          <a:pt x="892" y="1231"/>
                        </a:lnTo>
                        <a:lnTo>
                          <a:pt x="892" y="1242"/>
                        </a:lnTo>
                        <a:lnTo>
                          <a:pt x="892" y="1247"/>
                        </a:lnTo>
                        <a:lnTo>
                          <a:pt x="893" y="1255"/>
                        </a:lnTo>
                        <a:lnTo>
                          <a:pt x="895" y="1283"/>
                        </a:lnTo>
                        <a:lnTo>
                          <a:pt x="969" y="1283"/>
                        </a:lnTo>
                        <a:lnTo>
                          <a:pt x="972" y="1283"/>
                        </a:lnTo>
                        <a:lnTo>
                          <a:pt x="999" y="1304"/>
                        </a:lnTo>
                        <a:lnTo>
                          <a:pt x="1004" y="1309"/>
                        </a:lnTo>
                        <a:lnTo>
                          <a:pt x="1014" y="1318"/>
                        </a:lnTo>
                        <a:lnTo>
                          <a:pt x="1014" y="1317"/>
                        </a:lnTo>
                        <a:lnTo>
                          <a:pt x="1021" y="1321"/>
                        </a:lnTo>
                        <a:lnTo>
                          <a:pt x="1026" y="1328"/>
                        </a:lnTo>
                        <a:lnTo>
                          <a:pt x="1036" y="1336"/>
                        </a:lnTo>
                        <a:lnTo>
                          <a:pt x="1066" y="1359"/>
                        </a:lnTo>
                        <a:lnTo>
                          <a:pt x="1067" y="1361"/>
                        </a:lnTo>
                        <a:lnTo>
                          <a:pt x="1077" y="1369"/>
                        </a:lnTo>
                        <a:lnTo>
                          <a:pt x="1083" y="1374"/>
                        </a:lnTo>
                        <a:lnTo>
                          <a:pt x="1088" y="1377"/>
                        </a:lnTo>
                        <a:lnTo>
                          <a:pt x="1093" y="1381"/>
                        </a:lnTo>
                        <a:lnTo>
                          <a:pt x="1093" y="1383"/>
                        </a:lnTo>
                        <a:lnTo>
                          <a:pt x="1098" y="1385"/>
                        </a:lnTo>
                        <a:lnTo>
                          <a:pt x="1099" y="1386"/>
                        </a:lnTo>
                        <a:lnTo>
                          <a:pt x="1107" y="1394"/>
                        </a:lnTo>
                        <a:lnTo>
                          <a:pt x="1120" y="1404"/>
                        </a:lnTo>
                        <a:lnTo>
                          <a:pt x="1126" y="1410"/>
                        </a:lnTo>
                        <a:lnTo>
                          <a:pt x="1136" y="1418"/>
                        </a:lnTo>
                        <a:lnTo>
                          <a:pt x="1140" y="1421"/>
                        </a:lnTo>
                        <a:lnTo>
                          <a:pt x="1147" y="1427"/>
                        </a:lnTo>
                        <a:lnTo>
                          <a:pt x="1150" y="1429"/>
                        </a:lnTo>
                        <a:lnTo>
                          <a:pt x="1159" y="1437"/>
                        </a:lnTo>
                        <a:lnTo>
                          <a:pt x="1164" y="1440"/>
                        </a:lnTo>
                        <a:lnTo>
                          <a:pt x="1251" y="1508"/>
                        </a:lnTo>
                        <a:lnTo>
                          <a:pt x="1273" y="1511"/>
                        </a:lnTo>
                        <a:lnTo>
                          <a:pt x="1281" y="1511"/>
                        </a:lnTo>
                        <a:lnTo>
                          <a:pt x="1307" y="1513"/>
                        </a:lnTo>
                        <a:lnTo>
                          <a:pt x="1318" y="1515"/>
                        </a:lnTo>
                        <a:lnTo>
                          <a:pt x="1321" y="1513"/>
                        </a:lnTo>
                        <a:lnTo>
                          <a:pt x="1329" y="1513"/>
                        </a:lnTo>
                        <a:lnTo>
                          <a:pt x="1334" y="1515"/>
                        </a:lnTo>
                        <a:lnTo>
                          <a:pt x="1353" y="1515"/>
                        </a:lnTo>
                        <a:lnTo>
                          <a:pt x="1356" y="1515"/>
                        </a:lnTo>
                        <a:lnTo>
                          <a:pt x="1360" y="1515"/>
                        </a:lnTo>
                        <a:lnTo>
                          <a:pt x="1364" y="1515"/>
                        </a:lnTo>
                        <a:lnTo>
                          <a:pt x="1375" y="1516"/>
                        </a:lnTo>
                        <a:lnTo>
                          <a:pt x="1386" y="1516"/>
                        </a:lnTo>
                        <a:lnTo>
                          <a:pt x="1394" y="1516"/>
                        </a:lnTo>
                        <a:lnTo>
                          <a:pt x="1403" y="1518"/>
                        </a:lnTo>
                        <a:lnTo>
                          <a:pt x="1406" y="1518"/>
                        </a:lnTo>
                        <a:lnTo>
                          <a:pt x="1417" y="1518"/>
                        </a:lnTo>
                        <a:lnTo>
                          <a:pt x="1425" y="1519"/>
                        </a:lnTo>
                        <a:lnTo>
                          <a:pt x="1429" y="1519"/>
                        </a:lnTo>
                        <a:lnTo>
                          <a:pt x="1433" y="1518"/>
                        </a:lnTo>
                        <a:lnTo>
                          <a:pt x="1435" y="1518"/>
                        </a:lnTo>
                        <a:lnTo>
                          <a:pt x="1459" y="1480"/>
                        </a:lnTo>
                        <a:lnTo>
                          <a:pt x="1465" y="1467"/>
                        </a:lnTo>
                        <a:lnTo>
                          <a:pt x="1467" y="1464"/>
                        </a:lnTo>
                        <a:lnTo>
                          <a:pt x="1470" y="1465"/>
                        </a:lnTo>
                        <a:lnTo>
                          <a:pt x="1481" y="1469"/>
                        </a:lnTo>
                        <a:lnTo>
                          <a:pt x="1489" y="1461"/>
                        </a:lnTo>
                        <a:lnTo>
                          <a:pt x="1498" y="1445"/>
                        </a:lnTo>
                        <a:lnTo>
                          <a:pt x="1503" y="1445"/>
                        </a:lnTo>
                        <a:lnTo>
                          <a:pt x="1516" y="1448"/>
                        </a:lnTo>
                        <a:lnTo>
                          <a:pt x="1520" y="1450"/>
                        </a:lnTo>
                        <a:lnTo>
                          <a:pt x="1527" y="1450"/>
                        </a:lnTo>
                        <a:lnTo>
                          <a:pt x="1533" y="1450"/>
                        </a:lnTo>
                        <a:lnTo>
                          <a:pt x="1536" y="1450"/>
                        </a:lnTo>
                        <a:lnTo>
                          <a:pt x="1538" y="1450"/>
                        </a:lnTo>
                        <a:lnTo>
                          <a:pt x="1551" y="1451"/>
                        </a:lnTo>
                        <a:lnTo>
                          <a:pt x="1552" y="1451"/>
                        </a:lnTo>
                        <a:lnTo>
                          <a:pt x="1557" y="1453"/>
                        </a:lnTo>
                        <a:lnTo>
                          <a:pt x="1563" y="1454"/>
                        </a:lnTo>
                        <a:lnTo>
                          <a:pt x="1570" y="1451"/>
                        </a:lnTo>
                        <a:lnTo>
                          <a:pt x="1577" y="1448"/>
                        </a:lnTo>
                        <a:lnTo>
                          <a:pt x="1577" y="1450"/>
                        </a:lnTo>
                        <a:lnTo>
                          <a:pt x="1579" y="1453"/>
                        </a:lnTo>
                        <a:lnTo>
                          <a:pt x="1581" y="1464"/>
                        </a:lnTo>
                        <a:lnTo>
                          <a:pt x="1582" y="1464"/>
                        </a:lnTo>
                        <a:lnTo>
                          <a:pt x="1584" y="1464"/>
                        </a:lnTo>
                        <a:lnTo>
                          <a:pt x="1592" y="1469"/>
                        </a:lnTo>
                        <a:lnTo>
                          <a:pt x="1612" y="1475"/>
                        </a:lnTo>
                        <a:lnTo>
                          <a:pt x="1611" y="1480"/>
                        </a:lnTo>
                        <a:lnTo>
                          <a:pt x="1611" y="1491"/>
                        </a:lnTo>
                        <a:lnTo>
                          <a:pt x="1606" y="1499"/>
                        </a:lnTo>
                        <a:lnTo>
                          <a:pt x="1609" y="1500"/>
                        </a:lnTo>
                        <a:lnTo>
                          <a:pt x="1612" y="1502"/>
                        </a:lnTo>
                        <a:lnTo>
                          <a:pt x="1620" y="1507"/>
                        </a:lnTo>
                        <a:lnTo>
                          <a:pt x="1625" y="1508"/>
                        </a:lnTo>
                        <a:lnTo>
                          <a:pt x="1633" y="1515"/>
                        </a:lnTo>
                        <a:lnTo>
                          <a:pt x="1635" y="1515"/>
                        </a:lnTo>
                        <a:lnTo>
                          <a:pt x="1646" y="1532"/>
                        </a:lnTo>
                        <a:lnTo>
                          <a:pt x="1650" y="1538"/>
                        </a:lnTo>
                        <a:lnTo>
                          <a:pt x="1652" y="1540"/>
                        </a:lnTo>
                        <a:lnTo>
                          <a:pt x="1652" y="1543"/>
                        </a:lnTo>
                        <a:lnTo>
                          <a:pt x="1654" y="1578"/>
                        </a:lnTo>
                        <a:lnTo>
                          <a:pt x="1665" y="1591"/>
                        </a:lnTo>
                        <a:lnTo>
                          <a:pt x="1666" y="1592"/>
                        </a:lnTo>
                        <a:lnTo>
                          <a:pt x="1666" y="1594"/>
                        </a:lnTo>
                        <a:lnTo>
                          <a:pt x="1669" y="1595"/>
                        </a:lnTo>
                        <a:lnTo>
                          <a:pt x="1669" y="1597"/>
                        </a:lnTo>
                        <a:lnTo>
                          <a:pt x="1671" y="1597"/>
                        </a:lnTo>
                        <a:lnTo>
                          <a:pt x="1674" y="1602"/>
                        </a:lnTo>
                        <a:lnTo>
                          <a:pt x="1676" y="1603"/>
                        </a:lnTo>
                        <a:lnTo>
                          <a:pt x="1677" y="1606"/>
                        </a:lnTo>
                        <a:lnTo>
                          <a:pt x="1679" y="1606"/>
                        </a:lnTo>
                        <a:lnTo>
                          <a:pt x="1679" y="1610"/>
                        </a:lnTo>
                        <a:lnTo>
                          <a:pt x="1680" y="1611"/>
                        </a:lnTo>
                        <a:lnTo>
                          <a:pt x="1679" y="1619"/>
                        </a:lnTo>
                        <a:lnTo>
                          <a:pt x="1677" y="1625"/>
                        </a:lnTo>
                        <a:lnTo>
                          <a:pt x="1677" y="1630"/>
                        </a:lnTo>
                        <a:lnTo>
                          <a:pt x="1682" y="1635"/>
                        </a:lnTo>
                        <a:lnTo>
                          <a:pt x="1680" y="1637"/>
                        </a:lnTo>
                        <a:lnTo>
                          <a:pt x="1677" y="1637"/>
                        </a:lnTo>
                        <a:lnTo>
                          <a:pt x="1674" y="1637"/>
                        </a:lnTo>
                        <a:lnTo>
                          <a:pt x="1674" y="1638"/>
                        </a:lnTo>
                        <a:lnTo>
                          <a:pt x="1674" y="1641"/>
                        </a:lnTo>
                        <a:lnTo>
                          <a:pt x="1671" y="1641"/>
                        </a:lnTo>
                        <a:lnTo>
                          <a:pt x="1669" y="1643"/>
                        </a:lnTo>
                        <a:lnTo>
                          <a:pt x="1668" y="1641"/>
                        </a:lnTo>
                        <a:lnTo>
                          <a:pt x="1666" y="1640"/>
                        </a:lnTo>
                        <a:lnTo>
                          <a:pt x="1658" y="1637"/>
                        </a:lnTo>
                        <a:lnTo>
                          <a:pt x="1650" y="1638"/>
                        </a:lnTo>
                        <a:lnTo>
                          <a:pt x="1647" y="1641"/>
                        </a:lnTo>
                        <a:lnTo>
                          <a:pt x="1647" y="1643"/>
                        </a:lnTo>
                        <a:lnTo>
                          <a:pt x="1646" y="1643"/>
                        </a:lnTo>
                        <a:lnTo>
                          <a:pt x="1638" y="1640"/>
                        </a:lnTo>
                        <a:lnTo>
                          <a:pt x="1638" y="1638"/>
                        </a:lnTo>
                        <a:lnTo>
                          <a:pt x="1631" y="1638"/>
                        </a:lnTo>
                        <a:lnTo>
                          <a:pt x="1630" y="1638"/>
                        </a:lnTo>
                        <a:lnTo>
                          <a:pt x="1628" y="1640"/>
                        </a:lnTo>
                        <a:lnTo>
                          <a:pt x="1625" y="1638"/>
                        </a:lnTo>
                        <a:lnTo>
                          <a:pt x="1620" y="1637"/>
                        </a:lnTo>
                        <a:lnTo>
                          <a:pt x="1617" y="1638"/>
                        </a:lnTo>
                        <a:lnTo>
                          <a:pt x="1614" y="1640"/>
                        </a:lnTo>
                        <a:lnTo>
                          <a:pt x="1609" y="1640"/>
                        </a:lnTo>
                        <a:lnTo>
                          <a:pt x="1606" y="1641"/>
                        </a:lnTo>
                        <a:lnTo>
                          <a:pt x="1608" y="1644"/>
                        </a:lnTo>
                        <a:lnTo>
                          <a:pt x="1601" y="1646"/>
                        </a:lnTo>
                        <a:lnTo>
                          <a:pt x="1596" y="1651"/>
                        </a:lnTo>
                        <a:lnTo>
                          <a:pt x="1590" y="1652"/>
                        </a:lnTo>
                        <a:lnTo>
                          <a:pt x="1585" y="1657"/>
                        </a:lnTo>
                        <a:lnTo>
                          <a:pt x="1582" y="1660"/>
                        </a:lnTo>
                        <a:lnTo>
                          <a:pt x="1582" y="1663"/>
                        </a:lnTo>
                        <a:lnTo>
                          <a:pt x="1581" y="1665"/>
                        </a:lnTo>
                        <a:lnTo>
                          <a:pt x="1579" y="1665"/>
                        </a:lnTo>
                        <a:lnTo>
                          <a:pt x="1577" y="1665"/>
                        </a:lnTo>
                        <a:lnTo>
                          <a:pt x="1571" y="1659"/>
                        </a:lnTo>
                        <a:lnTo>
                          <a:pt x="1570" y="1656"/>
                        </a:lnTo>
                        <a:lnTo>
                          <a:pt x="1568" y="1656"/>
                        </a:lnTo>
                        <a:lnTo>
                          <a:pt x="1566" y="1656"/>
                        </a:lnTo>
                        <a:lnTo>
                          <a:pt x="1563" y="1656"/>
                        </a:lnTo>
                        <a:lnTo>
                          <a:pt x="1562" y="1659"/>
                        </a:lnTo>
                        <a:lnTo>
                          <a:pt x="1560" y="1660"/>
                        </a:lnTo>
                        <a:lnTo>
                          <a:pt x="1557" y="1663"/>
                        </a:lnTo>
                        <a:lnTo>
                          <a:pt x="1555" y="1667"/>
                        </a:lnTo>
                        <a:lnTo>
                          <a:pt x="1557" y="1668"/>
                        </a:lnTo>
                        <a:lnTo>
                          <a:pt x="1557" y="1670"/>
                        </a:lnTo>
                        <a:lnTo>
                          <a:pt x="1557" y="1671"/>
                        </a:lnTo>
                        <a:lnTo>
                          <a:pt x="1552" y="1676"/>
                        </a:lnTo>
                        <a:lnTo>
                          <a:pt x="1552" y="1679"/>
                        </a:lnTo>
                        <a:lnTo>
                          <a:pt x="1554" y="1682"/>
                        </a:lnTo>
                        <a:lnTo>
                          <a:pt x="1555" y="1686"/>
                        </a:lnTo>
                        <a:lnTo>
                          <a:pt x="1566" y="1698"/>
                        </a:lnTo>
                        <a:lnTo>
                          <a:pt x="1570" y="1703"/>
                        </a:lnTo>
                        <a:lnTo>
                          <a:pt x="1589" y="1728"/>
                        </a:lnTo>
                        <a:lnTo>
                          <a:pt x="1598" y="1741"/>
                        </a:lnTo>
                        <a:lnTo>
                          <a:pt x="1598" y="1743"/>
                        </a:lnTo>
                        <a:lnTo>
                          <a:pt x="1627" y="1779"/>
                        </a:lnTo>
                        <a:lnTo>
                          <a:pt x="1631" y="1787"/>
                        </a:lnTo>
                        <a:lnTo>
                          <a:pt x="1635" y="1789"/>
                        </a:lnTo>
                        <a:lnTo>
                          <a:pt x="1646" y="1804"/>
                        </a:lnTo>
                        <a:lnTo>
                          <a:pt x="1646" y="1806"/>
                        </a:lnTo>
                        <a:lnTo>
                          <a:pt x="1657" y="1819"/>
                        </a:lnTo>
                        <a:lnTo>
                          <a:pt x="1665" y="1830"/>
                        </a:lnTo>
                        <a:lnTo>
                          <a:pt x="1669" y="1838"/>
                        </a:lnTo>
                        <a:lnTo>
                          <a:pt x="1674" y="1844"/>
                        </a:lnTo>
                        <a:lnTo>
                          <a:pt x="1696" y="1873"/>
                        </a:lnTo>
                        <a:lnTo>
                          <a:pt x="1707" y="1887"/>
                        </a:lnTo>
                        <a:lnTo>
                          <a:pt x="1709" y="1890"/>
                        </a:lnTo>
                        <a:lnTo>
                          <a:pt x="1726" y="1914"/>
                        </a:lnTo>
                        <a:lnTo>
                          <a:pt x="1730" y="1917"/>
                        </a:lnTo>
                        <a:lnTo>
                          <a:pt x="1736" y="1926"/>
                        </a:lnTo>
                        <a:lnTo>
                          <a:pt x="1739" y="1930"/>
                        </a:lnTo>
                        <a:lnTo>
                          <a:pt x="1741" y="1934"/>
                        </a:lnTo>
                        <a:lnTo>
                          <a:pt x="1742" y="1934"/>
                        </a:lnTo>
                        <a:lnTo>
                          <a:pt x="1742" y="1936"/>
                        </a:lnTo>
                        <a:lnTo>
                          <a:pt x="1745" y="1937"/>
                        </a:lnTo>
                        <a:lnTo>
                          <a:pt x="1747" y="1939"/>
                        </a:lnTo>
                        <a:lnTo>
                          <a:pt x="1749" y="1941"/>
                        </a:lnTo>
                        <a:lnTo>
                          <a:pt x="1750" y="1944"/>
                        </a:lnTo>
                        <a:lnTo>
                          <a:pt x="1756" y="1953"/>
                        </a:lnTo>
                        <a:lnTo>
                          <a:pt x="1763" y="1960"/>
                        </a:lnTo>
                        <a:lnTo>
                          <a:pt x="1763" y="1961"/>
                        </a:lnTo>
                        <a:lnTo>
                          <a:pt x="1761" y="1963"/>
                        </a:lnTo>
                        <a:lnTo>
                          <a:pt x="1758" y="1963"/>
                        </a:lnTo>
                        <a:lnTo>
                          <a:pt x="1756" y="1964"/>
                        </a:lnTo>
                        <a:lnTo>
                          <a:pt x="1756" y="1968"/>
                        </a:lnTo>
                        <a:lnTo>
                          <a:pt x="1758" y="1971"/>
                        </a:lnTo>
                        <a:lnTo>
                          <a:pt x="1760" y="1972"/>
                        </a:lnTo>
                        <a:lnTo>
                          <a:pt x="1760" y="1975"/>
                        </a:lnTo>
                        <a:lnTo>
                          <a:pt x="1761" y="1975"/>
                        </a:lnTo>
                        <a:lnTo>
                          <a:pt x="1761" y="1979"/>
                        </a:lnTo>
                        <a:lnTo>
                          <a:pt x="1760" y="1980"/>
                        </a:lnTo>
                        <a:lnTo>
                          <a:pt x="1756" y="1982"/>
                        </a:lnTo>
                        <a:lnTo>
                          <a:pt x="1753" y="1983"/>
                        </a:lnTo>
                        <a:lnTo>
                          <a:pt x="1747" y="1988"/>
                        </a:lnTo>
                        <a:lnTo>
                          <a:pt x="1745" y="1991"/>
                        </a:lnTo>
                        <a:lnTo>
                          <a:pt x="1744" y="1994"/>
                        </a:lnTo>
                        <a:lnTo>
                          <a:pt x="1744" y="1999"/>
                        </a:lnTo>
                        <a:lnTo>
                          <a:pt x="1744" y="2001"/>
                        </a:lnTo>
                        <a:lnTo>
                          <a:pt x="1745" y="2002"/>
                        </a:lnTo>
                        <a:lnTo>
                          <a:pt x="1749" y="2004"/>
                        </a:lnTo>
                        <a:lnTo>
                          <a:pt x="1749" y="2006"/>
                        </a:lnTo>
                        <a:lnTo>
                          <a:pt x="1747" y="2007"/>
                        </a:lnTo>
                        <a:lnTo>
                          <a:pt x="1745" y="2009"/>
                        </a:lnTo>
                        <a:lnTo>
                          <a:pt x="1741" y="2010"/>
                        </a:lnTo>
                        <a:lnTo>
                          <a:pt x="1739" y="2014"/>
                        </a:lnTo>
                        <a:lnTo>
                          <a:pt x="1741" y="2018"/>
                        </a:lnTo>
                        <a:lnTo>
                          <a:pt x="1739" y="2020"/>
                        </a:lnTo>
                        <a:lnTo>
                          <a:pt x="1742" y="2023"/>
                        </a:lnTo>
                        <a:lnTo>
                          <a:pt x="1742" y="2025"/>
                        </a:lnTo>
                        <a:lnTo>
                          <a:pt x="1742" y="2026"/>
                        </a:lnTo>
                        <a:lnTo>
                          <a:pt x="1741" y="2026"/>
                        </a:lnTo>
                        <a:lnTo>
                          <a:pt x="1736" y="2028"/>
                        </a:lnTo>
                        <a:lnTo>
                          <a:pt x="1728" y="2028"/>
                        </a:lnTo>
                        <a:lnTo>
                          <a:pt x="1723" y="2031"/>
                        </a:lnTo>
                        <a:lnTo>
                          <a:pt x="1723" y="2033"/>
                        </a:lnTo>
                        <a:lnTo>
                          <a:pt x="1722" y="2039"/>
                        </a:lnTo>
                        <a:lnTo>
                          <a:pt x="1722" y="2040"/>
                        </a:lnTo>
                        <a:lnTo>
                          <a:pt x="1720" y="2042"/>
                        </a:lnTo>
                        <a:lnTo>
                          <a:pt x="1715" y="2045"/>
                        </a:lnTo>
                        <a:lnTo>
                          <a:pt x="1709" y="2048"/>
                        </a:lnTo>
                        <a:lnTo>
                          <a:pt x="1707" y="2053"/>
                        </a:lnTo>
                        <a:lnTo>
                          <a:pt x="1706" y="2055"/>
                        </a:lnTo>
                        <a:lnTo>
                          <a:pt x="1699" y="2061"/>
                        </a:lnTo>
                        <a:lnTo>
                          <a:pt x="1699" y="2067"/>
                        </a:lnTo>
                        <a:lnTo>
                          <a:pt x="1698" y="2071"/>
                        </a:lnTo>
                        <a:lnTo>
                          <a:pt x="1698" y="2075"/>
                        </a:lnTo>
                        <a:lnTo>
                          <a:pt x="1698" y="2078"/>
                        </a:lnTo>
                        <a:lnTo>
                          <a:pt x="1703" y="2085"/>
                        </a:lnTo>
                        <a:lnTo>
                          <a:pt x="1701" y="2091"/>
                        </a:lnTo>
                        <a:lnTo>
                          <a:pt x="1699" y="2093"/>
                        </a:lnTo>
                        <a:lnTo>
                          <a:pt x="1701" y="2094"/>
                        </a:lnTo>
                        <a:lnTo>
                          <a:pt x="1703" y="2094"/>
                        </a:lnTo>
                        <a:lnTo>
                          <a:pt x="1704" y="2096"/>
                        </a:lnTo>
                        <a:lnTo>
                          <a:pt x="1701" y="2099"/>
                        </a:lnTo>
                        <a:lnTo>
                          <a:pt x="1692" y="2105"/>
                        </a:lnTo>
                        <a:lnTo>
                          <a:pt x="1671" y="2115"/>
                        </a:lnTo>
                        <a:lnTo>
                          <a:pt x="1660" y="2128"/>
                        </a:lnTo>
                        <a:lnTo>
                          <a:pt x="1647" y="2139"/>
                        </a:lnTo>
                        <a:lnTo>
                          <a:pt x="1646" y="2140"/>
                        </a:lnTo>
                        <a:lnTo>
                          <a:pt x="1639" y="2145"/>
                        </a:lnTo>
                        <a:lnTo>
                          <a:pt x="1638" y="2145"/>
                        </a:lnTo>
                        <a:lnTo>
                          <a:pt x="1635" y="2145"/>
                        </a:lnTo>
                        <a:lnTo>
                          <a:pt x="1631" y="2145"/>
                        </a:lnTo>
                        <a:lnTo>
                          <a:pt x="1627" y="2147"/>
                        </a:lnTo>
                        <a:lnTo>
                          <a:pt x="1616" y="2159"/>
                        </a:lnTo>
                        <a:lnTo>
                          <a:pt x="1611" y="2164"/>
                        </a:lnTo>
                        <a:lnTo>
                          <a:pt x="1609" y="2164"/>
                        </a:lnTo>
                        <a:lnTo>
                          <a:pt x="1603" y="2173"/>
                        </a:lnTo>
                        <a:lnTo>
                          <a:pt x="1576" y="2199"/>
                        </a:lnTo>
                        <a:lnTo>
                          <a:pt x="1570" y="2207"/>
                        </a:lnTo>
                        <a:lnTo>
                          <a:pt x="1566" y="2210"/>
                        </a:lnTo>
                        <a:lnTo>
                          <a:pt x="1563" y="2213"/>
                        </a:lnTo>
                        <a:lnTo>
                          <a:pt x="1562" y="2213"/>
                        </a:lnTo>
                        <a:lnTo>
                          <a:pt x="1560" y="2215"/>
                        </a:lnTo>
                        <a:lnTo>
                          <a:pt x="1558" y="2216"/>
                        </a:lnTo>
                        <a:lnTo>
                          <a:pt x="1551" y="2226"/>
                        </a:lnTo>
                        <a:lnTo>
                          <a:pt x="1535" y="2242"/>
                        </a:lnTo>
                        <a:lnTo>
                          <a:pt x="1528" y="2248"/>
                        </a:lnTo>
                        <a:lnTo>
                          <a:pt x="1525" y="2251"/>
                        </a:lnTo>
                        <a:lnTo>
                          <a:pt x="1519" y="2254"/>
                        </a:lnTo>
                        <a:lnTo>
                          <a:pt x="1513" y="2254"/>
                        </a:lnTo>
                        <a:lnTo>
                          <a:pt x="1501" y="2256"/>
                        </a:lnTo>
                        <a:lnTo>
                          <a:pt x="1494" y="2256"/>
                        </a:lnTo>
                        <a:lnTo>
                          <a:pt x="1487" y="2256"/>
                        </a:lnTo>
                        <a:lnTo>
                          <a:pt x="1486" y="2256"/>
                        </a:lnTo>
                        <a:lnTo>
                          <a:pt x="1484" y="2256"/>
                        </a:lnTo>
                        <a:lnTo>
                          <a:pt x="1473" y="2253"/>
                        </a:lnTo>
                        <a:lnTo>
                          <a:pt x="1459" y="2250"/>
                        </a:lnTo>
                        <a:lnTo>
                          <a:pt x="1454" y="2246"/>
                        </a:lnTo>
                        <a:lnTo>
                          <a:pt x="1446" y="2245"/>
                        </a:lnTo>
                        <a:lnTo>
                          <a:pt x="1441" y="2245"/>
                        </a:lnTo>
                        <a:lnTo>
                          <a:pt x="1435" y="2240"/>
                        </a:lnTo>
                        <a:lnTo>
                          <a:pt x="1433" y="2240"/>
                        </a:lnTo>
                        <a:lnTo>
                          <a:pt x="1432" y="2240"/>
                        </a:lnTo>
                        <a:lnTo>
                          <a:pt x="1422" y="2245"/>
                        </a:lnTo>
                        <a:lnTo>
                          <a:pt x="1419" y="2245"/>
                        </a:lnTo>
                        <a:lnTo>
                          <a:pt x="1419" y="2243"/>
                        </a:lnTo>
                        <a:lnTo>
                          <a:pt x="1417" y="2242"/>
                        </a:lnTo>
                        <a:lnTo>
                          <a:pt x="1416" y="2242"/>
                        </a:lnTo>
                        <a:lnTo>
                          <a:pt x="1411" y="2245"/>
                        </a:lnTo>
                        <a:lnTo>
                          <a:pt x="1406" y="2248"/>
                        </a:lnTo>
                        <a:lnTo>
                          <a:pt x="1405" y="2248"/>
                        </a:lnTo>
                        <a:lnTo>
                          <a:pt x="1403" y="2248"/>
                        </a:lnTo>
                        <a:lnTo>
                          <a:pt x="1398" y="2246"/>
                        </a:lnTo>
                        <a:lnTo>
                          <a:pt x="1394" y="2246"/>
                        </a:lnTo>
                        <a:lnTo>
                          <a:pt x="1391" y="2246"/>
                        </a:lnTo>
                        <a:lnTo>
                          <a:pt x="1389" y="2248"/>
                        </a:lnTo>
                        <a:lnTo>
                          <a:pt x="1389" y="2250"/>
                        </a:lnTo>
                        <a:lnTo>
                          <a:pt x="1387" y="2253"/>
                        </a:lnTo>
                        <a:lnTo>
                          <a:pt x="1386" y="2253"/>
                        </a:lnTo>
                        <a:lnTo>
                          <a:pt x="1383" y="2253"/>
                        </a:lnTo>
                        <a:lnTo>
                          <a:pt x="1381" y="2254"/>
                        </a:lnTo>
                        <a:lnTo>
                          <a:pt x="1379" y="2254"/>
                        </a:lnTo>
                        <a:lnTo>
                          <a:pt x="1378" y="2254"/>
                        </a:lnTo>
                        <a:lnTo>
                          <a:pt x="1376" y="2254"/>
                        </a:lnTo>
                        <a:lnTo>
                          <a:pt x="1375" y="2256"/>
                        </a:lnTo>
                        <a:lnTo>
                          <a:pt x="1373" y="2256"/>
                        </a:lnTo>
                        <a:lnTo>
                          <a:pt x="1372" y="2256"/>
                        </a:lnTo>
                        <a:lnTo>
                          <a:pt x="1368" y="2256"/>
                        </a:lnTo>
                        <a:lnTo>
                          <a:pt x="1367" y="2254"/>
                        </a:lnTo>
                        <a:lnTo>
                          <a:pt x="1364" y="2254"/>
                        </a:lnTo>
                        <a:lnTo>
                          <a:pt x="1364" y="2256"/>
                        </a:lnTo>
                        <a:lnTo>
                          <a:pt x="1362" y="2257"/>
                        </a:lnTo>
                        <a:lnTo>
                          <a:pt x="1360" y="2257"/>
                        </a:lnTo>
                        <a:lnTo>
                          <a:pt x="1357" y="2256"/>
                        </a:lnTo>
                        <a:lnTo>
                          <a:pt x="1353" y="2257"/>
                        </a:lnTo>
                        <a:lnTo>
                          <a:pt x="1351" y="2257"/>
                        </a:lnTo>
                        <a:lnTo>
                          <a:pt x="1349" y="2254"/>
                        </a:lnTo>
                        <a:lnTo>
                          <a:pt x="1346" y="2254"/>
                        </a:lnTo>
                        <a:lnTo>
                          <a:pt x="1343" y="2254"/>
                        </a:lnTo>
                        <a:lnTo>
                          <a:pt x="1341" y="2254"/>
                        </a:lnTo>
                        <a:lnTo>
                          <a:pt x="1338" y="2250"/>
                        </a:lnTo>
                        <a:lnTo>
                          <a:pt x="1337" y="2251"/>
                        </a:lnTo>
                        <a:lnTo>
                          <a:pt x="1334" y="2256"/>
                        </a:lnTo>
                        <a:lnTo>
                          <a:pt x="1332" y="2259"/>
                        </a:lnTo>
                        <a:lnTo>
                          <a:pt x="1330" y="2262"/>
                        </a:lnTo>
                        <a:lnTo>
                          <a:pt x="1329" y="2264"/>
                        </a:lnTo>
                        <a:lnTo>
                          <a:pt x="1327" y="2264"/>
                        </a:lnTo>
                        <a:lnTo>
                          <a:pt x="1324" y="2262"/>
                        </a:lnTo>
                        <a:lnTo>
                          <a:pt x="1321" y="2259"/>
                        </a:lnTo>
                        <a:lnTo>
                          <a:pt x="1319" y="2259"/>
                        </a:lnTo>
                        <a:lnTo>
                          <a:pt x="1318" y="2259"/>
                        </a:lnTo>
                        <a:lnTo>
                          <a:pt x="1310" y="2269"/>
                        </a:lnTo>
                        <a:lnTo>
                          <a:pt x="1307" y="2270"/>
                        </a:lnTo>
                        <a:lnTo>
                          <a:pt x="1305" y="2270"/>
                        </a:lnTo>
                        <a:lnTo>
                          <a:pt x="1302" y="2272"/>
                        </a:lnTo>
                        <a:lnTo>
                          <a:pt x="1297" y="2270"/>
                        </a:lnTo>
                        <a:lnTo>
                          <a:pt x="1292" y="2267"/>
                        </a:lnTo>
                        <a:lnTo>
                          <a:pt x="1291" y="2267"/>
                        </a:lnTo>
                        <a:lnTo>
                          <a:pt x="1289" y="2267"/>
                        </a:lnTo>
                        <a:lnTo>
                          <a:pt x="1284" y="2273"/>
                        </a:lnTo>
                        <a:lnTo>
                          <a:pt x="1283" y="2273"/>
                        </a:lnTo>
                        <a:lnTo>
                          <a:pt x="1281" y="2273"/>
                        </a:lnTo>
                        <a:lnTo>
                          <a:pt x="1280" y="2275"/>
                        </a:lnTo>
                        <a:lnTo>
                          <a:pt x="1278" y="2273"/>
                        </a:lnTo>
                        <a:lnTo>
                          <a:pt x="1275" y="2272"/>
                        </a:lnTo>
                        <a:lnTo>
                          <a:pt x="1270" y="2272"/>
                        </a:lnTo>
                        <a:lnTo>
                          <a:pt x="1267" y="2272"/>
                        </a:lnTo>
                        <a:lnTo>
                          <a:pt x="1262" y="2270"/>
                        </a:lnTo>
                        <a:lnTo>
                          <a:pt x="1261" y="2269"/>
                        </a:lnTo>
                        <a:lnTo>
                          <a:pt x="1261" y="2267"/>
                        </a:lnTo>
                        <a:lnTo>
                          <a:pt x="1261" y="2264"/>
                        </a:lnTo>
                        <a:lnTo>
                          <a:pt x="1261" y="2257"/>
                        </a:lnTo>
                        <a:lnTo>
                          <a:pt x="1261" y="2256"/>
                        </a:lnTo>
                        <a:lnTo>
                          <a:pt x="1259" y="2254"/>
                        </a:lnTo>
                        <a:lnTo>
                          <a:pt x="1256" y="2251"/>
                        </a:lnTo>
                        <a:lnTo>
                          <a:pt x="1251" y="2250"/>
                        </a:lnTo>
                        <a:lnTo>
                          <a:pt x="1254" y="2245"/>
                        </a:lnTo>
                        <a:lnTo>
                          <a:pt x="1253" y="2242"/>
                        </a:lnTo>
                        <a:lnTo>
                          <a:pt x="1251" y="2242"/>
                        </a:lnTo>
                        <a:lnTo>
                          <a:pt x="1250" y="2242"/>
                        </a:lnTo>
                        <a:lnTo>
                          <a:pt x="1248" y="2240"/>
                        </a:lnTo>
                        <a:lnTo>
                          <a:pt x="1246" y="2240"/>
                        </a:lnTo>
                        <a:lnTo>
                          <a:pt x="1246" y="2237"/>
                        </a:lnTo>
                        <a:lnTo>
                          <a:pt x="1246" y="2234"/>
                        </a:lnTo>
                        <a:lnTo>
                          <a:pt x="1242" y="2231"/>
                        </a:lnTo>
                        <a:lnTo>
                          <a:pt x="1240" y="2226"/>
                        </a:lnTo>
                        <a:lnTo>
                          <a:pt x="1239" y="2224"/>
                        </a:lnTo>
                        <a:lnTo>
                          <a:pt x="1235" y="2224"/>
                        </a:lnTo>
                        <a:lnTo>
                          <a:pt x="1235" y="2229"/>
                        </a:lnTo>
                        <a:lnTo>
                          <a:pt x="1234" y="2231"/>
                        </a:lnTo>
                        <a:lnTo>
                          <a:pt x="1231" y="2237"/>
                        </a:lnTo>
                        <a:lnTo>
                          <a:pt x="1227" y="2238"/>
                        </a:lnTo>
                        <a:lnTo>
                          <a:pt x="1224" y="2240"/>
                        </a:lnTo>
                        <a:lnTo>
                          <a:pt x="1219" y="2238"/>
                        </a:lnTo>
                        <a:lnTo>
                          <a:pt x="1216" y="2235"/>
                        </a:lnTo>
                        <a:lnTo>
                          <a:pt x="1213" y="2234"/>
                        </a:lnTo>
                        <a:lnTo>
                          <a:pt x="1210" y="2234"/>
                        </a:lnTo>
                        <a:lnTo>
                          <a:pt x="1205" y="2227"/>
                        </a:lnTo>
                        <a:lnTo>
                          <a:pt x="1202" y="2227"/>
                        </a:lnTo>
                        <a:lnTo>
                          <a:pt x="1193" y="2235"/>
                        </a:lnTo>
                        <a:lnTo>
                          <a:pt x="1189" y="2235"/>
                        </a:lnTo>
                        <a:lnTo>
                          <a:pt x="1185" y="2227"/>
                        </a:lnTo>
                        <a:lnTo>
                          <a:pt x="1180" y="2229"/>
                        </a:lnTo>
                        <a:lnTo>
                          <a:pt x="1178" y="2229"/>
                        </a:lnTo>
                        <a:lnTo>
                          <a:pt x="1175" y="2231"/>
                        </a:lnTo>
                        <a:lnTo>
                          <a:pt x="1174" y="2229"/>
                        </a:lnTo>
                        <a:lnTo>
                          <a:pt x="1172" y="2229"/>
                        </a:lnTo>
                        <a:lnTo>
                          <a:pt x="1170" y="2224"/>
                        </a:lnTo>
                        <a:lnTo>
                          <a:pt x="1169" y="2223"/>
                        </a:lnTo>
                        <a:lnTo>
                          <a:pt x="1167" y="2223"/>
                        </a:lnTo>
                        <a:lnTo>
                          <a:pt x="1164" y="2224"/>
                        </a:lnTo>
                        <a:lnTo>
                          <a:pt x="1162" y="2227"/>
                        </a:lnTo>
                        <a:lnTo>
                          <a:pt x="1159" y="2227"/>
                        </a:lnTo>
                        <a:lnTo>
                          <a:pt x="1158" y="2232"/>
                        </a:lnTo>
                        <a:lnTo>
                          <a:pt x="1156" y="2234"/>
                        </a:lnTo>
                        <a:lnTo>
                          <a:pt x="1155" y="2237"/>
                        </a:lnTo>
                        <a:lnTo>
                          <a:pt x="1151" y="2237"/>
                        </a:lnTo>
                        <a:lnTo>
                          <a:pt x="1148" y="2235"/>
                        </a:lnTo>
                        <a:lnTo>
                          <a:pt x="1145" y="2235"/>
                        </a:lnTo>
                        <a:lnTo>
                          <a:pt x="1143" y="2237"/>
                        </a:lnTo>
                        <a:lnTo>
                          <a:pt x="1134" y="2242"/>
                        </a:lnTo>
                        <a:lnTo>
                          <a:pt x="1131" y="2254"/>
                        </a:lnTo>
                        <a:lnTo>
                          <a:pt x="1131" y="2256"/>
                        </a:lnTo>
                        <a:lnTo>
                          <a:pt x="1132" y="2259"/>
                        </a:lnTo>
                        <a:lnTo>
                          <a:pt x="1132" y="2261"/>
                        </a:lnTo>
                        <a:lnTo>
                          <a:pt x="1132" y="2262"/>
                        </a:lnTo>
                        <a:lnTo>
                          <a:pt x="1134" y="2262"/>
                        </a:lnTo>
                        <a:lnTo>
                          <a:pt x="1134" y="2264"/>
                        </a:lnTo>
                        <a:lnTo>
                          <a:pt x="1137" y="2264"/>
                        </a:lnTo>
                        <a:lnTo>
                          <a:pt x="1137" y="2267"/>
                        </a:lnTo>
                        <a:lnTo>
                          <a:pt x="1136" y="2269"/>
                        </a:lnTo>
                        <a:lnTo>
                          <a:pt x="1128" y="2270"/>
                        </a:lnTo>
                        <a:lnTo>
                          <a:pt x="1126" y="2275"/>
                        </a:lnTo>
                        <a:lnTo>
                          <a:pt x="1120" y="2278"/>
                        </a:lnTo>
                        <a:lnTo>
                          <a:pt x="1118" y="2278"/>
                        </a:lnTo>
                        <a:lnTo>
                          <a:pt x="1118" y="2276"/>
                        </a:lnTo>
                        <a:lnTo>
                          <a:pt x="1117" y="2275"/>
                        </a:lnTo>
                        <a:lnTo>
                          <a:pt x="1115" y="2275"/>
                        </a:lnTo>
                        <a:lnTo>
                          <a:pt x="1113" y="2275"/>
                        </a:lnTo>
                        <a:lnTo>
                          <a:pt x="1113" y="2276"/>
                        </a:lnTo>
                        <a:lnTo>
                          <a:pt x="1113" y="2278"/>
                        </a:lnTo>
                        <a:lnTo>
                          <a:pt x="1113" y="2280"/>
                        </a:lnTo>
                        <a:lnTo>
                          <a:pt x="1109" y="2286"/>
                        </a:lnTo>
                        <a:lnTo>
                          <a:pt x="1109" y="2288"/>
                        </a:lnTo>
                        <a:lnTo>
                          <a:pt x="1109" y="2289"/>
                        </a:lnTo>
                        <a:lnTo>
                          <a:pt x="1107" y="2291"/>
                        </a:lnTo>
                        <a:lnTo>
                          <a:pt x="1104" y="2292"/>
                        </a:lnTo>
                        <a:lnTo>
                          <a:pt x="1096" y="2291"/>
                        </a:lnTo>
                        <a:lnTo>
                          <a:pt x="1094" y="2291"/>
                        </a:lnTo>
                        <a:lnTo>
                          <a:pt x="1093" y="2294"/>
                        </a:lnTo>
                        <a:lnTo>
                          <a:pt x="1093" y="2295"/>
                        </a:lnTo>
                        <a:lnTo>
                          <a:pt x="1094" y="2297"/>
                        </a:lnTo>
                        <a:lnTo>
                          <a:pt x="1094" y="2299"/>
                        </a:lnTo>
                        <a:lnTo>
                          <a:pt x="1094" y="2300"/>
                        </a:lnTo>
                        <a:lnTo>
                          <a:pt x="1098" y="2308"/>
                        </a:lnTo>
                        <a:lnTo>
                          <a:pt x="1101" y="2311"/>
                        </a:lnTo>
                        <a:lnTo>
                          <a:pt x="1101" y="2313"/>
                        </a:lnTo>
                        <a:lnTo>
                          <a:pt x="1101" y="2316"/>
                        </a:lnTo>
                        <a:lnTo>
                          <a:pt x="1102" y="2318"/>
                        </a:lnTo>
                        <a:lnTo>
                          <a:pt x="1107" y="2322"/>
                        </a:lnTo>
                        <a:lnTo>
                          <a:pt x="1107" y="2324"/>
                        </a:lnTo>
                        <a:lnTo>
                          <a:pt x="1107" y="2326"/>
                        </a:lnTo>
                        <a:lnTo>
                          <a:pt x="1105" y="2326"/>
                        </a:lnTo>
                        <a:lnTo>
                          <a:pt x="1105" y="2327"/>
                        </a:lnTo>
                        <a:lnTo>
                          <a:pt x="1101" y="2329"/>
                        </a:lnTo>
                        <a:lnTo>
                          <a:pt x="1099" y="2335"/>
                        </a:lnTo>
                        <a:lnTo>
                          <a:pt x="1098" y="2335"/>
                        </a:lnTo>
                        <a:lnTo>
                          <a:pt x="1098" y="2337"/>
                        </a:lnTo>
                        <a:lnTo>
                          <a:pt x="1093" y="2335"/>
                        </a:lnTo>
                        <a:lnTo>
                          <a:pt x="1091" y="2335"/>
                        </a:lnTo>
                        <a:lnTo>
                          <a:pt x="1090" y="2332"/>
                        </a:lnTo>
                        <a:lnTo>
                          <a:pt x="1088" y="2330"/>
                        </a:lnTo>
                        <a:lnTo>
                          <a:pt x="1086" y="2329"/>
                        </a:lnTo>
                        <a:lnTo>
                          <a:pt x="1083" y="2330"/>
                        </a:lnTo>
                        <a:lnTo>
                          <a:pt x="1083" y="2333"/>
                        </a:lnTo>
                        <a:lnTo>
                          <a:pt x="1083" y="2335"/>
                        </a:lnTo>
                        <a:lnTo>
                          <a:pt x="1082" y="2335"/>
                        </a:lnTo>
                        <a:lnTo>
                          <a:pt x="1075" y="2333"/>
                        </a:lnTo>
                        <a:lnTo>
                          <a:pt x="1071" y="2324"/>
                        </a:lnTo>
                        <a:lnTo>
                          <a:pt x="1069" y="2322"/>
                        </a:lnTo>
                        <a:lnTo>
                          <a:pt x="1066" y="2319"/>
                        </a:lnTo>
                        <a:lnTo>
                          <a:pt x="1063" y="2318"/>
                        </a:lnTo>
                        <a:lnTo>
                          <a:pt x="1061" y="2318"/>
                        </a:lnTo>
                        <a:lnTo>
                          <a:pt x="1056" y="2318"/>
                        </a:lnTo>
                        <a:lnTo>
                          <a:pt x="1055" y="2319"/>
                        </a:lnTo>
                        <a:lnTo>
                          <a:pt x="1053" y="2321"/>
                        </a:lnTo>
                        <a:lnTo>
                          <a:pt x="1053" y="2322"/>
                        </a:lnTo>
                        <a:lnTo>
                          <a:pt x="1052" y="2324"/>
                        </a:lnTo>
                        <a:lnTo>
                          <a:pt x="1052" y="2326"/>
                        </a:lnTo>
                        <a:lnTo>
                          <a:pt x="1053" y="2327"/>
                        </a:lnTo>
                        <a:lnTo>
                          <a:pt x="1053" y="2329"/>
                        </a:lnTo>
                        <a:lnTo>
                          <a:pt x="1053" y="2332"/>
                        </a:lnTo>
                        <a:lnTo>
                          <a:pt x="1053" y="2337"/>
                        </a:lnTo>
                        <a:lnTo>
                          <a:pt x="1056" y="2341"/>
                        </a:lnTo>
                        <a:lnTo>
                          <a:pt x="1058" y="2343"/>
                        </a:lnTo>
                        <a:lnTo>
                          <a:pt x="1058" y="2345"/>
                        </a:lnTo>
                        <a:lnTo>
                          <a:pt x="1061" y="2345"/>
                        </a:lnTo>
                        <a:lnTo>
                          <a:pt x="1063" y="2343"/>
                        </a:lnTo>
                        <a:lnTo>
                          <a:pt x="1060" y="2338"/>
                        </a:lnTo>
                        <a:lnTo>
                          <a:pt x="1060" y="2337"/>
                        </a:lnTo>
                        <a:lnTo>
                          <a:pt x="1061" y="2337"/>
                        </a:lnTo>
                        <a:lnTo>
                          <a:pt x="1063" y="2337"/>
                        </a:lnTo>
                        <a:lnTo>
                          <a:pt x="1064" y="2337"/>
                        </a:lnTo>
                        <a:lnTo>
                          <a:pt x="1064" y="2338"/>
                        </a:lnTo>
                        <a:lnTo>
                          <a:pt x="1066" y="2340"/>
                        </a:lnTo>
                        <a:lnTo>
                          <a:pt x="1066" y="2346"/>
                        </a:lnTo>
                        <a:lnTo>
                          <a:pt x="1067" y="2352"/>
                        </a:lnTo>
                        <a:lnTo>
                          <a:pt x="1066" y="2354"/>
                        </a:lnTo>
                        <a:lnTo>
                          <a:pt x="1061" y="2357"/>
                        </a:lnTo>
                        <a:lnTo>
                          <a:pt x="1058" y="2359"/>
                        </a:lnTo>
                        <a:lnTo>
                          <a:pt x="1053" y="2364"/>
                        </a:lnTo>
                        <a:lnTo>
                          <a:pt x="1052" y="2364"/>
                        </a:lnTo>
                        <a:lnTo>
                          <a:pt x="1050" y="2364"/>
                        </a:lnTo>
                        <a:lnTo>
                          <a:pt x="1048" y="2362"/>
                        </a:lnTo>
                        <a:lnTo>
                          <a:pt x="1045" y="2360"/>
                        </a:lnTo>
                        <a:lnTo>
                          <a:pt x="1039" y="2357"/>
                        </a:lnTo>
                        <a:lnTo>
                          <a:pt x="1037" y="2356"/>
                        </a:lnTo>
                        <a:lnTo>
                          <a:pt x="1034" y="2354"/>
                        </a:lnTo>
                        <a:lnTo>
                          <a:pt x="1029" y="2356"/>
                        </a:lnTo>
                        <a:lnTo>
                          <a:pt x="1028" y="2356"/>
                        </a:lnTo>
                        <a:lnTo>
                          <a:pt x="1023" y="2354"/>
                        </a:lnTo>
                        <a:lnTo>
                          <a:pt x="1018" y="2354"/>
                        </a:lnTo>
                        <a:lnTo>
                          <a:pt x="1015" y="2356"/>
                        </a:lnTo>
                        <a:lnTo>
                          <a:pt x="1010" y="2356"/>
                        </a:lnTo>
                        <a:lnTo>
                          <a:pt x="1010" y="2354"/>
                        </a:lnTo>
                        <a:lnTo>
                          <a:pt x="1009" y="2354"/>
                        </a:lnTo>
                        <a:lnTo>
                          <a:pt x="1007" y="2354"/>
                        </a:lnTo>
                        <a:lnTo>
                          <a:pt x="1006" y="2352"/>
                        </a:lnTo>
                        <a:lnTo>
                          <a:pt x="1004" y="2354"/>
                        </a:lnTo>
                        <a:lnTo>
                          <a:pt x="1001" y="2354"/>
                        </a:lnTo>
                        <a:lnTo>
                          <a:pt x="995" y="2354"/>
                        </a:lnTo>
                        <a:lnTo>
                          <a:pt x="991" y="2349"/>
                        </a:lnTo>
                        <a:lnTo>
                          <a:pt x="988" y="2348"/>
                        </a:lnTo>
                        <a:lnTo>
                          <a:pt x="985" y="2348"/>
                        </a:lnTo>
                        <a:lnTo>
                          <a:pt x="983" y="2348"/>
                        </a:lnTo>
                        <a:lnTo>
                          <a:pt x="982" y="2349"/>
                        </a:lnTo>
                        <a:lnTo>
                          <a:pt x="980" y="2351"/>
                        </a:lnTo>
                        <a:lnTo>
                          <a:pt x="980" y="2352"/>
                        </a:lnTo>
                        <a:lnTo>
                          <a:pt x="977" y="2357"/>
                        </a:lnTo>
                        <a:lnTo>
                          <a:pt x="976" y="2360"/>
                        </a:lnTo>
                        <a:lnTo>
                          <a:pt x="980" y="2368"/>
                        </a:lnTo>
                        <a:lnTo>
                          <a:pt x="985" y="2373"/>
                        </a:lnTo>
                        <a:lnTo>
                          <a:pt x="991" y="2375"/>
                        </a:lnTo>
                        <a:lnTo>
                          <a:pt x="993" y="2376"/>
                        </a:lnTo>
                        <a:lnTo>
                          <a:pt x="993" y="2379"/>
                        </a:lnTo>
                        <a:lnTo>
                          <a:pt x="991" y="2381"/>
                        </a:lnTo>
                        <a:lnTo>
                          <a:pt x="988" y="2386"/>
                        </a:lnTo>
                        <a:lnTo>
                          <a:pt x="990" y="2386"/>
                        </a:lnTo>
                        <a:lnTo>
                          <a:pt x="990" y="2387"/>
                        </a:lnTo>
                        <a:lnTo>
                          <a:pt x="988" y="2389"/>
                        </a:lnTo>
                        <a:lnTo>
                          <a:pt x="991" y="2392"/>
                        </a:lnTo>
                        <a:lnTo>
                          <a:pt x="990" y="2397"/>
                        </a:lnTo>
                        <a:lnTo>
                          <a:pt x="988" y="2398"/>
                        </a:lnTo>
                        <a:lnTo>
                          <a:pt x="991" y="2403"/>
                        </a:lnTo>
                        <a:lnTo>
                          <a:pt x="990" y="2406"/>
                        </a:lnTo>
                        <a:lnTo>
                          <a:pt x="991" y="2408"/>
                        </a:lnTo>
                        <a:lnTo>
                          <a:pt x="993" y="2410"/>
                        </a:lnTo>
                        <a:lnTo>
                          <a:pt x="996" y="2414"/>
                        </a:lnTo>
                        <a:lnTo>
                          <a:pt x="995" y="2414"/>
                        </a:lnTo>
                        <a:lnTo>
                          <a:pt x="993" y="2416"/>
                        </a:lnTo>
                        <a:lnTo>
                          <a:pt x="990" y="2416"/>
                        </a:lnTo>
                        <a:lnTo>
                          <a:pt x="987" y="2414"/>
                        </a:lnTo>
                        <a:lnTo>
                          <a:pt x="985" y="2411"/>
                        </a:lnTo>
                        <a:lnTo>
                          <a:pt x="983" y="2408"/>
                        </a:lnTo>
                        <a:lnTo>
                          <a:pt x="974" y="2408"/>
                        </a:lnTo>
                        <a:lnTo>
                          <a:pt x="969" y="2410"/>
                        </a:lnTo>
                        <a:lnTo>
                          <a:pt x="966" y="2413"/>
                        </a:lnTo>
                        <a:lnTo>
                          <a:pt x="964" y="2413"/>
                        </a:lnTo>
                        <a:lnTo>
                          <a:pt x="957" y="2424"/>
                        </a:lnTo>
                        <a:lnTo>
                          <a:pt x="955" y="2425"/>
                        </a:lnTo>
                        <a:lnTo>
                          <a:pt x="953" y="2425"/>
                        </a:lnTo>
                        <a:lnTo>
                          <a:pt x="936" y="2425"/>
                        </a:lnTo>
                        <a:lnTo>
                          <a:pt x="934" y="2425"/>
                        </a:lnTo>
                        <a:lnTo>
                          <a:pt x="931" y="2427"/>
                        </a:lnTo>
                        <a:lnTo>
                          <a:pt x="930" y="2429"/>
                        </a:lnTo>
                        <a:lnTo>
                          <a:pt x="931" y="2433"/>
                        </a:lnTo>
                        <a:lnTo>
                          <a:pt x="928" y="2436"/>
                        </a:lnTo>
                        <a:lnTo>
                          <a:pt x="930" y="2438"/>
                        </a:lnTo>
                        <a:lnTo>
                          <a:pt x="934" y="2441"/>
                        </a:lnTo>
                        <a:lnTo>
                          <a:pt x="936" y="2441"/>
                        </a:lnTo>
                        <a:lnTo>
                          <a:pt x="939" y="2440"/>
                        </a:lnTo>
                        <a:lnTo>
                          <a:pt x="938" y="2438"/>
                        </a:lnTo>
                        <a:lnTo>
                          <a:pt x="938" y="2436"/>
                        </a:lnTo>
                        <a:lnTo>
                          <a:pt x="938" y="2435"/>
                        </a:lnTo>
                        <a:lnTo>
                          <a:pt x="942" y="2438"/>
                        </a:lnTo>
                        <a:lnTo>
                          <a:pt x="945" y="2441"/>
                        </a:lnTo>
                        <a:lnTo>
                          <a:pt x="947" y="2443"/>
                        </a:lnTo>
                        <a:lnTo>
                          <a:pt x="949" y="2443"/>
                        </a:lnTo>
                        <a:lnTo>
                          <a:pt x="950" y="2444"/>
                        </a:lnTo>
                        <a:lnTo>
                          <a:pt x="949" y="2451"/>
                        </a:lnTo>
                        <a:lnTo>
                          <a:pt x="950" y="2452"/>
                        </a:lnTo>
                        <a:lnTo>
                          <a:pt x="952" y="2454"/>
                        </a:lnTo>
                        <a:lnTo>
                          <a:pt x="950" y="2457"/>
                        </a:lnTo>
                        <a:lnTo>
                          <a:pt x="950" y="2459"/>
                        </a:lnTo>
                        <a:lnTo>
                          <a:pt x="950" y="2460"/>
                        </a:lnTo>
                        <a:lnTo>
                          <a:pt x="953" y="2462"/>
                        </a:lnTo>
                        <a:lnTo>
                          <a:pt x="957" y="2465"/>
                        </a:lnTo>
                        <a:lnTo>
                          <a:pt x="957" y="2467"/>
                        </a:lnTo>
                        <a:lnTo>
                          <a:pt x="955" y="2473"/>
                        </a:lnTo>
                        <a:lnTo>
                          <a:pt x="957" y="2474"/>
                        </a:lnTo>
                        <a:lnTo>
                          <a:pt x="958" y="2476"/>
                        </a:lnTo>
                        <a:lnTo>
                          <a:pt x="958" y="2478"/>
                        </a:lnTo>
                        <a:lnTo>
                          <a:pt x="958" y="2479"/>
                        </a:lnTo>
                        <a:lnTo>
                          <a:pt x="964" y="2487"/>
                        </a:lnTo>
                        <a:lnTo>
                          <a:pt x="968" y="2489"/>
                        </a:lnTo>
                        <a:lnTo>
                          <a:pt x="968" y="2492"/>
                        </a:lnTo>
                        <a:lnTo>
                          <a:pt x="966" y="2493"/>
                        </a:lnTo>
                        <a:lnTo>
                          <a:pt x="964" y="2497"/>
                        </a:lnTo>
                        <a:lnTo>
                          <a:pt x="960" y="2490"/>
                        </a:lnTo>
                        <a:lnTo>
                          <a:pt x="958" y="2489"/>
                        </a:lnTo>
                        <a:lnTo>
                          <a:pt x="953" y="2486"/>
                        </a:lnTo>
                        <a:lnTo>
                          <a:pt x="950" y="2484"/>
                        </a:lnTo>
                        <a:lnTo>
                          <a:pt x="949" y="2482"/>
                        </a:lnTo>
                        <a:lnTo>
                          <a:pt x="942" y="2482"/>
                        </a:lnTo>
                        <a:lnTo>
                          <a:pt x="941" y="2479"/>
                        </a:lnTo>
                        <a:lnTo>
                          <a:pt x="939" y="2479"/>
                        </a:lnTo>
                        <a:lnTo>
                          <a:pt x="938" y="2479"/>
                        </a:lnTo>
                        <a:lnTo>
                          <a:pt x="926" y="2484"/>
                        </a:lnTo>
                        <a:lnTo>
                          <a:pt x="923" y="2484"/>
                        </a:lnTo>
                        <a:lnTo>
                          <a:pt x="919" y="2484"/>
                        </a:lnTo>
                        <a:lnTo>
                          <a:pt x="915" y="2482"/>
                        </a:lnTo>
                        <a:lnTo>
                          <a:pt x="911" y="2476"/>
                        </a:lnTo>
                        <a:lnTo>
                          <a:pt x="907" y="2468"/>
                        </a:lnTo>
                        <a:lnTo>
                          <a:pt x="907" y="2467"/>
                        </a:lnTo>
                        <a:lnTo>
                          <a:pt x="906" y="2465"/>
                        </a:lnTo>
                        <a:lnTo>
                          <a:pt x="906" y="2463"/>
                        </a:lnTo>
                        <a:lnTo>
                          <a:pt x="904" y="2463"/>
                        </a:lnTo>
                        <a:lnTo>
                          <a:pt x="903" y="2462"/>
                        </a:lnTo>
                        <a:lnTo>
                          <a:pt x="896" y="2462"/>
                        </a:lnTo>
                        <a:lnTo>
                          <a:pt x="893" y="2463"/>
                        </a:lnTo>
                        <a:lnTo>
                          <a:pt x="890" y="2465"/>
                        </a:lnTo>
                        <a:lnTo>
                          <a:pt x="887" y="2460"/>
                        </a:lnTo>
                        <a:lnTo>
                          <a:pt x="885" y="2459"/>
                        </a:lnTo>
                        <a:lnTo>
                          <a:pt x="884" y="2459"/>
                        </a:lnTo>
                        <a:lnTo>
                          <a:pt x="884" y="2460"/>
                        </a:lnTo>
                        <a:lnTo>
                          <a:pt x="882" y="2460"/>
                        </a:lnTo>
                        <a:lnTo>
                          <a:pt x="879" y="2465"/>
                        </a:lnTo>
                        <a:lnTo>
                          <a:pt x="879" y="2468"/>
                        </a:lnTo>
                        <a:lnTo>
                          <a:pt x="879" y="2470"/>
                        </a:lnTo>
                        <a:lnTo>
                          <a:pt x="879" y="2471"/>
                        </a:lnTo>
                        <a:lnTo>
                          <a:pt x="879" y="2474"/>
                        </a:lnTo>
                        <a:lnTo>
                          <a:pt x="879" y="2478"/>
                        </a:lnTo>
                        <a:lnTo>
                          <a:pt x="879" y="2479"/>
                        </a:lnTo>
                        <a:lnTo>
                          <a:pt x="876" y="2482"/>
                        </a:lnTo>
                        <a:lnTo>
                          <a:pt x="874" y="2482"/>
                        </a:lnTo>
                        <a:lnTo>
                          <a:pt x="874" y="2484"/>
                        </a:lnTo>
                        <a:lnTo>
                          <a:pt x="865" y="2493"/>
                        </a:lnTo>
                        <a:lnTo>
                          <a:pt x="863" y="2493"/>
                        </a:lnTo>
                        <a:lnTo>
                          <a:pt x="862" y="2495"/>
                        </a:lnTo>
                        <a:lnTo>
                          <a:pt x="849" y="2505"/>
                        </a:lnTo>
                        <a:lnTo>
                          <a:pt x="846" y="2509"/>
                        </a:lnTo>
                        <a:lnTo>
                          <a:pt x="842" y="2517"/>
                        </a:lnTo>
                        <a:lnTo>
                          <a:pt x="836" y="2517"/>
                        </a:lnTo>
                        <a:lnTo>
                          <a:pt x="835" y="2516"/>
                        </a:lnTo>
                        <a:lnTo>
                          <a:pt x="830" y="2517"/>
                        </a:lnTo>
                        <a:lnTo>
                          <a:pt x="828" y="2517"/>
                        </a:lnTo>
                        <a:lnTo>
                          <a:pt x="817" y="2517"/>
                        </a:lnTo>
                        <a:lnTo>
                          <a:pt x="808" y="2517"/>
                        </a:lnTo>
                        <a:lnTo>
                          <a:pt x="803" y="2517"/>
                        </a:lnTo>
                        <a:lnTo>
                          <a:pt x="784" y="2517"/>
                        </a:lnTo>
                        <a:lnTo>
                          <a:pt x="782" y="2517"/>
                        </a:lnTo>
                        <a:lnTo>
                          <a:pt x="774" y="2517"/>
                        </a:lnTo>
                        <a:lnTo>
                          <a:pt x="773" y="2517"/>
                        </a:lnTo>
                        <a:lnTo>
                          <a:pt x="751" y="2517"/>
                        </a:lnTo>
                        <a:lnTo>
                          <a:pt x="747" y="2517"/>
                        </a:lnTo>
                        <a:lnTo>
                          <a:pt x="736" y="2517"/>
                        </a:lnTo>
                        <a:lnTo>
                          <a:pt x="730" y="2517"/>
                        </a:lnTo>
                        <a:lnTo>
                          <a:pt x="722" y="2516"/>
                        </a:lnTo>
                        <a:lnTo>
                          <a:pt x="713" y="2516"/>
                        </a:lnTo>
                        <a:lnTo>
                          <a:pt x="698" y="2517"/>
                        </a:lnTo>
                        <a:lnTo>
                          <a:pt x="692" y="2516"/>
                        </a:lnTo>
                        <a:lnTo>
                          <a:pt x="690" y="2516"/>
                        </a:lnTo>
                        <a:lnTo>
                          <a:pt x="689" y="2516"/>
                        </a:lnTo>
                        <a:lnTo>
                          <a:pt x="686" y="2517"/>
                        </a:lnTo>
                        <a:lnTo>
                          <a:pt x="652" y="2530"/>
                        </a:lnTo>
                        <a:lnTo>
                          <a:pt x="648" y="2533"/>
                        </a:lnTo>
                        <a:lnTo>
                          <a:pt x="644" y="2533"/>
                        </a:lnTo>
                        <a:lnTo>
                          <a:pt x="643" y="2533"/>
                        </a:lnTo>
                        <a:lnTo>
                          <a:pt x="635" y="2536"/>
                        </a:lnTo>
                        <a:lnTo>
                          <a:pt x="621" y="2543"/>
                        </a:lnTo>
                        <a:lnTo>
                          <a:pt x="610" y="2549"/>
                        </a:lnTo>
                        <a:lnTo>
                          <a:pt x="608" y="2549"/>
                        </a:lnTo>
                        <a:lnTo>
                          <a:pt x="603" y="2550"/>
                        </a:lnTo>
                        <a:lnTo>
                          <a:pt x="586" y="2557"/>
                        </a:lnTo>
                        <a:lnTo>
                          <a:pt x="589" y="2547"/>
                        </a:lnTo>
                        <a:lnTo>
                          <a:pt x="589" y="2546"/>
                        </a:lnTo>
                        <a:lnTo>
                          <a:pt x="592" y="2531"/>
                        </a:lnTo>
                        <a:lnTo>
                          <a:pt x="592" y="2527"/>
                        </a:lnTo>
                        <a:lnTo>
                          <a:pt x="591" y="2525"/>
                        </a:lnTo>
                        <a:lnTo>
                          <a:pt x="586" y="2525"/>
                        </a:lnTo>
                        <a:lnTo>
                          <a:pt x="584" y="2525"/>
                        </a:lnTo>
                        <a:lnTo>
                          <a:pt x="583" y="2524"/>
                        </a:lnTo>
                        <a:lnTo>
                          <a:pt x="589" y="2512"/>
                        </a:lnTo>
                        <a:lnTo>
                          <a:pt x="591" y="2511"/>
                        </a:lnTo>
                        <a:lnTo>
                          <a:pt x="591" y="2509"/>
                        </a:lnTo>
                        <a:lnTo>
                          <a:pt x="589" y="2509"/>
                        </a:lnTo>
                        <a:lnTo>
                          <a:pt x="542" y="2500"/>
                        </a:lnTo>
                        <a:lnTo>
                          <a:pt x="540" y="2500"/>
                        </a:lnTo>
                        <a:lnTo>
                          <a:pt x="530" y="2497"/>
                        </a:lnTo>
                        <a:lnTo>
                          <a:pt x="516" y="2495"/>
                        </a:lnTo>
                        <a:lnTo>
                          <a:pt x="513" y="2493"/>
                        </a:lnTo>
                        <a:lnTo>
                          <a:pt x="500" y="2492"/>
                        </a:lnTo>
                        <a:lnTo>
                          <a:pt x="499" y="2490"/>
                        </a:lnTo>
                        <a:lnTo>
                          <a:pt x="469" y="2484"/>
                        </a:lnTo>
                        <a:lnTo>
                          <a:pt x="464" y="2484"/>
                        </a:lnTo>
                        <a:lnTo>
                          <a:pt x="456" y="2482"/>
                        </a:lnTo>
                        <a:lnTo>
                          <a:pt x="443" y="2479"/>
                        </a:lnTo>
                        <a:lnTo>
                          <a:pt x="442" y="2479"/>
                        </a:lnTo>
                        <a:lnTo>
                          <a:pt x="440" y="2479"/>
                        </a:lnTo>
                        <a:lnTo>
                          <a:pt x="432" y="2478"/>
                        </a:lnTo>
                        <a:lnTo>
                          <a:pt x="427" y="2476"/>
                        </a:lnTo>
                        <a:lnTo>
                          <a:pt x="426" y="2476"/>
                        </a:lnTo>
                        <a:lnTo>
                          <a:pt x="424" y="2476"/>
                        </a:lnTo>
                        <a:lnTo>
                          <a:pt x="397" y="2471"/>
                        </a:lnTo>
                        <a:lnTo>
                          <a:pt x="361" y="2463"/>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34" name="Freeform 33"/>
                  <p:cNvSpPr>
                    <a:spLocks/>
                  </p:cNvSpPr>
                  <p:nvPr/>
                </p:nvSpPr>
                <p:spPr bwMode="auto">
                  <a:xfrm>
                    <a:off x="2079" y="3044"/>
                    <a:ext cx="3038" cy="1091"/>
                  </a:xfrm>
                  <a:custGeom>
                    <a:avLst/>
                    <a:gdLst>
                      <a:gd name="T0" fmla="*/ 2935 w 3038"/>
                      <a:gd name="T1" fmla="*/ 35 h 1091"/>
                      <a:gd name="T2" fmla="*/ 2838 w 3038"/>
                      <a:gd name="T3" fmla="*/ 13 h 1091"/>
                      <a:gd name="T4" fmla="*/ 2780 w 3038"/>
                      <a:gd name="T5" fmla="*/ 21 h 1091"/>
                      <a:gd name="T6" fmla="*/ 2746 w 3038"/>
                      <a:gd name="T7" fmla="*/ 47 h 1091"/>
                      <a:gd name="T8" fmla="*/ 2723 w 3038"/>
                      <a:gd name="T9" fmla="*/ 35 h 1091"/>
                      <a:gd name="T10" fmla="*/ 2655 w 3038"/>
                      <a:gd name="T11" fmla="*/ 98 h 1091"/>
                      <a:gd name="T12" fmla="*/ 2604 w 3038"/>
                      <a:gd name="T13" fmla="*/ 120 h 1091"/>
                      <a:gd name="T14" fmla="*/ 2558 w 3038"/>
                      <a:gd name="T15" fmla="*/ 142 h 1091"/>
                      <a:gd name="T16" fmla="*/ 2552 w 3038"/>
                      <a:gd name="T17" fmla="*/ 125 h 1091"/>
                      <a:gd name="T18" fmla="*/ 2533 w 3038"/>
                      <a:gd name="T19" fmla="*/ 112 h 1091"/>
                      <a:gd name="T20" fmla="*/ 2431 w 3038"/>
                      <a:gd name="T21" fmla="*/ 114 h 1091"/>
                      <a:gd name="T22" fmla="*/ 2385 w 3038"/>
                      <a:gd name="T23" fmla="*/ 112 h 1091"/>
                      <a:gd name="T24" fmla="*/ 2254 w 3038"/>
                      <a:gd name="T25" fmla="*/ 117 h 1091"/>
                      <a:gd name="T26" fmla="*/ 2089 w 3038"/>
                      <a:gd name="T27" fmla="*/ 108 h 1091"/>
                      <a:gd name="T28" fmla="*/ 1978 w 3038"/>
                      <a:gd name="T29" fmla="*/ 101 h 1091"/>
                      <a:gd name="T30" fmla="*/ 1885 w 3038"/>
                      <a:gd name="T31" fmla="*/ 122 h 1091"/>
                      <a:gd name="T32" fmla="*/ 1722 w 3038"/>
                      <a:gd name="T33" fmla="*/ 119 h 1091"/>
                      <a:gd name="T34" fmla="*/ 1587 w 3038"/>
                      <a:gd name="T35" fmla="*/ 116 h 1091"/>
                      <a:gd name="T36" fmla="*/ 1451 w 3038"/>
                      <a:gd name="T37" fmla="*/ 116 h 1091"/>
                      <a:gd name="T38" fmla="*/ 1294 w 3038"/>
                      <a:gd name="T39" fmla="*/ 109 h 1091"/>
                      <a:gd name="T40" fmla="*/ 1210 w 3038"/>
                      <a:gd name="T41" fmla="*/ 108 h 1091"/>
                      <a:gd name="T42" fmla="*/ 1212 w 3038"/>
                      <a:gd name="T43" fmla="*/ 171 h 1091"/>
                      <a:gd name="T44" fmla="*/ 1188 w 3038"/>
                      <a:gd name="T45" fmla="*/ 203 h 1091"/>
                      <a:gd name="T46" fmla="*/ 1145 w 3038"/>
                      <a:gd name="T47" fmla="*/ 282 h 1091"/>
                      <a:gd name="T48" fmla="*/ 1150 w 3038"/>
                      <a:gd name="T49" fmla="*/ 323 h 1091"/>
                      <a:gd name="T50" fmla="*/ 1183 w 3038"/>
                      <a:gd name="T51" fmla="*/ 424 h 1091"/>
                      <a:gd name="T52" fmla="*/ 1245 w 3038"/>
                      <a:gd name="T53" fmla="*/ 470 h 1091"/>
                      <a:gd name="T54" fmla="*/ 1199 w 3038"/>
                      <a:gd name="T55" fmla="*/ 527 h 1091"/>
                      <a:gd name="T56" fmla="*/ 1251 w 3038"/>
                      <a:gd name="T57" fmla="*/ 589 h 1091"/>
                      <a:gd name="T58" fmla="*/ 1242 w 3038"/>
                      <a:gd name="T59" fmla="*/ 702 h 1091"/>
                      <a:gd name="T60" fmla="*/ 1254 w 3038"/>
                      <a:gd name="T61" fmla="*/ 806 h 1091"/>
                      <a:gd name="T62" fmla="*/ 1243 w 3038"/>
                      <a:gd name="T63" fmla="*/ 866 h 1091"/>
                      <a:gd name="T64" fmla="*/ 1257 w 3038"/>
                      <a:gd name="T65" fmla="*/ 935 h 1091"/>
                      <a:gd name="T66" fmla="*/ 1286 w 3038"/>
                      <a:gd name="T67" fmla="*/ 1017 h 1091"/>
                      <a:gd name="T68" fmla="*/ 1253 w 3038"/>
                      <a:gd name="T69" fmla="*/ 1091 h 1091"/>
                      <a:gd name="T70" fmla="*/ 1139 w 3038"/>
                      <a:gd name="T71" fmla="*/ 957 h 1091"/>
                      <a:gd name="T72" fmla="*/ 1080 w 3038"/>
                      <a:gd name="T73" fmla="*/ 896 h 1091"/>
                      <a:gd name="T74" fmla="*/ 1033 w 3038"/>
                      <a:gd name="T75" fmla="*/ 819 h 1091"/>
                      <a:gd name="T76" fmla="*/ 991 w 3038"/>
                      <a:gd name="T77" fmla="*/ 776 h 1091"/>
                      <a:gd name="T78" fmla="*/ 957 w 3038"/>
                      <a:gd name="T79" fmla="*/ 795 h 1091"/>
                      <a:gd name="T80" fmla="*/ 917 w 3038"/>
                      <a:gd name="T81" fmla="*/ 794 h 1091"/>
                      <a:gd name="T82" fmla="*/ 855 w 3038"/>
                      <a:gd name="T83" fmla="*/ 776 h 1091"/>
                      <a:gd name="T84" fmla="*/ 755 w 3038"/>
                      <a:gd name="T85" fmla="*/ 770 h 1091"/>
                      <a:gd name="T86" fmla="*/ 682 w 3038"/>
                      <a:gd name="T87" fmla="*/ 759 h 1091"/>
                      <a:gd name="T88" fmla="*/ 576 w 3038"/>
                      <a:gd name="T89" fmla="*/ 787 h 1091"/>
                      <a:gd name="T90" fmla="*/ 515 w 3038"/>
                      <a:gd name="T91" fmla="*/ 801 h 1091"/>
                      <a:gd name="T92" fmla="*/ 492 w 3038"/>
                      <a:gd name="T93" fmla="*/ 827 h 1091"/>
                      <a:gd name="T94" fmla="*/ 426 w 3038"/>
                      <a:gd name="T95" fmla="*/ 833 h 1091"/>
                      <a:gd name="T96" fmla="*/ 378 w 3038"/>
                      <a:gd name="T97" fmla="*/ 863 h 1091"/>
                      <a:gd name="T98" fmla="*/ 323 w 3038"/>
                      <a:gd name="T99" fmla="*/ 885 h 1091"/>
                      <a:gd name="T100" fmla="*/ 317 w 3038"/>
                      <a:gd name="T101" fmla="*/ 925 h 1091"/>
                      <a:gd name="T102" fmla="*/ 271 w 3038"/>
                      <a:gd name="T103" fmla="*/ 954 h 1091"/>
                      <a:gd name="T104" fmla="*/ 241 w 3038"/>
                      <a:gd name="T105" fmla="*/ 957 h 1091"/>
                      <a:gd name="T106" fmla="*/ 184 w 3038"/>
                      <a:gd name="T107" fmla="*/ 941 h 1091"/>
                      <a:gd name="T108" fmla="*/ 180 w 3038"/>
                      <a:gd name="T109" fmla="*/ 884 h 1091"/>
                      <a:gd name="T110" fmla="*/ 146 w 3038"/>
                      <a:gd name="T111" fmla="*/ 914 h 1091"/>
                      <a:gd name="T112" fmla="*/ 114 w 3038"/>
                      <a:gd name="T113" fmla="*/ 895 h 1091"/>
                      <a:gd name="T114" fmla="*/ 87 w 3038"/>
                      <a:gd name="T115" fmla="*/ 909 h 1091"/>
                      <a:gd name="T116" fmla="*/ 46 w 3038"/>
                      <a:gd name="T117" fmla="*/ 895 h 1091"/>
                      <a:gd name="T118" fmla="*/ 9 w 3038"/>
                      <a:gd name="T119" fmla="*/ 874 h 10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38" h="1091">
                        <a:moveTo>
                          <a:pt x="3038" y="55"/>
                        </a:moveTo>
                        <a:lnTo>
                          <a:pt x="3036" y="55"/>
                        </a:lnTo>
                        <a:lnTo>
                          <a:pt x="3028" y="54"/>
                        </a:lnTo>
                        <a:lnTo>
                          <a:pt x="3017" y="51"/>
                        </a:lnTo>
                        <a:lnTo>
                          <a:pt x="3014" y="51"/>
                        </a:lnTo>
                        <a:lnTo>
                          <a:pt x="3009" y="51"/>
                        </a:lnTo>
                        <a:lnTo>
                          <a:pt x="3008" y="49"/>
                        </a:lnTo>
                        <a:lnTo>
                          <a:pt x="2994" y="46"/>
                        </a:lnTo>
                        <a:lnTo>
                          <a:pt x="2989" y="46"/>
                        </a:lnTo>
                        <a:lnTo>
                          <a:pt x="2984" y="44"/>
                        </a:lnTo>
                        <a:lnTo>
                          <a:pt x="2979" y="44"/>
                        </a:lnTo>
                        <a:lnTo>
                          <a:pt x="2978" y="44"/>
                        </a:lnTo>
                        <a:lnTo>
                          <a:pt x="2957" y="40"/>
                        </a:lnTo>
                        <a:lnTo>
                          <a:pt x="2956" y="38"/>
                        </a:lnTo>
                        <a:lnTo>
                          <a:pt x="2946" y="36"/>
                        </a:lnTo>
                        <a:lnTo>
                          <a:pt x="2940" y="36"/>
                        </a:lnTo>
                        <a:lnTo>
                          <a:pt x="2935" y="35"/>
                        </a:lnTo>
                        <a:lnTo>
                          <a:pt x="2929" y="33"/>
                        </a:lnTo>
                        <a:lnTo>
                          <a:pt x="2922" y="33"/>
                        </a:lnTo>
                        <a:lnTo>
                          <a:pt x="2914" y="30"/>
                        </a:lnTo>
                        <a:lnTo>
                          <a:pt x="2913" y="30"/>
                        </a:lnTo>
                        <a:lnTo>
                          <a:pt x="2899" y="28"/>
                        </a:lnTo>
                        <a:lnTo>
                          <a:pt x="2895" y="27"/>
                        </a:lnTo>
                        <a:lnTo>
                          <a:pt x="2894" y="27"/>
                        </a:lnTo>
                        <a:lnTo>
                          <a:pt x="2891" y="25"/>
                        </a:lnTo>
                        <a:lnTo>
                          <a:pt x="2889" y="25"/>
                        </a:lnTo>
                        <a:lnTo>
                          <a:pt x="2887" y="25"/>
                        </a:lnTo>
                        <a:lnTo>
                          <a:pt x="2876" y="24"/>
                        </a:lnTo>
                        <a:lnTo>
                          <a:pt x="2872" y="22"/>
                        </a:lnTo>
                        <a:lnTo>
                          <a:pt x="2870" y="21"/>
                        </a:lnTo>
                        <a:lnTo>
                          <a:pt x="2859" y="19"/>
                        </a:lnTo>
                        <a:lnTo>
                          <a:pt x="2846" y="14"/>
                        </a:lnTo>
                        <a:lnTo>
                          <a:pt x="2842" y="13"/>
                        </a:lnTo>
                        <a:lnTo>
                          <a:pt x="2838" y="13"/>
                        </a:lnTo>
                        <a:lnTo>
                          <a:pt x="2837" y="13"/>
                        </a:lnTo>
                        <a:lnTo>
                          <a:pt x="2835" y="11"/>
                        </a:lnTo>
                        <a:lnTo>
                          <a:pt x="2832" y="11"/>
                        </a:lnTo>
                        <a:lnTo>
                          <a:pt x="2826" y="9"/>
                        </a:lnTo>
                        <a:lnTo>
                          <a:pt x="2816" y="8"/>
                        </a:lnTo>
                        <a:lnTo>
                          <a:pt x="2794" y="2"/>
                        </a:lnTo>
                        <a:lnTo>
                          <a:pt x="2789" y="0"/>
                        </a:lnTo>
                        <a:lnTo>
                          <a:pt x="2786" y="3"/>
                        </a:lnTo>
                        <a:lnTo>
                          <a:pt x="2783" y="11"/>
                        </a:lnTo>
                        <a:lnTo>
                          <a:pt x="2783" y="13"/>
                        </a:lnTo>
                        <a:lnTo>
                          <a:pt x="2783" y="14"/>
                        </a:lnTo>
                        <a:lnTo>
                          <a:pt x="2781" y="14"/>
                        </a:lnTo>
                        <a:lnTo>
                          <a:pt x="2780" y="14"/>
                        </a:lnTo>
                        <a:lnTo>
                          <a:pt x="2778" y="14"/>
                        </a:lnTo>
                        <a:lnTo>
                          <a:pt x="2778" y="17"/>
                        </a:lnTo>
                        <a:lnTo>
                          <a:pt x="2778" y="19"/>
                        </a:lnTo>
                        <a:lnTo>
                          <a:pt x="2780" y="21"/>
                        </a:lnTo>
                        <a:lnTo>
                          <a:pt x="2783" y="22"/>
                        </a:lnTo>
                        <a:lnTo>
                          <a:pt x="2785" y="22"/>
                        </a:lnTo>
                        <a:lnTo>
                          <a:pt x="2788" y="25"/>
                        </a:lnTo>
                        <a:lnTo>
                          <a:pt x="2788" y="28"/>
                        </a:lnTo>
                        <a:lnTo>
                          <a:pt x="2789" y="32"/>
                        </a:lnTo>
                        <a:lnTo>
                          <a:pt x="2781" y="35"/>
                        </a:lnTo>
                        <a:lnTo>
                          <a:pt x="2780" y="36"/>
                        </a:lnTo>
                        <a:lnTo>
                          <a:pt x="2777" y="36"/>
                        </a:lnTo>
                        <a:lnTo>
                          <a:pt x="2770" y="38"/>
                        </a:lnTo>
                        <a:lnTo>
                          <a:pt x="2769" y="38"/>
                        </a:lnTo>
                        <a:lnTo>
                          <a:pt x="2765" y="38"/>
                        </a:lnTo>
                        <a:lnTo>
                          <a:pt x="2765" y="40"/>
                        </a:lnTo>
                        <a:lnTo>
                          <a:pt x="2762" y="40"/>
                        </a:lnTo>
                        <a:lnTo>
                          <a:pt x="2754" y="41"/>
                        </a:lnTo>
                        <a:lnTo>
                          <a:pt x="2750" y="43"/>
                        </a:lnTo>
                        <a:lnTo>
                          <a:pt x="2748" y="44"/>
                        </a:lnTo>
                        <a:lnTo>
                          <a:pt x="2746" y="47"/>
                        </a:lnTo>
                        <a:lnTo>
                          <a:pt x="2745" y="55"/>
                        </a:lnTo>
                        <a:lnTo>
                          <a:pt x="2743" y="57"/>
                        </a:lnTo>
                        <a:lnTo>
                          <a:pt x="2739" y="59"/>
                        </a:lnTo>
                        <a:lnTo>
                          <a:pt x="2737" y="60"/>
                        </a:lnTo>
                        <a:lnTo>
                          <a:pt x="2737" y="62"/>
                        </a:lnTo>
                        <a:lnTo>
                          <a:pt x="2737" y="63"/>
                        </a:lnTo>
                        <a:lnTo>
                          <a:pt x="2735" y="65"/>
                        </a:lnTo>
                        <a:lnTo>
                          <a:pt x="2735" y="63"/>
                        </a:lnTo>
                        <a:lnTo>
                          <a:pt x="2727" y="55"/>
                        </a:lnTo>
                        <a:lnTo>
                          <a:pt x="2727" y="54"/>
                        </a:lnTo>
                        <a:lnTo>
                          <a:pt x="2727" y="49"/>
                        </a:lnTo>
                        <a:lnTo>
                          <a:pt x="2724" y="44"/>
                        </a:lnTo>
                        <a:lnTo>
                          <a:pt x="2724" y="40"/>
                        </a:lnTo>
                        <a:lnTo>
                          <a:pt x="2726" y="36"/>
                        </a:lnTo>
                        <a:lnTo>
                          <a:pt x="2726" y="35"/>
                        </a:lnTo>
                        <a:lnTo>
                          <a:pt x="2724" y="35"/>
                        </a:lnTo>
                        <a:lnTo>
                          <a:pt x="2723" y="35"/>
                        </a:lnTo>
                        <a:lnTo>
                          <a:pt x="2716" y="33"/>
                        </a:lnTo>
                        <a:lnTo>
                          <a:pt x="2712" y="33"/>
                        </a:lnTo>
                        <a:lnTo>
                          <a:pt x="2691" y="46"/>
                        </a:lnTo>
                        <a:lnTo>
                          <a:pt x="2689" y="54"/>
                        </a:lnTo>
                        <a:lnTo>
                          <a:pt x="2686" y="65"/>
                        </a:lnTo>
                        <a:lnTo>
                          <a:pt x="2685" y="71"/>
                        </a:lnTo>
                        <a:lnTo>
                          <a:pt x="2685" y="73"/>
                        </a:lnTo>
                        <a:lnTo>
                          <a:pt x="2686" y="82"/>
                        </a:lnTo>
                        <a:lnTo>
                          <a:pt x="2688" y="87"/>
                        </a:lnTo>
                        <a:lnTo>
                          <a:pt x="2688" y="89"/>
                        </a:lnTo>
                        <a:lnTo>
                          <a:pt x="2686" y="89"/>
                        </a:lnTo>
                        <a:lnTo>
                          <a:pt x="2680" y="93"/>
                        </a:lnTo>
                        <a:lnTo>
                          <a:pt x="2677" y="95"/>
                        </a:lnTo>
                        <a:lnTo>
                          <a:pt x="2664" y="92"/>
                        </a:lnTo>
                        <a:lnTo>
                          <a:pt x="2663" y="92"/>
                        </a:lnTo>
                        <a:lnTo>
                          <a:pt x="2661" y="92"/>
                        </a:lnTo>
                        <a:lnTo>
                          <a:pt x="2655" y="98"/>
                        </a:lnTo>
                        <a:lnTo>
                          <a:pt x="2648" y="101"/>
                        </a:lnTo>
                        <a:lnTo>
                          <a:pt x="2648" y="103"/>
                        </a:lnTo>
                        <a:lnTo>
                          <a:pt x="2645" y="111"/>
                        </a:lnTo>
                        <a:lnTo>
                          <a:pt x="2644" y="112"/>
                        </a:lnTo>
                        <a:lnTo>
                          <a:pt x="2640" y="116"/>
                        </a:lnTo>
                        <a:lnTo>
                          <a:pt x="2637" y="117"/>
                        </a:lnTo>
                        <a:lnTo>
                          <a:pt x="2636" y="116"/>
                        </a:lnTo>
                        <a:lnTo>
                          <a:pt x="2632" y="116"/>
                        </a:lnTo>
                        <a:lnTo>
                          <a:pt x="2629" y="112"/>
                        </a:lnTo>
                        <a:lnTo>
                          <a:pt x="2628" y="112"/>
                        </a:lnTo>
                        <a:lnTo>
                          <a:pt x="2626" y="114"/>
                        </a:lnTo>
                        <a:lnTo>
                          <a:pt x="2618" y="122"/>
                        </a:lnTo>
                        <a:lnTo>
                          <a:pt x="2618" y="123"/>
                        </a:lnTo>
                        <a:lnTo>
                          <a:pt x="2617" y="123"/>
                        </a:lnTo>
                        <a:lnTo>
                          <a:pt x="2613" y="119"/>
                        </a:lnTo>
                        <a:lnTo>
                          <a:pt x="2607" y="119"/>
                        </a:lnTo>
                        <a:lnTo>
                          <a:pt x="2604" y="120"/>
                        </a:lnTo>
                        <a:lnTo>
                          <a:pt x="2601" y="123"/>
                        </a:lnTo>
                        <a:lnTo>
                          <a:pt x="2598" y="130"/>
                        </a:lnTo>
                        <a:lnTo>
                          <a:pt x="2596" y="131"/>
                        </a:lnTo>
                        <a:lnTo>
                          <a:pt x="2591" y="141"/>
                        </a:lnTo>
                        <a:lnTo>
                          <a:pt x="2591" y="147"/>
                        </a:lnTo>
                        <a:lnTo>
                          <a:pt x="2590" y="149"/>
                        </a:lnTo>
                        <a:lnTo>
                          <a:pt x="2590" y="155"/>
                        </a:lnTo>
                        <a:lnTo>
                          <a:pt x="2591" y="162"/>
                        </a:lnTo>
                        <a:lnTo>
                          <a:pt x="2582" y="166"/>
                        </a:lnTo>
                        <a:lnTo>
                          <a:pt x="2580" y="166"/>
                        </a:lnTo>
                        <a:lnTo>
                          <a:pt x="2575" y="168"/>
                        </a:lnTo>
                        <a:lnTo>
                          <a:pt x="2571" y="150"/>
                        </a:lnTo>
                        <a:lnTo>
                          <a:pt x="2567" y="146"/>
                        </a:lnTo>
                        <a:lnTo>
                          <a:pt x="2567" y="144"/>
                        </a:lnTo>
                        <a:lnTo>
                          <a:pt x="2566" y="144"/>
                        </a:lnTo>
                        <a:lnTo>
                          <a:pt x="2563" y="142"/>
                        </a:lnTo>
                        <a:lnTo>
                          <a:pt x="2558" y="142"/>
                        </a:lnTo>
                        <a:lnTo>
                          <a:pt x="2556" y="142"/>
                        </a:lnTo>
                        <a:lnTo>
                          <a:pt x="2556" y="141"/>
                        </a:lnTo>
                        <a:lnTo>
                          <a:pt x="2556" y="139"/>
                        </a:lnTo>
                        <a:lnTo>
                          <a:pt x="2556" y="136"/>
                        </a:lnTo>
                        <a:lnTo>
                          <a:pt x="2556" y="135"/>
                        </a:lnTo>
                        <a:lnTo>
                          <a:pt x="2553" y="133"/>
                        </a:lnTo>
                        <a:lnTo>
                          <a:pt x="2552" y="133"/>
                        </a:lnTo>
                        <a:lnTo>
                          <a:pt x="2552" y="135"/>
                        </a:lnTo>
                        <a:lnTo>
                          <a:pt x="2550" y="136"/>
                        </a:lnTo>
                        <a:lnTo>
                          <a:pt x="2550" y="138"/>
                        </a:lnTo>
                        <a:lnTo>
                          <a:pt x="2548" y="139"/>
                        </a:lnTo>
                        <a:lnTo>
                          <a:pt x="2547" y="138"/>
                        </a:lnTo>
                        <a:lnTo>
                          <a:pt x="2542" y="135"/>
                        </a:lnTo>
                        <a:lnTo>
                          <a:pt x="2542" y="133"/>
                        </a:lnTo>
                        <a:lnTo>
                          <a:pt x="2544" y="130"/>
                        </a:lnTo>
                        <a:lnTo>
                          <a:pt x="2547" y="127"/>
                        </a:lnTo>
                        <a:lnTo>
                          <a:pt x="2552" y="125"/>
                        </a:lnTo>
                        <a:lnTo>
                          <a:pt x="2552" y="123"/>
                        </a:lnTo>
                        <a:lnTo>
                          <a:pt x="2553" y="122"/>
                        </a:lnTo>
                        <a:lnTo>
                          <a:pt x="2553" y="119"/>
                        </a:lnTo>
                        <a:lnTo>
                          <a:pt x="2548" y="119"/>
                        </a:lnTo>
                        <a:lnTo>
                          <a:pt x="2547" y="119"/>
                        </a:lnTo>
                        <a:lnTo>
                          <a:pt x="2544" y="117"/>
                        </a:lnTo>
                        <a:lnTo>
                          <a:pt x="2542" y="117"/>
                        </a:lnTo>
                        <a:lnTo>
                          <a:pt x="2539" y="122"/>
                        </a:lnTo>
                        <a:lnTo>
                          <a:pt x="2537" y="122"/>
                        </a:lnTo>
                        <a:lnTo>
                          <a:pt x="2536" y="120"/>
                        </a:lnTo>
                        <a:lnTo>
                          <a:pt x="2534" y="120"/>
                        </a:lnTo>
                        <a:lnTo>
                          <a:pt x="2533" y="119"/>
                        </a:lnTo>
                        <a:lnTo>
                          <a:pt x="2533" y="117"/>
                        </a:lnTo>
                        <a:lnTo>
                          <a:pt x="2533" y="116"/>
                        </a:lnTo>
                        <a:lnTo>
                          <a:pt x="2534" y="114"/>
                        </a:lnTo>
                        <a:lnTo>
                          <a:pt x="2534" y="112"/>
                        </a:lnTo>
                        <a:lnTo>
                          <a:pt x="2533" y="112"/>
                        </a:lnTo>
                        <a:lnTo>
                          <a:pt x="2525" y="112"/>
                        </a:lnTo>
                        <a:lnTo>
                          <a:pt x="2517" y="112"/>
                        </a:lnTo>
                        <a:lnTo>
                          <a:pt x="2506" y="112"/>
                        </a:lnTo>
                        <a:lnTo>
                          <a:pt x="2498" y="112"/>
                        </a:lnTo>
                        <a:lnTo>
                          <a:pt x="2496" y="112"/>
                        </a:lnTo>
                        <a:lnTo>
                          <a:pt x="2495" y="112"/>
                        </a:lnTo>
                        <a:lnTo>
                          <a:pt x="2491" y="114"/>
                        </a:lnTo>
                        <a:lnTo>
                          <a:pt x="2487" y="112"/>
                        </a:lnTo>
                        <a:lnTo>
                          <a:pt x="2484" y="112"/>
                        </a:lnTo>
                        <a:lnTo>
                          <a:pt x="2469" y="112"/>
                        </a:lnTo>
                        <a:lnTo>
                          <a:pt x="2463" y="111"/>
                        </a:lnTo>
                        <a:lnTo>
                          <a:pt x="2460" y="111"/>
                        </a:lnTo>
                        <a:lnTo>
                          <a:pt x="2457" y="104"/>
                        </a:lnTo>
                        <a:lnTo>
                          <a:pt x="2444" y="104"/>
                        </a:lnTo>
                        <a:lnTo>
                          <a:pt x="2442" y="112"/>
                        </a:lnTo>
                        <a:lnTo>
                          <a:pt x="2434" y="112"/>
                        </a:lnTo>
                        <a:lnTo>
                          <a:pt x="2431" y="114"/>
                        </a:lnTo>
                        <a:lnTo>
                          <a:pt x="2428" y="114"/>
                        </a:lnTo>
                        <a:lnTo>
                          <a:pt x="2427" y="114"/>
                        </a:lnTo>
                        <a:lnTo>
                          <a:pt x="2425" y="116"/>
                        </a:lnTo>
                        <a:lnTo>
                          <a:pt x="2425" y="117"/>
                        </a:lnTo>
                        <a:lnTo>
                          <a:pt x="2420" y="123"/>
                        </a:lnTo>
                        <a:lnTo>
                          <a:pt x="2419" y="127"/>
                        </a:lnTo>
                        <a:lnTo>
                          <a:pt x="2419" y="128"/>
                        </a:lnTo>
                        <a:lnTo>
                          <a:pt x="2417" y="131"/>
                        </a:lnTo>
                        <a:lnTo>
                          <a:pt x="2415" y="131"/>
                        </a:lnTo>
                        <a:lnTo>
                          <a:pt x="2411" y="131"/>
                        </a:lnTo>
                        <a:lnTo>
                          <a:pt x="2409" y="131"/>
                        </a:lnTo>
                        <a:lnTo>
                          <a:pt x="2408" y="130"/>
                        </a:lnTo>
                        <a:lnTo>
                          <a:pt x="2401" y="125"/>
                        </a:lnTo>
                        <a:lnTo>
                          <a:pt x="2401" y="123"/>
                        </a:lnTo>
                        <a:lnTo>
                          <a:pt x="2390" y="123"/>
                        </a:lnTo>
                        <a:lnTo>
                          <a:pt x="2388" y="116"/>
                        </a:lnTo>
                        <a:lnTo>
                          <a:pt x="2385" y="112"/>
                        </a:lnTo>
                        <a:lnTo>
                          <a:pt x="2382" y="111"/>
                        </a:lnTo>
                        <a:lnTo>
                          <a:pt x="2365" y="111"/>
                        </a:lnTo>
                        <a:lnTo>
                          <a:pt x="2363" y="111"/>
                        </a:lnTo>
                        <a:lnTo>
                          <a:pt x="2362" y="111"/>
                        </a:lnTo>
                        <a:lnTo>
                          <a:pt x="2357" y="112"/>
                        </a:lnTo>
                        <a:lnTo>
                          <a:pt x="2343" y="112"/>
                        </a:lnTo>
                        <a:lnTo>
                          <a:pt x="2336" y="108"/>
                        </a:lnTo>
                        <a:lnTo>
                          <a:pt x="2324" y="108"/>
                        </a:lnTo>
                        <a:lnTo>
                          <a:pt x="2303" y="106"/>
                        </a:lnTo>
                        <a:lnTo>
                          <a:pt x="2300" y="106"/>
                        </a:lnTo>
                        <a:lnTo>
                          <a:pt x="2298" y="106"/>
                        </a:lnTo>
                        <a:lnTo>
                          <a:pt x="2289" y="106"/>
                        </a:lnTo>
                        <a:lnTo>
                          <a:pt x="2279" y="106"/>
                        </a:lnTo>
                        <a:lnTo>
                          <a:pt x="2273" y="106"/>
                        </a:lnTo>
                        <a:lnTo>
                          <a:pt x="2268" y="106"/>
                        </a:lnTo>
                        <a:lnTo>
                          <a:pt x="2267" y="117"/>
                        </a:lnTo>
                        <a:lnTo>
                          <a:pt x="2254" y="117"/>
                        </a:lnTo>
                        <a:lnTo>
                          <a:pt x="2248" y="117"/>
                        </a:lnTo>
                        <a:lnTo>
                          <a:pt x="2240" y="116"/>
                        </a:lnTo>
                        <a:lnTo>
                          <a:pt x="2222" y="116"/>
                        </a:lnTo>
                        <a:lnTo>
                          <a:pt x="2197" y="112"/>
                        </a:lnTo>
                        <a:lnTo>
                          <a:pt x="2183" y="112"/>
                        </a:lnTo>
                        <a:lnTo>
                          <a:pt x="2154" y="112"/>
                        </a:lnTo>
                        <a:lnTo>
                          <a:pt x="2152" y="112"/>
                        </a:lnTo>
                        <a:lnTo>
                          <a:pt x="2151" y="111"/>
                        </a:lnTo>
                        <a:lnTo>
                          <a:pt x="2143" y="112"/>
                        </a:lnTo>
                        <a:lnTo>
                          <a:pt x="2137" y="112"/>
                        </a:lnTo>
                        <a:lnTo>
                          <a:pt x="2132" y="112"/>
                        </a:lnTo>
                        <a:lnTo>
                          <a:pt x="2130" y="112"/>
                        </a:lnTo>
                        <a:lnTo>
                          <a:pt x="2126" y="112"/>
                        </a:lnTo>
                        <a:lnTo>
                          <a:pt x="2118" y="112"/>
                        </a:lnTo>
                        <a:lnTo>
                          <a:pt x="2110" y="112"/>
                        </a:lnTo>
                        <a:lnTo>
                          <a:pt x="2097" y="112"/>
                        </a:lnTo>
                        <a:lnTo>
                          <a:pt x="2089" y="108"/>
                        </a:lnTo>
                        <a:lnTo>
                          <a:pt x="2088" y="104"/>
                        </a:lnTo>
                        <a:lnTo>
                          <a:pt x="2080" y="100"/>
                        </a:lnTo>
                        <a:lnTo>
                          <a:pt x="2078" y="98"/>
                        </a:lnTo>
                        <a:lnTo>
                          <a:pt x="2076" y="97"/>
                        </a:lnTo>
                        <a:lnTo>
                          <a:pt x="2075" y="95"/>
                        </a:lnTo>
                        <a:lnTo>
                          <a:pt x="2072" y="95"/>
                        </a:lnTo>
                        <a:lnTo>
                          <a:pt x="2064" y="95"/>
                        </a:lnTo>
                        <a:lnTo>
                          <a:pt x="2057" y="95"/>
                        </a:lnTo>
                        <a:lnTo>
                          <a:pt x="2050" y="97"/>
                        </a:lnTo>
                        <a:lnTo>
                          <a:pt x="2042" y="97"/>
                        </a:lnTo>
                        <a:lnTo>
                          <a:pt x="2038" y="97"/>
                        </a:lnTo>
                        <a:lnTo>
                          <a:pt x="2027" y="95"/>
                        </a:lnTo>
                        <a:lnTo>
                          <a:pt x="2019" y="97"/>
                        </a:lnTo>
                        <a:lnTo>
                          <a:pt x="2013" y="95"/>
                        </a:lnTo>
                        <a:lnTo>
                          <a:pt x="1980" y="95"/>
                        </a:lnTo>
                        <a:lnTo>
                          <a:pt x="1978" y="98"/>
                        </a:lnTo>
                        <a:lnTo>
                          <a:pt x="1978" y="101"/>
                        </a:lnTo>
                        <a:lnTo>
                          <a:pt x="1980" y="104"/>
                        </a:lnTo>
                        <a:lnTo>
                          <a:pt x="1980" y="106"/>
                        </a:lnTo>
                        <a:lnTo>
                          <a:pt x="1978" y="109"/>
                        </a:lnTo>
                        <a:lnTo>
                          <a:pt x="1978" y="112"/>
                        </a:lnTo>
                        <a:lnTo>
                          <a:pt x="1977" y="114"/>
                        </a:lnTo>
                        <a:lnTo>
                          <a:pt x="1966" y="112"/>
                        </a:lnTo>
                        <a:lnTo>
                          <a:pt x="1961" y="112"/>
                        </a:lnTo>
                        <a:lnTo>
                          <a:pt x="1959" y="114"/>
                        </a:lnTo>
                        <a:lnTo>
                          <a:pt x="1953" y="111"/>
                        </a:lnTo>
                        <a:lnTo>
                          <a:pt x="1943" y="108"/>
                        </a:lnTo>
                        <a:lnTo>
                          <a:pt x="1940" y="108"/>
                        </a:lnTo>
                        <a:lnTo>
                          <a:pt x="1935" y="109"/>
                        </a:lnTo>
                        <a:lnTo>
                          <a:pt x="1910" y="116"/>
                        </a:lnTo>
                        <a:lnTo>
                          <a:pt x="1909" y="117"/>
                        </a:lnTo>
                        <a:lnTo>
                          <a:pt x="1904" y="119"/>
                        </a:lnTo>
                        <a:lnTo>
                          <a:pt x="1901" y="120"/>
                        </a:lnTo>
                        <a:lnTo>
                          <a:pt x="1885" y="122"/>
                        </a:lnTo>
                        <a:lnTo>
                          <a:pt x="1882" y="120"/>
                        </a:lnTo>
                        <a:lnTo>
                          <a:pt x="1880" y="120"/>
                        </a:lnTo>
                        <a:lnTo>
                          <a:pt x="1875" y="117"/>
                        </a:lnTo>
                        <a:lnTo>
                          <a:pt x="1867" y="117"/>
                        </a:lnTo>
                        <a:lnTo>
                          <a:pt x="1855" y="117"/>
                        </a:lnTo>
                        <a:lnTo>
                          <a:pt x="1844" y="117"/>
                        </a:lnTo>
                        <a:lnTo>
                          <a:pt x="1839" y="119"/>
                        </a:lnTo>
                        <a:lnTo>
                          <a:pt x="1831" y="117"/>
                        </a:lnTo>
                        <a:lnTo>
                          <a:pt x="1798" y="117"/>
                        </a:lnTo>
                        <a:lnTo>
                          <a:pt x="1791" y="117"/>
                        </a:lnTo>
                        <a:lnTo>
                          <a:pt x="1788" y="117"/>
                        </a:lnTo>
                        <a:lnTo>
                          <a:pt x="1785" y="117"/>
                        </a:lnTo>
                        <a:lnTo>
                          <a:pt x="1766" y="119"/>
                        </a:lnTo>
                        <a:lnTo>
                          <a:pt x="1745" y="120"/>
                        </a:lnTo>
                        <a:lnTo>
                          <a:pt x="1739" y="119"/>
                        </a:lnTo>
                        <a:lnTo>
                          <a:pt x="1728" y="119"/>
                        </a:lnTo>
                        <a:lnTo>
                          <a:pt x="1722" y="119"/>
                        </a:lnTo>
                        <a:lnTo>
                          <a:pt x="1696" y="120"/>
                        </a:lnTo>
                        <a:lnTo>
                          <a:pt x="1695" y="120"/>
                        </a:lnTo>
                        <a:lnTo>
                          <a:pt x="1693" y="120"/>
                        </a:lnTo>
                        <a:lnTo>
                          <a:pt x="1692" y="120"/>
                        </a:lnTo>
                        <a:lnTo>
                          <a:pt x="1688" y="120"/>
                        </a:lnTo>
                        <a:lnTo>
                          <a:pt x="1680" y="120"/>
                        </a:lnTo>
                        <a:lnTo>
                          <a:pt x="1666" y="120"/>
                        </a:lnTo>
                        <a:lnTo>
                          <a:pt x="1660" y="120"/>
                        </a:lnTo>
                        <a:lnTo>
                          <a:pt x="1644" y="120"/>
                        </a:lnTo>
                        <a:lnTo>
                          <a:pt x="1634" y="120"/>
                        </a:lnTo>
                        <a:lnTo>
                          <a:pt x="1628" y="120"/>
                        </a:lnTo>
                        <a:lnTo>
                          <a:pt x="1612" y="119"/>
                        </a:lnTo>
                        <a:lnTo>
                          <a:pt x="1608" y="117"/>
                        </a:lnTo>
                        <a:lnTo>
                          <a:pt x="1604" y="117"/>
                        </a:lnTo>
                        <a:lnTo>
                          <a:pt x="1600" y="117"/>
                        </a:lnTo>
                        <a:lnTo>
                          <a:pt x="1592" y="116"/>
                        </a:lnTo>
                        <a:lnTo>
                          <a:pt x="1587" y="116"/>
                        </a:lnTo>
                        <a:lnTo>
                          <a:pt x="1581" y="116"/>
                        </a:lnTo>
                        <a:lnTo>
                          <a:pt x="1571" y="114"/>
                        </a:lnTo>
                        <a:lnTo>
                          <a:pt x="1568" y="114"/>
                        </a:lnTo>
                        <a:lnTo>
                          <a:pt x="1565" y="114"/>
                        </a:lnTo>
                        <a:lnTo>
                          <a:pt x="1565" y="116"/>
                        </a:lnTo>
                        <a:lnTo>
                          <a:pt x="1555" y="116"/>
                        </a:lnTo>
                        <a:lnTo>
                          <a:pt x="1543" y="116"/>
                        </a:lnTo>
                        <a:lnTo>
                          <a:pt x="1535" y="116"/>
                        </a:lnTo>
                        <a:lnTo>
                          <a:pt x="1519" y="117"/>
                        </a:lnTo>
                        <a:lnTo>
                          <a:pt x="1505" y="117"/>
                        </a:lnTo>
                        <a:lnTo>
                          <a:pt x="1503" y="117"/>
                        </a:lnTo>
                        <a:lnTo>
                          <a:pt x="1498" y="116"/>
                        </a:lnTo>
                        <a:lnTo>
                          <a:pt x="1497" y="116"/>
                        </a:lnTo>
                        <a:lnTo>
                          <a:pt x="1486" y="116"/>
                        </a:lnTo>
                        <a:lnTo>
                          <a:pt x="1476" y="116"/>
                        </a:lnTo>
                        <a:lnTo>
                          <a:pt x="1459" y="116"/>
                        </a:lnTo>
                        <a:lnTo>
                          <a:pt x="1451" y="116"/>
                        </a:lnTo>
                        <a:lnTo>
                          <a:pt x="1414" y="117"/>
                        </a:lnTo>
                        <a:lnTo>
                          <a:pt x="1405" y="116"/>
                        </a:lnTo>
                        <a:lnTo>
                          <a:pt x="1398" y="114"/>
                        </a:lnTo>
                        <a:lnTo>
                          <a:pt x="1397" y="114"/>
                        </a:lnTo>
                        <a:lnTo>
                          <a:pt x="1386" y="114"/>
                        </a:lnTo>
                        <a:lnTo>
                          <a:pt x="1383" y="114"/>
                        </a:lnTo>
                        <a:lnTo>
                          <a:pt x="1370" y="112"/>
                        </a:lnTo>
                        <a:lnTo>
                          <a:pt x="1368" y="111"/>
                        </a:lnTo>
                        <a:lnTo>
                          <a:pt x="1367" y="111"/>
                        </a:lnTo>
                        <a:lnTo>
                          <a:pt x="1359" y="111"/>
                        </a:lnTo>
                        <a:lnTo>
                          <a:pt x="1351" y="109"/>
                        </a:lnTo>
                        <a:lnTo>
                          <a:pt x="1349" y="109"/>
                        </a:lnTo>
                        <a:lnTo>
                          <a:pt x="1335" y="109"/>
                        </a:lnTo>
                        <a:lnTo>
                          <a:pt x="1311" y="111"/>
                        </a:lnTo>
                        <a:lnTo>
                          <a:pt x="1308" y="111"/>
                        </a:lnTo>
                        <a:lnTo>
                          <a:pt x="1296" y="109"/>
                        </a:lnTo>
                        <a:lnTo>
                          <a:pt x="1294" y="109"/>
                        </a:lnTo>
                        <a:lnTo>
                          <a:pt x="1291" y="109"/>
                        </a:lnTo>
                        <a:lnTo>
                          <a:pt x="1286" y="109"/>
                        </a:lnTo>
                        <a:lnTo>
                          <a:pt x="1284" y="109"/>
                        </a:lnTo>
                        <a:lnTo>
                          <a:pt x="1283" y="109"/>
                        </a:lnTo>
                        <a:lnTo>
                          <a:pt x="1281" y="109"/>
                        </a:lnTo>
                        <a:lnTo>
                          <a:pt x="1277" y="109"/>
                        </a:lnTo>
                        <a:lnTo>
                          <a:pt x="1267" y="109"/>
                        </a:lnTo>
                        <a:lnTo>
                          <a:pt x="1262" y="108"/>
                        </a:lnTo>
                        <a:lnTo>
                          <a:pt x="1261" y="108"/>
                        </a:lnTo>
                        <a:lnTo>
                          <a:pt x="1256" y="108"/>
                        </a:lnTo>
                        <a:lnTo>
                          <a:pt x="1250" y="104"/>
                        </a:lnTo>
                        <a:lnTo>
                          <a:pt x="1243" y="104"/>
                        </a:lnTo>
                        <a:lnTo>
                          <a:pt x="1226" y="104"/>
                        </a:lnTo>
                        <a:lnTo>
                          <a:pt x="1221" y="104"/>
                        </a:lnTo>
                        <a:lnTo>
                          <a:pt x="1212" y="104"/>
                        </a:lnTo>
                        <a:lnTo>
                          <a:pt x="1210" y="106"/>
                        </a:lnTo>
                        <a:lnTo>
                          <a:pt x="1210" y="108"/>
                        </a:lnTo>
                        <a:lnTo>
                          <a:pt x="1208" y="112"/>
                        </a:lnTo>
                        <a:lnTo>
                          <a:pt x="1207" y="119"/>
                        </a:lnTo>
                        <a:lnTo>
                          <a:pt x="1207" y="120"/>
                        </a:lnTo>
                        <a:lnTo>
                          <a:pt x="1207" y="122"/>
                        </a:lnTo>
                        <a:lnTo>
                          <a:pt x="1207" y="123"/>
                        </a:lnTo>
                        <a:lnTo>
                          <a:pt x="1207" y="125"/>
                        </a:lnTo>
                        <a:lnTo>
                          <a:pt x="1205" y="130"/>
                        </a:lnTo>
                        <a:lnTo>
                          <a:pt x="1205" y="131"/>
                        </a:lnTo>
                        <a:lnTo>
                          <a:pt x="1207" y="136"/>
                        </a:lnTo>
                        <a:lnTo>
                          <a:pt x="1208" y="138"/>
                        </a:lnTo>
                        <a:lnTo>
                          <a:pt x="1212" y="141"/>
                        </a:lnTo>
                        <a:lnTo>
                          <a:pt x="1215" y="144"/>
                        </a:lnTo>
                        <a:lnTo>
                          <a:pt x="1218" y="149"/>
                        </a:lnTo>
                        <a:lnTo>
                          <a:pt x="1218" y="150"/>
                        </a:lnTo>
                        <a:lnTo>
                          <a:pt x="1218" y="152"/>
                        </a:lnTo>
                        <a:lnTo>
                          <a:pt x="1216" y="160"/>
                        </a:lnTo>
                        <a:lnTo>
                          <a:pt x="1212" y="171"/>
                        </a:lnTo>
                        <a:lnTo>
                          <a:pt x="1207" y="176"/>
                        </a:lnTo>
                        <a:lnTo>
                          <a:pt x="1200" y="177"/>
                        </a:lnTo>
                        <a:lnTo>
                          <a:pt x="1199" y="179"/>
                        </a:lnTo>
                        <a:lnTo>
                          <a:pt x="1194" y="177"/>
                        </a:lnTo>
                        <a:lnTo>
                          <a:pt x="1194" y="179"/>
                        </a:lnTo>
                        <a:lnTo>
                          <a:pt x="1193" y="179"/>
                        </a:lnTo>
                        <a:lnTo>
                          <a:pt x="1191" y="181"/>
                        </a:lnTo>
                        <a:lnTo>
                          <a:pt x="1189" y="181"/>
                        </a:lnTo>
                        <a:lnTo>
                          <a:pt x="1189" y="182"/>
                        </a:lnTo>
                        <a:lnTo>
                          <a:pt x="1189" y="184"/>
                        </a:lnTo>
                        <a:lnTo>
                          <a:pt x="1189" y="190"/>
                        </a:lnTo>
                        <a:lnTo>
                          <a:pt x="1189" y="193"/>
                        </a:lnTo>
                        <a:lnTo>
                          <a:pt x="1189" y="195"/>
                        </a:lnTo>
                        <a:lnTo>
                          <a:pt x="1189" y="198"/>
                        </a:lnTo>
                        <a:lnTo>
                          <a:pt x="1189" y="200"/>
                        </a:lnTo>
                        <a:lnTo>
                          <a:pt x="1188" y="201"/>
                        </a:lnTo>
                        <a:lnTo>
                          <a:pt x="1188" y="203"/>
                        </a:lnTo>
                        <a:lnTo>
                          <a:pt x="1181" y="214"/>
                        </a:lnTo>
                        <a:lnTo>
                          <a:pt x="1181" y="223"/>
                        </a:lnTo>
                        <a:lnTo>
                          <a:pt x="1180" y="228"/>
                        </a:lnTo>
                        <a:lnTo>
                          <a:pt x="1180" y="231"/>
                        </a:lnTo>
                        <a:lnTo>
                          <a:pt x="1178" y="236"/>
                        </a:lnTo>
                        <a:lnTo>
                          <a:pt x="1175" y="245"/>
                        </a:lnTo>
                        <a:lnTo>
                          <a:pt x="1172" y="250"/>
                        </a:lnTo>
                        <a:lnTo>
                          <a:pt x="1172" y="252"/>
                        </a:lnTo>
                        <a:lnTo>
                          <a:pt x="1170" y="255"/>
                        </a:lnTo>
                        <a:lnTo>
                          <a:pt x="1167" y="258"/>
                        </a:lnTo>
                        <a:lnTo>
                          <a:pt x="1158" y="269"/>
                        </a:lnTo>
                        <a:lnTo>
                          <a:pt x="1155" y="272"/>
                        </a:lnTo>
                        <a:lnTo>
                          <a:pt x="1150" y="276"/>
                        </a:lnTo>
                        <a:lnTo>
                          <a:pt x="1148" y="277"/>
                        </a:lnTo>
                        <a:lnTo>
                          <a:pt x="1147" y="279"/>
                        </a:lnTo>
                        <a:lnTo>
                          <a:pt x="1147" y="280"/>
                        </a:lnTo>
                        <a:lnTo>
                          <a:pt x="1145" y="282"/>
                        </a:lnTo>
                        <a:lnTo>
                          <a:pt x="1145" y="285"/>
                        </a:lnTo>
                        <a:lnTo>
                          <a:pt x="1143" y="287"/>
                        </a:lnTo>
                        <a:lnTo>
                          <a:pt x="1145" y="288"/>
                        </a:lnTo>
                        <a:lnTo>
                          <a:pt x="1145" y="290"/>
                        </a:lnTo>
                        <a:lnTo>
                          <a:pt x="1147" y="288"/>
                        </a:lnTo>
                        <a:lnTo>
                          <a:pt x="1148" y="288"/>
                        </a:lnTo>
                        <a:lnTo>
                          <a:pt x="1150" y="290"/>
                        </a:lnTo>
                        <a:lnTo>
                          <a:pt x="1153" y="293"/>
                        </a:lnTo>
                        <a:lnTo>
                          <a:pt x="1161" y="295"/>
                        </a:lnTo>
                        <a:lnTo>
                          <a:pt x="1164" y="296"/>
                        </a:lnTo>
                        <a:lnTo>
                          <a:pt x="1164" y="299"/>
                        </a:lnTo>
                        <a:lnTo>
                          <a:pt x="1164" y="301"/>
                        </a:lnTo>
                        <a:lnTo>
                          <a:pt x="1162" y="302"/>
                        </a:lnTo>
                        <a:lnTo>
                          <a:pt x="1161" y="307"/>
                        </a:lnTo>
                        <a:lnTo>
                          <a:pt x="1161" y="312"/>
                        </a:lnTo>
                        <a:lnTo>
                          <a:pt x="1158" y="317"/>
                        </a:lnTo>
                        <a:lnTo>
                          <a:pt x="1150" y="323"/>
                        </a:lnTo>
                        <a:lnTo>
                          <a:pt x="1145" y="326"/>
                        </a:lnTo>
                        <a:lnTo>
                          <a:pt x="1145" y="328"/>
                        </a:lnTo>
                        <a:lnTo>
                          <a:pt x="1143" y="329"/>
                        </a:lnTo>
                        <a:lnTo>
                          <a:pt x="1143" y="333"/>
                        </a:lnTo>
                        <a:lnTo>
                          <a:pt x="1143" y="336"/>
                        </a:lnTo>
                        <a:lnTo>
                          <a:pt x="1145" y="345"/>
                        </a:lnTo>
                        <a:lnTo>
                          <a:pt x="1155" y="363"/>
                        </a:lnTo>
                        <a:lnTo>
                          <a:pt x="1159" y="374"/>
                        </a:lnTo>
                        <a:lnTo>
                          <a:pt x="1162" y="380"/>
                        </a:lnTo>
                        <a:lnTo>
                          <a:pt x="1167" y="386"/>
                        </a:lnTo>
                        <a:lnTo>
                          <a:pt x="1169" y="398"/>
                        </a:lnTo>
                        <a:lnTo>
                          <a:pt x="1172" y="409"/>
                        </a:lnTo>
                        <a:lnTo>
                          <a:pt x="1175" y="412"/>
                        </a:lnTo>
                        <a:lnTo>
                          <a:pt x="1178" y="417"/>
                        </a:lnTo>
                        <a:lnTo>
                          <a:pt x="1181" y="420"/>
                        </a:lnTo>
                        <a:lnTo>
                          <a:pt x="1181" y="421"/>
                        </a:lnTo>
                        <a:lnTo>
                          <a:pt x="1183" y="424"/>
                        </a:lnTo>
                        <a:lnTo>
                          <a:pt x="1185" y="429"/>
                        </a:lnTo>
                        <a:lnTo>
                          <a:pt x="1185" y="432"/>
                        </a:lnTo>
                        <a:lnTo>
                          <a:pt x="1188" y="439"/>
                        </a:lnTo>
                        <a:lnTo>
                          <a:pt x="1188" y="440"/>
                        </a:lnTo>
                        <a:lnTo>
                          <a:pt x="1189" y="445"/>
                        </a:lnTo>
                        <a:lnTo>
                          <a:pt x="1191" y="447"/>
                        </a:lnTo>
                        <a:lnTo>
                          <a:pt x="1193" y="448"/>
                        </a:lnTo>
                        <a:lnTo>
                          <a:pt x="1196" y="450"/>
                        </a:lnTo>
                        <a:lnTo>
                          <a:pt x="1204" y="453"/>
                        </a:lnTo>
                        <a:lnTo>
                          <a:pt x="1208" y="455"/>
                        </a:lnTo>
                        <a:lnTo>
                          <a:pt x="1215" y="459"/>
                        </a:lnTo>
                        <a:lnTo>
                          <a:pt x="1227" y="462"/>
                        </a:lnTo>
                        <a:lnTo>
                          <a:pt x="1242" y="462"/>
                        </a:lnTo>
                        <a:lnTo>
                          <a:pt x="1242" y="464"/>
                        </a:lnTo>
                        <a:lnTo>
                          <a:pt x="1243" y="464"/>
                        </a:lnTo>
                        <a:lnTo>
                          <a:pt x="1246" y="466"/>
                        </a:lnTo>
                        <a:lnTo>
                          <a:pt x="1245" y="470"/>
                        </a:lnTo>
                        <a:lnTo>
                          <a:pt x="1238" y="477"/>
                        </a:lnTo>
                        <a:lnTo>
                          <a:pt x="1235" y="477"/>
                        </a:lnTo>
                        <a:lnTo>
                          <a:pt x="1232" y="478"/>
                        </a:lnTo>
                        <a:lnTo>
                          <a:pt x="1229" y="481"/>
                        </a:lnTo>
                        <a:lnTo>
                          <a:pt x="1227" y="481"/>
                        </a:lnTo>
                        <a:lnTo>
                          <a:pt x="1226" y="480"/>
                        </a:lnTo>
                        <a:lnTo>
                          <a:pt x="1221" y="480"/>
                        </a:lnTo>
                        <a:lnTo>
                          <a:pt x="1218" y="481"/>
                        </a:lnTo>
                        <a:lnTo>
                          <a:pt x="1216" y="481"/>
                        </a:lnTo>
                        <a:lnTo>
                          <a:pt x="1212" y="486"/>
                        </a:lnTo>
                        <a:lnTo>
                          <a:pt x="1208" y="491"/>
                        </a:lnTo>
                        <a:lnTo>
                          <a:pt x="1205" y="504"/>
                        </a:lnTo>
                        <a:lnTo>
                          <a:pt x="1204" y="512"/>
                        </a:lnTo>
                        <a:lnTo>
                          <a:pt x="1202" y="515"/>
                        </a:lnTo>
                        <a:lnTo>
                          <a:pt x="1200" y="521"/>
                        </a:lnTo>
                        <a:lnTo>
                          <a:pt x="1199" y="524"/>
                        </a:lnTo>
                        <a:lnTo>
                          <a:pt x="1199" y="527"/>
                        </a:lnTo>
                        <a:lnTo>
                          <a:pt x="1200" y="531"/>
                        </a:lnTo>
                        <a:lnTo>
                          <a:pt x="1202" y="535"/>
                        </a:lnTo>
                        <a:lnTo>
                          <a:pt x="1204" y="535"/>
                        </a:lnTo>
                        <a:lnTo>
                          <a:pt x="1204" y="537"/>
                        </a:lnTo>
                        <a:lnTo>
                          <a:pt x="1207" y="540"/>
                        </a:lnTo>
                        <a:lnTo>
                          <a:pt x="1208" y="542"/>
                        </a:lnTo>
                        <a:lnTo>
                          <a:pt x="1216" y="548"/>
                        </a:lnTo>
                        <a:lnTo>
                          <a:pt x="1227" y="554"/>
                        </a:lnTo>
                        <a:lnTo>
                          <a:pt x="1231" y="556"/>
                        </a:lnTo>
                        <a:lnTo>
                          <a:pt x="1246" y="561"/>
                        </a:lnTo>
                        <a:lnTo>
                          <a:pt x="1251" y="565"/>
                        </a:lnTo>
                        <a:lnTo>
                          <a:pt x="1253" y="567"/>
                        </a:lnTo>
                        <a:lnTo>
                          <a:pt x="1254" y="572"/>
                        </a:lnTo>
                        <a:lnTo>
                          <a:pt x="1256" y="577"/>
                        </a:lnTo>
                        <a:lnTo>
                          <a:pt x="1254" y="581"/>
                        </a:lnTo>
                        <a:lnTo>
                          <a:pt x="1251" y="588"/>
                        </a:lnTo>
                        <a:lnTo>
                          <a:pt x="1251" y="589"/>
                        </a:lnTo>
                        <a:lnTo>
                          <a:pt x="1237" y="603"/>
                        </a:lnTo>
                        <a:lnTo>
                          <a:pt x="1235" y="603"/>
                        </a:lnTo>
                        <a:lnTo>
                          <a:pt x="1232" y="611"/>
                        </a:lnTo>
                        <a:lnTo>
                          <a:pt x="1232" y="613"/>
                        </a:lnTo>
                        <a:lnTo>
                          <a:pt x="1234" y="615"/>
                        </a:lnTo>
                        <a:lnTo>
                          <a:pt x="1234" y="618"/>
                        </a:lnTo>
                        <a:lnTo>
                          <a:pt x="1234" y="626"/>
                        </a:lnTo>
                        <a:lnTo>
                          <a:pt x="1235" y="629"/>
                        </a:lnTo>
                        <a:lnTo>
                          <a:pt x="1238" y="640"/>
                        </a:lnTo>
                        <a:lnTo>
                          <a:pt x="1238" y="643"/>
                        </a:lnTo>
                        <a:lnTo>
                          <a:pt x="1237" y="648"/>
                        </a:lnTo>
                        <a:lnTo>
                          <a:pt x="1235" y="657"/>
                        </a:lnTo>
                        <a:lnTo>
                          <a:pt x="1237" y="673"/>
                        </a:lnTo>
                        <a:lnTo>
                          <a:pt x="1237" y="675"/>
                        </a:lnTo>
                        <a:lnTo>
                          <a:pt x="1237" y="679"/>
                        </a:lnTo>
                        <a:lnTo>
                          <a:pt x="1237" y="691"/>
                        </a:lnTo>
                        <a:lnTo>
                          <a:pt x="1242" y="702"/>
                        </a:lnTo>
                        <a:lnTo>
                          <a:pt x="1242" y="706"/>
                        </a:lnTo>
                        <a:lnTo>
                          <a:pt x="1243" y="708"/>
                        </a:lnTo>
                        <a:lnTo>
                          <a:pt x="1251" y="722"/>
                        </a:lnTo>
                        <a:lnTo>
                          <a:pt x="1253" y="725"/>
                        </a:lnTo>
                        <a:lnTo>
                          <a:pt x="1256" y="735"/>
                        </a:lnTo>
                        <a:lnTo>
                          <a:pt x="1262" y="749"/>
                        </a:lnTo>
                        <a:lnTo>
                          <a:pt x="1262" y="756"/>
                        </a:lnTo>
                        <a:lnTo>
                          <a:pt x="1251" y="776"/>
                        </a:lnTo>
                        <a:lnTo>
                          <a:pt x="1250" y="779"/>
                        </a:lnTo>
                        <a:lnTo>
                          <a:pt x="1250" y="782"/>
                        </a:lnTo>
                        <a:lnTo>
                          <a:pt x="1250" y="784"/>
                        </a:lnTo>
                        <a:lnTo>
                          <a:pt x="1250" y="786"/>
                        </a:lnTo>
                        <a:lnTo>
                          <a:pt x="1250" y="787"/>
                        </a:lnTo>
                        <a:lnTo>
                          <a:pt x="1250" y="789"/>
                        </a:lnTo>
                        <a:lnTo>
                          <a:pt x="1254" y="803"/>
                        </a:lnTo>
                        <a:lnTo>
                          <a:pt x="1254" y="805"/>
                        </a:lnTo>
                        <a:lnTo>
                          <a:pt x="1254" y="806"/>
                        </a:lnTo>
                        <a:lnTo>
                          <a:pt x="1259" y="813"/>
                        </a:lnTo>
                        <a:lnTo>
                          <a:pt x="1261" y="814"/>
                        </a:lnTo>
                        <a:lnTo>
                          <a:pt x="1264" y="817"/>
                        </a:lnTo>
                        <a:lnTo>
                          <a:pt x="1270" y="825"/>
                        </a:lnTo>
                        <a:lnTo>
                          <a:pt x="1272" y="825"/>
                        </a:lnTo>
                        <a:lnTo>
                          <a:pt x="1272" y="828"/>
                        </a:lnTo>
                        <a:lnTo>
                          <a:pt x="1272" y="830"/>
                        </a:lnTo>
                        <a:lnTo>
                          <a:pt x="1272" y="833"/>
                        </a:lnTo>
                        <a:lnTo>
                          <a:pt x="1270" y="835"/>
                        </a:lnTo>
                        <a:lnTo>
                          <a:pt x="1269" y="836"/>
                        </a:lnTo>
                        <a:lnTo>
                          <a:pt x="1264" y="839"/>
                        </a:lnTo>
                        <a:lnTo>
                          <a:pt x="1257" y="844"/>
                        </a:lnTo>
                        <a:lnTo>
                          <a:pt x="1254" y="846"/>
                        </a:lnTo>
                        <a:lnTo>
                          <a:pt x="1251" y="849"/>
                        </a:lnTo>
                        <a:lnTo>
                          <a:pt x="1245" y="860"/>
                        </a:lnTo>
                        <a:lnTo>
                          <a:pt x="1245" y="862"/>
                        </a:lnTo>
                        <a:lnTo>
                          <a:pt x="1243" y="866"/>
                        </a:lnTo>
                        <a:lnTo>
                          <a:pt x="1242" y="871"/>
                        </a:lnTo>
                        <a:lnTo>
                          <a:pt x="1235" y="879"/>
                        </a:lnTo>
                        <a:lnTo>
                          <a:pt x="1234" y="882"/>
                        </a:lnTo>
                        <a:lnTo>
                          <a:pt x="1235" y="885"/>
                        </a:lnTo>
                        <a:lnTo>
                          <a:pt x="1237" y="889"/>
                        </a:lnTo>
                        <a:lnTo>
                          <a:pt x="1237" y="892"/>
                        </a:lnTo>
                        <a:lnTo>
                          <a:pt x="1237" y="893"/>
                        </a:lnTo>
                        <a:lnTo>
                          <a:pt x="1237" y="895"/>
                        </a:lnTo>
                        <a:lnTo>
                          <a:pt x="1235" y="904"/>
                        </a:lnTo>
                        <a:lnTo>
                          <a:pt x="1237" y="909"/>
                        </a:lnTo>
                        <a:lnTo>
                          <a:pt x="1238" y="911"/>
                        </a:lnTo>
                        <a:lnTo>
                          <a:pt x="1240" y="914"/>
                        </a:lnTo>
                        <a:lnTo>
                          <a:pt x="1245" y="916"/>
                        </a:lnTo>
                        <a:lnTo>
                          <a:pt x="1251" y="919"/>
                        </a:lnTo>
                        <a:lnTo>
                          <a:pt x="1256" y="923"/>
                        </a:lnTo>
                        <a:lnTo>
                          <a:pt x="1257" y="933"/>
                        </a:lnTo>
                        <a:lnTo>
                          <a:pt x="1257" y="935"/>
                        </a:lnTo>
                        <a:lnTo>
                          <a:pt x="1257" y="936"/>
                        </a:lnTo>
                        <a:lnTo>
                          <a:pt x="1259" y="939"/>
                        </a:lnTo>
                        <a:lnTo>
                          <a:pt x="1261" y="944"/>
                        </a:lnTo>
                        <a:lnTo>
                          <a:pt x="1259" y="947"/>
                        </a:lnTo>
                        <a:lnTo>
                          <a:pt x="1253" y="955"/>
                        </a:lnTo>
                        <a:lnTo>
                          <a:pt x="1250" y="963"/>
                        </a:lnTo>
                        <a:lnTo>
                          <a:pt x="1246" y="971"/>
                        </a:lnTo>
                        <a:lnTo>
                          <a:pt x="1245" y="979"/>
                        </a:lnTo>
                        <a:lnTo>
                          <a:pt x="1246" y="984"/>
                        </a:lnTo>
                        <a:lnTo>
                          <a:pt x="1250" y="992"/>
                        </a:lnTo>
                        <a:lnTo>
                          <a:pt x="1253" y="996"/>
                        </a:lnTo>
                        <a:lnTo>
                          <a:pt x="1261" y="1003"/>
                        </a:lnTo>
                        <a:lnTo>
                          <a:pt x="1265" y="1006"/>
                        </a:lnTo>
                        <a:lnTo>
                          <a:pt x="1273" y="1012"/>
                        </a:lnTo>
                        <a:lnTo>
                          <a:pt x="1283" y="1015"/>
                        </a:lnTo>
                        <a:lnTo>
                          <a:pt x="1284" y="1017"/>
                        </a:lnTo>
                        <a:lnTo>
                          <a:pt x="1286" y="1017"/>
                        </a:lnTo>
                        <a:lnTo>
                          <a:pt x="1288" y="1020"/>
                        </a:lnTo>
                        <a:lnTo>
                          <a:pt x="1294" y="1026"/>
                        </a:lnTo>
                        <a:lnTo>
                          <a:pt x="1300" y="1033"/>
                        </a:lnTo>
                        <a:lnTo>
                          <a:pt x="1300" y="1034"/>
                        </a:lnTo>
                        <a:lnTo>
                          <a:pt x="1300" y="1037"/>
                        </a:lnTo>
                        <a:lnTo>
                          <a:pt x="1300" y="1039"/>
                        </a:lnTo>
                        <a:lnTo>
                          <a:pt x="1296" y="1041"/>
                        </a:lnTo>
                        <a:lnTo>
                          <a:pt x="1294" y="1042"/>
                        </a:lnTo>
                        <a:lnTo>
                          <a:pt x="1289" y="1047"/>
                        </a:lnTo>
                        <a:lnTo>
                          <a:pt x="1278" y="1061"/>
                        </a:lnTo>
                        <a:lnTo>
                          <a:pt x="1275" y="1068"/>
                        </a:lnTo>
                        <a:lnTo>
                          <a:pt x="1273" y="1069"/>
                        </a:lnTo>
                        <a:lnTo>
                          <a:pt x="1272" y="1071"/>
                        </a:lnTo>
                        <a:lnTo>
                          <a:pt x="1270" y="1074"/>
                        </a:lnTo>
                        <a:lnTo>
                          <a:pt x="1261" y="1087"/>
                        </a:lnTo>
                        <a:lnTo>
                          <a:pt x="1254" y="1091"/>
                        </a:lnTo>
                        <a:lnTo>
                          <a:pt x="1253" y="1091"/>
                        </a:lnTo>
                        <a:lnTo>
                          <a:pt x="1250" y="1091"/>
                        </a:lnTo>
                        <a:lnTo>
                          <a:pt x="1240" y="1087"/>
                        </a:lnTo>
                        <a:lnTo>
                          <a:pt x="1234" y="1080"/>
                        </a:lnTo>
                        <a:lnTo>
                          <a:pt x="1229" y="1077"/>
                        </a:lnTo>
                        <a:lnTo>
                          <a:pt x="1224" y="1072"/>
                        </a:lnTo>
                        <a:lnTo>
                          <a:pt x="1208" y="1055"/>
                        </a:lnTo>
                        <a:lnTo>
                          <a:pt x="1204" y="1049"/>
                        </a:lnTo>
                        <a:lnTo>
                          <a:pt x="1189" y="1037"/>
                        </a:lnTo>
                        <a:lnTo>
                          <a:pt x="1183" y="1030"/>
                        </a:lnTo>
                        <a:lnTo>
                          <a:pt x="1170" y="1012"/>
                        </a:lnTo>
                        <a:lnTo>
                          <a:pt x="1166" y="1006"/>
                        </a:lnTo>
                        <a:lnTo>
                          <a:pt x="1164" y="1003"/>
                        </a:lnTo>
                        <a:lnTo>
                          <a:pt x="1158" y="988"/>
                        </a:lnTo>
                        <a:lnTo>
                          <a:pt x="1155" y="985"/>
                        </a:lnTo>
                        <a:lnTo>
                          <a:pt x="1145" y="965"/>
                        </a:lnTo>
                        <a:lnTo>
                          <a:pt x="1143" y="965"/>
                        </a:lnTo>
                        <a:lnTo>
                          <a:pt x="1139" y="957"/>
                        </a:lnTo>
                        <a:lnTo>
                          <a:pt x="1131" y="941"/>
                        </a:lnTo>
                        <a:lnTo>
                          <a:pt x="1129" y="938"/>
                        </a:lnTo>
                        <a:lnTo>
                          <a:pt x="1128" y="936"/>
                        </a:lnTo>
                        <a:lnTo>
                          <a:pt x="1126" y="933"/>
                        </a:lnTo>
                        <a:lnTo>
                          <a:pt x="1123" y="925"/>
                        </a:lnTo>
                        <a:lnTo>
                          <a:pt x="1120" y="914"/>
                        </a:lnTo>
                        <a:lnTo>
                          <a:pt x="1118" y="911"/>
                        </a:lnTo>
                        <a:lnTo>
                          <a:pt x="1112" y="896"/>
                        </a:lnTo>
                        <a:lnTo>
                          <a:pt x="1105" y="885"/>
                        </a:lnTo>
                        <a:lnTo>
                          <a:pt x="1101" y="881"/>
                        </a:lnTo>
                        <a:lnTo>
                          <a:pt x="1099" y="881"/>
                        </a:lnTo>
                        <a:lnTo>
                          <a:pt x="1098" y="882"/>
                        </a:lnTo>
                        <a:lnTo>
                          <a:pt x="1096" y="884"/>
                        </a:lnTo>
                        <a:lnTo>
                          <a:pt x="1094" y="884"/>
                        </a:lnTo>
                        <a:lnTo>
                          <a:pt x="1083" y="893"/>
                        </a:lnTo>
                        <a:lnTo>
                          <a:pt x="1082" y="895"/>
                        </a:lnTo>
                        <a:lnTo>
                          <a:pt x="1080" y="896"/>
                        </a:lnTo>
                        <a:lnTo>
                          <a:pt x="1072" y="896"/>
                        </a:lnTo>
                        <a:lnTo>
                          <a:pt x="1069" y="893"/>
                        </a:lnTo>
                        <a:lnTo>
                          <a:pt x="1064" y="887"/>
                        </a:lnTo>
                        <a:lnTo>
                          <a:pt x="1061" y="882"/>
                        </a:lnTo>
                        <a:lnTo>
                          <a:pt x="1059" y="881"/>
                        </a:lnTo>
                        <a:lnTo>
                          <a:pt x="1056" y="873"/>
                        </a:lnTo>
                        <a:lnTo>
                          <a:pt x="1055" y="873"/>
                        </a:lnTo>
                        <a:lnTo>
                          <a:pt x="1053" y="870"/>
                        </a:lnTo>
                        <a:lnTo>
                          <a:pt x="1052" y="863"/>
                        </a:lnTo>
                        <a:lnTo>
                          <a:pt x="1050" y="854"/>
                        </a:lnTo>
                        <a:lnTo>
                          <a:pt x="1050" y="852"/>
                        </a:lnTo>
                        <a:lnTo>
                          <a:pt x="1047" y="846"/>
                        </a:lnTo>
                        <a:lnTo>
                          <a:pt x="1042" y="841"/>
                        </a:lnTo>
                        <a:lnTo>
                          <a:pt x="1039" y="832"/>
                        </a:lnTo>
                        <a:lnTo>
                          <a:pt x="1034" y="822"/>
                        </a:lnTo>
                        <a:lnTo>
                          <a:pt x="1033" y="820"/>
                        </a:lnTo>
                        <a:lnTo>
                          <a:pt x="1033" y="819"/>
                        </a:lnTo>
                        <a:lnTo>
                          <a:pt x="1031" y="819"/>
                        </a:lnTo>
                        <a:lnTo>
                          <a:pt x="1029" y="819"/>
                        </a:lnTo>
                        <a:lnTo>
                          <a:pt x="1025" y="817"/>
                        </a:lnTo>
                        <a:lnTo>
                          <a:pt x="1020" y="817"/>
                        </a:lnTo>
                        <a:lnTo>
                          <a:pt x="1007" y="820"/>
                        </a:lnTo>
                        <a:lnTo>
                          <a:pt x="996" y="820"/>
                        </a:lnTo>
                        <a:lnTo>
                          <a:pt x="995" y="819"/>
                        </a:lnTo>
                        <a:lnTo>
                          <a:pt x="990" y="814"/>
                        </a:lnTo>
                        <a:lnTo>
                          <a:pt x="990" y="813"/>
                        </a:lnTo>
                        <a:lnTo>
                          <a:pt x="990" y="811"/>
                        </a:lnTo>
                        <a:lnTo>
                          <a:pt x="990" y="805"/>
                        </a:lnTo>
                        <a:lnTo>
                          <a:pt x="990" y="798"/>
                        </a:lnTo>
                        <a:lnTo>
                          <a:pt x="990" y="794"/>
                        </a:lnTo>
                        <a:lnTo>
                          <a:pt x="990" y="790"/>
                        </a:lnTo>
                        <a:lnTo>
                          <a:pt x="990" y="787"/>
                        </a:lnTo>
                        <a:lnTo>
                          <a:pt x="990" y="778"/>
                        </a:lnTo>
                        <a:lnTo>
                          <a:pt x="991" y="776"/>
                        </a:lnTo>
                        <a:lnTo>
                          <a:pt x="988" y="768"/>
                        </a:lnTo>
                        <a:lnTo>
                          <a:pt x="987" y="768"/>
                        </a:lnTo>
                        <a:lnTo>
                          <a:pt x="985" y="768"/>
                        </a:lnTo>
                        <a:lnTo>
                          <a:pt x="983" y="770"/>
                        </a:lnTo>
                        <a:lnTo>
                          <a:pt x="982" y="770"/>
                        </a:lnTo>
                        <a:lnTo>
                          <a:pt x="980" y="770"/>
                        </a:lnTo>
                        <a:lnTo>
                          <a:pt x="977" y="771"/>
                        </a:lnTo>
                        <a:lnTo>
                          <a:pt x="977" y="776"/>
                        </a:lnTo>
                        <a:lnTo>
                          <a:pt x="976" y="779"/>
                        </a:lnTo>
                        <a:lnTo>
                          <a:pt x="971" y="786"/>
                        </a:lnTo>
                        <a:lnTo>
                          <a:pt x="969" y="786"/>
                        </a:lnTo>
                        <a:lnTo>
                          <a:pt x="964" y="786"/>
                        </a:lnTo>
                        <a:lnTo>
                          <a:pt x="963" y="787"/>
                        </a:lnTo>
                        <a:lnTo>
                          <a:pt x="961" y="787"/>
                        </a:lnTo>
                        <a:lnTo>
                          <a:pt x="961" y="789"/>
                        </a:lnTo>
                        <a:lnTo>
                          <a:pt x="958" y="790"/>
                        </a:lnTo>
                        <a:lnTo>
                          <a:pt x="957" y="795"/>
                        </a:lnTo>
                        <a:lnTo>
                          <a:pt x="953" y="798"/>
                        </a:lnTo>
                        <a:lnTo>
                          <a:pt x="953" y="800"/>
                        </a:lnTo>
                        <a:lnTo>
                          <a:pt x="947" y="801"/>
                        </a:lnTo>
                        <a:lnTo>
                          <a:pt x="947" y="803"/>
                        </a:lnTo>
                        <a:lnTo>
                          <a:pt x="942" y="808"/>
                        </a:lnTo>
                        <a:lnTo>
                          <a:pt x="938" y="814"/>
                        </a:lnTo>
                        <a:lnTo>
                          <a:pt x="936" y="814"/>
                        </a:lnTo>
                        <a:lnTo>
                          <a:pt x="931" y="811"/>
                        </a:lnTo>
                        <a:lnTo>
                          <a:pt x="926" y="814"/>
                        </a:lnTo>
                        <a:lnTo>
                          <a:pt x="925" y="814"/>
                        </a:lnTo>
                        <a:lnTo>
                          <a:pt x="917" y="813"/>
                        </a:lnTo>
                        <a:lnTo>
                          <a:pt x="917" y="814"/>
                        </a:lnTo>
                        <a:lnTo>
                          <a:pt x="915" y="813"/>
                        </a:lnTo>
                        <a:lnTo>
                          <a:pt x="912" y="809"/>
                        </a:lnTo>
                        <a:lnTo>
                          <a:pt x="912" y="806"/>
                        </a:lnTo>
                        <a:lnTo>
                          <a:pt x="917" y="797"/>
                        </a:lnTo>
                        <a:lnTo>
                          <a:pt x="917" y="794"/>
                        </a:lnTo>
                        <a:lnTo>
                          <a:pt x="919" y="792"/>
                        </a:lnTo>
                        <a:lnTo>
                          <a:pt x="919" y="790"/>
                        </a:lnTo>
                        <a:lnTo>
                          <a:pt x="917" y="787"/>
                        </a:lnTo>
                        <a:lnTo>
                          <a:pt x="915" y="784"/>
                        </a:lnTo>
                        <a:lnTo>
                          <a:pt x="914" y="784"/>
                        </a:lnTo>
                        <a:lnTo>
                          <a:pt x="912" y="782"/>
                        </a:lnTo>
                        <a:lnTo>
                          <a:pt x="903" y="787"/>
                        </a:lnTo>
                        <a:lnTo>
                          <a:pt x="900" y="790"/>
                        </a:lnTo>
                        <a:lnTo>
                          <a:pt x="898" y="790"/>
                        </a:lnTo>
                        <a:lnTo>
                          <a:pt x="896" y="790"/>
                        </a:lnTo>
                        <a:lnTo>
                          <a:pt x="893" y="790"/>
                        </a:lnTo>
                        <a:lnTo>
                          <a:pt x="893" y="789"/>
                        </a:lnTo>
                        <a:lnTo>
                          <a:pt x="890" y="786"/>
                        </a:lnTo>
                        <a:lnTo>
                          <a:pt x="884" y="782"/>
                        </a:lnTo>
                        <a:lnTo>
                          <a:pt x="865" y="775"/>
                        </a:lnTo>
                        <a:lnTo>
                          <a:pt x="860" y="775"/>
                        </a:lnTo>
                        <a:lnTo>
                          <a:pt x="855" y="776"/>
                        </a:lnTo>
                        <a:lnTo>
                          <a:pt x="850" y="778"/>
                        </a:lnTo>
                        <a:lnTo>
                          <a:pt x="842" y="776"/>
                        </a:lnTo>
                        <a:lnTo>
                          <a:pt x="825" y="770"/>
                        </a:lnTo>
                        <a:lnTo>
                          <a:pt x="823" y="770"/>
                        </a:lnTo>
                        <a:lnTo>
                          <a:pt x="820" y="770"/>
                        </a:lnTo>
                        <a:lnTo>
                          <a:pt x="814" y="770"/>
                        </a:lnTo>
                        <a:lnTo>
                          <a:pt x="809" y="770"/>
                        </a:lnTo>
                        <a:lnTo>
                          <a:pt x="806" y="770"/>
                        </a:lnTo>
                        <a:lnTo>
                          <a:pt x="800" y="770"/>
                        </a:lnTo>
                        <a:lnTo>
                          <a:pt x="798" y="770"/>
                        </a:lnTo>
                        <a:lnTo>
                          <a:pt x="797" y="770"/>
                        </a:lnTo>
                        <a:lnTo>
                          <a:pt x="787" y="770"/>
                        </a:lnTo>
                        <a:lnTo>
                          <a:pt x="779" y="770"/>
                        </a:lnTo>
                        <a:lnTo>
                          <a:pt x="771" y="768"/>
                        </a:lnTo>
                        <a:lnTo>
                          <a:pt x="763" y="768"/>
                        </a:lnTo>
                        <a:lnTo>
                          <a:pt x="759" y="768"/>
                        </a:lnTo>
                        <a:lnTo>
                          <a:pt x="755" y="770"/>
                        </a:lnTo>
                        <a:lnTo>
                          <a:pt x="752" y="771"/>
                        </a:lnTo>
                        <a:lnTo>
                          <a:pt x="744" y="773"/>
                        </a:lnTo>
                        <a:lnTo>
                          <a:pt x="741" y="773"/>
                        </a:lnTo>
                        <a:lnTo>
                          <a:pt x="740" y="773"/>
                        </a:lnTo>
                        <a:lnTo>
                          <a:pt x="738" y="770"/>
                        </a:lnTo>
                        <a:lnTo>
                          <a:pt x="735" y="767"/>
                        </a:lnTo>
                        <a:lnTo>
                          <a:pt x="727" y="759"/>
                        </a:lnTo>
                        <a:lnTo>
                          <a:pt x="721" y="754"/>
                        </a:lnTo>
                        <a:lnTo>
                          <a:pt x="719" y="752"/>
                        </a:lnTo>
                        <a:lnTo>
                          <a:pt x="716" y="751"/>
                        </a:lnTo>
                        <a:lnTo>
                          <a:pt x="714" y="749"/>
                        </a:lnTo>
                        <a:lnTo>
                          <a:pt x="709" y="751"/>
                        </a:lnTo>
                        <a:lnTo>
                          <a:pt x="706" y="752"/>
                        </a:lnTo>
                        <a:lnTo>
                          <a:pt x="694" y="760"/>
                        </a:lnTo>
                        <a:lnTo>
                          <a:pt x="689" y="760"/>
                        </a:lnTo>
                        <a:lnTo>
                          <a:pt x="686" y="760"/>
                        </a:lnTo>
                        <a:lnTo>
                          <a:pt x="682" y="759"/>
                        </a:lnTo>
                        <a:lnTo>
                          <a:pt x="673" y="759"/>
                        </a:lnTo>
                        <a:lnTo>
                          <a:pt x="671" y="760"/>
                        </a:lnTo>
                        <a:lnTo>
                          <a:pt x="668" y="760"/>
                        </a:lnTo>
                        <a:lnTo>
                          <a:pt x="665" y="760"/>
                        </a:lnTo>
                        <a:lnTo>
                          <a:pt x="662" y="760"/>
                        </a:lnTo>
                        <a:lnTo>
                          <a:pt x="646" y="765"/>
                        </a:lnTo>
                        <a:lnTo>
                          <a:pt x="641" y="767"/>
                        </a:lnTo>
                        <a:lnTo>
                          <a:pt x="633" y="770"/>
                        </a:lnTo>
                        <a:lnTo>
                          <a:pt x="630" y="773"/>
                        </a:lnTo>
                        <a:lnTo>
                          <a:pt x="624" y="778"/>
                        </a:lnTo>
                        <a:lnTo>
                          <a:pt x="611" y="790"/>
                        </a:lnTo>
                        <a:lnTo>
                          <a:pt x="611" y="792"/>
                        </a:lnTo>
                        <a:lnTo>
                          <a:pt x="608" y="792"/>
                        </a:lnTo>
                        <a:lnTo>
                          <a:pt x="594" y="789"/>
                        </a:lnTo>
                        <a:lnTo>
                          <a:pt x="591" y="789"/>
                        </a:lnTo>
                        <a:lnTo>
                          <a:pt x="581" y="789"/>
                        </a:lnTo>
                        <a:lnTo>
                          <a:pt x="576" y="787"/>
                        </a:lnTo>
                        <a:lnTo>
                          <a:pt x="572" y="786"/>
                        </a:lnTo>
                        <a:lnTo>
                          <a:pt x="567" y="786"/>
                        </a:lnTo>
                        <a:lnTo>
                          <a:pt x="565" y="786"/>
                        </a:lnTo>
                        <a:lnTo>
                          <a:pt x="561" y="786"/>
                        </a:lnTo>
                        <a:lnTo>
                          <a:pt x="554" y="784"/>
                        </a:lnTo>
                        <a:lnTo>
                          <a:pt x="551" y="789"/>
                        </a:lnTo>
                        <a:lnTo>
                          <a:pt x="545" y="797"/>
                        </a:lnTo>
                        <a:lnTo>
                          <a:pt x="543" y="798"/>
                        </a:lnTo>
                        <a:lnTo>
                          <a:pt x="538" y="797"/>
                        </a:lnTo>
                        <a:lnTo>
                          <a:pt x="537" y="797"/>
                        </a:lnTo>
                        <a:lnTo>
                          <a:pt x="532" y="803"/>
                        </a:lnTo>
                        <a:lnTo>
                          <a:pt x="527" y="801"/>
                        </a:lnTo>
                        <a:lnTo>
                          <a:pt x="523" y="803"/>
                        </a:lnTo>
                        <a:lnTo>
                          <a:pt x="521" y="803"/>
                        </a:lnTo>
                        <a:lnTo>
                          <a:pt x="519" y="803"/>
                        </a:lnTo>
                        <a:lnTo>
                          <a:pt x="516" y="801"/>
                        </a:lnTo>
                        <a:lnTo>
                          <a:pt x="515" y="801"/>
                        </a:lnTo>
                        <a:lnTo>
                          <a:pt x="511" y="803"/>
                        </a:lnTo>
                        <a:lnTo>
                          <a:pt x="510" y="803"/>
                        </a:lnTo>
                        <a:lnTo>
                          <a:pt x="508" y="805"/>
                        </a:lnTo>
                        <a:lnTo>
                          <a:pt x="508" y="806"/>
                        </a:lnTo>
                        <a:lnTo>
                          <a:pt x="510" y="808"/>
                        </a:lnTo>
                        <a:lnTo>
                          <a:pt x="508" y="808"/>
                        </a:lnTo>
                        <a:lnTo>
                          <a:pt x="507" y="814"/>
                        </a:lnTo>
                        <a:lnTo>
                          <a:pt x="507" y="816"/>
                        </a:lnTo>
                        <a:lnTo>
                          <a:pt x="510" y="819"/>
                        </a:lnTo>
                        <a:lnTo>
                          <a:pt x="508" y="820"/>
                        </a:lnTo>
                        <a:lnTo>
                          <a:pt x="508" y="822"/>
                        </a:lnTo>
                        <a:lnTo>
                          <a:pt x="507" y="825"/>
                        </a:lnTo>
                        <a:lnTo>
                          <a:pt x="505" y="825"/>
                        </a:lnTo>
                        <a:lnTo>
                          <a:pt x="500" y="828"/>
                        </a:lnTo>
                        <a:lnTo>
                          <a:pt x="497" y="828"/>
                        </a:lnTo>
                        <a:lnTo>
                          <a:pt x="494" y="827"/>
                        </a:lnTo>
                        <a:lnTo>
                          <a:pt x="492" y="827"/>
                        </a:lnTo>
                        <a:lnTo>
                          <a:pt x="488" y="824"/>
                        </a:lnTo>
                        <a:lnTo>
                          <a:pt x="484" y="825"/>
                        </a:lnTo>
                        <a:lnTo>
                          <a:pt x="483" y="825"/>
                        </a:lnTo>
                        <a:lnTo>
                          <a:pt x="473" y="825"/>
                        </a:lnTo>
                        <a:lnTo>
                          <a:pt x="473" y="827"/>
                        </a:lnTo>
                        <a:lnTo>
                          <a:pt x="472" y="827"/>
                        </a:lnTo>
                        <a:lnTo>
                          <a:pt x="465" y="835"/>
                        </a:lnTo>
                        <a:lnTo>
                          <a:pt x="467" y="846"/>
                        </a:lnTo>
                        <a:lnTo>
                          <a:pt x="462" y="846"/>
                        </a:lnTo>
                        <a:lnTo>
                          <a:pt x="459" y="846"/>
                        </a:lnTo>
                        <a:lnTo>
                          <a:pt x="454" y="847"/>
                        </a:lnTo>
                        <a:lnTo>
                          <a:pt x="453" y="846"/>
                        </a:lnTo>
                        <a:lnTo>
                          <a:pt x="445" y="844"/>
                        </a:lnTo>
                        <a:lnTo>
                          <a:pt x="442" y="841"/>
                        </a:lnTo>
                        <a:lnTo>
                          <a:pt x="437" y="838"/>
                        </a:lnTo>
                        <a:lnTo>
                          <a:pt x="427" y="835"/>
                        </a:lnTo>
                        <a:lnTo>
                          <a:pt x="426" y="833"/>
                        </a:lnTo>
                        <a:lnTo>
                          <a:pt x="416" y="827"/>
                        </a:lnTo>
                        <a:lnTo>
                          <a:pt x="413" y="827"/>
                        </a:lnTo>
                        <a:lnTo>
                          <a:pt x="412" y="827"/>
                        </a:lnTo>
                        <a:lnTo>
                          <a:pt x="410" y="828"/>
                        </a:lnTo>
                        <a:lnTo>
                          <a:pt x="407" y="830"/>
                        </a:lnTo>
                        <a:lnTo>
                          <a:pt x="407" y="832"/>
                        </a:lnTo>
                        <a:lnTo>
                          <a:pt x="404" y="839"/>
                        </a:lnTo>
                        <a:lnTo>
                          <a:pt x="397" y="843"/>
                        </a:lnTo>
                        <a:lnTo>
                          <a:pt x="394" y="846"/>
                        </a:lnTo>
                        <a:lnTo>
                          <a:pt x="391" y="847"/>
                        </a:lnTo>
                        <a:lnTo>
                          <a:pt x="389" y="847"/>
                        </a:lnTo>
                        <a:lnTo>
                          <a:pt x="389" y="851"/>
                        </a:lnTo>
                        <a:lnTo>
                          <a:pt x="388" y="854"/>
                        </a:lnTo>
                        <a:lnTo>
                          <a:pt x="386" y="857"/>
                        </a:lnTo>
                        <a:lnTo>
                          <a:pt x="383" y="860"/>
                        </a:lnTo>
                        <a:lnTo>
                          <a:pt x="382" y="862"/>
                        </a:lnTo>
                        <a:lnTo>
                          <a:pt x="378" y="863"/>
                        </a:lnTo>
                        <a:lnTo>
                          <a:pt x="364" y="870"/>
                        </a:lnTo>
                        <a:lnTo>
                          <a:pt x="358" y="870"/>
                        </a:lnTo>
                        <a:lnTo>
                          <a:pt x="353" y="870"/>
                        </a:lnTo>
                        <a:lnTo>
                          <a:pt x="350" y="871"/>
                        </a:lnTo>
                        <a:lnTo>
                          <a:pt x="348" y="874"/>
                        </a:lnTo>
                        <a:lnTo>
                          <a:pt x="342" y="874"/>
                        </a:lnTo>
                        <a:lnTo>
                          <a:pt x="340" y="874"/>
                        </a:lnTo>
                        <a:lnTo>
                          <a:pt x="337" y="874"/>
                        </a:lnTo>
                        <a:lnTo>
                          <a:pt x="336" y="874"/>
                        </a:lnTo>
                        <a:lnTo>
                          <a:pt x="334" y="873"/>
                        </a:lnTo>
                        <a:lnTo>
                          <a:pt x="331" y="874"/>
                        </a:lnTo>
                        <a:lnTo>
                          <a:pt x="329" y="874"/>
                        </a:lnTo>
                        <a:lnTo>
                          <a:pt x="328" y="873"/>
                        </a:lnTo>
                        <a:lnTo>
                          <a:pt x="326" y="873"/>
                        </a:lnTo>
                        <a:lnTo>
                          <a:pt x="323" y="881"/>
                        </a:lnTo>
                        <a:lnTo>
                          <a:pt x="321" y="884"/>
                        </a:lnTo>
                        <a:lnTo>
                          <a:pt x="323" y="885"/>
                        </a:lnTo>
                        <a:lnTo>
                          <a:pt x="328" y="885"/>
                        </a:lnTo>
                        <a:lnTo>
                          <a:pt x="329" y="885"/>
                        </a:lnTo>
                        <a:lnTo>
                          <a:pt x="329" y="887"/>
                        </a:lnTo>
                        <a:lnTo>
                          <a:pt x="328" y="889"/>
                        </a:lnTo>
                        <a:lnTo>
                          <a:pt x="326" y="892"/>
                        </a:lnTo>
                        <a:lnTo>
                          <a:pt x="326" y="895"/>
                        </a:lnTo>
                        <a:lnTo>
                          <a:pt x="326" y="900"/>
                        </a:lnTo>
                        <a:lnTo>
                          <a:pt x="324" y="901"/>
                        </a:lnTo>
                        <a:lnTo>
                          <a:pt x="323" y="903"/>
                        </a:lnTo>
                        <a:lnTo>
                          <a:pt x="323" y="906"/>
                        </a:lnTo>
                        <a:lnTo>
                          <a:pt x="323" y="908"/>
                        </a:lnTo>
                        <a:lnTo>
                          <a:pt x="321" y="909"/>
                        </a:lnTo>
                        <a:lnTo>
                          <a:pt x="318" y="912"/>
                        </a:lnTo>
                        <a:lnTo>
                          <a:pt x="318" y="914"/>
                        </a:lnTo>
                        <a:lnTo>
                          <a:pt x="320" y="917"/>
                        </a:lnTo>
                        <a:lnTo>
                          <a:pt x="318" y="923"/>
                        </a:lnTo>
                        <a:lnTo>
                          <a:pt x="317" y="925"/>
                        </a:lnTo>
                        <a:lnTo>
                          <a:pt x="315" y="927"/>
                        </a:lnTo>
                        <a:lnTo>
                          <a:pt x="315" y="930"/>
                        </a:lnTo>
                        <a:lnTo>
                          <a:pt x="317" y="931"/>
                        </a:lnTo>
                        <a:lnTo>
                          <a:pt x="315" y="936"/>
                        </a:lnTo>
                        <a:lnTo>
                          <a:pt x="315" y="939"/>
                        </a:lnTo>
                        <a:lnTo>
                          <a:pt x="315" y="941"/>
                        </a:lnTo>
                        <a:lnTo>
                          <a:pt x="313" y="946"/>
                        </a:lnTo>
                        <a:lnTo>
                          <a:pt x="312" y="950"/>
                        </a:lnTo>
                        <a:lnTo>
                          <a:pt x="309" y="955"/>
                        </a:lnTo>
                        <a:lnTo>
                          <a:pt x="305" y="958"/>
                        </a:lnTo>
                        <a:lnTo>
                          <a:pt x="305" y="960"/>
                        </a:lnTo>
                        <a:lnTo>
                          <a:pt x="301" y="965"/>
                        </a:lnTo>
                        <a:lnTo>
                          <a:pt x="296" y="969"/>
                        </a:lnTo>
                        <a:lnTo>
                          <a:pt x="285" y="961"/>
                        </a:lnTo>
                        <a:lnTo>
                          <a:pt x="279" y="955"/>
                        </a:lnTo>
                        <a:lnTo>
                          <a:pt x="277" y="954"/>
                        </a:lnTo>
                        <a:lnTo>
                          <a:pt x="271" y="954"/>
                        </a:lnTo>
                        <a:lnTo>
                          <a:pt x="269" y="954"/>
                        </a:lnTo>
                        <a:lnTo>
                          <a:pt x="266" y="955"/>
                        </a:lnTo>
                        <a:lnTo>
                          <a:pt x="264" y="957"/>
                        </a:lnTo>
                        <a:lnTo>
                          <a:pt x="264" y="958"/>
                        </a:lnTo>
                        <a:lnTo>
                          <a:pt x="263" y="961"/>
                        </a:lnTo>
                        <a:lnTo>
                          <a:pt x="263" y="963"/>
                        </a:lnTo>
                        <a:lnTo>
                          <a:pt x="264" y="966"/>
                        </a:lnTo>
                        <a:lnTo>
                          <a:pt x="264" y="968"/>
                        </a:lnTo>
                        <a:lnTo>
                          <a:pt x="263" y="971"/>
                        </a:lnTo>
                        <a:lnTo>
                          <a:pt x="261" y="973"/>
                        </a:lnTo>
                        <a:lnTo>
                          <a:pt x="258" y="973"/>
                        </a:lnTo>
                        <a:lnTo>
                          <a:pt x="253" y="973"/>
                        </a:lnTo>
                        <a:lnTo>
                          <a:pt x="252" y="973"/>
                        </a:lnTo>
                        <a:lnTo>
                          <a:pt x="250" y="971"/>
                        </a:lnTo>
                        <a:lnTo>
                          <a:pt x="244" y="966"/>
                        </a:lnTo>
                        <a:lnTo>
                          <a:pt x="242" y="961"/>
                        </a:lnTo>
                        <a:lnTo>
                          <a:pt x="241" y="957"/>
                        </a:lnTo>
                        <a:lnTo>
                          <a:pt x="236" y="941"/>
                        </a:lnTo>
                        <a:lnTo>
                          <a:pt x="234" y="938"/>
                        </a:lnTo>
                        <a:lnTo>
                          <a:pt x="233" y="936"/>
                        </a:lnTo>
                        <a:lnTo>
                          <a:pt x="231" y="935"/>
                        </a:lnTo>
                        <a:lnTo>
                          <a:pt x="229" y="933"/>
                        </a:lnTo>
                        <a:lnTo>
                          <a:pt x="226" y="931"/>
                        </a:lnTo>
                        <a:lnTo>
                          <a:pt x="225" y="931"/>
                        </a:lnTo>
                        <a:lnTo>
                          <a:pt x="223" y="931"/>
                        </a:lnTo>
                        <a:lnTo>
                          <a:pt x="222" y="931"/>
                        </a:lnTo>
                        <a:lnTo>
                          <a:pt x="215" y="935"/>
                        </a:lnTo>
                        <a:lnTo>
                          <a:pt x="210" y="936"/>
                        </a:lnTo>
                        <a:lnTo>
                          <a:pt x="206" y="936"/>
                        </a:lnTo>
                        <a:lnTo>
                          <a:pt x="201" y="938"/>
                        </a:lnTo>
                        <a:lnTo>
                          <a:pt x="199" y="938"/>
                        </a:lnTo>
                        <a:lnTo>
                          <a:pt x="188" y="938"/>
                        </a:lnTo>
                        <a:lnTo>
                          <a:pt x="185" y="939"/>
                        </a:lnTo>
                        <a:lnTo>
                          <a:pt x="184" y="941"/>
                        </a:lnTo>
                        <a:lnTo>
                          <a:pt x="180" y="941"/>
                        </a:lnTo>
                        <a:lnTo>
                          <a:pt x="179" y="939"/>
                        </a:lnTo>
                        <a:lnTo>
                          <a:pt x="176" y="935"/>
                        </a:lnTo>
                        <a:lnTo>
                          <a:pt x="174" y="933"/>
                        </a:lnTo>
                        <a:lnTo>
                          <a:pt x="172" y="927"/>
                        </a:lnTo>
                        <a:lnTo>
                          <a:pt x="172" y="925"/>
                        </a:lnTo>
                        <a:lnTo>
                          <a:pt x="171" y="923"/>
                        </a:lnTo>
                        <a:lnTo>
                          <a:pt x="172" y="920"/>
                        </a:lnTo>
                        <a:lnTo>
                          <a:pt x="171" y="917"/>
                        </a:lnTo>
                        <a:lnTo>
                          <a:pt x="171" y="916"/>
                        </a:lnTo>
                        <a:lnTo>
                          <a:pt x="171" y="909"/>
                        </a:lnTo>
                        <a:lnTo>
                          <a:pt x="171" y="904"/>
                        </a:lnTo>
                        <a:lnTo>
                          <a:pt x="179" y="898"/>
                        </a:lnTo>
                        <a:lnTo>
                          <a:pt x="180" y="895"/>
                        </a:lnTo>
                        <a:lnTo>
                          <a:pt x="180" y="892"/>
                        </a:lnTo>
                        <a:lnTo>
                          <a:pt x="182" y="887"/>
                        </a:lnTo>
                        <a:lnTo>
                          <a:pt x="180" y="884"/>
                        </a:lnTo>
                        <a:lnTo>
                          <a:pt x="179" y="882"/>
                        </a:lnTo>
                        <a:lnTo>
                          <a:pt x="172" y="879"/>
                        </a:lnTo>
                        <a:lnTo>
                          <a:pt x="171" y="879"/>
                        </a:lnTo>
                        <a:lnTo>
                          <a:pt x="169" y="879"/>
                        </a:lnTo>
                        <a:lnTo>
                          <a:pt x="152" y="879"/>
                        </a:lnTo>
                        <a:lnTo>
                          <a:pt x="149" y="882"/>
                        </a:lnTo>
                        <a:lnTo>
                          <a:pt x="147" y="884"/>
                        </a:lnTo>
                        <a:lnTo>
                          <a:pt x="147" y="885"/>
                        </a:lnTo>
                        <a:lnTo>
                          <a:pt x="149" y="887"/>
                        </a:lnTo>
                        <a:lnTo>
                          <a:pt x="152" y="892"/>
                        </a:lnTo>
                        <a:lnTo>
                          <a:pt x="157" y="893"/>
                        </a:lnTo>
                        <a:lnTo>
                          <a:pt x="157" y="895"/>
                        </a:lnTo>
                        <a:lnTo>
                          <a:pt x="157" y="896"/>
                        </a:lnTo>
                        <a:lnTo>
                          <a:pt x="157" y="898"/>
                        </a:lnTo>
                        <a:lnTo>
                          <a:pt x="155" y="900"/>
                        </a:lnTo>
                        <a:lnTo>
                          <a:pt x="150" y="908"/>
                        </a:lnTo>
                        <a:lnTo>
                          <a:pt x="146" y="914"/>
                        </a:lnTo>
                        <a:lnTo>
                          <a:pt x="141" y="916"/>
                        </a:lnTo>
                        <a:lnTo>
                          <a:pt x="136" y="916"/>
                        </a:lnTo>
                        <a:lnTo>
                          <a:pt x="134" y="914"/>
                        </a:lnTo>
                        <a:lnTo>
                          <a:pt x="133" y="914"/>
                        </a:lnTo>
                        <a:lnTo>
                          <a:pt x="130" y="912"/>
                        </a:lnTo>
                        <a:lnTo>
                          <a:pt x="130" y="911"/>
                        </a:lnTo>
                        <a:lnTo>
                          <a:pt x="130" y="909"/>
                        </a:lnTo>
                        <a:lnTo>
                          <a:pt x="128" y="908"/>
                        </a:lnTo>
                        <a:lnTo>
                          <a:pt x="128" y="906"/>
                        </a:lnTo>
                        <a:lnTo>
                          <a:pt x="126" y="904"/>
                        </a:lnTo>
                        <a:lnTo>
                          <a:pt x="125" y="903"/>
                        </a:lnTo>
                        <a:lnTo>
                          <a:pt x="123" y="903"/>
                        </a:lnTo>
                        <a:lnTo>
                          <a:pt x="123" y="901"/>
                        </a:lnTo>
                        <a:lnTo>
                          <a:pt x="122" y="898"/>
                        </a:lnTo>
                        <a:lnTo>
                          <a:pt x="117" y="898"/>
                        </a:lnTo>
                        <a:lnTo>
                          <a:pt x="115" y="896"/>
                        </a:lnTo>
                        <a:lnTo>
                          <a:pt x="114" y="895"/>
                        </a:lnTo>
                        <a:lnTo>
                          <a:pt x="112" y="893"/>
                        </a:lnTo>
                        <a:lnTo>
                          <a:pt x="111" y="895"/>
                        </a:lnTo>
                        <a:lnTo>
                          <a:pt x="112" y="900"/>
                        </a:lnTo>
                        <a:lnTo>
                          <a:pt x="109" y="901"/>
                        </a:lnTo>
                        <a:lnTo>
                          <a:pt x="107" y="906"/>
                        </a:lnTo>
                        <a:lnTo>
                          <a:pt x="106" y="906"/>
                        </a:lnTo>
                        <a:lnTo>
                          <a:pt x="106" y="908"/>
                        </a:lnTo>
                        <a:lnTo>
                          <a:pt x="104" y="906"/>
                        </a:lnTo>
                        <a:lnTo>
                          <a:pt x="101" y="904"/>
                        </a:lnTo>
                        <a:lnTo>
                          <a:pt x="96" y="903"/>
                        </a:lnTo>
                        <a:lnTo>
                          <a:pt x="93" y="900"/>
                        </a:lnTo>
                        <a:lnTo>
                          <a:pt x="90" y="900"/>
                        </a:lnTo>
                        <a:lnTo>
                          <a:pt x="88" y="901"/>
                        </a:lnTo>
                        <a:lnTo>
                          <a:pt x="87" y="903"/>
                        </a:lnTo>
                        <a:lnTo>
                          <a:pt x="87" y="904"/>
                        </a:lnTo>
                        <a:lnTo>
                          <a:pt x="87" y="908"/>
                        </a:lnTo>
                        <a:lnTo>
                          <a:pt x="87" y="909"/>
                        </a:lnTo>
                        <a:lnTo>
                          <a:pt x="82" y="916"/>
                        </a:lnTo>
                        <a:lnTo>
                          <a:pt x="81" y="916"/>
                        </a:lnTo>
                        <a:lnTo>
                          <a:pt x="77" y="914"/>
                        </a:lnTo>
                        <a:lnTo>
                          <a:pt x="76" y="916"/>
                        </a:lnTo>
                        <a:lnTo>
                          <a:pt x="76" y="919"/>
                        </a:lnTo>
                        <a:lnTo>
                          <a:pt x="73" y="920"/>
                        </a:lnTo>
                        <a:lnTo>
                          <a:pt x="71" y="922"/>
                        </a:lnTo>
                        <a:lnTo>
                          <a:pt x="66" y="922"/>
                        </a:lnTo>
                        <a:lnTo>
                          <a:pt x="65" y="922"/>
                        </a:lnTo>
                        <a:lnTo>
                          <a:pt x="65" y="920"/>
                        </a:lnTo>
                        <a:lnTo>
                          <a:pt x="65" y="916"/>
                        </a:lnTo>
                        <a:lnTo>
                          <a:pt x="62" y="916"/>
                        </a:lnTo>
                        <a:lnTo>
                          <a:pt x="60" y="916"/>
                        </a:lnTo>
                        <a:lnTo>
                          <a:pt x="57" y="916"/>
                        </a:lnTo>
                        <a:lnTo>
                          <a:pt x="54" y="911"/>
                        </a:lnTo>
                        <a:lnTo>
                          <a:pt x="49" y="898"/>
                        </a:lnTo>
                        <a:lnTo>
                          <a:pt x="46" y="895"/>
                        </a:lnTo>
                        <a:lnTo>
                          <a:pt x="44" y="890"/>
                        </a:lnTo>
                        <a:lnTo>
                          <a:pt x="39" y="887"/>
                        </a:lnTo>
                        <a:lnTo>
                          <a:pt x="39" y="885"/>
                        </a:lnTo>
                        <a:lnTo>
                          <a:pt x="38" y="882"/>
                        </a:lnTo>
                        <a:lnTo>
                          <a:pt x="38" y="879"/>
                        </a:lnTo>
                        <a:lnTo>
                          <a:pt x="36" y="877"/>
                        </a:lnTo>
                        <a:lnTo>
                          <a:pt x="33" y="876"/>
                        </a:lnTo>
                        <a:lnTo>
                          <a:pt x="31" y="876"/>
                        </a:lnTo>
                        <a:lnTo>
                          <a:pt x="25" y="874"/>
                        </a:lnTo>
                        <a:lnTo>
                          <a:pt x="17" y="874"/>
                        </a:lnTo>
                        <a:lnTo>
                          <a:pt x="17" y="877"/>
                        </a:lnTo>
                        <a:lnTo>
                          <a:pt x="17" y="882"/>
                        </a:lnTo>
                        <a:lnTo>
                          <a:pt x="17" y="885"/>
                        </a:lnTo>
                        <a:lnTo>
                          <a:pt x="14" y="885"/>
                        </a:lnTo>
                        <a:lnTo>
                          <a:pt x="11" y="884"/>
                        </a:lnTo>
                        <a:lnTo>
                          <a:pt x="9" y="882"/>
                        </a:lnTo>
                        <a:lnTo>
                          <a:pt x="9" y="874"/>
                        </a:lnTo>
                        <a:lnTo>
                          <a:pt x="6" y="873"/>
                        </a:lnTo>
                        <a:lnTo>
                          <a:pt x="3" y="873"/>
                        </a:lnTo>
                        <a:lnTo>
                          <a:pt x="0" y="874"/>
                        </a:lnTo>
                        <a:lnTo>
                          <a:pt x="0" y="873"/>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35" name="Freeform 34"/>
                  <p:cNvSpPr>
                    <a:spLocks/>
                  </p:cNvSpPr>
                  <p:nvPr/>
                </p:nvSpPr>
                <p:spPr bwMode="auto">
                  <a:xfrm>
                    <a:off x="1637" y="1707"/>
                    <a:ext cx="863" cy="2210"/>
                  </a:xfrm>
                  <a:custGeom>
                    <a:avLst/>
                    <a:gdLst>
                      <a:gd name="T0" fmla="*/ 447 w 863"/>
                      <a:gd name="T1" fmla="*/ 2176 h 2210"/>
                      <a:gd name="T2" fmla="*/ 424 w 863"/>
                      <a:gd name="T3" fmla="*/ 2145 h 2210"/>
                      <a:gd name="T4" fmla="*/ 361 w 863"/>
                      <a:gd name="T5" fmla="*/ 2135 h 2210"/>
                      <a:gd name="T6" fmla="*/ 344 w 863"/>
                      <a:gd name="T7" fmla="*/ 2104 h 2210"/>
                      <a:gd name="T8" fmla="*/ 336 w 863"/>
                      <a:gd name="T9" fmla="*/ 2075 h 2210"/>
                      <a:gd name="T10" fmla="*/ 336 w 863"/>
                      <a:gd name="T11" fmla="*/ 2034 h 2210"/>
                      <a:gd name="T12" fmla="*/ 307 w 863"/>
                      <a:gd name="T13" fmla="*/ 2012 h 2210"/>
                      <a:gd name="T14" fmla="*/ 282 w 863"/>
                      <a:gd name="T15" fmla="*/ 2010 h 2210"/>
                      <a:gd name="T16" fmla="*/ 274 w 863"/>
                      <a:gd name="T17" fmla="*/ 1985 h 2210"/>
                      <a:gd name="T18" fmla="*/ 271 w 863"/>
                      <a:gd name="T19" fmla="*/ 1959 h 2210"/>
                      <a:gd name="T20" fmla="*/ 263 w 863"/>
                      <a:gd name="T21" fmla="*/ 1934 h 2210"/>
                      <a:gd name="T22" fmla="*/ 253 w 863"/>
                      <a:gd name="T23" fmla="*/ 1899 h 2210"/>
                      <a:gd name="T24" fmla="*/ 228 w 863"/>
                      <a:gd name="T25" fmla="*/ 1882 h 2210"/>
                      <a:gd name="T26" fmla="*/ 171 w 863"/>
                      <a:gd name="T27" fmla="*/ 1866 h 2210"/>
                      <a:gd name="T28" fmla="*/ 130 w 863"/>
                      <a:gd name="T29" fmla="*/ 1866 h 2210"/>
                      <a:gd name="T30" fmla="*/ 103 w 863"/>
                      <a:gd name="T31" fmla="*/ 1871 h 2210"/>
                      <a:gd name="T32" fmla="*/ 55 w 863"/>
                      <a:gd name="T33" fmla="*/ 1861 h 2210"/>
                      <a:gd name="T34" fmla="*/ 32 w 863"/>
                      <a:gd name="T35" fmla="*/ 1836 h 2210"/>
                      <a:gd name="T36" fmla="*/ 1 w 863"/>
                      <a:gd name="T37" fmla="*/ 1796 h 2210"/>
                      <a:gd name="T38" fmla="*/ 12 w 863"/>
                      <a:gd name="T39" fmla="*/ 1758 h 2210"/>
                      <a:gd name="T40" fmla="*/ 32 w 863"/>
                      <a:gd name="T41" fmla="*/ 1689 h 2210"/>
                      <a:gd name="T42" fmla="*/ 32 w 863"/>
                      <a:gd name="T43" fmla="*/ 1590 h 2210"/>
                      <a:gd name="T44" fmla="*/ 57 w 863"/>
                      <a:gd name="T45" fmla="*/ 1544 h 2210"/>
                      <a:gd name="T46" fmla="*/ 19 w 863"/>
                      <a:gd name="T47" fmla="*/ 1462 h 2210"/>
                      <a:gd name="T48" fmla="*/ 28 w 863"/>
                      <a:gd name="T49" fmla="*/ 1396 h 2210"/>
                      <a:gd name="T50" fmla="*/ 114 w 863"/>
                      <a:gd name="T51" fmla="*/ 1337 h 2210"/>
                      <a:gd name="T52" fmla="*/ 155 w 863"/>
                      <a:gd name="T53" fmla="*/ 1267 h 2210"/>
                      <a:gd name="T54" fmla="*/ 195 w 863"/>
                      <a:gd name="T55" fmla="*/ 1182 h 2210"/>
                      <a:gd name="T56" fmla="*/ 187 w 863"/>
                      <a:gd name="T57" fmla="*/ 1128 h 2210"/>
                      <a:gd name="T58" fmla="*/ 171 w 863"/>
                      <a:gd name="T59" fmla="*/ 1071 h 2210"/>
                      <a:gd name="T60" fmla="*/ 152 w 863"/>
                      <a:gd name="T61" fmla="*/ 1020 h 2210"/>
                      <a:gd name="T62" fmla="*/ 150 w 863"/>
                      <a:gd name="T63" fmla="*/ 973 h 2210"/>
                      <a:gd name="T64" fmla="*/ 111 w 863"/>
                      <a:gd name="T65" fmla="*/ 950 h 2210"/>
                      <a:gd name="T66" fmla="*/ 76 w 863"/>
                      <a:gd name="T67" fmla="*/ 943 h 2210"/>
                      <a:gd name="T68" fmla="*/ 89 w 863"/>
                      <a:gd name="T69" fmla="*/ 928 h 2210"/>
                      <a:gd name="T70" fmla="*/ 131 w 863"/>
                      <a:gd name="T71" fmla="*/ 922 h 2210"/>
                      <a:gd name="T72" fmla="*/ 157 w 863"/>
                      <a:gd name="T73" fmla="*/ 925 h 2210"/>
                      <a:gd name="T74" fmla="*/ 188 w 863"/>
                      <a:gd name="T75" fmla="*/ 892 h 2210"/>
                      <a:gd name="T76" fmla="*/ 222 w 863"/>
                      <a:gd name="T77" fmla="*/ 860 h 2210"/>
                      <a:gd name="T78" fmla="*/ 263 w 863"/>
                      <a:gd name="T79" fmla="*/ 846 h 2210"/>
                      <a:gd name="T80" fmla="*/ 309 w 863"/>
                      <a:gd name="T81" fmla="*/ 838 h 2210"/>
                      <a:gd name="T82" fmla="*/ 355 w 863"/>
                      <a:gd name="T83" fmla="*/ 827 h 2210"/>
                      <a:gd name="T84" fmla="*/ 420 w 863"/>
                      <a:gd name="T85" fmla="*/ 817 h 2210"/>
                      <a:gd name="T86" fmla="*/ 483 w 863"/>
                      <a:gd name="T87" fmla="*/ 828 h 2210"/>
                      <a:gd name="T88" fmla="*/ 534 w 863"/>
                      <a:gd name="T89" fmla="*/ 790 h 2210"/>
                      <a:gd name="T90" fmla="*/ 565 w 863"/>
                      <a:gd name="T91" fmla="*/ 751 h 2210"/>
                      <a:gd name="T92" fmla="*/ 572 w 863"/>
                      <a:gd name="T93" fmla="*/ 716 h 2210"/>
                      <a:gd name="T94" fmla="*/ 630 w 863"/>
                      <a:gd name="T95" fmla="*/ 656 h 2210"/>
                      <a:gd name="T96" fmla="*/ 670 w 863"/>
                      <a:gd name="T97" fmla="*/ 624 h 2210"/>
                      <a:gd name="T98" fmla="*/ 675 w 863"/>
                      <a:gd name="T99" fmla="*/ 524 h 2210"/>
                      <a:gd name="T100" fmla="*/ 664 w 863"/>
                      <a:gd name="T101" fmla="*/ 450 h 2210"/>
                      <a:gd name="T102" fmla="*/ 637 w 863"/>
                      <a:gd name="T103" fmla="*/ 385 h 2210"/>
                      <a:gd name="T104" fmla="*/ 700 w 863"/>
                      <a:gd name="T105" fmla="*/ 377 h 2210"/>
                      <a:gd name="T106" fmla="*/ 776 w 863"/>
                      <a:gd name="T107" fmla="*/ 383 h 2210"/>
                      <a:gd name="T108" fmla="*/ 790 w 863"/>
                      <a:gd name="T109" fmla="*/ 276 h 2210"/>
                      <a:gd name="T110" fmla="*/ 762 w 863"/>
                      <a:gd name="T111" fmla="*/ 206 h 2210"/>
                      <a:gd name="T112" fmla="*/ 722 w 863"/>
                      <a:gd name="T113" fmla="*/ 122 h 2210"/>
                      <a:gd name="T114" fmla="*/ 786 w 863"/>
                      <a:gd name="T115" fmla="*/ 95 h 2210"/>
                      <a:gd name="T116" fmla="*/ 798 w 863"/>
                      <a:gd name="T117" fmla="*/ 52 h 2210"/>
                      <a:gd name="T118" fmla="*/ 849 w 863"/>
                      <a:gd name="T119" fmla="*/ 22 h 2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63" h="2210">
                        <a:moveTo>
                          <a:pt x="442" y="2210"/>
                        </a:moveTo>
                        <a:lnTo>
                          <a:pt x="443" y="2205"/>
                        </a:lnTo>
                        <a:lnTo>
                          <a:pt x="442" y="2202"/>
                        </a:lnTo>
                        <a:lnTo>
                          <a:pt x="440" y="2202"/>
                        </a:lnTo>
                        <a:lnTo>
                          <a:pt x="439" y="2203"/>
                        </a:lnTo>
                        <a:lnTo>
                          <a:pt x="437" y="2203"/>
                        </a:lnTo>
                        <a:lnTo>
                          <a:pt x="435" y="2203"/>
                        </a:lnTo>
                        <a:lnTo>
                          <a:pt x="431" y="2192"/>
                        </a:lnTo>
                        <a:lnTo>
                          <a:pt x="432" y="2192"/>
                        </a:lnTo>
                        <a:lnTo>
                          <a:pt x="437" y="2192"/>
                        </a:lnTo>
                        <a:lnTo>
                          <a:pt x="443" y="2194"/>
                        </a:lnTo>
                        <a:lnTo>
                          <a:pt x="448" y="2194"/>
                        </a:lnTo>
                        <a:lnTo>
                          <a:pt x="450" y="2192"/>
                        </a:lnTo>
                        <a:lnTo>
                          <a:pt x="450" y="2191"/>
                        </a:lnTo>
                        <a:lnTo>
                          <a:pt x="447" y="2188"/>
                        </a:lnTo>
                        <a:lnTo>
                          <a:pt x="445" y="2183"/>
                        </a:lnTo>
                        <a:lnTo>
                          <a:pt x="447" y="2176"/>
                        </a:lnTo>
                        <a:lnTo>
                          <a:pt x="447" y="2175"/>
                        </a:lnTo>
                        <a:lnTo>
                          <a:pt x="445" y="2172"/>
                        </a:lnTo>
                        <a:lnTo>
                          <a:pt x="447" y="2169"/>
                        </a:lnTo>
                        <a:lnTo>
                          <a:pt x="450" y="2165"/>
                        </a:lnTo>
                        <a:lnTo>
                          <a:pt x="450" y="2164"/>
                        </a:lnTo>
                        <a:lnTo>
                          <a:pt x="450" y="2162"/>
                        </a:lnTo>
                        <a:lnTo>
                          <a:pt x="448" y="2162"/>
                        </a:lnTo>
                        <a:lnTo>
                          <a:pt x="445" y="2161"/>
                        </a:lnTo>
                        <a:lnTo>
                          <a:pt x="440" y="2156"/>
                        </a:lnTo>
                        <a:lnTo>
                          <a:pt x="437" y="2156"/>
                        </a:lnTo>
                        <a:lnTo>
                          <a:pt x="434" y="2157"/>
                        </a:lnTo>
                        <a:lnTo>
                          <a:pt x="431" y="2157"/>
                        </a:lnTo>
                        <a:lnTo>
                          <a:pt x="429" y="2157"/>
                        </a:lnTo>
                        <a:lnTo>
                          <a:pt x="428" y="2154"/>
                        </a:lnTo>
                        <a:lnTo>
                          <a:pt x="424" y="2151"/>
                        </a:lnTo>
                        <a:lnTo>
                          <a:pt x="424" y="2148"/>
                        </a:lnTo>
                        <a:lnTo>
                          <a:pt x="424" y="2145"/>
                        </a:lnTo>
                        <a:lnTo>
                          <a:pt x="423" y="2145"/>
                        </a:lnTo>
                        <a:lnTo>
                          <a:pt x="423" y="2143"/>
                        </a:lnTo>
                        <a:lnTo>
                          <a:pt x="413" y="2142"/>
                        </a:lnTo>
                        <a:lnTo>
                          <a:pt x="410" y="2143"/>
                        </a:lnTo>
                        <a:lnTo>
                          <a:pt x="407" y="2143"/>
                        </a:lnTo>
                        <a:lnTo>
                          <a:pt x="402" y="2138"/>
                        </a:lnTo>
                        <a:lnTo>
                          <a:pt x="393" y="2140"/>
                        </a:lnTo>
                        <a:lnTo>
                          <a:pt x="391" y="2137"/>
                        </a:lnTo>
                        <a:lnTo>
                          <a:pt x="389" y="2135"/>
                        </a:lnTo>
                        <a:lnTo>
                          <a:pt x="385" y="2135"/>
                        </a:lnTo>
                        <a:lnTo>
                          <a:pt x="377" y="2129"/>
                        </a:lnTo>
                        <a:lnTo>
                          <a:pt x="372" y="2126"/>
                        </a:lnTo>
                        <a:lnTo>
                          <a:pt x="369" y="2126"/>
                        </a:lnTo>
                        <a:lnTo>
                          <a:pt x="366" y="2129"/>
                        </a:lnTo>
                        <a:lnTo>
                          <a:pt x="363" y="2131"/>
                        </a:lnTo>
                        <a:lnTo>
                          <a:pt x="361" y="2132"/>
                        </a:lnTo>
                        <a:lnTo>
                          <a:pt x="361" y="2135"/>
                        </a:lnTo>
                        <a:lnTo>
                          <a:pt x="361" y="2137"/>
                        </a:lnTo>
                        <a:lnTo>
                          <a:pt x="359" y="2138"/>
                        </a:lnTo>
                        <a:lnTo>
                          <a:pt x="358" y="2138"/>
                        </a:lnTo>
                        <a:lnTo>
                          <a:pt x="356" y="2137"/>
                        </a:lnTo>
                        <a:lnTo>
                          <a:pt x="355" y="2134"/>
                        </a:lnTo>
                        <a:lnTo>
                          <a:pt x="347" y="2132"/>
                        </a:lnTo>
                        <a:lnTo>
                          <a:pt x="344" y="2131"/>
                        </a:lnTo>
                        <a:lnTo>
                          <a:pt x="339" y="2126"/>
                        </a:lnTo>
                        <a:lnTo>
                          <a:pt x="339" y="2124"/>
                        </a:lnTo>
                        <a:lnTo>
                          <a:pt x="336" y="2119"/>
                        </a:lnTo>
                        <a:lnTo>
                          <a:pt x="336" y="2118"/>
                        </a:lnTo>
                        <a:lnTo>
                          <a:pt x="336" y="2116"/>
                        </a:lnTo>
                        <a:lnTo>
                          <a:pt x="336" y="2115"/>
                        </a:lnTo>
                        <a:lnTo>
                          <a:pt x="340" y="2113"/>
                        </a:lnTo>
                        <a:lnTo>
                          <a:pt x="342" y="2108"/>
                        </a:lnTo>
                        <a:lnTo>
                          <a:pt x="344" y="2107"/>
                        </a:lnTo>
                        <a:lnTo>
                          <a:pt x="344" y="2104"/>
                        </a:lnTo>
                        <a:lnTo>
                          <a:pt x="342" y="2102"/>
                        </a:lnTo>
                        <a:lnTo>
                          <a:pt x="340" y="2097"/>
                        </a:lnTo>
                        <a:lnTo>
                          <a:pt x="342" y="2096"/>
                        </a:lnTo>
                        <a:lnTo>
                          <a:pt x="342" y="2094"/>
                        </a:lnTo>
                        <a:lnTo>
                          <a:pt x="345" y="2094"/>
                        </a:lnTo>
                        <a:lnTo>
                          <a:pt x="350" y="2093"/>
                        </a:lnTo>
                        <a:lnTo>
                          <a:pt x="351" y="2091"/>
                        </a:lnTo>
                        <a:lnTo>
                          <a:pt x="351" y="2089"/>
                        </a:lnTo>
                        <a:lnTo>
                          <a:pt x="350" y="2088"/>
                        </a:lnTo>
                        <a:lnTo>
                          <a:pt x="344" y="2085"/>
                        </a:lnTo>
                        <a:lnTo>
                          <a:pt x="342" y="2085"/>
                        </a:lnTo>
                        <a:lnTo>
                          <a:pt x="342" y="2083"/>
                        </a:lnTo>
                        <a:lnTo>
                          <a:pt x="342" y="2081"/>
                        </a:lnTo>
                        <a:lnTo>
                          <a:pt x="342" y="2078"/>
                        </a:lnTo>
                        <a:lnTo>
                          <a:pt x="340" y="2077"/>
                        </a:lnTo>
                        <a:lnTo>
                          <a:pt x="339" y="2077"/>
                        </a:lnTo>
                        <a:lnTo>
                          <a:pt x="336" y="2075"/>
                        </a:lnTo>
                        <a:lnTo>
                          <a:pt x="329" y="2072"/>
                        </a:lnTo>
                        <a:lnTo>
                          <a:pt x="326" y="2070"/>
                        </a:lnTo>
                        <a:lnTo>
                          <a:pt x="326" y="2062"/>
                        </a:lnTo>
                        <a:lnTo>
                          <a:pt x="326" y="2059"/>
                        </a:lnTo>
                        <a:lnTo>
                          <a:pt x="325" y="2056"/>
                        </a:lnTo>
                        <a:lnTo>
                          <a:pt x="326" y="2053"/>
                        </a:lnTo>
                        <a:lnTo>
                          <a:pt x="328" y="2053"/>
                        </a:lnTo>
                        <a:lnTo>
                          <a:pt x="334" y="2054"/>
                        </a:lnTo>
                        <a:lnTo>
                          <a:pt x="340" y="2058"/>
                        </a:lnTo>
                        <a:lnTo>
                          <a:pt x="340" y="2054"/>
                        </a:lnTo>
                        <a:lnTo>
                          <a:pt x="339" y="2051"/>
                        </a:lnTo>
                        <a:lnTo>
                          <a:pt x="342" y="2047"/>
                        </a:lnTo>
                        <a:lnTo>
                          <a:pt x="342" y="2045"/>
                        </a:lnTo>
                        <a:lnTo>
                          <a:pt x="337" y="2042"/>
                        </a:lnTo>
                        <a:lnTo>
                          <a:pt x="337" y="2039"/>
                        </a:lnTo>
                        <a:lnTo>
                          <a:pt x="337" y="2035"/>
                        </a:lnTo>
                        <a:lnTo>
                          <a:pt x="336" y="2034"/>
                        </a:lnTo>
                        <a:lnTo>
                          <a:pt x="331" y="2032"/>
                        </a:lnTo>
                        <a:lnTo>
                          <a:pt x="329" y="2032"/>
                        </a:lnTo>
                        <a:lnTo>
                          <a:pt x="328" y="2031"/>
                        </a:lnTo>
                        <a:lnTo>
                          <a:pt x="325" y="2028"/>
                        </a:lnTo>
                        <a:lnTo>
                          <a:pt x="323" y="2024"/>
                        </a:lnTo>
                        <a:lnTo>
                          <a:pt x="323" y="2023"/>
                        </a:lnTo>
                        <a:lnTo>
                          <a:pt x="321" y="2021"/>
                        </a:lnTo>
                        <a:lnTo>
                          <a:pt x="318" y="2021"/>
                        </a:lnTo>
                        <a:lnTo>
                          <a:pt x="317" y="2020"/>
                        </a:lnTo>
                        <a:lnTo>
                          <a:pt x="315" y="2020"/>
                        </a:lnTo>
                        <a:lnTo>
                          <a:pt x="312" y="2021"/>
                        </a:lnTo>
                        <a:lnTo>
                          <a:pt x="309" y="2020"/>
                        </a:lnTo>
                        <a:lnTo>
                          <a:pt x="307" y="2018"/>
                        </a:lnTo>
                        <a:lnTo>
                          <a:pt x="306" y="2016"/>
                        </a:lnTo>
                        <a:lnTo>
                          <a:pt x="306" y="2015"/>
                        </a:lnTo>
                        <a:lnTo>
                          <a:pt x="306" y="2013"/>
                        </a:lnTo>
                        <a:lnTo>
                          <a:pt x="307" y="2012"/>
                        </a:lnTo>
                        <a:lnTo>
                          <a:pt x="310" y="2009"/>
                        </a:lnTo>
                        <a:lnTo>
                          <a:pt x="313" y="2001"/>
                        </a:lnTo>
                        <a:lnTo>
                          <a:pt x="317" y="1996"/>
                        </a:lnTo>
                        <a:lnTo>
                          <a:pt x="312" y="1996"/>
                        </a:lnTo>
                        <a:lnTo>
                          <a:pt x="310" y="1996"/>
                        </a:lnTo>
                        <a:lnTo>
                          <a:pt x="309" y="1997"/>
                        </a:lnTo>
                        <a:lnTo>
                          <a:pt x="304" y="1997"/>
                        </a:lnTo>
                        <a:lnTo>
                          <a:pt x="302" y="1999"/>
                        </a:lnTo>
                        <a:lnTo>
                          <a:pt x="299" y="2002"/>
                        </a:lnTo>
                        <a:lnTo>
                          <a:pt x="296" y="2002"/>
                        </a:lnTo>
                        <a:lnTo>
                          <a:pt x="293" y="2005"/>
                        </a:lnTo>
                        <a:lnTo>
                          <a:pt x="293" y="2007"/>
                        </a:lnTo>
                        <a:lnTo>
                          <a:pt x="291" y="2010"/>
                        </a:lnTo>
                        <a:lnTo>
                          <a:pt x="290" y="2010"/>
                        </a:lnTo>
                        <a:lnTo>
                          <a:pt x="288" y="2010"/>
                        </a:lnTo>
                        <a:lnTo>
                          <a:pt x="287" y="2009"/>
                        </a:lnTo>
                        <a:lnTo>
                          <a:pt x="282" y="2010"/>
                        </a:lnTo>
                        <a:lnTo>
                          <a:pt x="280" y="2010"/>
                        </a:lnTo>
                        <a:lnTo>
                          <a:pt x="280" y="2009"/>
                        </a:lnTo>
                        <a:lnTo>
                          <a:pt x="279" y="2007"/>
                        </a:lnTo>
                        <a:lnTo>
                          <a:pt x="280" y="2005"/>
                        </a:lnTo>
                        <a:lnTo>
                          <a:pt x="288" y="1997"/>
                        </a:lnTo>
                        <a:lnTo>
                          <a:pt x="290" y="1996"/>
                        </a:lnTo>
                        <a:lnTo>
                          <a:pt x="290" y="1994"/>
                        </a:lnTo>
                        <a:lnTo>
                          <a:pt x="287" y="1994"/>
                        </a:lnTo>
                        <a:lnTo>
                          <a:pt x="282" y="1996"/>
                        </a:lnTo>
                        <a:lnTo>
                          <a:pt x="279" y="1993"/>
                        </a:lnTo>
                        <a:lnTo>
                          <a:pt x="277" y="1994"/>
                        </a:lnTo>
                        <a:lnTo>
                          <a:pt x="275" y="1994"/>
                        </a:lnTo>
                        <a:lnTo>
                          <a:pt x="272" y="1994"/>
                        </a:lnTo>
                        <a:lnTo>
                          <a:pt x="269" y="1993"/>
                        </a:lnTo>
                        <a:lnTo>
                          <a:pt x="269" y="1988"/>
                        </a:lnTo>
                        <a:lnTo>
                          <a:pt x="271" y="1983"/>
                        </a:lnTo>
                        <a:lnTo>
                          <a:pt x="274" y="1985"/>
                        </a:lnTo>
                        <a:lnTo>
                          <a:pt x="279" y="1983"/>
                        </a:lnTo>
                        <a:lnTo>
                          <a:pt x="280" y="1985"/>
                        </a:lnTo>
                        <a:lnTo>
                          <a:pt x="282" y="1986"/>
                        </a:lnTo>
                        <a:lnTo>
                          <a:pt x="283" y="1988"/>
                        </a:lnTo>
                        <a:lnTo>
                          <a:pt x="285" y="1986"/>
                        </a:lnTo>
                        <a:lnTo>
                          <a:pt x="287" y="1986"/>
                        </a:lnTo>
                        <a:lnTo>
                          <a:pt x="290" y="1986"/>
                        </a:lnTo>
                        <a:lnTo>
                          <a:pt x="291" y="1983"/>
                        </a:lnTo>
                        <a:lnTo>
                          <a:pt x="288" y="1978"/>
                        </a:lnTo>
                        <a:lnTo>
                          <a:pt x="277" y="1977"/>
                        </a:lnTo>
                        <a:lnTo>
                          <a:pt x="272" y="1974"/>
                        </a:lnTo>
                        <a:lnTo>
                          <a:pt x="269" y="1972"/>
                        </a:lnTo>
                        <a:lnTo>
                          <a:pt x="269" y="1969"/>
                        </a:lnTo>
                        <a:lnTo>
                          <a:pt x="269" y="1966"/>
                        </a:lnTo>
                        <a:lnTo>
                          <a:pt x="269" y="1964"/>
                        </a:lnTo>
                        <a:lnTo>
                          <a:pt x="269" y="1963"/>
                        </a:lnTo>
                        <a:lnTo>
                          <a:pt x="271" y="1959"/>
                        </a:lnTo>
                        <a:lnTo>
                          <a:pt x="272" y="1955"/>
                        </a:lnTo>
                        <a:lnTo>
                          <a:pt x="272" y="1953"/>
                        </a:lnTo>
                        <a:lnTo>
                          <a:pt x="274" y="1950"/>
                        </a:lnTo>
                        <a:lnTo>
                          <a:pt x="274" y="1948"/>
                        </a:lnTo>
                        <a:lnTo>
                          <a:pt x="272" y="1947"/>
                        </a:lnTo>
                        <a:lnTo>
                          <a:pt x="260" y="1950"/>
                        </a:lnTo>
                        <a:lnTo>
                          <a:pt x="258" y="1950"/>
                        </a:lnTo>
                        <a:lnTo>
                          <a:pt x="255" y="1952"/>
                        </a:lnTo>
                        <a:lnTo>
                          <a:pt x="250" y="1952"/>
                        </a:lnTo>
                        <a:lnTo>
                          <a:pt x="249" y="1950"/>
                        </a:lnTo>
                        <a:lnTo>
                          <a:pt x="249" y="1948"/>
                        </a:lnTo>
                        <a:lnTo>
                          <a:pt x="249" y="1947"/>
                        </a:lnTo>
                        <a:lnTo>
                          <a:pt x="250" y="1947"/>
                        </a:lnTo>
                        <a:lnTo>
                          <a:pt x="258" y="1944"/>
                        </a:lnTo>
                        <a:lnTo>
                          <a:pt x="261" y="1937"/>
                        </a:lnTo>
                        <a:lnTo>
                          <a:pt x="263" y="1936"/>
                        </a:lnTo>
                        <a:lnTo>
                          <a:pt x="263" y="1934"/>
                        </a:lnTo>
                        <a:lnTo>
                          <a:pt x="264" y="1931"/>
                        </a:lnTo>
                        <a:lnTo>
                          <a:pt x="264" y="1929"/>
                        </a:lnTo>
                        <a:lnTo>
                          <a:pt x="264" y="1925"/>
                        </a:lnTo>
                        <a:lnTo>
                          <a:pt x="261" y="1920"/>
                        </a:lnTo>
                        <a:lnTo>
                          <a:pt x="260" y="1921"/>
                        </a:lnTo>
                        <a:lnTo>
                          <a:pt x="256" y="1926"/>
                        </a:lnTo>
                        <a:lnTo>
                          <a:pt x="255" y="1926"/>
                        </a:lnTo>
                        <a:lnTo>
                          <a:pt x="244" y="1931"/>
                        </a:lnTo>
                        <a:lnTo>
                          <a:pt x="247" y="1923"/>
                        </a:lnTo>
                        <a:lnTo>
                          <a:pt x="252" y="1918"/>
                        </a:lnTo>
                        <a:lnTo>
                          <a:pt x="253" y="1914"/>
                        </a:lnTo>
                        <a:lnTo>
                          <a:pt x="249" y="1914"/>
                        </a:lnTo>
                        <a:lnTo>
                          <a:pt x="245" y="1910"/>
                        </a:lnTo>
                        <a:lnTo>
                          <a:pt x="244" y="1906"/>
                        </a:lnTo>
                        <a:lnTo>
                          <a:pt x="245" y="1902"/>
                        </a:lnTo>
                        <a:lnTo>
                          <a:pt x="249" y="1901"/>
                        </a:lnTo>
                        <a:lnTo>
                          <a:pt x="253" y="1899"/>
                        </a:lnTo>
                        <a:lnTo>
                          <a:pt x="256" y="1895"/>
                        </a:lnTo>
                        <a:lnTo>
                          <a:pt x="258" y="1893"/>
                        </a:lnTo>
                        <a:lnTo>
                          <a:pt x="255" y="1890"/>
                        </a:lnTo>
                        <a:lnTo>
                          <a:pt x="245" y="1888"/>
                        </a:lnTo>
                        <a:lnTo>
                          <a:pt x="244" y="1887"/>
                        </a:lnTo>
                        <a:lnTo>
                          <a:pt x="245" y="1885"/>
                        </a:lnTo>
                        <a:lnTo>
                          <a:pt x="247" y="1883"/>
                        </a:lnTo>
                        <a:lnTo>
                          <a:pt x="249" y="1880"/>
                        </a:lnTo>
                        <a:lnTo>
                          <a:pt x="250" y="1872"/>
                        </a:lnTo>
                        <a:lnTo>
                          <a:pt x="249" y="1872"/>
                        </a:lnTo>
                        <a:lnTo>
                          <a:pt x="242" y="1876"/>
                        </a:lnTo>
                        <a:lnTo>
                          <a:pt x="239" y="1871"/>
                        </a:lnTo>
                        <a:lnTo>
                          <a:pt x="237" y="1871"/>
                        </a:lnTo>
                        <a:lnTo>
                          <a:pt x="237" y="1874"/>
                        </a:lnTo>
                        <a:lnTo>
                          <a:pt x="234" y="1876"/>
                        </a:lnTo>
                        <a:lnTo>
                          <a:pt x="230" y="1880"/>
                        </a:lnTo>
                        <a:lnTo>
                          <a:pt x="228" y="1882"/>
                        </a:lnTo>
                        <a:lnTo>
                          <a:pt x="222" y="1885"/>
                        </a:lnTo>
                        <a:lnTo>
                          <a:pt x="218" y="1885"/>
                        </a:lnTo>
                        <a:lnTo>
                          <a:pt x="214" y="1883"/>
                        </a:lnTo>
                        <a:lnTo>
                          <a:pt x="211" y="1880"/>
                        </a:lnTo>
                        <a:lnTo>
                          <a:pt x="203" y="1885"/>
                        </a:lnTo>
                        <a:lnTo>
                          <a:pt x="201" y="1880"/>
                        </a:lnTo>
                        <a:lnTo>
                          <a:pt x="204" y="1876"/>
                        </a:lnTo>
                        <a:lnTo>
                          <a:pt x="201" y="1874"/>
                        </a:lnTo>
                        <a:lnTo>
                          <a:pt x="198" y="1872"/>
                        </a:lnTo>
                        <a:lnTo>
                          <a:pt x="191" y="1869"/>
                        </a:lnTo>
                        <a:lnTo>
                          <a:pt x="190" y="1868"/>
                        </a:lnTo>
                        <a:lnTo>
                          <a:pt x="191" y="1866"/>
                        </a:lnTo>
                        <a:lnTo>
                          <a:pt x="191" y="1861"/>
                        </a:lnTo>
                        <a:lnTo>
                          <a:pt x="190" y="1861"/>
                        </a:lnTo>
                        <a:lnTo>
                          <a:pt x="182" y="1869"/>
                        </a:lnTo>
                        <a:lnTo>
                          <a:pt x="176" y="1866"/>
                        </a:lnTo>
                        <a:lnTo>
                          <a:pt x="171" y="1866"/>
                        </a:lnTo>
                        <a:lnTo>
                          <a:pt x="168" y="1866"/>
                        </a:lnTo>
                        <a:lnTo>
                          <a:pt x="165" y="1866"/>
                        </a:lnTo>
                        <a:lnTo>
                          <a:pt x="160" y="1868"/>
                        </a:lnTo>
                        <a:lnTo>
                          <a:pt x="155" y="1869"/>
                        </a:lnTo>
                        <a:lnTo>
                          <a:pt x="153" y="1868"/>
                        </a:lnTo>
                        <a:lnTo>
                          <a:pt x="152" y="1866"/>
                        </a:lnTo>
                        <a:lnTo>
                          <a:pt x="149" y="1866"/>
                        </a:lnTo>
                        <a:lnTo>
                          <a:pt x="147" y="1866"/>
                        </a:lnTo>
                        <a:lnTo>
                          <a:pt x="146" y="1866"/>
                        </a:lnTo>
                        <a:lnTo>
                          <a:pt x="146" y="1869"/>
                        </a:lnTo>
                        <a:lnTo>
                          <a:pt x="142" y="1869"/>
                        </a:lnTo>
                        <a:lnTo>
                          <a:pt x="141" y="1868"/>
                        </a:lnTo>
                        <a:lnTo>
                          <a:pt x="136" y="1863"/>
                        </a:lnTo>
                        <a:lnTo>
                          <a:pt x="134" y="1863"/>
                        </a:lnTo>
                        <a:lnTo>
                          <a:pt x="131" y="1864"/>
                        </a:lnTo>
                        <a:lnTo>
                          <a:pt x="130" y="1864"/>
                        </a:lnTo>
                        <a:lnTo>
                          <a:pt x="130" y="1866"/>
                        </a:lnTo>
                        <a:lnTo>
                          <a:pt x="131" y="1868"/>
                        </a:lnTo>
                        <a:lnTo>
                          <a:pt x="133" y="1868"/>
                        </a:lnTo>
                        <a:lnTo>
                          <a:pt x="133" y="1871"/>
                        </a:lnTo>
                        <a:lnTo>
                          <a:pt x="131" y="1872"/>
                        </a:lnTo>
                        <a:lnTo>
                          <a:pt x="130" y="1872"/>
                        </a:lnTo>
                        <a:lnTo>
                          <a:pt x="130" y="1871"/>
                        </a:lnTo>
                        <a:lnTo>
                          <a:pt x="128" y="1871"/>
                        </a:lnTo>
                        <a:lnTo>
                          <a:pt x="125" y="1874"/>
                        </a:lnTo>
                        <a:lnTo>
                          <a:pt x="122" y="1874"/>
                        </a:lnTo>
                        <a:lnTo>
                          <a:pt x="117" y="1879"/>
                        </a:lnTo>
                        <a:lnTo>
                          <a:pt x="115" y="1879"/>
                        </a:lnTo>
                        <a:lnTo>
                          <a:pt x="112" y="1879"/>
                        </a:lnTo>
                        <a:lnTo>
                          <a:pt x="106" y="1876"/>
                        </a:lnTo>
                        <a:lnTo>
                          <a:pt x="103" y="1874"/>
                        </a:lnTo>
                        <a:lnTo>
                          <a:pt x="101" y="1874"/>
                        </a:lnTo>
                        <a:lnTo>
                          <a:pt x="101" y="1872"/>
                        </a:lnTo>
                        <a:lnTo>
                          <a:pt x="103" y="1871"/>
                        </a:lnTo>
                        <a:lnTo>
                          <a:pt x="101" y="1871"/>
                        </a:lnTo>
                        <a:lnTo>
                          <a:pt x="100" y="1871"/>
                        </a:lnTo>
                        <a:lnTo>
                          <a:pt x="98" y="1872"/>
                        </a:lnTo>
                        <a:lnTo>
                          <a:pt x="93" y="1883"/>
                        </a:lnTo>
                        <a:lnTo>
                          <a:pt x="92" y="1885"/>
                        </a:lnTo>
                        <a:lnTo>
                          <a:pt x="90" y="1883"/>
                        </a:lnTo>
                        <a:lnTo>
                          <a:pt x="89" y="1883"/>
                        </a:lnTo>
                        <a:lnTo>
                          <a:pt x="84" y="1879"/>
                        </a:lnTo>
                        <a:lnTo>
                          <a:pt x="77" y="1880"/>
                        </a:lnTo>
                        <a:lnTo>
                          <a:pt x="74" y="1879"/>
                        </a:lnTo>
                        <a:lnTo>
                          <a:pt x="68" y="1879"/>
                        </a:lnTo>
                        <a:lnTo>
                          <a:pt x="65" y="1874"/>
                        </a:lnTo>
                        <a:lnTo>
                          <a:pt x="62" y="1871"/>
                        </a:lnTo>
                        <a:lnTo>
                          <a:pt x="58" y="1871"/>
                        </a:lnTo>
                        <a:lnTo>
                          <a:pt x="58" y="1864"/>
                        </a:lnTo>
                        <a:lnTo>
                          <a:pt x="57" y="1863"/>
                        </a:lnTo>
                        <a:lnTo>
                          <a:pt x="55" y="1861"/>
                        </a:lnTo>
                        <a:lnTo>
                          <a:pt x="52" y="1861"/>
                        </a:lnTo>
                        <a:lnTo>
                          <a:pt x="49" y="1863"/>
                        </a:lnTo>
                        <a:lnTo>
                          <a:pt x="47" y="1863"/>
                        </a:lnTo>
                        <a:lnTo>
                          <a:pt x="46" y="1860"/>
                        </a:lnTo>
                        <a:lnTo>
                          <a:pt x="44" y="1855"/>
                        </a:lnTo>
                        <a:lnTo>
                          <a:pt x="44" y="1853"/>
                        </a:lnTo>
                        <a:lnTo>
                          <a:pt x="44" y="1852"/>
                        </a:lnTo>
                        <a:lnTo>
                          <a:pt x="41" y="1850"/>
                        </a:lnTo>
                        <a:lnTo>
                          <a:pt x="35" y="1849"/>
                        </a:lnTo>
                        <a:lnTo>
                          <a:pt x="30" y="1847"/>
                        </a:lnTo>
                        <a:lnTo>
                          <a:pt x="28" y="1844"/>
                        </a:lnTo>
                        <a:lnTo>
                          <a:pt x="28" y="1842"/>
                        </a:lnTo>
                        <a:lnTo>
                          <a:pt x="32" y="1841"/>
                        </a:lnTo>
                        <a:lnTo>
                          <a:pt x="32" y="1839"/>
                        </a:lnTo>
                        <a:lnTo>
                          <a:pt x="32" y="1837"/>
                        </a:lnTo>
                        <a:lnTo>
                          <a:pt x="33" y="1837"/>
                        </a:lnTo>
                        <a:lnTo>
                          <a:pt x="32" y="1836"/>
                        </a:lnTo>
                        <a:lnTo>
                          <a:pt x="30" y="1833"/>
                        </a:lnTo>
                        <a:lnTo>
                          <a:pt x="30" y="1830"/>
                        </a:lnTo>
                        <a:lnTo>
                          <a:pt x="28" y="1828"/>
                        </a:lnTo>
                        <a:lnTo>
                          <a:pt x="24" y="1828"/>
                        </a:lnTo>
                        <a:lnTo>
                          <a:pt x="22" y="1830"/>
                        </a:lnTo>
                        <a:lnTo>
                          <a:pt x="19" y="1828"/>
                        </a:lnTo>
                        <a:lnTo>
                          <a:pt x="17" y="1826"/>
                        </a:lnTo>
                        <a:lnTo>
                          <a:pt x="19" y="1823"/>
                        </a:lnTo>
                        <a:lnTo>
                          <a:pt x="11" y="1809"/>
                        </a:lnTo>
                        <a:lnTo>
                          <a:pt x="9" y="1807"/>
                        </a:lnTo>
                        <a:lnTo>
                          <a:pt x="6" y="1804"/>
                        </a:lnTo>
                        <a:lnTo>
                          <a:pt x="5" y="1803"/>
                        </a:lnTo>
                        <a:lnTo>
                          <a:pt x="5" y="1798"/>
                        </a:lnTo>
                        <a:lnTo>
                          <a:pt x="3" y="1799"/>
                        </a:lnTo>
                        <a:lnTo>
                          <a:pt x="0" y="1799"/>
                        </a:lnTo>
                        <a:lnTo>
                          <a:pt x="0" y="1798"/>
                        </a:lnTo>
                        <a:lnTo>
                          <a:pt x="1" y="1796"/>
                        </a:lnTo>
                        <a:lnTo>
                          <a:pt x="0" y="1793"/>
                        </a:lnTo>
                        <a:lnTo>
                          <a:pt x="0" y="1792"/>
                        </a:lnTo>
                        <a:lnTo>
                          <a:pt x="0" y="1790"/>
                        </a:lnTo>
                        <a:lnTo>
                          <a:pt x="0" y="1787"/>
                        </a:lnTo>
                        <a:lnTo>
                          <a:pt x="3" y="1782"/>
                        </a:lnTo>
                        <a:lnTo>
                          <a:pt x="3" y="1780"/>
                        </a:lnTo>
                        <a:lnTo>
                          <a:pt x="1" y="1777"/>
                        </a:lnTo>
                        <a:lnTo>
                          <a:pt x="1" y="1776"/>
                        </a:lnTo>
                        <a:lnTo>
                          <a:pt x="3" y="1774"/>
                        </a:lnTo>
                        <a:lnTo>
                          <a:pt x="5" y="1773"/>
                        </a:lnTo>
                        <a:lnTo>
                          <a:pt x="5" y="1771"/>
                        </a:lnTo>
                        <a:lnTo>
                          <a:pt x="5" y="1769"/>
                        </a:lnTo>
                        <a:lnTo>
                          <a:pt x="6" y="1769"/>
                        </a:lnTo>
                        <a:lnTo>
                          <a:pt x="6" y="1768"/>
                        </a:lnTo>
                        <a:lnTo>
                          <a:pt x="9" y="1765"/>
                        </a:lnTo>
                        <a:lnTo>
                          <a:pt x="11" y="1763"/>
                        </a:lnTo>
                        <a:lnTo>
                          <a:pt x="12" y="1758"/>
                        </a:lnTo>
                        <a:lnTo>
                          <a:pt x="14" y="1757"/>
                        </a:lnTo>
                        <a:lnTo>
                          <a:pt x="14" y="1755"/>
                        </a:lnTo>
                        <a:lnTo>
                          <a:pt x="16" y="1749"/>
                        </a:lnTo>
                        <a:lnTo>
                          <a:pt x="17" y="1747"/>
                        </a:lnTo>
                        <a:lnTo>
                          <a:pt x="20" y="1741"/>
                        </a:lnTo>
                        <a:lnTo>
                          <a:pt x="22" y="1735"/>
                        </a:lnTo>
                        <a:lnTo>
                          <a:pt x="25" y="1723"/>
                        </a:lnTo>
                        <a:lnTo>
                          <a:pt x="27" y="1720"/>
                        </a:lnTo>
                        <a:lnTo>
                          <a:pt x="28" y="1719"/>
                        </a:lnTo>
                        <a:lnTo>
                          <a:pt x="30" y="1717"/>
                        </a:lnTo>
                        <a:lnTo>
                          <a:pt x="32" y="1714"/>
                        </a:lnTo>
                        <a:lnTo>
                          <a:pt x="30" y="1708"/>
                        </a:lnTo>
                        <a:lnTo>
                          <a:pt x="27" y="1703"/>
                        </a:lnTo>
                        <a:lnTo>
                          <a:pt x="32" y="1695"/>
                        </a:lnTo>
                        <a:lnTo>
                          <a:pt x="32" y="1692"/>
                        </a:lnTo>
                        <a:lnTo>
                          <a:pt x="32" y="1690"/>
                        </a:lnTo>
                        <a:lnTo>
                          <a:pt x="32" y="1689"/>
                        </a:lnTo>
                        <a:lnTo>
                          <a:pt x="32" y="1687"/>
                        </a:lnTo>
                        <a:lnTo>
                          <a:pt x="28" y="1685"/>
                        </a:lnTo>
                        <a:lnTo>
                          <a:pt x="25" y="1684"/>
                        </a:lnTo>
                        <a:lnTo>
                          <a:pt x="24" y="1682"/>
                        </a:lnTo>
                        <a:lnTo>
                          <a:pt x="22" y="1681"/>
                        </a:lnTo>
                        <a:lnTo>
                          <a:pt x="22" y="1676"/>
                        </a:lnTo>
                        <a:lnTo>
                          <a:pt x="22" y="1674"/>
                        </a:lnTo>
                        <a:lnTo>
                          <a:pt x="24" y="1673"/>
                        </a:lnTo>
                        <a:lnTo>
                          <a:pt x="24" y="1663"/>
                        </a:lnTo>
                        <a:lnTo>
                          <a:pt x="24" y="1654"/>
                        </a:lnTo>
                        <a:lnTo>
                          <a:pt x="25" y="1617"/>
                        </a:lnTo>
                        <a:lnTo>
                          <a:pt x="25" y="1616"/>
                        </a:lnTo>
                        <a:lnTo>
                          <a:pt x="27" y="1614"/>
                        </a:lnTo>
                        <a:lnTo>
                          <a:pt x="30" y="1606"/>
                        </a:lnTo>
                        <a:lnTo>
                          <a:pt x="27" y="1592"/>
                        </a:lnTo>
                        <a:lnTo>
                          <a:pt x="28" y="1592"/>
                        </a:lnTo>
                        <a:lnTo>
                          <a:pt x="32" y="1590"/>
                        </a:lnTo>
                        <a:lnTo>
                          <a:pt x="36" y="1589"/>
                        </a:lnTo>
                        <a:lnTo>
                          <a:pt x="39" y="1589"/>
                        </a:lnTo>
                        <a:lnTo>
                          <a:pt x="41" y="1586"/>
                        </a:lnTo>
                        <a:lnTo>
                          <a:pt x="43" y="1586"/>
                        </a:lnTo>
                        <a:lnTo>
                          <a:pt x="43" y="1582"/>
                        </a:lnTo>
                        <a:lnTo>
                          <a:pt x="43" y="1578"/>
                        </a:lnTo>
                        <a:lnTo>
                          <a:pt x="44" y="1573"/>
                        </a:lnTo>
                        <a:lnTo>
                          <a:pt x="44" y="1571"/>
                        </a:lnTo>
                        <a:lnTo>
                          <a:pt x="46" y="1570"/>
                        </a:lnTo>
                        <a:lnTo>
                          <a:pt x="46" y="1565"/>
                        </a:lnTo>
                        <a:lnTo>
                          <a:pt x="47" y="1563"/>
                        </a:lnTo>
                        <a:lnTo>
                          <a:pt x="49" y="1560"/>
                        </a:lnTo>
                        <a:lnTo>
                          <a:pt x="51" y="1559"/>
                        </a:lnTo>
                        <a:lnTo>
                          <a:pt x="51" y="1557"/>
                        </a:lnTo>
                        <a:lnTo>
                          <a:pt x="52" y="1556"/>
                        </a:lnTo>
                        <a:lnTo>
                          <a:pt x="55" y="1552"/>
                        </a:lnTo>
                        <a:lnTo>
                          <a:pt x="57" y="1544"/>
                        </a:lnTo>
                        <a:lnTo>
                          <a:pt x="58" y="1535"/>
                        </a:lnTo>
                        <a:lnTo>
                          <a:pt x="57" y="1532"/>
                        </a:lnTo>
                        <a:lnTo>
                          <a:pt x="55" y="1530"/>
                        </a:lnTo>
                        <a:lnTo>
                          <a:pt x="54" y="1527"/>
                        </a:lnTo>
                        <a:lnTo>
                          <a:pt x="52" y="1527"/>
                        </a:lnTo>
                        <a:lnTo>
                          <a:pt x="51" y="1525"/>
                        </a:lnTo>
                        <a:lnTo>
                          <a:pt x="46" y="1524"/>
                        </a:lnTo>
                        <a:lnTo>
                          <a:pt x="44" y="1522"/>
                        </a:lnTo>
                        <a:lnTo>
                          <a:pt x="43" y="1522"/>
                        </a:lnTo>
                        <a:lnTo>
                          <a:pt x="33" y="1502"/>
                        </a:lnTo>
                        <a:lnTo>
                          <a:pt x="33" y="1484"/>
                        </a:lnTo>
                        <a:lnTo>
                          <a:pt x="30" y="1479"/>
                        </a:lnTo>
                        <a:lnTo>
                          <a:pt x="30" y="1467"/>
                        </a:lnTo>
                        <a:lnTo>
                          <a:pt x="28" y="1465"/>
                        </a:lnTo>
                        <a:lnTo>
                          <a:pt x="24" y="1464"/>
                        </a:lnTo>
                        <a:lnTo>
                          <a:pt x="22" y="1464"/>
                        </a:lnTo>
                        <a:lnTo>
                          <a:pt x="19" y="1462"/>
                        </a:lnTo>
                        <a:lnTo>
                          <a:pt x="17" y="1460"/>
                        </a:lnTo>
                        <a:lnTo>
                          <a:pt x="17" y="1459"/>
                        </a:lnTo>
                        <a:lnTo>
                          <a:pt x="17" y="1457"/>
                        </a:lnTo>
                        <a:lnTo>
                          <a:pt x="19" y="1456"/>
                        </a:lnTo>
                        <a:lnTo>
                          <a:pt x="19" y="1451"/>
                        </a:lnTo>
                        <a:lnTo>
                          <a:pt x="19" y="1448"/>
                        </a:lnTo>
                        <a:lnTo>
                          <a:pt x="19" y="1446"/>
                        </a:lnTo>
                        <a:lnTo>
                          <a:pt x="14" y="1432"/>
                        </a:lnTo>
                        <a:lnTo>
                          <a:pt x="14" y="1429"/>
                        </a:lnTo>
                        <a:lnTo>
                          <a:pt x="14" y="1415"/>
                        </a:lnTo>
                        <a:lnTo>
                          <a:pt x="12" y="1408"/>
                        </a:lnTo>
                        <a:lnTo>
                          <a:pt x="12" y="1405"/>
                        </a:lnTo>
                        <a:lnTo>
                          <a:pt x="16" y="1400"/>
                        </a:lnTo>
                        <a:lnTo>
                          <a:pt x="17" y="1400"/>
                        </a:lnTo>
                        <a:lnTo>
                          <a:pt x="20" y="1399"/>
                        </a:lnTo>
                        <a:lnTo>
                          <a:pt x="24" y="1397"/>
                        </a:lnTo>
                        <a:lnTo>
                          <a:pt x="28" y="1396"/>
                        </a:lnTo>
                        <a:lnTo>
                          <a:pt x="32" y="1394"/>
                        </a:lnTo>
                        <a:lnTo>
                          <a:pt x="36" y="1394"/>
                        </a:lnTo>
                        <a:lnTo>
                          <a:pt x="65" y="1388"/>
                        </a:lnTo>
                        <a:lnTo>
                          <a:pt x="66" y="1386"/>
                        </a:lnTo>
                        <a:lnTo>
                          <a:pt x="68" y="1386"/>
                        </a:lnTo>
                        <a:lnTo>
                          <a:pt x="70" y="1386"/>
                        </a:lnTo>
                        <a:lnTo>
                          <a:pt x="76" y="1383"/>
                        </a:lnTo>
                        <a:lnTo>
                          <a:pt x="95" y="1372"/>
                        </a:lnTo>
                        <a:lnTo>
                          <a:pt x="96" y="1370"/>
                        </a:lnTo>
                        <a:lnTo>
                          <a:pt x="104" y="1364"/>
                        </a:lnTo>
                        <a:lnTo>
                          <a:pt x="106" y="1362"/>
                        </a:lnTo>
                        <a:lnTo>
                          <a:pt x="108" y="1361"/>
                        </a:lnTo>
                        <a:lnTo>
                          <a:pt x="109" y="1359"/>
                        </a:lnTo>
                        <a:lnTo>
                          <a:pt x="111" y="1354"/>
                        </a:lnTo>
                        <a:lnTo>
                          <a:pt x="112" y="1350"/>
                        </a:lnTo>
                        <a:lnTo>
                          <a:pt x="112" y="1348"/>
                        </a:lnTo>
                        <a:lnTo>
                          <a:pt x="114" y="1337"/>
                        </a:lnTo>
                        <a:lnTo>
                          <a:pt x="114" y="1334"/>
                        </a:lnTo>
                        <a:lnTo>
                          <a:pt x="114" y="1332"/>
                        </a:lnTo>
                        <a:lnTo>
                          <a:pt x="114" y="1331"/>
                        </a:lnTo>
                        <a:lnTo>
                          <a:pt x="117" y="1323"/>
                        </a:lnTo>
                        <a:lnTo>
                          <a:pt x="120" y="1320"/>
                        </a:lnTo>
                        <a:lnTo>
                          <a:pt x="123" y="1318"/>
                        </a:lnTo>
                        <a:lnTo>
                          <a:pt x="125" y="1316"/>
                        </a:lnTo>
                        <a:lnTo>
                          <a:pt x="142" y="1308"/>
                        </a:lnTo>
                        <a:lnTo>
                          <a:pt x="146" y="1305"/>
                        </a:lnTo>
                        <a:lnTo>
                          <a:pt x="147" y="1304"/>
                        </a:lnTo>
                        <a:lnTo>
                          <a:pt x="150" y="1300"/>
                        </a:lnTo>
                        <a:lnTo>
                          <a:pt x="152" y="1299"/>
                        </a:lnTo>
                        <a:lnTo>
                          <a:pt x="153" y="1294"/>
                        </a:lnTo>
                        <a:lnTo>
                          <a:pt x="153" y="1291"/>
                        </a:lnTo>
                        <a:lnTo>
                          <a:pt x="155" y="1280"/>
                        </a:lnTo>
                        <a:lnTo>
                          <a:pt x="157" y="1275"/>
                        </a:lnTo>
                        <a:lnTo>
                          <a:pt x="155" y="1267"/>
                        </a:lnTo>
                        <a:lnTo>
                          <a:pt x="155" y="1259"/>
                        </a:lnTo>
                        <a:lnTo>
                          <a:pt x="153" y="1237"/>
                        </a:lnTo>
                        <a:lnTo>
                          <a:pt x="153" y="1231"/>
                        </a:lnTo>
                        <a:lnTo>
                          <a:pt x="153" y="1228"/>
                        </a:lnTo>
                        <a:lnTo>
                          <a:pt x="155" y="1223"/>
                        </a:lnTo>
                        <a:lnTo>
                          <a:pt x="157" y="1221"/>
                        </a:lnTo>
                        <a:lnTo>
                          <a:pt x="160" y="1217"/>
                        </a:lnTo>
                        <a:lnTo>
                          <a:pt x="168" y="1210"/>
                        </a:lnTo>
                        <a:lnTo>
                          <a:pt x="174" y="1209"/>
                        </a:lnTo>
                        <a:lnTo>
                          <a:pt x="174" y="1207"/>
                        </a:lnTo>
                        <a:lnTo>
                          <a:pt x="176" y="1207"/>
                        </a:lnTo>
                        <a:lnTo>
                          <a:pt x="184" y="1202"/>
                        </a:lnTo>
                        <a:lnTo>
                          <a:pt x="185" y="1201"/>
                        </a:lnTo>
                        <a:lnTo>
                          <a:pt x="188" y="1194"/>
                        </a:lnTo>
                        <a:lnTo>
                          <a:pt x="191" y="1186"/>
                        </a:lnTo>
                        <a:lnTo>
                          <a:pt x="191" y="1185"/>
                        </a:lnTo>
                        <a:lnTo>
                          <a:pt x="195" y="1182"/>
                        </a:lnTo>
                        <a:lnTo>
                          <a:pt x="195" y="1180"/>
                        </a:lnTo>
                        <a:lnTo>
                          <a:pt x="196" y="1177"/>
                        </a:lnTo>
                        <a:lnTo>
                          <a:pt x="195" y="1175"/>
                        </a:lnTo>
                        <a:lnTo>
                          <a:pt x="195" y="1174"/>
                        </a:lnTo>
                        <a:lnTo>
                          <a:pt x="195" y="1172"/>
                        </a:lnTo>
                        <a:lnTo>
                          <a:pt x="193" y="1171"/>
                        </a:lnTo>
                        <a:lnTo>
                          <a:pt x="193" y="1169"/>
                        </a:lnTo>
                        <a:lnTo>
                          <a:pt x="191" y="1167"/>
                        </a:lnTo>
                        <a:lnTo>
                          <a:pt x="188" y="1164"/>
                        </a:lnTo>
                        <a:lnTo>
                          <a:pt x="188" y="1161"/>
                        </a:lnTo>
                        <a:lnTo>
                          <a:pt x="187" y="1160"/>
                        </a:lnTo>
                        <a:lnTo>
                          <a:pt x="187" y="1156"/>
                        </a:lnTo>
                        <a:lnTo>
                          <a:pt x="187" y="1155"/>
                        </a:lnTo>
                        <a:lnTo>
                          <a:pt x="190" y="1147"/>
                        </a:lnTo>
                        <a:lnTo>
                          <a:pt x="188" y="1144"/>
                        </a:lnTo>
                        <a:lnTo>
                          <a:pt x="188" y="1142"/>
                        </a:lnTo>
                        <a:lnTo>
                          <a:pt x="187" y="1128"/>
                        </a:lnTo>
                        <a:lnTo>
                          <a:pt x="188" y="1126"/>
                        </a:lnTo>
                        <a:lnTo>
                          <a:pt x="190" y="1123"/>
                        </a:lnTo>
                        <a:lnTo>
                          <a:pt x="193" y="1118"/>
                        </a:lnTo>
                        <a:lnTo>
                          <a:pt x="193" y="1117"/>
                        </a:lnTo>
                        <a:lnTo>
                          <a:pt x="193" y="1115"/>
                        </a:lnTo>
                        <a:lnTo>
                          <a:pt x="188" y="1107"/>
                        </a:lnTo>
                        <a:lnTo>
                          <a:pt x="187" y="1106"/>
                        </a:lnTo>
                        <a:lnTo>
                          <a:pt x="185" y="1102"/>
                        </a:lnTo>
                        <a:lnTo>
                          <a:pt x="184" y="1099"/>
                        </a:lnTo>
                        <a:lnTo>
                          <a:pt x="182" y="1091"/>
                        </a:lnTo>
                        <a:lnTo>
                          <a:pt x="182" y="1088"/>
                        </a:lnTo>
                        <a:lnTo>
                          <a:pt x="182" y="1083"/>
                        </a:lnTo>
                        <a:lnTo>
                          <a:pt x="179" y="1080"/>
                        </a:lnTo>
                        <a:lnTo>
                          <a:pt x="177" y="1079"/>
                        </a:lnTo>
                        <a:lnTo>
                          <a:pt x="174" y="1077"/>
                        </a:lnTo>
                        <a:lnTo>
                          <a:pt x="171" y="1072"/>
                        </a:lnTo>
                        <a:lnTo>
                          <a:pt x="171" y="1071"/>
                        </a:lnTo>
                        <a:lnTo>
                          <a:pt x="166" y="1071"/>
                        </a:lnTo>
                        <a:lnTo>
                          <a:pt x="161" y="1071"/>
                        </a:lnTo>
                        <a:lnTo>
                          <a:pt x="157" y="1071"/>
                        </a:lnTo>
                        <a:lnTo>
                          <a:pt x="147" y="1072"/>
                        </a:lnTo>
                        <a:lnTo>
                          <a:pt x="144" y="1071"/>
                        </a:lnTo>
                        <a:lnTo>
                          <a:pt x="142" y="1069"/>
                        </a:lnTo>
                        <a:lnTo>
                          <a:pt x="138" y="1068"/>
                        </a:lnTo>
                        <a:lnTo>
                          <a:pt x="134" y="1063"/>
                        </a:lnTo>
                        <a:lnTo>
                          <a:pt x="134" y="1061"/>
                        </a:lnTo>
                        <a:lnTo>
                          <a:pt x="134" y="1058"/>
                        </a:lnTo>
                        <a:lnTo>
                          <a:pt x="138" y="1052"/>
                        </a:lnTo>
                        <a:lnTo>
                          <a:pt x="139" y="1047"/>
                        </a:lnTo>
                        <a:lnTo>
                          <a:pt x="141" y="1045"/>
                        </a:lnTo>
                        <a:lnTo>
                          <a:pt x="141" y="1044"/>
                        </a:lnTo>
                        <a:lnTo>
                          <a:pt x="149" y="1028"/>
                        </a:lnTo>
                        <a:lnTo>
                          <a:pt x="152" y="1022"/>
                        </a:lnTo>
                        <a:lnTo>
                          <a:pt x="152" y="1020"/>
                        </a:lnTo>
                        <a:lnTo>
                          <a:pt x="152" y="1017"/>
                        </a:lnTo>
                        <a:lnTo>
                          <a:pt x="150" y="1014"/>
                        </a:lnTo>
                        <a:lnTo>
                          <a:pt x="150" y="1012"/>
                        </a:lnTo>
                        <a:lnTo>
                          <a:pt x="149" y="1006"/>
                        </a:lnTo>
                        <a:lnTo>
                          <a:pt x="150" y="1003"/>
                        </a:lnTo>
                        <a:lnTo>
                          <a:pt x="152" y="1000"/>
                        </a:lnTo>
                        <a:lnTo>
                          <a:pt x="152" y="995"/>
                        </a:lnTo>
                        <a:lnTo>
                          <a:pt x="152" y="993"/>
                        </a:lnTo>
                        <a:lnTo>
                          <a:pt x="153" y="988"/>
                        </a:lnTo>
                        <a:lnTo>
                          <a:pt x="155" y="985"/>
                        </a:lnTo>
                        <a:lnTo>
                          <a:pt x="155" y="984"/>
                        </a:lnTo>
                        <a:lnTo>
                          <a:pt x="155" y="982"/>
                        </a:lnTo>
                        <a:lnTo>
                          <a:pt x="153" y="979"/>
                        </a:lnTo>
                        <a:lnTo>
                          <a:pt x="157" y="973"/>
                        </a:lnTo>
                        <a:lnTo>
                          <a:pt x="153" y="973"/>
                        </a:lnTo>
                        <a:lnTo>
                          <a:pt x="152" y="971"/>
                        </a:lnTo>
                        <a:lnTo>
                          <a:pt x="150" y="973"/>
                        </a:lnTo>
                        <a:lnTo>
                          <a:pt x="147" y="974"/>
                        </a:lnTo>
                        <a:lnTo>
                          <a:pt x="146" y="976"/>
                        </a:lnTo>
                        <a:lnTo>
                          <a:pt x="142" y="976"/>
                        </a:lnTo>
                        <a:lnTo>
                          <a:pt x="141" y="974"/>
                        </a:lnTo>
                        <a:lnTo>
                          <a:pt x="136" y="969"/>
                        </a:lnTo>
                        <a:lnTo>
                          <a:pt x="138" y="966"/>
                        </a:lnTo>
                        <a:lnTo>
                          <a:pt x="136" y="963"/>
                        </a:lnTo>
                        <a:lnTo>
                          <a:pt x="136" y="962"/>
                        </a:lnTo>
                        <a:lnTo>
                          <a:pt x="134" y="960"/>
                        </a:lnTo>
                        <a:lnTo>
                          <a:pt x="133" y="960"/>
                        </a:lnTo>
                        <a:lnTo>
                          <a:pt x="128" y="960"/>
                        </a:lnTo>
                        <a:lnTo>
                          <a:pt x="127" y="958"/>
                        </a:lnTo>
                        <a:lnTo>
                          <a:pt x="125" y="955"/>
                        </a:lnTo>
                        <a:lnTo>
                          <a:pt x="119" y="955"/>
                        </a:lnTo>
                        <a:lnTo>
                          <a:pt x="112" y="952"/>
                        </a:lnTo>
                        <a:lnTo>
                          <a:pt x="112" y="950"/>
                        </a:lnTo>
                        <a:lnTo>
                          <a:pt x="111" y="950"/>
                        </a:lnTo>
                        <a:lnTo>
                          <a:pt x="104" y="949"/>
                        </a:lnTo>
                        <a:lnTo>
                          <a:pt x="103" y="947"/>
                        </a:lnTo>
                        <a:lnTo>
                          <a:pt x="101" y="949"/>
                        </a:lnTo>
                        <a:lnTo>
                          <a:pt x="100" y="952"/>
                        </a:lnTo>
                        <a:lnTo>
                          <a:pt x="98" y="954"/>
                        </a:lnTo>
                        <a:lnTo>
                          <a:pt x="96" y="952"/>
                        </a:lnTo>
                        <a:lnTo>
                          <a:pt x="95" y="950"/>
                        </a:lnTo>
                        <a:lnTo>
                          <a:pt x="93" y="949"/>
                        </a:lnTo>
                        <a:lnTo>
                          <a:pt x="92" y="949"/>
                        </a:lnTo>
                        <a:lnTo>
                          <a:pt x="89" y="944"/>
                        </a:lnTo>
                        <a:lnTo>
                          <a:pt x="84" y="943"/>
                        </a:lnTo>
                        <a:lnTo>
                          <a:pt x="82" y="943"/>
                        </a:lnTo>
                        <a:lnTo>
                          <a:pt x="81" y="941"/>
                        </a:lnTo>
                        <a:lnTo>
                          <a:pt x="79" y="939"/>
                        </a:lnTo>
                        <a:lnTo>
                          <a:pt x="77" y="941"/>
                        </a:lnTo>
                        <a:lnTo>
                          <a:pt x="76" y="941"/>
                        </a:lnTo>
                        <a:lnTo>
                          <a:pt x="76" y="943"/>
                        </a:lnTo>
                        <a:lnTo>
                          <a:pt x="74" y="943"/>
                        </a:lnTo>
                        <a:lnTo>
                          <a:pt x="74" y="941"/>
                        </a:lnTo>
                        <a:lnTo>
                          <a:pt x="73" y="939"/>
                        </a:lnTo>
                        <a:lnTo>
                          <a:pt x="68" y="936"/>
                        </a:lnTo>
                        <a:lnTo>
                          <a:pt x="66" y="935"/>
                        </a:lnTo>
                        <a:lnTo>
                          <a:pt x="66" y="933"/>
                        </a:lnTo>
                        <a:lnTo>
                          <a:pt x="66" y="931"/>
                        </a:lnTo>
                        <a:lnTo>
                          <a:pt x="68" y="930"/>
                        </a:lnTo>
                        <a:lnTo>
                          <a:pt x="68" y="928"/>
                        </a:lnTo>
                        <a:lnTo>
                          <a:pt x="70" y="928"/>
                        </a:lnTo>
                        <a:lnTo>
                          <a:pt x="74" y="928"/>
                        </a:lnTo>
                        <a:lnTo>
                          <a:pt x="79" y="927"/>
                        </a:lnTo>
                        <a:lnTo>
                          <a:pt x="79" y="925"/>
                        </a:lnTo>
                        <a:lnTo>
                          <a:pt x="84" y="925"/>
                        </a:lnTo>
                        <a:lnTo>
                          <a:pt x="85" y="928"/>
                        </a:lnTo>
                        <a:lnTo>
                          <a:pt x="87" y="928"/>
                        </a:lnTo>
                        <a:lnTo>
                          <a:pt x="89" y="928"/>
                        </a:lnTo>
                        <a:lnTo>
                          <a:pt x="92" y="930"/>
                        </a:lnTo>
                        <a:lnTo>
                          <a:pt x="93" y="931"/>
                        </a:lnTo>
                        <a:lnTo>
                          <a:pt x="96" y="936"/>
                        </a:lnTo>
                        <a:lnTo>
                          <a:pt x="98" y="936"/>
                        </a:lnTo>
                        <a:lnTo>
                          <a:pt x="101" y="936"/>
                        </a:lnTo>
                        <a:lnTo>
                          <a:pt x="104" y="935"/>
                        </a:lnTo>
                        <a:lnTo>
                          <a:pt x="112" y="928"/>
                        </a:lnTo>
                        <a:lnTo>
                          <a:pt x="114" y="928"/>
                        </a:lnTo>
                        <a:lnTo>
                          <a:pt x="114" y="927"/>
                        </a:lnTo>
                        <a:lnTo>
                          <a:pt x="117" y="923"/>
                        </a:lnTo>
                        <a:lnTo>
                          <a:pt x="119" y="925"/>
                        </a:lnTo>
                        <a:lnTo>
                          <a:pt x="120" y="925"/>
                        </a:lnTo>
                        <a:lnTo>
                          <a:pt x="120" y="927"/>
                        </a:lnTo>
                        <a:lnTo>
                          <a:pt x="125" y="927"/>
                        </a:lnTo>
                        <a:lnTo>
                          <a:pt x="128" y="927"/>
                        </a:lnTo>
                        <a:lnTo>
                          <a:pt x="130" y="927"/>
                        </a:lnTo>
                        <a:lnTo>
                          <a:pt x="131" y="922"/>
                        </a:lnTo>
                        <a:lnTo>
                          <a:pt x="133" y="920"/>
                        </a:lnTo>
                        <a:lnTo>
                          <a:pt x="134" y="920"/>
                        </a:lnTo>
                        <a:lnTo>
                          <a:pt x="138" y="917"/>
                        </a:lnTo>
                        <a:lnTo>
                          <a:pt x="139" y="917"/>
                        </a:lnTo>
                        <a:lnTo>
                          <a:pt x="142" y="917"/>
                        </a:lnTo>
                        <a:lnTo>
                          <a:pt x="144" y="919"/>
                        </a:lnTo>
                        <a:lnTo>
                          <a:pt x="144" y="920"/>
                        </a:lnTo>
                        <a:lnTo>
                          <a:pt x="144" y="922"/>
                        </a:lnTo>
                        <a:lnTo>
                          <a:pt x="144" y="923"/>
                        </a:lnTo>
                        <a:lnTo>
                          <a:pt x="146" y="925"/>
                        </a:lnTo>
                        <a:lnTo>
                          <a:pt x="147" y="925"/>
                        </a:lnTo>
                        <a:lnTo>
                          <a:pt x="147" y="927"/>
                        </a:lnTo>
                        <a:lnTo>
                          <a:pt x="149" y="927"/>
                        </a:lnTo>
                        <a:lnTo>
                          <a:pt x="150" y="927"/>
                        </a:lnTo>
                        <a:lnTo>
                          <a:pt x="152" y="928"/>
                        </a:lnTo>
                        <a:lnTo>
                          <a:pt x="153" y="928"/>
                        </a:lnTo>
                        <a:lnTo>
                          <a:pt x="157" y="925"/>
                        </a:lnTo>
                        <a:lnTo>
                          <a:pt x="161" y="925"/>
                        </a:lnTo>
                        <a:lnTo>
                          <a:pt x="163" y="925"/>
                        </a:lnTo>
                        <a:lnTo>
                          <a:pt x="163" y="923"/>
                        </a:lnTo>
                        <a:lnTo>
                          <a:pt x="161" y="922"/>
                        </a:lnTo>
                        <a:lnTo>
                          <a:pt x="163" y="922"/>
                        </a:lnTo>
                        <a:lnTo>
                          <a:pt x="163" y="920"/>
                        </a:lnTo>
                        <a:lnTo>
                          <a:pt x="163" y="919"/>
                        </a:lnTo>
                        <a:lnTo>
                          <a:pt x="161" y="917"/>
                        </a:lnTo>
                        <a:lnTo>
                          <a:pt x="165" y="912"/>
                        </a:lnTo>
                        <a:lnTo>
                          <a:pt x="169" y="908"/>
                        </a:lnTo>
                        <a:lnTo>
                          <a:pt x="171" y="908"/>
                        </a:lnTo>
                        <a:lnTo>
                          <a:pt x="174" y="908"/>
                        </a:lnTo>
                        <a:lnTo>
                          <a:pt x="180" y="903"/>
                        </a:lnTo>
                        <a:lnTo>
                          <a:pt x="182" y="900"/>
                        </a:lnTo>
                        <a:lnTo>
                          <a:pt x="184" y="898"/>
                        </a:lnTo>
                        <a:lnTo>
                          <a:pt x="185" y="897"/>
                        </a:lnTo>
                        <a:lnTo>
                          <a:pt x="188" y="892"/>
                        </a:lnTo>
                        <a:lnTo>
                          <a:pt x="190" y="892"/>
                        </a:lnTo>
                        <a:lnTo>
                          <a:pt x="191" y="892"/>
                        </a:lnTo>
                        <a:lnTo>
                          <a:pt x="198" y="890"/>
                        </a:lnTo>
                        <a:lnTo>
                          <a:pt x="199" y="889"/>
                        </a:lnTo>
                        <a:lnTo>
                          <a:pt x="199" y="887"/>
                        </a:lnTo>
                        <a:lnTo>
                          <a:pt x="203" y="887"/>
                        </a:lnTo>
                        <a:lnTo>
                          <a:pt x="204" y="884"/>
                        </a:lnTo>
                        <a:lnTo>
                          <a:pt x="206" y="882"/>
                        </a:lnTo>
                        <a:lnTo>
                          <a:pt x="207" y="876"/>
                        </a:lnTo>
                        <a:lnTo>
                          <a:pt x="207" y="873"/>
                        </a:lnTo>
                        <a:lnTo>
                          <a:pt x="209" y="871"/>
                        </a:lnTo>
                        <a:lnTo>
                          <a:pt x="211" y="870"/>
                        </a:lnTo>
                        <a:lnTo>
                          <a:pt x="215" y="868"/>
                        </a:lnTo>
                        <a:lnTo>
                          <a:pt x="218" y="870"/>
                        </a:lnTo>
                        <a:lnTo>
                          <a:pt x="222" y="870"/>
                        </a:lnTo>
                        <a:lnTo>
                          <a:pt x="222" y="866"/>
                        </a:lnTo>
                        <a:lnTo>
                          <a:pt x="222" y="860"/>
                        </a:lnTo>
                        <a:lnTo>
                          <a:pt x="223" y="860"/>
                        </a:lnTo>
                        <a:lnTo>
                          <a:pt x="223" y="859"/>
                        </a:lnTo>
                        <a:lnTo>
                          <a:pt x="225" y="859"/>
                        </a:lnTo>
                        <a:lnTo>
                          <a:pt x="226" y="859"/>
                        </a:lnTo>
                        <a:lnTo>
                          <a:pt x="228" y="860"/>
                        </a:lnTo>
                        <a:lnTo>
                          <a:pt x="230" y="860"/>
                        </a:lnTo>
                        <a:lnTo>
                          <a:pt x="231" y="860"/>
                        </a:lnTo>
                        <a:lnTo>
                          <a:pt x="233" y="859"/>
                        </a:lnTo>
                        <a:lnTo>
                          <a:pt x="239" y="854"/>
                        </a:lnTo>
                        <a:lnTo>
                          <a:pt x="241" y="854"/>
                        </a:lnTo>
                        <a:lnTo>
                          <a:pt x="241" y="852"/>
                        </a:lnTo>
                        <a:lnTo>
                          <a:pt x="249" y="851"/>
                        </a:lnTo>
                        <a:lnTo>
                          <a:pt x="250" y="851"/>
                        </a:lnTo>
                        <a:lnTo>
                          <a:pt x="255" y="849"/>
                        </a:lnTo>
                        <a:lnTo>
                          <a:pt x="256" y="847"/>
                        </a:lnTo>
                        <a:lnTo>
                          <a:pt x="261" y="846"/>
                        </a:lnTo>
                        <a:lnTo>
                          <a:pt x="263" y="846"/>
                        </a:lnTo>
                        <a:lnTo>
                          <a:pt x="264" y="844"/>
                        </a:lnTo>
                        <a:lnTo>
                          <a:pt x="264" y="843"/>
                        </a:lnTo>
                        <a:lnTo>
                          <a:pt x="264" y="841"/>
                        </a:lnTo>
                        <a:lnTo>
                          <a:pt x="266" y="841"/>
                        </a:lnTo>
                        <a:lnTo>
                          <a:pt x="268" y="841"/>
                        </a:lnTo>
                        <a:lnTo>
                          <a:pt x="268" y="840"/>
                        </a:lnTo>
                        <a:lnTo>
                          <a:pt x="269" y="840"/>
                        </a:lnTo>
                        <a:lnTo>
                          <a:pt x="271" y="840"/>
                        </a:lnTo>
                        <a:lnTo>
                          <a:pt x="272" y="841"/>
                        </a:lnTo>
                        <a:lnTo>
                          <a:pt x="274" y="841"/>
                        </a:lnTo>
                        <a:lnTo>
                          <a:pt x="280" y="841"/>
                        </a:lnTo>
                        <a:lnTo>
                          <a:pt x="282" y="841"/>
                        </a:lnTo>
                        <a:lnTo>
                          <a:pt x="288" y="840"/>
                        </a:lnTo>
                        <a:lnTo>
                          <a:pt x="298" y="838"/>
                        </a:lnTo>
                        <a:lnTo>
                          <a:pt x="306" y="840"/>
                        </a:lnTo>
                        <a:lnTo>
                          <a:pt x="307" y="838"/>
                        </a:lnTo>
                        <a:lnTo>
                          <a:pt x="309" y="838"/>
                        </a:lnTo>
                        <a:lnTo>
                          <a:pt x="312" y="836"/>
                        </a:lnTo>
                        <a:lnTo>
                          <a:pt x="315" y="836"/>
                        </a:lnTo>
                        <a:lnTo>
                          <a:pt x="317" y="836"/>
                        </a:lnTo>
                        <a:lnTo>
                          <a:pt x="318" y="838"/>
                        </a:lnTo>
                        <a:lnTo>
                          <a:pt x="321" y="838"/>
                        </a:lnTo>
                        <a:lnTo>
                          <a:pt x="325" y="838"/>
                        </a:lnTo>
                        <a:lnTo>
                          <a:pt x="326" y="838"/>
                        </a:lnTo>
                        <a:lnTo>
                          <a:pt x="328" y="836"/>
                        </a:lnTo>
                        <a:lnTo>
                          <a:pt x="331" y="833"/>
                        </a:lnTo>
                        <a:lnTo>
                          <a:pt x="332" y="833"/>
                        </a:lnTo>
                        <a:lnTo>
                          <a:pt x="332" y="835"/>
                        </a:lnTo>
                        <a:lnTo>
                          <a:pt x="336" y="833"/>
                        </a:lnTo>
                        <a:lnTo>
                          <a:pt x="337" y="832"/>
                        </a:lnTo>
                        <a:lnTo>
                          <a:pt x="339" y="832"/>
                        </a:lnTo>
                        <a:lnTo>
                          <a:pt x="344" y="830"/>
                        </a:lnTo>
                        <a:lnTo>
                          <a:pt x="348" y="827"/>
                        </a:lnTo>
                        <a:lnTo>
                          <a:pt x="355" y="827"/>
                        </a:lnTo>
                        <a:lnTo>
                          <a:pt x="366" y="827"/>
                        </a:lnTo>
                        <a:lnTo>
                          <a:pt x="367" y="827"/>
                        </a:lnTo>
                        <a:lnTo>
                          <a:pt x="369" y="827"/>
                        </a:lnTo>
                        <a:lnTo>
                          <a:pt x="377" y="824"/>
                        </a:lnTo>
                        <a:lnTo>
                          <a:pt x="380" y="825"/>
                        </a:lnTo>
                        <a:lnTo>
                          <a:pt x="380" y="827"/>
                        </a:lnTo>
                        <a:lnTo>
                          <a:pt x="385" y="825"/>
                        </a:lnTo>
                        <a:lnTo>
                          <a:pt x="388" y="827"/>
                        </a:lnTo>
                        <a:lnTo>
                          <a:pt x="391" y="827"/>
                        </a:lnTo>
                        <a:lnTo>
                          <a:pt x="393" y="827"/>
                        </a:lnTo>
                        <a:lnTo>
                          <a:pt x="401" y="824"/>
                        </a:lnTo>
                        <a:lnTo>
                          <a:pt x="404" y="821"/>
                        </a:lnTo>
                        <a:lnTo>
                          <a:pt x="407" y="819"/>
                        </a:lnTo>
                        <a:lnTo>
                          <a:pt x="413" y="819"/>
                        </a:lnTo>
                        <a:lnTo>
                          <a:pt x="416" y="817"/>
                        </a:lnTo>
                        <a:lnTo>
                          <a:pt x="418" y="817"/>
                        </a:lnTo>
                        <a:lnTo>
                          <a:pt x="420" y="817"/>
                        </a:lnTo>
                        <a:lnTo>
                          <a:pt x="421" y="821"/>
                        </a:lnTo>
                        <a:lnTo>
                          <a:pt x="423" y="822"/>
                        </a:lnTo>
                        <a:lnTo>
                          <a:pt x="426" y="824"/>
                        </a:lnTo>
                        <a:lnTo>
                          <a:pt x="432" y="822"/>
                        </a:lnTo>
                        <a:lnTo>
                          <a:pt x="437" y="822"/>
                        </a:lnTo>
                        <a:lnTo>
                          <a:pt x="439" y="822"/>
                        </a:lnTo>
                        <a:lnTo>
                          <a:pt x="447" y="822"/>
                        </a:lnTo>
                        <a:lnTo>
                          <a:pt x="450" y="824"/>
                        </a:lnTo>
                        <a:lnTo>
                          <a:pt x="464" y="824"/>
                        </a:lnTo>
                        <a:lnTo>
                          <a:pt x="467" y="824"/>
                        </a:lnTo>
                        <a:lnTo>
                          <a:pt x="470" y="827"/>
                        </a:lnTo>
                        <a:lnTo>
                          <a:pt x="472" y="827"/>
                        </a:lnTo>
                        <a:lnTo>
                          <a:pt x="473" y="828"/>
                        </a:lnTo>
                        <a:lnTo>
                          <a:pt x="475" y="827"/>
                        </a:lnTo>
                        <a:lnTo>
                          <a:pt x="475" y="828"/>
                        </a:lnTo>
                        <a:lnTo>
                          <a:pt x="483" y="830"/>
                        </a:lnTo>
                        <a:lnTo>
                          <a:pt x="483" y="828"/>
                        </a:lnTo>
                        <a:lnTo>
                          <a:pt x="485" y="828"/>
                        </a:lnTo>
                        <a:lnTo>
                          <a:pt x="488" y="824"/>
                        </a:lnTo>
                        <a:lnTo>
                          <a:pt x="489" y="824"/>
                        </a:lnTo>
                        <a:lnTo>
                          <a:pt x="492" y="808"/>
                        </a:lnTo>
                        <a:lnTo>
                          <a:pt x="492" y="806"/>
                        </a:lnTo>
                        <a:lnTo>
                          <a:pt x="492" y="805"/>
                        </a:lnTo>
                        <a:lnTo>
                          <a:pt x="496" y="802"/>
                        </a:lnTo>
                        <a:lnTo>
                          <a:pt x="496" y="800"/>
                        </a:lnTo>
                        <a:lnTo>
                          <a:pt x="497" y="798"/>
                        </a:lnTo>
                        <a:lnTo>
                          <a:pt x="499" y="797"/>
                        </a:lnTo>
                        <a:lnTo>
                          <a:pt x="504" y="795"/>
                        </a:lnTo>
                        <a:lnTo>
                          <a:pt x="505" y="794"/>
                        </a:lnTo>
                        <a:lnTo>
                          <a:pt x="510" y="792"/>
                        </a:lnTo>
                        <a:lnTo>
                          <a:pt x="515" y="792"/>
                        </a:lnTo>
                        <a:lnTo>
                          <a:pt x="523" y="795"/>
                        </a:lnTo>
                        <a:lnTo>
                          <a:pt x="529" y="795"/>
                        </a:lnTo>
                        <a:lnTo>
                          <a:pt x="534" y="790"/>
                        </a:lnTo>
                        <a:lnTo>
                          <a:pt x="534" y="789"/>
                        </a:lnTo>
                        <a:lnTo>
                          <a:pt x="537" y="787"/>
                        </a:lnTo>
                        <a:lnTo>
                          <a:pt x="537" y="786"/>
                        </a:lnTo>
                        <a:lnTo>
                          <a:pt x="538" y="786"/>
                        </a:lnTo>
                        <a:lnTo>
                          <a:pt x="538" y="784"/>
                        </a:lnTo>
                        <a:lnTo>
                          <a:pt x="540" y="783"/>
                        </a:lnTo>
                        <a:lnTo>
                          <a:pt x="540" y="779"/>
                        </a:lnTo>
                        <a:lnTo>
                          <a:pt x="540" y="778"/>
                        </a:lnTo>
                        <a:lnTo>
                          <a:pt x="542" y="768"/>
                        </a:lnTo>
                        <a:lnTo>
                          <a:pt x="545" y="764"/>
                        </a:lnTo>
                        <a:lnTo>
                          <a:pt x="548" y="760"/>
                        </a:lnTo>
                        <a:lnTo>
                          <a:pt x="549" y="757"/>
                        </a:lnTo>
                        <a:lnTo>
                          <a:pt x="556" y="752"/>
                        </a:lnTo>
                        <a:lnTo>
                          <a:pt x="557" y="752"/>
                        </a:lnTo>
                        <a:lnTo>
                          <a:pt x="559" y="752"/>
                        </a:lnTo>
                        <a:lnTo>
                          <a:pt x="561" y="751"/>
                        </a:lnTo>
                        <a:lnTo>
                          <a:pt x="565" y="751"/>
                        </a:lnTo>
                        <a:lnTo>
                          <a:pt x="570" y="749"/>
                        </a:lnTo>
                        <a:lnTo>
                          <a:pt x="572" y="748"/>
                        </a:lnTo>
                        <a:lnTo>
                          <a:pt x="575" y="748"/>
                        </a:lnTo>
                        <a:lnTo>
                          <a:pt x="576" y="748"/>
                        </a:lnTo>
                        <a:lnTo>
                          <a:pt x="581" y="746"/>
                        </a:lnTo>
                        <a:lnTo>
                          <a:pt x="584" y="745"/>
                        </a:lnTo>
                        <a:lnTo>
                          <a:pt x="589" y="735"/>
                        </a:lnTo>
                        <a:lnTo>
                          <a:pt x="589" y="733"/>
                        </a:lnTo>
                        <a:lnTo>
                          <a:pt x="588" y="732"/>
                        </a:lnTo>
                        <a:lnTo>
                          <a:pt x="586" y="732"/>
                        </a:lnTo>
                        <a:lnTo>
                          <a:pt x="583" y="729"/>
                        </a:lnTo>
                        <a:lnTo>
                          <a:pt x="580" y="727"/>
                        </a:lnTo>
                        <a:lnTo>
                          <a:pt x="578" y="725"/>
                        </a:lnTo>
                        <a:lnTo>
                          <a:pt x="576" y="725"/>
                        </a:lnTo>
                        <a:lnTo>
                          <a:pt x="575" y="724"/>
                        </a:lnTo>
                        <a:lnTo>
                          <a:pt x="573" y="722"/>
                        </a:lnTo>
                        <a:lnTo>
                          <a:pt x="572" y="716"/>
                        </a:lnTo>
                        <a:lnTo>
                          <a:pt x="572" y="714"/>
                        </a:lnTo>
                        <a:lnTo>
                          <a:pt x="572" y="711"/>
                        </a:lnTo>
                        <a:lnTo>
                          <a:pt x="573" y="706"/>
                        </a:lnTo>
                        <a:lnTo>
                          <a:pt x="583" y="700"/>
                        </a:lnTo>
                        <a:lnTo>
                          <a:pt x="599" y="687"/>
                        </a:lnTo>
                        <a:lnTo>
                          <a:pt x="600" y="686"/>
                        </a:lnTo>
                        <a:lnTo>
                          <a:pt x="602" y="684"/>
                        </a:lnTo>
                        <a:lnTo>
                          <a:pt x="603" y="683"/>
                        </a:lnTo>
                        <a:lnTo>
                          <a:pt x="613" y="675"/>
                        </a:lnTo>
                        <a:lnTo>
                          <a:pt x="616" y="672"/>
                        </a:lnTo>
                        <a:lnTo>
                          <a:pt x="618" y="672"/>
                        </a:lnTo>
                        <a:lnTo>
                          <a:pt x="618" y="670"/>
                        </a:lnTo>
                        <a:lnTo>
                          <a:pt x="622" y="665"/>
                        </a:lnTo>
                        <a:lnTo>
                          <a:pt x="626" y="662"/>
                        </a:lnTo>
                        <a:lnTo>
                          <a:pt x="629" y="657"/>
                        </a:lnTo>
                        <a:lnTo>
                          <a:pt x="629" y="656"/>
                        </a:lnTo>
                        <a:lnTo>
                          <a:pt x="630" y="656"/>
                        </a:lnTo>
                        <a:lnTo>
                          <a:pt x="635" y="646"/>
                        </a:lnTo>
                        <a:lnTo>
                          <a:pt x="635" y="642"/>
                        </a:lnTo>
                        <a:lnTo>
                          <a:pt x="635" y="632"/>
                        </a:lnTo>
                        <a:lnTo>
                          <a:pt x="637" y="629"/>
                        </a:lnTo>
                        <a:lnTo>
                          <a:pt x="641" y="626"/>
                        </a:lnTo>
                        <a:lnTo>
                          <a:pt x="648" y="627"/>
                        </a:lnTo>
                        <a:lnTo>
                          <a:pt x="659" y="630"/>
                        </a:lnTo>
                        <a:lnTo>
                          <a:pt x="667" y="634"/>
                        </a:lnTo>
                        <a:lnTo>
                          <a:pt x="670" y="637"/>
                        </a:lnTo>
                        <a:lnTo>
                          <a:pt x="671" y="637"/>
                        </a:lnTo>
                        <a:lnTo>
                          <a:pt x="673" y="637"/>
                        </a:lnTo>
                        <a:lnTo>
                          <a:pt x="675" y="637"/>
                        </a:lnTo>
                        <a:lnTo>
                          <a:pt x="676" y="634"/>
                        </a:lnTo>
                        <a:lnTo>
                          <a:pt x="675" y="629"/>
                        </a:lnTo>
                        <a:lnTo>
                          <a:pt x="671" y="627"/>
                        </a:lnTo>
                        <a:lnTo>
                          <a:pt x="671" y="626"/>
                        </a:lnTo>
                        <a:lnTo>
                          <a:pt x="670" y="624"/>
                        </a:lnTo>
                        <a:lnTo>
                          <a:pt x="665" y="618"/>
                        </a:lnTo>
                        <a:lnTo>
                          <a:pt x="665" y="615"/>
                        </a:lnTo>
                        <a:lnTo>
                          <a:pt x="664" y="613"/>
                        </a:lnTo>
                        <a:lnTo>
                          <a:pt x="664" y="610"/>
                        </a:lnTo>
                        <a:lnTo>
                          <a:pt x="657" y="596"/>
                        </a:lnTo>
                        <a:lnTo>
                          <a:pt x="657" y="588"/>
                        </a:lnTo>
                        <a:lnTo>
                          <a:pt x="657" y="581"/>
                        </a:lnTo>
                        <a:lnTo>
                          <a:pt x="656" y="577"/>
                        </a:lnTo>
                        <a:lnTo>
                          <a:pt x="656" y="572"/>
                        </a:lnTo>
                        <a:lnTo>
                          <a:pt x="657" y="566"/>
                        </a:lnTo>
                        <a:lnTo>
                          <a:pt x="659" y="561"/>
                        </a:lnTo>
                        <a:lnTo>
                          <a:pt x="662" y="556"/>
                        </a:lnTo>
                        <a:lnTo>
                          <a:pt x="662" y="554"/>
                        </a:lnTo>
                        <a:lnTo>
                          <a:pt x="665" y="548"/>
                        </a:lnTo>
                        <a:lnTo>
                          <a:pt x="670" y="529"/>
                        </a:lnTo>
                        <a:lnTo>
                          <a:pt x="673" y="526"/>
                        </a:lnTo>
                        <a:lnTo>
                          <a:pt x="675" y="524"/>
                        </a:lnTo>
                        <a:lnTo>
                          <a:pt x="681" y="518"/>
                        </a:lnTo>
                        <a:lnTo>
                          <a:pt x="684" y="513"/>
                        </a:lnTo>
                        <a:lnTo>
                          <a:pt x="689" y="508"/>
                        </a:lnTo>
                        <a:lnTo>
                          <a:pt x="692" y="501"/>
                        </a:lnTo>
                        <a:lnTo>
                          <a:pt x="690" y="494"/>
                        </a:lnTo>
                        <a:lnTo>
                          <a:pt x="684" y="486"/>
                        </a:lnTo>
                        <a:lnTo>
                          <a:pt x="683" y="482"/>
                        </a:lnTo>
                        <a:lnTo>
                          <a:pt x="681" y="474"/>
                        </a:lnTo>
                        <a:lnTo>
                          <a:pt x="679" y="472"/>
                        </a:lnTo>
                        <a:lnTo>
                          <a:pt x="678" y="467"/>
                        </a:lnTo>
                        <a:lnTo>
                          <a:pt x="676" y="464"/>
                        </a:lnTo>
                        <a:lnTo>
                          <a:pt x="673" y="459"/>
                        </a:lnTo>
                        <a:lnTo>
                          <a:pt x="671" y="456"/>
                        </a:lnTo>
                        <a:lnTo>
                          <a:pt x="670" y="456"/>
                        </a:lnTo>
                        <a:lnTo>
                          <a:pt x="668" y="453"/>
                        </a:lnTo>
                        <a:lnTo>
                          <a:pt x="665" y="451"/>
                        </a:lnTo>
                        <a:lnTo>
                          <a:pt x="664" y="450"/>
                        </a:lnTo>
                        <a:lnTo>
                          <a:pt x="660" y="448"/>
                        </a:lnTo>
                        <a:lnTo>
                          <a:pt x="659" y="447"/>
                        </a:lnTo>
                        <a:lnTo>
                          <a:pt x="649" y="444"/>
                        </a:lnTo>
                        <a:lnTo>
                          <a:pt x="648" y="442"/>
                        </a:lnTo>
                        <a:lnTo>
                          <a:pt x="648" y="440"/>
                        </a:lnTo>
                        <a:lnTo>
                          <a:pt x="645" y="439"/>
                        </a:lnTo>
                        <a:lnTo>
                          <a:pt x="643" y="439"/>
                        </a:lnTo>
                        <a:lnTo>
                          <a:pt x="641" y="437"/>
                        </a:lnTo>
                        <a:lnTo>
                          <a:pt x="640" y="437"/>
                        </a:lnTo>
                        <a:lnTo>
                          <a:pt x="635" y="426"/>
                        </a:lnTo>
                        <a:lnTo>
                          <a:pt x="633" y="421"/>
                        </a:lnTo>
                        <a:lnTo>
                          <a:pt x="632" y="418"/>
                        </a:lnTo>
                        <a:lnTo>
                          <a:pt x="633" y="412"/>
                        </a:lnTo>
                        <a:lnTo>
                          <a:pt x="635" y="406"/>
                        </a:lnTo>
                        <a:lnTo>
                          <a:pt x="633" y="390"/>
                        </a:lnTo>
                        <a:lnTo>
                          <a:pt x="635" y="388"/>
                        </a:lnTo>
                        <a:lnTo>
                          <a:pt x="637" y="385"/>
                        </a:lnTo>
                        <a:lnTo>
                          <a:pt x="638" y="383"/>
                        </a:lnTo>
                        <a:lnTo>
                          <a:pt x="640" y="383"/>
                        </a:lnTo>
                        <a:lnTo>
                          <a:pt x="641" y="383"/>
                        </a:lnTo>
                        <a:lnTo>
                          <a:pt x="643" y="383"/>
                        </a:lnTo>
                        <a:lnTo>
                          <a:pt x="645" y="383"/>
                        </a:lnTo>
                        <a:lnTo>
                          <a:pt x="646" y="383"/>
                        </a:lnTo>
                        <a:lnTo>
                          <a:pt x="652" y="383"/>
                        </a:lnTo>
                        <a:lnTo>
                          <a:pt x="659" y="383"/>
                        </a:lnTo>
                        <a:lnTo>
                          <a:pt x="664" y="382"/>
                        </a:lnTo>
                        <a:lnTo>
                          <a:pt x="671" y="382"/>
                        </a:lnTo>
                        <a:lnTo>
                          <a:pt x="679" y="382"/>
                        </a:lnTo>
                        <a:lnTo>
                          <a:pt x="683" y="380"/>
                        </a:lnTo>
                        <a:lnTo>
                          <a:pt x="689" y="380"/>
                        </a:lnTo>
                        <a:lnTo>
                          <a:pt x="692" y="379"/>
                        </a:lnTo>
                        <a:lnTo>
                          <a:pt x="697" y="379"/>
                        </a:lnTo>
                        <a:lnTo>
                          <a:pt x="698" y="377"/>
                        </a:lnTo>
                        <a:lnTo>
                          <a:pt x="700" y="377"/>
                        </a:lnTo>
                        <a:lnTo>
                          <a:pt x="702" y="377"/>
                        </a:lnTo>
                        <a:lnTo>
                          <a:pt x="708" y="377"/>
                        </a:lnTo>
                        <a:lnTo>
                          <a:pt x="709" y="379"/>
                        </a:lnTo>
                        <a:lnTo>
                          <a:pt x="714" y="380"/>
                        </a:lnTo>
                        <a:lnTo>
                          <a:pt x="717" y="382"/>
                        </a:lnTo>
                        <a:lnTo>
                          <a:pt x="728" y="393"/>
                        </a:lnTo>
                        <a:lnTo>
                          <a:pt x="733" y="394"/>
                        </a:lnTo>
                        <a:lnTo>
                          <a:pt x="736" y="396"/>
                        </a:lnTo>
                        <a:lnTo>
                          <a:pt x="740" y="398"/>
                        </a:lnTo>
                        <a:lnTo>
                          <a:pt x="743" y="398"/>
                        </a:lnTo>
                        <a:lnTo>
                          <a:pt x="754" y="398"/>
                        </a:lnTo>
                        <a:lnTo>
                          <a:pt x="757" y="394"/>
                        </a:lnTo>
                        <a:lnTo>
                          <a:pt x="765" y="391"/>
                        </a:lnTo>
                        <a:lnTo>
                          <a:pt x="768" y="390"/>
                        </a:lnTo>
                        <a:lnTo>
                          <a:pt x="770" y="388"/>
                        </a:lnTo>
                        <a:lnTo>
                          <a:pt x="771" y="387"/>
                        </a:lnTo>
                        <a:lnTo>
                          <a:pt x="776" y="383"/>
                        </a:lnTo>
                        <a:lnTo>
                          <a:pt x="781" y="380"/>
                        </a:lnTo>
                        <a:lnTo>
                          <a:pt x="782" y="380"/>
                        </a:lnTo>
                        <a:lnTo>
                          <a:pt x="784" y="379"/>
                        </a:lnTo>
                        <a:lnTo>
                          <a:pt x="787" y="374"/>
                        </a:lnTo>
                        <a:lnTo>
                          <a:pt x="787" y="372"/>
                        </a:lnTo>
                        <a:lnTo>
                          <a:pt x="792" y="363"/>
                        </a:lnTo>
                        <a:lnTo>
                          <a:pt x="795" y="348"/>
                        </a:lnTo>
                        <a:lnTo>
                          <a:pt x="795" y="344"/>
                        </a:lnTo>
                        <a:lnTo>
                          <a:pt x="795" y="334"/>
                        </a:lnTo>
                        <a:lnTo>
                          <a:pt x="795" y="331"/>
                        </a:lnTo>
                        <a:lnTo>
                          <a:pt x="792" y="320"/>
                        </a:lnTo>
                        <a:lnTo>
                          <a:pt x="789" y="307"/>
                        </a:lnTo>
                        <a:lnTo>
                          <a:pt x="789" y="299"/>
                        </a:lnTo>
                        <a:lnTo>
                          <a:pt x="789" y="293"/>
                        </a:lnTo>
                        <a:lnTo>
                          <a:pt x="789" y="288"/>
                        </a:lnTo>
                        <a:lnTo>
                          <a:pt x="789" y="287"/>
                        </a:lnTo>
                        <a:lnTo>
                          <a:pt x="790" y="276"/>
                        </a:lnTo>
                        <a:lnTo>
                          <a:pt x="792" y="271"/>
                        </a:lnTo>
                        <a:lnTo>
                          <a:pt x="792" y="266"/>
                        </a:lnTo>
                        <a:lnTo>
                          <a:pt x="792" y="265"/>
                        </a:lnTo>
                        <a:lnTo>
                          <a:pt x="792" y="261"/>
                        </a:lnTo>
                        <a:lnTo>
                          <a:pt x="793" y="252"/>
                        </a:lnTo>
                        <a:lnTo>
                          <a:pt x="793" y="250"/>
                        </a:lnTo>
                        <a:lnTo>
                          <a:pt x="793" y="247"/>
                        </a:lnTo>
                        <a:lnTo>
                          <a:pt x="792" y="246"/>
                        </a:lnTo>
                        <a:lnTo>
                          <a:pt x="792" y="242"/>
                        </a:lnTo>
                        <a:lnTo>
                          <a:pt x="790" y="239"/>
                        </a:lnTo>
                        <a:lnTo>
                          <a:pt x="789" y="236"/>
                        </a:lnTo>
                        <a:lnTo>
                          <a:pt x="789" y="234"/>
                        </a:lnTo>
                        <a:lnTo>
                          <a:pt x="786" y="233"/>
                        </a:lnTo>
                        <a:lnTo>
                          <a:pt x="778" y="225"/>
                        </a:lnTo>
                        <a:lnTo>
                          <a:pt x="766" y="212"/>
                        </a:lnTo>
                        <a:lnTo>
                          <a:pt x="766" y="211"/>
                        </a:lnTo>
                        <a:lnTo>
                          <a:pt x="762" y="206"/>
                        </a:lnTo>
                        <a:lnTo>
                          <a:pt x="757" y="193"/>
                        </a:lnTo>
                        <a:lnTo>
                          <a:pt x="757" y="192"/>
                        </a:lnTo>
                        <a:lnTo>
                          <a:pt x="755" y="189"/>
                        </a:lnTo>
                        <a:lnTo>
                          <a:pt x="752" y="181"/>
                        </a:lnTo>
                        <a:lnTo>
                          <a:pt x="749" y="174"/>
                        </a:lnTo>
                        <a:lnTo>
                          <a:pt x="746" y="171"/>
                        </a:lnTo>
                        <a:lnTo>
                          <a:pt x="743" y="163"/>
                        </a:lnTo>
                        <a:lnTo>
                          <a:pt x="736" y="155"/>
                        </a:lnTo>
                        <a:lnTo>
                          <a:pt x="730" y="149"/>
                        </a:lnTo>
                        <a:lnTo>
                          <a:pt x="719" y="141"/>
                        </a:lnTo>
                        <a:lnTo>
                          <a:pt x="717" y="139"/>
                        </a:lnTo>
                        <a:lnTo>
                          <a:pt x="716" y="136"/>
                        </a:lnTo>
                        <a:lnTo>
                          <a:pt x="716" y="133"/>
                        </a:lnTo>
                        <a:lnTo>
                          <a:pt x="716" y="131"/>
                        </a:lnTo>
                        <a:lnTo>
                          <a:pt x="716" y="128"/>
                        </a:lnTo>
                        <a:lnTo>
                          <a:pt x="719" y="125"/>
                        </a:lnTo>
                        <a:lnTo>
                          <a:pt x="722" y="122"/>
                        </a:lnTo>
                        <a:lnTo>
                          <a:pt x="724" y="120"/>
                        </a:lnTo>
                        <a:lnTo>
                          <a:pt x="727" y="119"/>
                        </a:lnTo>
                        <a:lnTo>
                          <a:pt x="730" y="117"/>
                        </a:lnTo>
                        <a:lnTo>
                          <a:pt x="736" y="112"/>
                        </a:lnTo>
                        <a:lnTo>
                          <a:pt x="738" y="112"/>
                        </a:lnTo>
                        <a:lnTo>
                          <a:pt x="747" y="105"/>
                        </a:lnTo>
                        <a:lnTo>
                          <a:pt x="752" y="103"/>
                        </a:lnTo>
                        <a:lnTo>
                          <a:pt x="759" y="100"/>
                        </a:lnTo>
                        <a:lnTo>
                          <a:pt x="763" y="100"/>
                        </a:lnTo>
                        <a:lnTo>
                          <a:pt x="765" y="100"/>
                        </a:lnTo>
                        <a:lnTo>
                          <a:pt x="766" y="100"/>
                        </a:lnTo>
                        <a:lnTo>
                          <a:pt x="773" y="101"/>
                        </a:lnTo>
                        <a:lnTo>
                          <a:pt x="779" y="101"/>
                        </a:lnTo>
                        <a:lnTo>
                          <a:pt x="781" y="100"/>
                        </a:lnTo>
                        <a:lnTo>
                          <a:pt x="784" y="100"/>
                        </a:lnTo>
                        <a:lnTo>
                          <a:pt x="786" y="97"/>
                        </a:lnTo>
                        <a:lnTo>
                          <a:pt x="786" y="95"/>
                        </a:lnTo>
                        <a:lnTo>
                          <a:pt x="786" y="90"/>
                        </a:lnTo>
                        <a:lnTo>
                          <a:pt x="784" y="87"/>
                        </a:lnTo>
                        <a:lnTo>
                          <a:pt x="782" y="87"/>
                        </a:lnTo>
                        <a:lnTo>
                          <a:pt x="781" y="86"/>
                        </a:lnTo>
                        <a:lnTo>
                          <a:pt x="778" y="82"/>
                        </a:lnTo>
                        <a:lnTo>
                          <a:pt x="776" y="79"/>
                        </a:lnTo>
                        <a:lnTo>
                          <a:pt x="774" y="76"/>
                        </a:lnTo>
                        <a:lnTo>
                          <a:pt x="774" y="73"/>
                        </a:lnTo>
                        <a:lnTo>
                          <a:pt x="776" y="70"/>
                        </a:lnTo>
                        <a:lnTo>
                          <a:pt x="779" y="68"/>
                        </a:lnTo>
                        <a:lnTo>
                          <a:pt x="779" y="67"/>
                        </a:lnTo>
                        <a:lnTo>
                          <a:pt x="781" y="67"/>
                        </a:lnTo>
                        <a:lnTo>
                          <a:pt x="784" y="63"/>
                        </a:lnTo>
                        <a:lnTo>
                          <a:pt x="786" y="62"/>
                        </a:lnTo>
                        <a:lnTo>
                          <a:pt x="787" y="60"/>
                        </a:lnTo>
                        <a:lnTo>
                          <a:pt x="789" y="60"/>
                        </a:lnTo>
                        <a:lnTo>
                          <a:pt x="798" y="52"/>
                        </a:lnTo>
                        <a:lnTo>
                          <a:pt x="800" y="52"/>
                        </a:lnTo>
                        <a:lnTo>
                          <a:pt x="801" y="51"/>
                        </a:lnTo>
                        <a:lnTo>
                          <a:pt x="803" y="49"/>
                        </a:lnTo>
                        <a:lnTo>
                          <a:pt x="808" y="48"/>
                        </a:lnTo>
                        <a:lnTo>
                          <a:pt x="809" y="46"/>
                        </a:lnTo>
                        <a:lnTo>
                          <a:pt x="812" y="44"/>
                        </a:lnTo>
                        <a:lnTo>
                          <a:pt x="814" y="44"/>
                        </a:lnTo>
                        <a:lnTo>
                          <a:pt x="817" y="44"/>
                        </a:lnTo>
                        <a:lnTo>
                          <a:pt x="817" y="43"/>
                        </a:lnTo>
                        <a:lnTo>
                          <a:pt x="825" y="41"/>
                        </a:lnTo>
                        <a:lnTo>
                          <a:pt x="835" y="35"/>
                        </a:lnTo>
                        <a:lnTo>
                          <a:pt x="836" y="35"/>
                        </a:lnTo>
                        <a:lnTo>
                          <a:pt x="839" y="33"/>
                        </a:lnTo>
                        <a:lnTo>
                          <a:pt x="841" y="32"/>
                        </a:lnTo>
                        <a:lnTo>
                          <a:pt x="844" y="27"/>
                        </a:lnTo>
                        <a:lnTo>
                          <a:pt x="846" y="25"/>
                        </a:lnTo>
                        <a:lnTo>
                          <a:pt x="849" y="22"/>
                        </a:lnTo>
                        <a:lnTo>
                          <a:pt x="850" y="21"/>
                        </a:lnTo>
                        <a:lnTo>
                          <a:pt x="852" y="19"/>
                        </a:lnTo>
                        <a:lnTo>
                          <a:pt x="860" y="11"/>
                        </a:lnTo>
                        <a:lnTo>
                          <a:pt x="863"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36" name="Freeform 35"/>
                  <p:cNvSpPr>
                    <a:spLocks/>
                  </p:cNvSpPr>
                  <p:nvPr/>
                </p:nvSpPr>
                <p:spPr bwMode="auto">
                  <a:xfrm>
                    <a:off x="2500" y="635"/>
                    <a:ext cx="2256" cy="1186"/>
                  </a:xfrm>
                  <a:custGeom>
                    <a:avLst/>
                    <a:gdLst>
                      <a:gd name="T0" fmla="*/ 8 w 2256"/>
                      <a:gd name="T1" fmla="*/ 1045 h 1186"/>
                      <a:gd name="T2" fmla="*/ 35 w 2256"/>
                      <a:gd name="T3" fmla="*/ 1031 h 1186"/>
                      <a:gd name="T4" fmla="*/ 60 w 2256"/>
                      <a:gd name="T5" fmla="*/ 1018 h 1186"/>
                      <a:gd name="T6" fmla="*/ 81 w 2256"/>
                      <a:gd name="T7" fmla="*/ 999 h 1186"/>
                      <a:gd name="T8" fmla="*/ 84 w 2256"/>
                      <a:gd name="T9" fmla="*/ 977 h 1186"/>
                      <a:gd name="T10" fmla="*/ 98 w 2256"/>
                      <a:gd name="T11" fmla="*/ 979 h 1186"/>
                      <a:gd name="T12" fmla="*/ 109 w 2256"/>
                      <a:gd name="T13" fmla="*/ 1004 h 1186"/>
                      <a:gd name="T14" fmla="*/ 124 w 2256"/>
                      <a:gd name="T15" fmla="*/ 1015 h 1186"/>
                      <a:gd name="T16" fmla="*/ 98 w 2256"/>
                      <a:gd name="T17" fmla="*/ 1024 h 1186"/>
                      <a:gd name="T18" fmla="*/ 87 w 2256"/>
                      <a:gd name="T19" fmla="*/ 1037 h 1186"/>
                      <a:gd name="T20" fmla="*/ 97 w 2256"/>
                      <a:gd name="T21" fmla="*/ 1048 h 1186"/>
                      <a:gd name="T22" fmla="*/ 128 w 2256"/>
                      <a:gd name="T23" fmla="*/ 1050 h 1186"/>
                      <a:gd name="T24" fmla="*/ 154 w 2256"/>
                      <a:gd name="T25" fmla="*/ 1058 h 1186"/>
                      <a:gd name="T26" fmla="*/ 179 w 2256"/>
                      <a:gd name="T27" fmla="*/ 1061 h 1186"/>
                      <a:gd name="T28" fmla="*/ 204 w 2256"/>
                      <a:gd name="T29" fmla="*/ 1067 h 1186"/>
                      <a:gd name="T30" fmla="*/ 252 w 2256"/>
                      <a:gd name="T31" fmla="*/ 1112 h 1186"/>
                      <a:gd name="T32" fmla="*/ 303 w 2256"/>
                      <a:gd name="T33" fmla="*/ 1148 h 1186"/>
                      <a:gd name="T34" fmla="*/ 331 w 2256"/>
                      <a:gd name="T35" fmla="*/ 1164 h 1186"/>
                      <a:gd name="T36" fmla="*/ 388 w 2256"/>
                      <a:gd name="T37" fmla="*/ 1183 h 1186"/>
                      <a:gd name="T38" fmla="*/ 418 w 2256"/>
                      <a:gd name="T39" fmla="*/ 1184 h 1186"/>
                      <a:gd name="T40" fmla="*/ 428 w 2256"/>
                      <a:gd name="T41" fmla="*/ 1175 h 1186"/>
                      <a:gd name="T42" fmla="*/ 426 w 2256"/>
                      <a:gd name="T43" fmla="*/ 1142 h 1186"/>
                      <a:gd name="T44" fmla="*/ 434 w 2256"/>
                      <a:gd name="T45" fmla="*/ 1118 h 1186"/>
                      <a:gd name="T46" fmla="*/ 471 w 2256"/>
                      <a:gd name="T47" fmla="*/ 1115 h 1186"/>
                      <a:gd name="T48" fmla="*/ 520 w 2256"/>
                      <a:gd name="T49" fmla="*/ 1110 h 1186"/>
                      <a:gd name="T50" fmla="*/ 542 w 2256"/>
                      <a:gd name="T51" fmla="*/ 1093 h 1186"/>
                      <a:gd name="T52" fmla="*/ 528 w 2256"/>
                      <a:gd name="T53" fmla="*/ 1062 h 1186"/>
                      <a:gd name="T54" fmla="*/ 526 w 2256"/>
                      <a:gd name="T55" fmla="*/ 1023 h 1186"/>
                      <a:gd name="T56" fmla="*/ 515 w 2256"/>
                      <a:gd name="T57" fmla="*/ 955 h 1186"/>
                      <a:gd name="T58" fmla="*/ 529 w 2256"/>
                      <a:gd name="T59" fmla="*/ 920 h 1186"/>
                      <a:gd name="T60" fmla="*/ 531 w 2256"/>
                      <a:gd name="T61" fmla="*/ 884 h 1186"/>
                      <a:gd name="T62" fmla="*/ 513 w 2256"/>
                      <a:gd name="T63" fmla="*/ 852 h 1186"/>
                      <a:gd name="T64" fmla="*/ 528 w 2256"/>
                      <a:gd name="T65" fmla="*/ 841 h 1186"/>
                      <a:gd name="T66" fmla="*/ 574 w 2256"/>
                      <a:gd name="T67" fmla="*/ 861 h 1186"/>
                      <a:gd name="T68" fmla="*/ 591 w 2256"/>
                      <a:gd name="T69" fmla="*/ 860 h 1186"/>
                      <a:gd name="T70" fmla="*/ 613 w 2256"/>
                      <a:gd name="T71" fmla="*/ 855 h 1186"/>
                      <a:gd name="T72" fmla="*/ 651 w 2256"/>
                      <a:gd name="T73" fmla="*/ 891 h 1186"/>
                      <a:gd name="T74" fmla="*/ 673 w 2256"/>
                      <a:gd name="T75" fmla="*/ 879 h 1186"/>
                      <a:gd name="T76" fmla="*/ 684 w 2256"/>
                      <a:gd name="T77" fmla="*/ 872 h 1186"/>
                      <a:gd name="T78" fmla="*/ 702 w 2256"/>
                      <a:gd name="T79" fmla="*/ 884 h 1186"/>
                      <a:gd name="T80" fmla="*/ 724 w 2256"/>
                      <a:gd name="T81" fmla="*/ 895 h 1186"/>
                      <a:gd name="T82" fmla="*/ 751 w 2256"/>
                      <a:gd name="T83" fmla="*/ 796 h 1186"/>
                      <a:gd name="T84" fmla="*/ 778 w 2256"/>
                      <a:gd name="T85" fmla="*/ 706 h 1186"/>
                      <a:gd name="T86" fmla="*/ 800 w 2256"/>
                      <a:gd name="T87" fmla="*/ 624 h 1186"/>
                      <a:gd name="T88" fmla="*/ 952 w 2256"/>
                      <a:gd name="T89" fmla="*/ 529 h 1186"/>
                      <a:gd name="T90" fmla="*/ 1125 w 2256"/>
                      <a:gd name="T91" fmla="*/ 511 h 1186"/>
                      <a:gd name="T92" fmla="*/ 1242 w 2256"/>
                      <a:gd name="T93" fmla="*/ 575 h 1186"/>
                      <a:gd name="T94" fmla="*/ 1316 w 2256"/>
                      <a:gd name="T95" fmla="*/ 407 h 1186"/>
                      <a:gd name="T96" fmla="*/ 1575 w 2256"/>
                      <a:gd name="T97" fmla="*/ 310 h 1186"/>
                      <a:gd name="T98" fmla="*/ 1866 w 2256"/>
                      <a:gd name="T99" fmla="*/ 180 h 1186"/>
                      <a:gd name="T100" fmla="*/ 1914 w 2256"/>
                      <a:gd name="T101" fmla="*/ 149 h 1186"/>
                      <a:gd name="T102" fmla="*/ 1960 w 2256"/>
                      <a:gd name="T103" fmla="*/ 112 h 1186"/>
                      <a:gd name="T104" fmla="*/ 1996 w 2256"/>
                      <a:gd name="T105" fmla="*/ 76 h 1186"/>
                      <a:gd name="T106" fmla="*/ 2018 w 2256"/>
                      <a:gd name="T107" fmla="*/ 53 h 1186"/>
                      <a:gd name="T108" fmla="*/ 2032 w 2256"/>
                      <a:gd name="T109" fmla="*/ 41 h 1186"/>
                      <a:gd name="T110" fmla="*/ 2051 w 2256"/>
                      <a:gd name="T111" fmla="*/ 27 h 1186"/>
                      <a:gd name="T112" fmla="*/ 2077 w 2256"/>
                      <a:gd name="T113" fmla="*/ 11 h 1186"/>
                      <a:gd name="T114" fmla="*/ 2096 w 2256"/>
                      <a:gd name="T115" fmla="*/ 1 h 1186"/>
                      <a:gd name="T116" fmla="*/ 2161 w 2256"/>
                      <a:gd name="T117" fmla="*/ 1 h 1186"/>
                      <a:gd name="T118" fmla="*/ 2229 w 2256"/>
                      <a:gd name="T119" fmla="*/ 1 h 1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56" h="1186">
                        <a:moveTo>
                          <a:pt x="0" y="1072"/>
                        </a:moveTo>
                        <a:lnTo>
                          <a:pt x="3" y="1066"/>
                        </a:lnTo>
                        <a:lnTo>
                          <a:pt x="3" y="1062"/>
                        </a:lnTo>
                        <a:lnTo>
                          <a:pt x="5" y="1053"/>
                        </a:lnTo>
                        <a:lnTo>
                          <a:pt x="8" y="1047"/>
                        </a:lnTo>
                        <a:lnTo>
                          <a:pt x="8" y="1045"/>
                        </a:lnTo>
                        <a:lnTo>
                          <a:pt x="14" y="1040"/>
                        </a:lnTo>
                        <a:lnTo>
                          <a:pt x="18" y="1039"/>
                        </a:lnTo>
                        <a:lnTo>
                          <a:pt x="19" y="1039"/>
                        </a:lnTo>
                        <a:lnTo>
                          <a:pt x="24" y="1037"/>
                        </a:lnTo>
                        <a:lnTo>
                          <a:pt x="30" y="1036"/>
                        </a:lnTo>
                        <a:lnTo>
                          <a:pt x="35" y="1031"/>
                        </a:lnTo>
                        <a:lnTo>
                          <a:pt x="37" y="1029"/>
                        </a:lnTo>
                        <a:lnTo>
                          <a:pt x="40" y="1026"/>
                        </a:lnTo>
                        <a:lnTo>
                          <a:pt x="41" y="1024"/>
                        </a:lnTo>
                        <a:lnTo>
                          <a:pt x="49" y="1021"/>
                        </a:lnTo>
                        <a:lnTo>
                          <a:pt x="59" y="1018"/>
                        </a:lnTo>
                        <a:lnTo>
                          <a:pt x="60" y="1018"/>
                        </a:lnTo>
                        <a:lnTo>
                          <a:pt x="62" y="1018"/>
                        </a:lnTo>
                        <a:lnTo>
                          <a:pt x="68" y="1017"/>
                        </a:lnTo>
                        <a:lnTo>
                          <a:pt x="73" y="1013"/>
                        </a:lnTo>
                        <a:lnTo>
                          <a:pt x="73" y="1012"/>
                        </a:lnTo>
                        <a:lnTo>
                          <a:pt x="81" y="1001"/>
                        </a:lnTo>
                        <a:lnTo>
                          <a:pt x="81" y="999"/>
                        </a:lnTo>
                        <a:lnTo>
                          <a:pt x="82" y="998"/>
                        </a:lnTo>
                        <a:lnTo>
                          <a:pt x="82" y="991"/>
                        </a:lnTo>
                        <a:lnTo>
                          <a:pt x="81" y="986"/>
                        </a:lnTo>
                        <a:lnTo>
                          <a:pt x="81" y="980"/>
                        </a:lnTo>
                        <a:lnTo>
                          <a:pt x="81" y="979"/>
                        </a:lnTo>
                        <a:lnTo>
                          <a:pt x="84" y="977"/>
                        </a:lnTo>
                        <a:lnTo>
                          <a:pt x="89" y="975"/>
                        </a:lnTo>
                        <a:lnTo>
                          <a:pt x="92" y="975"/>
                        </a:lnTo>
                        <a:lnTo>
                          <a:pt x="95" y="975"/>
                        </a:lnTo>
                        <a:lnTo>
                          <a:pt x="97" y="977"/>
                        </a:lnTo>
                        <a:lnTo>
                          <a:pt x="98" y="977"/>
                        </a:lnTo>
                        <a:lnTo>
                          <a:pt x="98" y="979"/>
                        </a:lnTo>
                        <a:lnTo>
                          <a:pt x="102" y="988"/>
                        </a:lnTo>
                        <a:lnTo>
                          <a:pt x="102" y="990"/>
                        </a:lnTo>
                        <a:lnTo>
                          <a:pt x="103" y="993"/>
                        </a:lnTo>
                        <a:lnTo>
                          <a:pt x="103" y="996"/>
                        </a:lnTo>
                        <a:lnTo>
                          <a:pt x="105" y="1001"/>
                        </a:lnTo>
                        <a:lnTo>
                          <a:pt x="109" y="1004"/>
                        </a:lnTo>
                        <a:lnTo>
                          <a:pt x="113" y="1004"/>
                        </a:lnTo>
                        <a:lnTo>
                          <a:pt x="121" y="1007"/>
                        </a:lnTo>
                        <a:lnTo>
                          <a:pt x="124" y="1010"/>
                        </a:lnTo>
                        <a:lnTo>
                          <a:pt x="124" y="1012"/>
                        </a:lnTo>
                        <a:lnTo>
                          <a:pt x="124" y="1013"/>
                        </a:lnTo>
                        <a:lnTo>
                          <a:pt x="124" y="1015"/>
                        </a:lnTo>
                        <a:lnTo>
                          <a:pt x="122" y="1018"/>
                        </a:lnTo>
                        <a:lnTo>
                          <a:pt x="117" y="1018"/>
                        </a:lnTo>
                        <a:lnTo>
                          <a:pt x="114" y="1020"/>
                        </a:lnTo>
                        <a:lnTo>
                          <a:pt x="111" y="1020"/>
                        </a:lnTo>
                        <a:lnTo>
                          <a:pt x="105" y="1023"/>
                        </a:lnTo>
                        <a:lnTo>
                          <a:pt x="98" y="1024"/>
                        </a:lnTo>
                        <a:lnTo>
                          <a:pt x="94" y="1026"/>
                        </a:lnTo>
                        <a:lnTo>
                          <a:pt x="90" y="1029"/>
                        </a:lnTo>
                        <a:lnTo>
                          <a:pt x="89" y="1031"/>
                        </a:lnTo>
                        <a:lnTo>
                          <a:pt x="87" y="1032"/>
                        </a:lnTo>
                        <a:lnTo>
                          <a:pt x="87" y="1034"/>
                        </a:lnTo>
                        <a:lnTo>
                          <a:pt x="87" y="1037"/>
                        </a:lnTo>
                        <a:lnTo>
                          <a:pt x="87" y="1039"/>
                        </a:lnTo>
                        <a:lnTo>
                          <a:pt x="89" y="1040"/>
                        </a:lnTo>
                        <a:lnTo>
                          <a:pt x="89" y="1042"/>
                        </a:lnTo>
                        <a:lnTo>
                          <a:pt x="92" y="1045"/>
                        </a:lnTo>
                        <a:lnTo>
                          <a:pt x="94" y="1045"/>
                        </a:lnTo>
                        <a:lnTo>
                          <a:pt x="97" y="1048"/>
                        </a:lnTo>
                        <a:lnTo>
                          <a:pt x="103" y="1050"/>
                        </a:lnTo>
                        <a:lnTo>
                          <a:pt x="105" y="1051"/>
                        </a:lnTo>
                        <a:lnTo>
                          <a:pt x="111" y="1050"/>
                        </a:lnTo>
                        <a:lnTo>
                          <a:pt x="114" y="1050"/>
                        </a:lnTo>
                        <a:lnTo>
                          <a:pt x="125" y="1050"/>
                        </a:lnTo>
                        <a:lnTo>
                          <a:pt x="128" y="1050"/>
                        </a:lnTo>
                        <a:lnTo>
                          <a:pt x="130" y="1051"/>
                        </a:lnTo>
                        <a:lnTo>
                          <a:pt x="136" y="1053"/>
                        </a:lnTo>
                        <a:lnTo>
                          <a:pt x="138" y="1053"/>
                        </a:lnTo>
                        <a:lnTo>
                          <a:pt x="144" y="1055"/>
                        </a:lnTo>
                        <a:lnTo>
                          <a:pt x="147" y="1055"/>
                        </a:lnTo>
                        <a:lnTo>
                          <a:pt x="154" y="1058"/>
                        </a:lnTo>
                        <a:lnTo>
                          <a:pt x="155" y="1058"/>
                        </a:lnTo>
                        <a:lnTo>
                          <a:pt x="160" y="1059"/>
                        </a:lnTo>
                        <a:lnTo>
                          <a:pt x="163" y="1061"/>
                        </a:lnTo>
                        <a:lnTo>
                          <a:pt x="173" y="1061"/>
                        </a:lnTo>
                        <a:lnTo>
                          <a:pt x="174" y="1061"/>
                        </a:lnTo>
                        <a:lnTo>
                          <a:pt x="179" y="1061"/>
                        </a:lnTo>
                        <a:lnTo>
                          <a:pt x="182" y="1061"/>
                        </a:lnTo>
                        <a:lnTo>
                          <a:pt x="184" y="1061"/>
                        </a:lnTo>
                        <a:lnTo>
                          <a:pt x="184" y="1059"/>
                        </a:lnTo>
                        <a:lnTo>
                          <a:pt x="187" y="1059"/>
                        </a:lnTo>
                        <a:lnTo>
                          <a:pt x="197" y="1062"/>
                        </a:lnTo>
                        <a:lnTo>
                          <a:pt x="204" y="1067"/>
                        </a:lnTo>
                        <a:lnTo>
                          <a:pt x="209" y="1070"/>
                        </a:lnTo>
                        <a:lnTo>
                          <a:pt x="212" y="1074"/>
                        </a:lnTo>
                        <a:lnTo>
                          <a:pt x="217" y="1078"/>
                        </a:lnTo>
                        <a:lnTo>
                          <a:pt x="235" y="1102"/>
                        </a:lnTo>
                        <a:lnTo>
                          <a:pt x="242" y="1108"/>
                        </a:lnTo>
                        <a:lnTo>
                          <a:pt x="252" y="1112"/>
                        </a:lnTo>
                        <a:lnTo>
                          <a:pt x="254" y="1112"/>
                        </a:lnTo>
                        <a:lnTo>
                          <a:pt x="265" y="1116"/>
                        </a:lnTo>
                        <a:lnTo>
                          <a:pt x="274" y="1121"/>
                        </a:lnTo>
                        <a:lnTo>
                          <a:pt x="280" y="1127"/>
                        </a:lnTo>
                        <a:lnTo>
                          <a:pt x="288" y="1134"/>
                        </a:lnTo>
                        <a:lnTo>
                          <a:pt x="303" y="1148"/>
                        </a:lnTo>
                        <a:lnTo>
                          <a:pt x="314" y="1156"/>
                        </a:lnTo>
                        <a:lnTo>
                          <a:pt x="319" y="1159"/>
                        </a:lnTo>
                        <a:lnTo>
                          <a:pt x="325" y="1161"/>
                        </a:lnTo>
                        <a:lnTo>
                          <a:pt x="326" y="1162"/>
                        </a:lnTo>
                        <a:lnTo>
                          <a:pt x="330" y="1162"/>
                        </a:lnTo>
                        <a:lnTo>
                          <a:pt x="331" y="1164"/>
                        </a:lnTo>
                        <a:lnTo>
                          <a:pt x="349" y="1172"/>
                        </a:lnTo>
                        <a:lnTo>
                          <a:pt x="350" y="1172"/>
                        </a:lnTo>
                        <a:lnTo>
                          <a:pt x="360" y="1178"/>
                        </a:lnTo>
                        <a:lnTo>
                          <a:pt x="377" y="1181"/>
                        </a:lnTo>
                        <a:lnTo>
                          <a:pt x="380" y="1181"/>
                        </a:lnTo>
                        <a:lnTo>
                          <a:pt x="388" y="1183"/>
                        </a:lnTo>
                        <a:lnTo>
                          <a:pt x="391" y="1184"/>
                        </a:lnTo>
                        <a:lnTo>
                          <a:pt x="393" y="1184"/>
                        </a:lnTo>
                        <a:lnTo>
                          <a:pt x="399" y="1184"/>
                        </a:lnTo>
                        <a:lnTo>
                          <a:pt x="402" y="1186"/>
                        </a:lnTo>
                        <a:lnTo>
                          <a:pt x="412" y="1186"/>
                        </a:lnTo>
                        <a:lnTo>
                          <a:pt x="418" y="1184"/>
                        </a:lnTo>
                        <a:lnTo>
                          <a:pt x="420" y="1183"/>
                        </a:lnTo>
                        <a:lnTo>
                          <a:pt x="421" y="1183"/>
                        </a:lnTo>
                        <a:lnTo>
                          <a:pt x="423" y="1181"/>
                        </a:lnTo>
                        <a:lnTo>
                          <a:pt x="425" y="1180"/>
                        </a:lnTo>
                        <a:lnTo>
                          <a:pt x="425" y="1178"/>
                        </a:lnTo>
                        <a:lnTo>
                          <a:pt x="428" y="1175"/>
                        </a:lnTo>
                        <a:lnTo>
                          <a:pt x="428" y="1173"/>
                        </a:lnTo>
                        <a:lnTo>
                          <a:pt x="429" y="1164"/>
                        </a:lnTo>
                        <a:lnTo>
                          <a:pt x="429" y="1162"/>
                        </a:lnTo>
                        <a:lnTo>
                          <a:pt x="429" y="1158"/>
                        </a:lnTo>
                        <a:lnTo>
                          <a:pt x="428" y="1146"/>
                        </a:lnTo>
                        <a:lnTo>
                          <a:pt x="426" y="1142"/>
                        </a:lnTo>
                        <a:lnTo>
                          <a:pt x="420" y="1131"/>
                        </a:lnTo>
                        <a:lnTo>
                          <a:pt x="420" y="1126"/>
                        </a:lnTo>
                        <a:lnTo>
                          <a:pt x="421" y="1123"/>
                        </a:lnTo>
                        <a:lnTo>
                          <a:pt x="423" y="1121"/>
                        </a:lnTo>
                        <a:lnTo>
                          <a:pt x="426" y="1120"/>
                        </a:lnTo>
                        <a:lnTo>
                          <a:pt x="434" y="1118"/>
                        </a:lnTo>
                        <a:lnTo>
                          <a:pt x="439" y="1116"/>
                        </a:lnTo>
                        <a:lnTo>
                          <a:pt x="444" y="1116"/>
                        </a:lnTo>
                        <a:lnTo>
                          <a:pt x="450" y="1115"/>
                        </a:lnTo>
                        <a:lnTo>
                          <a:pt x="459" y="1115"/>
                        </a:lnTo>
                        <a:lnTo>
                          <a:pt x="461" y="1115"/>
                        </a:lnTo>
                        <a:lnTo>
                          <a:pt x="471" y="1115"/>
                        </a:lnTo>
                        <a:lnTo>
                          <a:pt x="479" y="1113"/>
                        </a:lnTo>
                        <a:lnTo>
                          <a:pt x="490" y="1112"/>
                        </a:lnTo>
                        <a:lnTo>
                          <a:pt x="499" y="1112"/>
                        </a:lnTo>
                        <a:lnTo>
                          <a:pt x="501" y="1112"/>
                        </a:lnTo>
                        <a:lnTo>
                          <a:pt x="502" y="1112"/>
                        </a:lnTo>
                        <a:lnTo>
                          <a:pt x="520" y="1110"/>
                        </a:lnTo>
                        <a:lnTo>
                          <a:pt x="521" y="1110"/>
                        </a:lnTo>
                        <a:lnTo>
                          <a:pt x="531" y="1108"/>
                        </a:lnTo>
                        <a:lnTo>
                          <a:pt x="537" y="1105"/>
                        </a:lnTo>
                        <a:lnTo>
                          <a:pt x="539" y="1104"/>
                        </a:lnTo>
                        <a:lnTo>
                          <a:pt x="542" y="1096"/>
                        </a:lnTo>
                        <a:lnTo>
                          <a:pt x="542" y="1093"/>
                        </a:lnTo>
                        <a:lnTo>
                          <a:pt x="542" y="1091"/>
                        </a:lnTo>
                        <a:lnTo>
                          <a:pt x="542" y="1088"/>
                        </a:lnTo>
                        <a:lnTo>
                          <a:pt x="539" y="1083"/>
                        </a:lnTo>
                        <a:lnTo>
                          <a:pt x="539" y="1082"/>
                        </a:lnTo>
                        <a:lnTo>
                          <a:pt x="537" y="1075"/>
                        </a:lnTo>
                        <a:lnTo>
                          <a:pt x="528" y="1062"/>
                        </a:lnTo>
                        <a:lnTo>
                          <a:pt x="528" y="1061"/>
                        </a:lnTo>
                        <a:lnTo>
                          <a:pt x="528" y="1056"/>
                        </a:lnTo>
                        <a:lnTo>
                          <a:pt x="528" y="1040"/>
                        </a:lnTo>
                        <a:lnTo>
                          <a:pt x="528" y="1036"/>
                        </a:lnTo>
                        <a:lnTo>
                          <a:pt x="528" y="1034"/>
                        </a:lnTo>
                        <a:lnTo>
                          <a:pt x="526" y="1023"/>
                        </a:lnTo>
                        <a:lnTo>
                          <a:pt x="524" y="1007"/>
                        </a:lnTo>
                        <a:lnTo>
                          <a:pt x="523" y="996"/>
                        </a:lnTo>
                        <a:lnTo>
                          <a:pt x="521" y="990"/>
                        </a:lnTo>
                        <a:lnTo>
                          <a:pt x="520" y="979"/>
                        </a:lnTo>
                        <a:lnTo>
                          <a:pt x="518" y="969"/>
                        </a:lnTo>
                        <a:lnTo>
                          <a:pt x="515" y="955"/>
                        </a:lnTo>
                        <a:lnTo>
                          <a:pt x="517" y="947"/>
                        </a:lnTo>
                        <a:lnTo>
                          <a:pt x="521" y="939"/>
                        </a:lnTo>
                        <a:lnTo>
                          <a:pt x="523" y="939"/>
                        </a:lnTo>
                        <a:lnTo>
                          <a:pt x="523" y="937"/>
                        </a:lnTo>
                        <a:lnTo>
                          <a:pt x="528" y="929"/>
                        </a:lnTo>
                        <a:lnTo>
                          <a:pt x="529" y="920"/>
                        </a:lnTo>
                        <a:lnTo>
                          <a:pt x="529" y="914"/>
                        </a:lnTo>
                        <a:lnTo>
                          <a:pt x="529" y="910"/>
                        </a:lnTo>
                        <a:lnTo>
                          <a:pt x="531" y="899"/>
                        </a:lnTo>
                        <a:lnTo>
                          <a:pt x="531" y="898"/>
                        </a:lnTo>
                        <a:lnTo>
                          <a:pt x="529" y="895"/>
                        </a:lnTo>
                        <a:lnTo>
                          <a:pt x="531" y="884"/>
                        </a:lnTo>
                        <a:lnTo>
                          <a:pt x="531" y="871"/>
                        </a:lnTo>
                        <a:lnTo>
                          <a:pt x="526" y="866"/>
                        </a:lnTo>
                        <a:lnTo>
                          <a:pt x="523" y="861"/>
                        </a:lnTo>
                        <a:lnTo>
                          <a:pt x="518" y="858"/>
                        </a:lnTo>
                        <a:lnTo>
                          <a:pt x="515" y="855"/>
                        </a:lnTo>
                        <a:lnTo>
                          <a:pt x="513" y="852"/>
                        </a:lnTo>
                        <a:lnTo>
                          <a:pt x="513" y="850"/>
                        </a:lnTo>
                        <a:lnTo>
                          <a:pt x="513" y="849"/>
                        </a:lnTo>
                        <a:lnTo>
                          <a:pt x="517" y="842"/>
                        </a:lnTo>
                        <a:lnTo>
                          <a:pt x="520" y="841"/>
                        </a:lnTo>
                        <a:lnTo>
                          <a:pt x="521" y="841"/>
                        </a:lnTo>
                        <a:lnTo>
                          <a:pt x="528" y="841"/>
                        </a:lnTo>
                        <a:lnTo>
                          <a:pt x="529" y="841"/>
                        </a:lnTo>
                        <a:lnTo>
                          <a:pt x="531" y="842"/>
                        </a:lnTo>
                        <a:lnTo>
                          <a:pt x="540" y="844"/>
                        </a:lnTo>
                        <a:lnTo>
                          <a:pt x="547" y="847"/>
                        </a:lnTo>
                        <a:lnTo>
                          <a:pt x="559" y="855"/>
                        </a:lnTo>
                        <a:lnTo>
                          <a:pt x="574" y="861"/>
                        </a:lnTo>
                        <a:lnTo>
                          <a:pt x="577" y="861"/>
                        </a:lnTo>
                        <a:lnTo>
                          <a:pt x="578" y="861"/>
                        </a:lnTo>
                        <a:lnTo>
                          <a:pt x="583" y="861"/>
                        </a:lnTo>
                        <a:lnTo>
                          <a:pt x="585" y="861"/>
                        </a:lnTo>
                        <a:lnTo>
                          <a:pt x="589" y="860"/>
                        </a:lnTo>
                        <a:lnTo>
                          <a:pt x="591" y="860"/>
                        </a:lnTo>
                        <a:lnTo>
                          <a:pt x="593" y="858"/>
                        </a:lnTo>
                        <a:lnTo>
                          <a:pt x="597" y="857"/>
                        </a:lnTo>
                        <a:lnTo>
                          <a:pt x="605" y="855"/>
                        </a:lnTo>
                        <a:lnTo>
                          <a:pt x="608" y="855"/>
                        </a:lnTo>
                        <a:lnTo>
                          <a:pt x="612" y="855"/>
                        </a:lnTo>
                        <a:lnTo>
                          <a:pt x="613" y="855"/>
                        </a:lnTo>
                        <a:lnTo>
                          <a:pt x="623" y="855"/>
                        </a:lnTo>
                        <a:lnTo>
                          <a:pt x="624" y="857"/>
                        </a:lnTo>
                        <a:lnTo>
                          <a:pt x="632" y="861"/>
                        </a:lnTo>
                        <a:lnTo>
                          <a:pt x="637" y="866"/>
                        </a:lnTo>
                        <a:lnTo>
                          <a:pt x="646" y="876"/>
                        </a:lnTo>
                        <a:lnTo>
                          <a:pt x="651" y="891"/>
                        </a:lnTo>
                        <a:lnTo>
                          <a:pt x="656" y="899"/>
                        </a:lnTo>
                        <a:lnTo>
                          <a:pt x="659" y="899"/>
                        </a:lnTo>
                        <a:lnTo>
                          <a:pt x="661" y="899"/>
                        </a:lnTo>
                        <a:lnTo>
                          <a:pt x="664" y="896"/>
                        </a:lnTo>
                        <a:lnTo>
                          <a:pt x="673" y="880"/>
                        </a:lnTo>
                        <a:lnTo>
                          <a:pt x="673" y="879"/>
                        </a:lnTo>
                        <a:lnTo>
                          <a:pt x="675" y="877"/>
                        </a:lnTo>
                        <a:lnTo>
                          <a:pt x="677" y="877"/>
                        </a:lnTo>
                        <a:lnTo>
                          <a:pt x="678" y="876"/>
                        </a:lnTo>
                        <a:lnTo>
                          <a:pt x="680" y="874"/>
                        </a:lnTo>
                        <a:lnTo>
                          <a:pt x="683" y="872"/>
                        </a:lnTo>
                        <a:lnTo>
                          <a:pt x="684" y="872"/>
                        </a:lnTo>
                        <a:lnTo>
                          <a:pt x="688" y="872"/>
                        </a:lnTo>
                        <a:lnTo>
                          <a:pt x="689" y="874"/>
                        </a:lnTo>
                        <a:lnTo>
                          <a:pt x="691" y="874"/>
                        </a:lnTo>
                        <a:lnTo>
                          <a:pt x="699" y="882"/>
                        </a:lnTo>
                        <a:lnTo>
                          <a:pt x="700" y="884"/>
                        </a:lnTo>
                        <a:lnTo>
                          <a:pt x="702" y="884"/>
                        </a:lnTo>
                        <a:lnTo>
                          <a:pt x="713" y="895"/>
                        </a:lnTo>
                        <a:lnTo>
                          <a:pt x="716" y="898"/>
                        </a:lnTo>
                        <a:lnTo>
                          <a:pt x="719" y="896"/>
                        </a:lnTo>
                        <a:lnTo>
                          <a:pt x="721" y="896"/>
                        </a:lnTo>
                        <a:lnTo>
                          <a:pt x="722" y="896"/>
                        </a:lnTo>
                        <a:lnTo>
                          <a:pt x="724" y="895"/>
                        </a:lnTo>
                        <a:lnTo>
                          <a:pt x="727" y="893"/>
                        </a:lnTo>
                        <a:lnTo>
                          <a:pt x="732" y="891"/>
                        </a:lnTo>
                        <a:lnTo>
                          <a:pt x="767" y="880"/>
                        </a:lnTo>
                        <a:lnTo>
                          <a:pt x="748" y="838"/>
                        </a:lnTo>
                        <a:lnTo>
                          <a:pt x="749" y="826"/>
                        </a:lnTo>
                        <a:lnTo>
                          <a:pt x="751" y="796"/>
                        </a:lnTo>
                        <a:lnTo>
                          <a:pt x="751" y="790"/>
                        </a:lnTo>
                        <a:lnTo>
                          <a:pt x="753" y="782"/>
                        </a:lnTo>
                        <a:lnTo>
                          <a:pt x="753" y="774"/>
                        </a:lnTo>
                        <a:lnTo>
                          <a:pt x="754" y="769"/>
                        </a:lnTo>
                        <a:lnTo>
                          <a:pt x="762" y="749"/>
                        </a:lnTo>
                        <a:lnTo>
                          <a:pt x="778" y="706"/>
                        </a:lnTo>
                        <a:lnTo>
                          <a:pt x="792" y="668"/>
                        </a:lnTo>
                        <a:lnTo>
                          <a:pt x="781" y="666"/>
                        </a:lnTo>
                        <a:lnTo>
                          <a:pt x="779" y="666"/>
                        </a:lnTo>
                        <a:lnTo>
                          <a:pt x="784" y="649"/>
                        </a:lnTo>
                        <a:lnTo>
                          <a:pt x="789" y="630"/>
                        </a:lnTo>
                        <a:lnTo>
                          <a:pt x="800" y="624"/>
                        </a:lnTo>
                        <a:lnTo>
                          <a:pt x="800" y="625"/>
                        </a:lnTo>
                        <a:lnTo>
                          <a:pt x="810" y="621"/>
                        </a:lnTo>
                        <a:lnTo>
                          <a:pt x="890" y="584"/>
                        </a:lnTo>
                        <a:lnTo>
                          <a:pt x="897" y="579"/>
                        </a:lnTo>
                        <a:lnTo>
                          <a:pt x="952" y="530"/>
                        </a:lnTo>
                        <a:lnTo>
                          <a:pt x="952" y="529"/>
                        </a:lnTo>
                        <a:lnTo>
                          <a:pt x="949" y="526"/>
                        </a:lnTo>
                        <a:lnTo>
                          <a:pt x="1011" y="484"/>
                        </a:lnTo>
                        <a:lnTo>
                          <a:pt x="1058" y="499"/>
                        </a:lnTo>
                        <a:lnTo>
                          <a:pt x="1058" y="497"/>
                        </a:lnTo>
                        <a:lnTo>
                          <a:pt x="1061" y="497"/>
                        </a:lnTo>
                        <a:lnTo>
                          <a:pt x="1125" y="511"/>
                        </a:lnTo>
                        <a:lnTo>
                          <a:pt x="1144" y="522"/>
                        </a:lnTo>
                        <a:lnTo>
                          <a:pt x="1156" y="530"/>
                        </a:lnTo>
                        <a:lnTo>
                          <a:pt x="1223" y="565"/>
                        </a:lnTo>
                        <a:lnTo>
                          <a:pt x="1239" y="575"/>
                        </a:lnTo>
                        <a:lnTo>
                          <a:pt x="1240" y="575"/>
                        </a:lnTo>
                        <a:lnTo>
                          <a:pt x="1242" y="575"/>
                        </a:lnTo>
                        <a:lnTo>
                          <a:pt x="1250" y="570"/>
                        </a:lnTo>
                        <a:lnTo>
                          <a:pt x="1309" y="546"/>
                        </a:lnTo>
                        <a:lnTo>
                          <a:pt x="1312" y="486"/>
                        </a:lnTo>
                        <a:lnTo>
                          <a:pt x="1313" y="475"/>
                        </a:lnTo>
                        <a:lnTo>
                          <a:pt x="1313" y="467"/>
                        </a:lnTo>
                        <a:lnTo>
                          <a:pt x="1316" y="407"/>
                        </a:lnTo>
                        <a:lnTo>
                          <a:pt x="1320" y="372"/>
                        </a:lnTo>
                        <a:lnTo>
                          <a:pt x="1429" y="369"/>
                        </a:lnTo>
                        <a:lnTo>
                          <a:pt x="1450" y="369"/>
                        </a:lnTo>
                        <a:lnTo>
                          <a:pt x="1461" y="369"/>
                        </a:lnTo>
                        <a:lnTo>
                          <a:pt x="1505" y="354"/>
                        </a:lnTo>
                        <a:lnTo>
                          <a:pt x="1575" y="310"/>
                        </a:lnTo>
                        <a:lnTo>
                          <a:pt x="1668" y="251"/>
                        </a:lnTo>
                        <a:lnTo>
                          <a:pt x="1727" y="215"/>
                        </a:lnTo>
                        <a:lnTo>
                          <a:pt x="1768" y="206"/>
                        </a:lnTo>
                        <a:lnTo>
                          <a:pt x="1825" y="191"/>
                        </a:lnTo>
                        <a:lnTo>
                          <a:pt x="1852" y="185"/>
                        </a:lnTo>
                        <a:lnTo>
                          <a:pt x="1866" y="180"/>
                        </a:lnTo>
                        <a:lnTo>
                          <a:pt x="1891" y="160"/>
                        </a:lnTo>
                        <a:lnTo>
                          <a:pt x="1891" y="161"/>
                        </a:lnTo>
                        <a:lnTo>
                          <a:pt x="1891" y="160"/>
                        </a:lnTo>
                        <a:lnTo>
                          <a:pt x="1901" y="153"/>
                        </a:lnTo>
                        <a:lnTo>
                          <a:pt x="1909" y="150"/>
                        </a:lnTo>
                        <a:lnTo>
                          <a:pt x="1914" y="149"/>
                        </a:lnTo>
                        <a:lnTo>
                          <a:pt x="1920" y="145"/>
                        </a:lnTo>
                        <a:lnTo>
                          <a:pt x="1931" y="137"/>
                        </a:lnTo>
                        <a:lnTo>
                          <a:pt x="1950" y="122"/>
                        </a:lnTo>
                        <a:lnTo>
                          <a:pt x="1952" y="122"/>
                        </a:lnTo>
                        <a:lnTo>
                          <a:pt x="1953" y="118"/>
                        </a:lnTo>
                        <a:lnTo>
                          <a:pt x="1960" y="112"/>
                        </a:lnTo>
                        <a:lnTo>
                          <a:pt x="1963" y="110"/>
                        </a:lnTo>
                        <a:lnTo>
                          <a:pt x="1966" y="106"/>
                        </a:lnTo>
                        <a:lnTo>
                          <a:pt x="1961" y="104"/>
                        </a:lnTo>
                        <a:lnTo>
                          <a:pt x="1991" y="80"/>
                        </a:lnTo>
                        <a:lnTo>
                          <a:pt x="1993" y="80"/>
                        </a:lnTo>
                        <a:lnTo>
                          <a:pt x="1996" y="76"/>
                        </a:lnTo>
                        <a:lnTo>
                          <a:pt x="2001" y="72"/>
                        </a:lnTo>
                        <a:lnTo>
                          <a:pt x="2009" y="63"/>
                        </a:lnTo>
                        <a:lnTo>
                          <a:pt x="2012" y="60"/>
                        </a:lnTo>
                        <a:lnTo>
                          <a:pt x="2013" y="60"/>
                        </a:lnTo>
                        <a:lnTo>
                          <a:pt x="2017" y="57"/>
                        </a:lnTo>
                        <a:lnTo>
                          <a:pt x="2018" y="53"/>
                        </a:lnTo>
                        <a:lnTo>
                          <a:pt x="2020" y="52"/>
                        </a:lnTo>
                        <a:lnTo>
                          <a:pt x="2021" y="52"/>
                        </a:lnTo>
                        <a:lnTo>
                          <a:pt x="2023" y="49"/>
                        </a:lnTo>
                        <a:lnTo>
                          <a:pt x="2026" y="46"/>
                        </a:lnTo>
                        <a:lnTo>
                          <a:pt x="2029" y="42"/>
                        </a:lnTo>
                        <a:lnTo>
                          <a:pt x="2032" y="41"/>
                        </a:lnTo>
                        <a:lnTo>
                          <a:pt x="2036" y="39"/>
                        </a:lnTo>
                        <a:lnTo>
                          <a:pt x="2040" y="34"/>
                        </a:lnTo>
                        <a:lnTo>
                          <a:pt x="2044" y="33"/>
                        </a:lnTo>
                        <a:lnTo>
                          <a:pt x="2045" y="31"/>
                        </a:lnTo>
                        <a:lnTo>
                          <a:pt x="2047" y="30"/>
                        </a:lnTo>
                        <a:lnTo>
                          <a:pt x="2051" y="27"/>
                        </a:lnTo>
                        <a:lnTo>
                          <a:pt x="2059" y="22"/>
                        </a:lnTo>
                        <a:lnTo>
                          <a:pt x="2066" y="19"/>
                        </a:lnTo>
                        <a:lnTo>
                          <a:pt x="2067" y="19"/>
                        </a:lnTo>
                        <a:lnTo>
                          <a:pt x="2067" y="17"/>
                        </a:lnTo>
                        <a:lnTo>
                          <a:pt x="2075" y="12"/>
                        </a:lnTo>
                        <a:lnTo>
                          <a:pt x="2077" y="11"/>
                        </a:lnTo>
                        <a:lnTo>
                          <a:pt x="2078" y="9"/>
                        </a:lnTo>
                        <a:lnTo>
                          <a:pt x="2082" y="8"/>
                        </a:lnTo>
                        <a:lnTo>
                          <a:pt x="2093" y="3"/>
                        </a:lnTo>
                        <a:lnTo>
                          <a:pt x="2093" y="1"/>
                        </a:lnTo>
                        <a:lnTo>
                          <a:pt x="2094" y="1"/>
                        </a:lnTo>
                        <a:lnTo>
                          <a:pt x="2096" y="1"/>
                        </a:lnTo>
                        <a:lnTo>
                          <a:pt x="2099" y="1"/>
                        </a:lnTo>
                        <a:lnTo>
                          <a:pt x="2104" y="1"/>
                        </a:lnTo>
                        <a:lnTo>
                          <a:pt x="2107" y="1"/>
                        </a:lnTo>
                        <a:lnTo>
                          <a:pt x="2118" y="1"/>
                        </a:lnTo>
                        <a:lnTo>
                          <a:pt x="2143" y="1"/>
                        </a:lnTo>
                        <a:lnTo>
                          <a:pt x="2161" y="1"/>
                        </a:lnTo>
                        <a:lnTo>
                          <a:pt x="2181" y="1"/>
                        </a:lnTo>
                        <a:lnTo>
                          <a:pt x="2188" y="1"/>
                        </a:lnTo>
                        <a:lnTo>
                          <a:pt x="2197" y="1"/>
                        </a:lnTo>
                        <a:lnTo>
                          <a:pt x="2210" y="1"/>
                        </a:lnTo>
                        <a:lnTo>
                          <a:pt x="2224" y="1"/>
                        </a:lnTo>
                        <a:lnTo>
                          <a:pt x="2229" y="1"/>
                        </a:lnTo>
                        <a:lnTo>
                          <a:pt x="2243" y="1"/>
                        </a:lnTo>
                        <a:lnTo>
                          <a:pt x="2253" y="0"/>
                        </a:lnTo>
                        <a:lnTo>
                          <a:pt x="2254" y="1"/>
                        </a:lnTo>
                        <a:lnTo>
                          <a:pt x="2256" y="1"/>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37" name="Freeform 36"/>
                  <p:cNvSpPr>
                    <a:spLocks/>
                  </p:cNvSpPr>
                  <p:nvPr/>
                </p:nvSpPr>
                <p:spPr bwMode="auto">
                  <a:xfrm>
                    <a:off x="2171" y="1476"/>
                    <a:ext cx="1362" cy="1527"/>
                  </a:xfrm>
                  <a:custGeom>
                    <a:avLst/>
                    <a:gdLst>
                      <a:gd name="T0" fmla="*/ 1047 w 1362"/>
                      <a:gd name="T1" fmla="*/ 58 h 1527"/>
                      <a:gd name="T2" fmla="*/ 1183 w 1362"/>
                      <a:gd name="T3" fmla="*/ 122 h 1527"/>
                      <a:gd name="T4" fmla="*/ 1245 w 1362"/>
                      <a:gd name="T5" fmla="*/ 218 h 1527"/>
                      <a:gd name="T6" fmla="*/ 1349 w 1362"/>
                      <a:gd name="T7" fmla="*/ 277 h 1527"/>
                      <a:gd name="T8" fmla="*/ 1286 w 1362"/>
                      <a:gd name="T9" fmla="*/ 359 h 1527"/>
                      <a:gd name="T10" fmla="*/ 1197 w 1362"/>
                      <a:gd name="T11" fmla="*/ 461 h 1527"/>
                      <a:gd name="T12" fmla="*/ 1199 w 1362"/>
                      <a:gd name="T13" fmla="*/ 572 h 1527"/>
                      <a:gd name="T14" fmla="*/ 1191 w 1362"/>
                      <a:gd name="T15" fmla="*/ 640 h 1527"/>
                      <a:gd name="T16" fmla="*/ 1161 w 1362"/>
                      <a:gd name="T17" fmla="*/ 781 h 1527"/>
                      <a:gd name="T18" fmla="*/ 1104 w 1362"/>
                      <a:gd name="T19" fmla="*/ 855 h 1527"/>
                      <a:gd name="T20" fmla="*/ 1124 w 1362"/>
                      <a:gd name="T21" fmla="*/ 930 h 1527"/>
                      <a:gd name="T22" fmla="*/ 1139 w 1362"/>
                      <a:gd name="T23" fmla="*/ 1014 h 1527"/>
                      <a:gd name="T24" fmla="*/ 1066 w 1362"/>
                      <a:gd name="T25" fmla="*/ 1012 h 1527"/>
                      <a:gd name="T26" fmla="*/ 1108 w 1362"/>
                      <a:gd name="T27" fmla="*/ 1063 h 1527"/>
                      <a:gd name="T28" fmla="*/ 1126 w 1362"/>
                      <a:gd name="T29" fmla="*/ 1137 h 1527"/>
                      <a:gd name="T30" fmla="*/ 1066 w 1362"/>
                      <a:gd name="T31" fmla="*/ 1186 h 1527"/>
                      <a:gd name="T32" fmla="*/ 1148 w 1362"/>
                      <a:gd name="T33" fmla="*/ 1210 h 1527"/>
                      <a:gd name="T34" fmla="*/ 1210 w 1362"/>
                      <a:gd name="T35" fmla="*/ 1307 h 1527"/>
                      <a:gd name="T36" fmla="*/ 1303 w 1362"/>
                      <a:gd name="T37" fmla="*/ 1410 h 1527"/>
                      <a:gd name="T38" fmla="*/ 1270 w 1362"/>
                      <a:gd name="T39" fmla="*/ 1444 h 1527"/>
                      <a:gd name="T40" fmla="*/ 1181 w 1362"/>
                      <a:gd name="T41" fmla="*/ 1462 h 1527"/>
                      <a:gd name="T42" fmla="*/ 1118 w 1362"/>
                      <a:gd name="T43" fmla="*/ 1525 h 1527"/>
                      <a:gd name="T44" fmla="*/ 1115 w 1362"/>
                      <a:gd name="T45" fmla="*/ 1479 h 1527"/>
                      <a:gd name="T46" fmla="*/ 1112 w 1362"/>
                      <a:gd name="T47" fmla="*/ 1386 h 1527"/>
                      <a:gd name="T48" fmla="*/ 1094 w 1362"/>
                      <a:gd name="T49" fmla="*/ 1341 h 1527"/>
                      <a:gd name="T50" fmla="*/ 1055 w 1362"/>
                      <a:gd name="T51" fmla="*/ 1330 h 1527"/>
                      <a:gd name="T52" fmla="*/ 1010 w 1362"/>
                      <a:gd name="T53" fmla="*/ 1337 h 1527"/>
                      <a:gd name="T54" fmla="*/ 985 w 1362"/>
                      <a:gd name="T55" fmla="*/ 1314 h 1527"/>
                      <a:gd name="T56" fmla="*/ 952 w 1362"/>
                      <a:gd name="T57" fmla="*/ 1343 h 1527"/>
                      <a:gd name="T58" fmla="*/ 906 w 1362"/>
                      <a:gd name="T59" fmla="*/ 1362 h 1527"/>
                      <a:gd name="T60" fmla="*/ 858 w 1362"/>
                      <a:gd name="T61" fmla="*/ 1378 h 1527"/>
                      <a:gd name="T62" fmla="*/ 833 w 1362"/>
                      <a:gd name="T63" fmla="*/ 1343 h 1527"/>
                      <a:gd name="T64" fmla="*/ 788 w 1362"/>
                      <a:gd name="T65" fmla="*/ 1326 h 1527"/>
                      <a:gd name="T66" fmla="*/ 769 w 1362"/>
                      <a:gd name="T67" fmla="*/ 1286 h 1527"/>
                      <a:gd name="T68" fmla="*/ 782 w 1362"/>
                      <a:gd name="T69" fmla="*/ 1246 h 1527"/>
                      <a:gd name="T70" fmla="*/ 735 w 1362"/>
                      <a:gd name="T71" fmla="*/ 1229 h 1527"/>
                      <a:gd name="T72" fmla="*/ 687 w 1362"/>
                      <a:gd name="T73" fmla="*/ 1216 h 1527"/>
                      <a:gd name="T74" fmla="*/ 646 w 1362"/>
                      <a:gd name="T75" fmla="*/ 1202 h 1527"/>
                      <a:gd name="T76" fmla="*/ 589 w 1362"/>
                      <a:gd name="T77" fmla="*/ 1208 h 1527"/>
                      <a:gd name="T78" fmla="*/ 537 w 1362"/>
                      <a:gd name="T79" fmla="*/ 1223 h 1527"/>
                      <a:gd name="T80" fmla="*/ 483 w 1362"/>
                      <a:gd name="T81" fmla="*/ 1183 h 1527"/>
                      <a:gd name="T82" fmla="*/ 457 w 1362"/>
                      <a:gd name="T83" fmla="*/ 1145 h 1527"/>
                      <a:gd name="T84" fmla="*/ 421 w 1362"/>
                      <a:gd name="T85" fmla="*/ 1121 h 1527"/>
                      <a:gd name="T86" fmla="*/ 358 w 1362"/>
                      <a:gd name="T87" fmla="*/ 1083 h 1527"/>
                      <a:gd name="T88" fmla="*/ 239 w 1362"/>
                      <a:gd name="T89" fmla="*/ 1164 h 1527"/>
                      <a:gd name="T90" fmla="*/ 207 w 1362"/>
                      <a:gd name="T91" fmla="*/ 1219 h 1527"/>
                      <a:gd name="T92" fmla="*/ 145 w 1362"/>
                      <a:gd name="T93" fmla="*/ 1216 h 1527"/>
                      <a:gd name="T94" fmla="*/ 106 w 1362"/>
                      <a:gd name="T95" fmla="*/ 1180 h 1527"/>
                      <a:gd name="T96" fmla="*/ 125 w 1362"/>
                      <a:gd name="T97" fmla="*/ 1082 h 1527"/>
                      <a:gd name="T98" fmla="*/ 114 w 1362"/>
                      <a:gd name="T99" fmla="*/ 1029 h 1527"/>
                      <a:gd name="T100" fmla="*/ 46 w 1362"/>
                      <a:gd name="T101" fmla="*/ 1014 h 1527"/>
                      <a:gd name="T102" fmla="*/ 49 w 1362"/>
                      <a:gd name="T103" fmla="*/ 960 h 1527"/>
                      <a:gd name="T104" fmla="*/ 131 w 1362"/>
                      <a:gd name="T105" fmla="*/ 849 h 1527"/>
                      <a:gd name="T106" fmla="*/ 107 w 1362"/>
                      <a:gd name="T107" fmla="*/ 668 h 1527"/>
                      <a:gd name="T108" fmla="*/ 236 w 1362"/>
                      <a:gd name="T109" fmla="*/ 619 h 1527"/>
                      <a:gd name="T110" fmla="*/ 215 w 1362"/>
                      <a:gd name="T111" fmla="*/ 405 h 1527"/>
                      <a:gd name="T112" fmla="*/ 247 w 1362"/>
                      <a:gd name="T113" fmla="*/ 298 h 1527"/>
                      <a:gd name="T114" fmla="*/ 378 w 1362"/>
                      <a:gd name="T115" fmla="*/ 180 h 1527"/>
                      <a:gd name="T116" fmla="*/ 418 w 1362"/>
                      <a:gd name="T117" fmla="*/ 190 h 1527"/>
                      <a:gd name="T118" fmla="*/ 594 w 1362"/>
                      <a:gd name="T119" fmla="*/ 275 h 1527"/>
                      <a:gd name="T120" fmla="*/ 768 w 1362"/>
                      <a:gd name="T121" fmla="*/ 275 h 1527"/>
                      <a:gd name="T122" fmla="*/ 858 w 1362"/>
                      <a:gd name="T123" fmla="*/ 7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62" h="1527">
                        <a:moveTo>
                          <a:pt x="888" y="14"/>
                        </a:moveTo>
                        <a:lnTo>
                          <a:pt x="903" y="20"/>
                        </a:lnTo>
                        <a:lnTo>
                          <a:pt x="906" y="20"/>
                        </a:lnTo>
                        <a:lnTo>
                          <a:pt x="907" y="20"/>
                        </a:lnTo>
                        <a:lnTo>
                          <a:pt x="912" y="20"/>
                        </a:lnTo>
                        <a:lnTo>
                          <a:pt x="914" y="20"/>
                        </a:lnTo>
                        <a:lnTo>
                          <a:pt x="918" y="19"/>
                        </a:lnTo>
                        <a:lnTo>
                          <a:pt x="920" y="19"/>
                        </a:lnTo>
                        <a:lnTo>
                          <a:pt x="922" y="17"/>
                        </a:lnTo>
                        <a:lnTo>
                          <a:pt x="926" y="16"/>
                        </a:lnTo>
                        <a:lnTo>
                          <a:pt x="934" y="14"/>
                        </a:lnTo>
                        <a:lnTo>
                          <a:pt x="937" y="14"/>
                        </a:lnTo>
                        <a:lnTo>
                          <a:pt x="941" y="14"/>
                        </a:lnTo>
                        <a:lnTo>
                          <a:pt x="942" y="14"/>
                        </a:lnTo>
                        <a:lnTo>
                          <a:pt x="952" y="14"/>
                        </a:lnTo>
                        <a:lnTo>
                          <a:pt x="953" y="16"/>
                        </a:lnTo>
                        <a:lnTo>
                          <a:pt x="961" y="20"/>
                        </a:lnTo>
                        <a:lnTo>
                          <a:pt x="966" y="25"/>
                        </a:lnTo>
                        <a:lnTo>
                          <a:pt x="975" y="35"/>
                        </a:lnTo>
                        <a:lnTo>
                          <a:pt x="980" y="50"/>
                        </a:lnTo>
                        <a:lnTo>
                          <a:pt x="985" y="58"/>
                        </a:lnTo>
                        <a:lnTo>
                          <a:pt x="988" y="58"/>
                        </a:lnTo>
                        <a:lnTo>
                          <a:pt x="990" y="58"/>
                        </a:lnTo>
                        <a:lnTo>
                          <a:pt x="993" y="55"/>
                        </a:lnTo>
                        <a:lnTo>
                          <a:pt x="1002" y="39"/>
                        </a:lnTo>
                        <a:lnTo>
                          <a:pt x="1002" y="38"/>
                        </a:lnTo>
                        <a:lnTo>
                          <a:pt x="1004" y="36"/>
                        </a:lnTo>
                        <a:lnTo>
                          <a:pt x="1006" y="36"/>
                        </a:lnTo>
                        <a:lnTo>
                          <a:pt x="1007" y="35"/>
                        </a:lnTo>
                        <a:lnTo>
                          <a:pt x="1009" y="33"/>
                        </a:lnTo>
                        <a:lnTo>
                          <a:pt x="1012" y="31"/>
                        </a:lnTo>
                        <a:lnTo>
                          <a:pt x="1013" y="31"/>
                        </a:lnTo>
                        <a:lnTo>
                          <a:pt x="1017" y="31"/>
                        </a:lnTo>
                        <a:lnTo>
                          <a:pt x="1018" y="33"/>
                        </a:lnTo>
                        <a:lnTo>
                          <a:pt x="1020" y="33"/>
                        </a:lnTo>
                        <a:lnTo>
                          <a:pt x="1028" y="41"/>
                        </a:lnTo>
                        <a:lnTo>
                          <a:pt x="1029" y="43"/>
                        </a:lnTo>
                        <a:lnTo>
                          <a:pt x="1031" y="43"/>
                        </a:lnTo>
                        <a:lnTo>
                          <a:pt x="1042" y="54"/>
                        </a:lnTo>
                        <a:lnTo>
                          <a:pt x="1045" y="57"/>
                        </a:lnTo>
                        <a:lnTo>
                          <a:pt x="1047" y="58"/>
                        </a:lnTo>
                        <a:lnTo>
                          <a:pt x="1048" y="58"/>
                        </a:lnTo>
                        <a:lnTo>
                          <a:pt x="1053" y="65"/>
                        </a:lnTo>
                        <a:lnTo>
                          <a:pt x="1063" y="74"/>
                        </a:lnTo>
                        <a:lnTo>
                          <a:pt x="1066" y="77"/>
                        </a:lnTo>
                        <a:lnTo>
                          <a:pt x="1066" y="79"/>
                        </a:lnTo>
                        <a:lnTo>
                          <a:pt x="1067" y="81"/>
                        </a:lnTo>
                        <a:lnTo>
                          <a:pt x="1070" y="81"/>
                        </a:lnTo>
                        <a:lnTo>
                          <a:pt x="1072" y="81"/>
                        </a:lnTo>
                        <a:lnTo>
                          <a:pt x="1074" y="82"/>
                        </a:lnTo>
                        <a:lnTo>
                          <a:pt x="1074" y="84"/>
                        </a:lnTo>
                        <a:lnTo>
                          <a:pt x="1075" y="84"/>
                        </a:lnTo>
                        <a:lnTo>
                          <a:pt x="1075" y="85"/>
                        </a:lnTo>
                        <a:lnTo>
                          <a:pt x="1077" y="87"/>
                        </a:lnTo>
                        <a:lnTo>
                          <a:pt x="1078" y="88"/>
                        </a:lnTo>
                        <a:lnTo>
                          <a:pt x="1078" y="90"/>
                        </a:lnTo>
                        <a:lnTo>
                          <a:pt x="1080" y="90"/>
                        </a:lnTo>
                        <a:lnTo>
                          <a:pt x="1082" y="92"/>
                        </a:lnTo>
                        <a:lnTo>
                          <a:pt x="1086" y="95"/>
                        </a:lnTo>
                        <a:lnTo>
                          <a:pt x="1089" y="96"/>
                        </a:lnTo>
                        <a:lnTo>
                          <a:pt x="1093" y="98"/>
                        </a:lnTo>
                        <a:lnTo>
                          <a:pt x="1093" y="100"/>
                        </a:lnTo>
                        <a:lnTo>
                          <a:pt x="1094" y="100"/>
                        </a:lnTo>
                        <a:lnTo>
                          <a:pt x="1097" y="101"/>
                        </a:lnTo>
                        <a:lnTo>
                          <a:pt x="1101" y="104"/>
                        </a:lnTo>
                        <a:lnTo>
                          <a:pt x="1104" y="106"/>
                        </a:lnTo>
                        <a:lnTo>
                          <a:pt x="1108" y="107"/>
                        </a:lnTo>
                        <a:lnTo>
                          <a:pt x="1113" y="107"/>
                        </a:lnTo>
                        <a:lnTo>
                          <a:pt x="1116" y="107"/>
                        </a:lnTo>
                        <a:lnTo>
                          <a:pt x="1121" y="107"/>
                        </a:lnTo>
                        <a:lnTo>
                          <a:pt x="1123" y="109"/>
                        </a:lnTo>
                        <a:lnTo>
                          <a:pt x="1124" y="111"/>
                        </a:lnTo>
                        <a:lnTo>
                          <a:pt x="1126" y="111"/>
                        </a:lnTo>
                        <a:lnTo>
                          <a:pt x="1127" y="111"/>
                        </a:lnTo>
                        <a:lnTo>
                          <a:pt x="1129" y="111"/>
                        </a:lnTo>
                        <a:lnTo>
                          <a:pt x="1134" y="112"/>
                        </a:lnTo>
                        <a:lnTo>
                          <a:pt x="1139" y="112"/>
                        </a:lnTo>
                        <a:lnTo>
                          <a:pt x="1145" y="114"/>
                        </a:lnTo>
                        <a:lnTo>
                          <a:pt x="1153" y="115"/>
                        </a:lnTo>
                        <a:lnTo>
                          <a:pt x="1164" y="117"/>
                        </a:lnTo>
                        <a:lnTo>
                          <a:pt x="1173" y="120"/>
                        </a:lnTo>
                        <a:lnTo>
                          <a:pt x="1183" y="122"/>
                        </a:lnTo>
                        <a:lnTo>
                          <a:pt x="1189" y="122"/>
                        </a:lnTo>
                        <a:lnTo>
                          <a:pt x="1192" y="123"/>
                        </a:lnTo>
                        <a:lnTo>
                          <a:pt x="1194" y="123"/>
                        </a:lnTo>
                        <a:lnTo>
                          <a:pt x="1196" y="123"/>
                        </a:lnTo>
                        <a:lnTo>
                          <a:pt x="1196" y="125"/>
                        </a:lnTo>
                        <a:lnTo>
                          <a:pt x="1196" y="128"/>
                        </a:lnTo>
                        <a:lnTo>
                          <a:pt x="1196" y="131"/>
                        </a:lnTo>
                        <a:lnTo>
                          <a:pt x="1197" y="133"/>
                        </a:lnTo>
                        <a:lnTo>
                          <a:pt x="1197" y="136"/>
                        </a:lnTo>
                        <a:lnTo>
                          <a:pt x="1197" y="138"/>
                        </a:lnTo>
                        <a:lnTo>
                          <a:pt x="1200" y="139"/>
                        </a:lnTo>
                        <a:lnTo>
                          <a:pt x="1200" y="141"/>
                        </a:lnTo>
                        <a:lnTo>
                          <a:pt x="1204" y="142"/>
                        </a:lnTo>
                        <a:lnTo>
                          <a:pt x="1205" y="144"/>
                        </a:lnTo>
                        <a:lnTo>
                          <a:pt x="1207" y="145"/>
                        </a:lnTo>
                        <a:lnTo>
                          <a:pt x="1208" y="147"/>
                        </a:lnTo>
                        <a:lnTo>
                          <a:pt x="1210" y="147"/>
                        </a:lnTo>
                        <a:lnTo>
                          <a:pt x="1211" y="147"/>
                        </a:lnTo>
                        <a:lnTo>
                          <a:pt x="1216" y="147"/>
                        </a:lnTo>
                        <a:lnTo>
                          <a:pt x="1219" y="147"/>
                        </a:lnTo>
                        <a:lnTo>
                          <a:pt x="1221" y="149"/>
                        </a:lnTo>
                        <a:lnTo>
                          <a:pt x="1224" y="147"/>
                        </a:lnTo>
                        <a:lnTo>
                          <a:pt x="1226" y="147"/>
                        </a:lnTo>
                        <a:lnTo>
                          <a:pt x="1227" y="147"/>
                        </a:lnTo>
                        <a:lnTo>
                          <a:pt x="1229" y="145"/>
                        </a:lnTo>
                        <a:lnTo>
                          <a:pt x="1230" y="147"/>
                        </a:lnTo>
                        <a:lnTo>
                          <a:pt x="1232" y="147"/>
                        </a:lnTo>
                        <a:lnTo>
                          <a:pt x="1234" y="149"/>
                        </a:lnTo>
                        <a:lnTo>
                          <a:pt x="1235" y="149"/>
                        </a:lnTo>
                        <a:lnTo>
                          <a:pt x="1235" y="150"/>
                        </a:lnTo>
                        <a:lnTo>
                          <a:pt x="1235" y="161"/>
                        </a:lnTo>
                        <a:lnTo>
                          <a:pt x="1235" y="188"/>
                        </a:lnTo>
                        <a:lnTo>
                          <a:pt x="1235" y="207"/>
                        </a:lnTo>
                        <a:lnTo>
                          <a:pt x="1235" y="212"/>
                        </a:lnTo>
                        <a:lnTo>
                          <a:pt x="1235" y="214"/>
                        </a:lnTo>
                        <a:lnTo>
                          <a:pt x="1238" y="214"/>
                        </a:lnTo>
                        <a:lnTo>
                          <a:pt x="1240" y="215"/>
                        </a:lnTo>
                        <a:lnTo>
                          <a:pt x="1242" y="215"/>
                        </a:lnTo>
                        <a:lnTo>
                          <a:pt x="1243" y="215"/>
                        </a:lnTo>
                        <a:lnTo>
                          <a:pt x="1243" y="217"/>
                        </a:lnTo>
                        <a:lnTo>
                          <a:pt x="1245" y="218"/>
                        </a:lnTo>
                        <a:lnTo>
                          <a:pt x="1246" y="223"/>
                        </a:lnTo>
                        <a:lnTo>
                          <a:pt x="1246" y="225"/>
                        </a:lnTo>
                        <a:lnTo>
                          <a:pt x="1249" y="226"/>
                        </a:lnTo>
                        <a:lnTo>
                          <a:pt x="1251" y="231"/>
                        </a:lnTo>
                        <a:lnTo>
                          <a:pt x="1253" y="233"/>
                        </a:lnTo>
                        <a:lnTo>
                          <a:pt x="1253" y="236"/>
                        </a:lnTo>
                        <a:lnTo>
                          <a:pt x="1254" y="237"/>
                        </a:lnTo>
                        <a:lnTo>
                          <a:pt x="1254" y="241"/>
                        </a:lnTo>
                        <a:lnTo>
                          <a:pt x="1254" y="242"/>
                        </a:lnTo>
                        <a:lnTo>
                          <a:pt x="1256" y="245"/>
                        </a:lnTo>
                        <a:lnTo>
                          <a:pt x="1256" y="247"/>
                        </a:lnTo>
                        <a:lnTo>
                          <a:pt x="1257" y="248"/>
                        </a:lnTo>
                        <a:lnTo>
                          <a:pt x="1257" y="250"/>
                        </a:lnTo>
                        <a:lnTo>
                          <a:pt x="1259" y="250"/>
                        </a:lnTo>
                        <a:lnTo>
                          <a:pt x="1273" y="256"/>
                        </a:lnTo>
                        <a:lnTo>
                          <a:pt x="1291" y="264"/>
                        </a:lnTo>
                        <a:lnTo>
                          <a:pt x="1300" y="267"/>
                        </a:lnTo>
                        <a:lnTo>
                          <a:pt x="1303" y="267"/>
                        </a:lnTo>
                        <a:lnTo>
                          <a:pt x="1306" y="266"/>
                        </a:lnTo>
                        <a:lnTo>
                          <a:pt x="1306" y="261"/>
                        </a:lnTo>
                        <a:lnTo>
                          <a:pt x="1308" y="260"/>
                        </a:lnTo>
                        <a:lnTo>
                          <a:pt x="1308" y="258"/>
                        </a:lnTo>
                        <a:lnTo>
                          <a:pt x="1310" y="256"/>
                        </a:lnTo>
                        <a:lnTo>
                          <a:pt x="1310" y="253"/>
                        </a:lnTo>
                        <a:lnTo>
                          <a:pt x="1311" y="250"/>
                        </a:lnTo>
                        <a:lnTo>
                          <a:pt x="1311" y="248"/>
                        </a:lnTo>
                        <a:lnTo>
                          <a:pt x="1311" y="247"/>
                        </a:lnTo>
                        <a:lnTo>
                          <a:pt x="1313" y="247"/>
                        </a:lnTo>
                        <a:lnTo>
                          <a:pt x="1314" y="248"/>
                        </a:lnTo>
                        <a:lnTo>
                          <a:pt x="1316" y="248"/>
                        </a:lnTo>
                        <a:lnTo>
                          <a:pt x="1338" y="258"/>
                        </a:lnTo>
                        <a:lnTo>
                          <a:pt x="1351" y="264"/>
                        </a:lnTo>
                        <a:lnTo>
                          <a:pt x="1359" y="267"/>
                        </a:lnTo>
                        <a:lnTo>
                          <a:pt x="1360" y="267"/>
                        </a:lnTo>
                        <a:lnTo>
                          <a:pt x="1360" y="269"/>
                        </a:lnTo>
                        <a:lnTo>
                          <a:pt x="1360" y="271"/>
                        </a:lnTo>
                        <a:lnTo>
                          <a:pt x="1360" y="275"/>
                        </a:lnTo>
                        <a:lnTo>
                          <a:pt x="1362" y="277"/>
                        </a:lnTo>
                        <a:lnTo>
                          <a:pt x="1352" y="275"/>
                        </a:lnTo>
                        <a:lnTo>
                          <a:pt x="1351" y="277"/>
                        </a:lnTo>
                        <a:lnTo>
                          <a:pt x="1349" y="277"/>
                        </a:lnTo>
                        <a:lnTo>
                          <a:pt x="1348" y="277"/>
                        </a:lnTo>
                        <a:lnTo>
                          <a:pt x="1346" y="279"/>
                        </a:lnTo>
                        <a:lnTo>
                          <a:pt x="1346" y="280"/>
                        </a:lnTo>
                        <a:lnTo>
                          <a:pt x="1341" y="286"/>
                        </a:lnTo>
                        <a:lnTo>
                          <a:pt x="1340" y="290"/>
                        </a:lnTo>
                        <a:lnTo>
                          <a:pt x="1337" y="294"/>
                        </a:lnTo>
                        <a:lnTo>
                          <a:pt x="1335" y="298"/>
                        </a:lnTo>
                        <a:lnTo>
                          <a:pt x="1333" y="299"/>
                        </a:lnTo>
                        <a:lnTo>
                          <a:pt x="1330" y="301"/>
                        </a:lnTo>
                        <a:lnTo>
                          <a:pt x="1329" y="302"/>
                        </a:lnTo>
                        <a:lnTo>
                          <a:pt x="1325" y="304"/>
                        </a:lnTo>
                        <a:lnTo>
                          <a:pt x="1322" y="304"/>
                        </a:lnTo>
                        <a:lnTo>
                          <a:pt x="1321" y="305"/>
                        </a:lnTo>
                        <a:lnTo>
                          <a:pt x="1319" y="309"/>
                        </a:lnTo>
                        <a:lnTo>
                          <a:pt x="1319" y="310"/>
                        </a:lnTo>
                        <a:lnTo>
                          <a:pt x="1318" y="312"/>
                        </a:lnTo>
                        <a:lnTo>
                          <a:pt x="1316" y="315"/>
                        </a:lnTo>
                        <a:lnTo>
                          <a:pt x="1314" y="317"/>
                        </a:lnTo>
                        <a:lnTo>
                          <a:pt x="1314" y="318"/>
                        </a:lnTo>
                        <a:lnTo>
                          <a:pt x="1314" y="320"/>
                        </a:lnTo>
                        <a:lnTo>
                          <a:pt x="1314" y="323"/>
                        </a:lnTo>
                        <a:lnTo>
                          <a:pt x="1313" y="324"/>
                        </a:lnTo>
                        <a:lnTo>
                          <a:pt x="1310" y="328"/>
                        </a:lnTo>
                        <a:lnTo>
                          <a:pt x="1310" y="329"/>
                        </a:lnTo>
                        <a:lnTo>
                          <a:pt x="1308" y="329"/>
                        </a:lnTo>
                        <a:lnTo>
                          <a:pt x="1308" y="334"/>
                        </a:lnTo>
                        <a:lnTo>
                          <a:pt x="1305" y="332"/>
                        </a:lnTo>
                        <a:lnTo>
                          <a:pt x="1303" y="332"/>
                        </a:lnTo>
                        <a:lnTo>
                          <a:pt x="1302" y="334"/>
                        </a:lnTo>
                        <a:lnTo>
                          <a:pt x="1300" y="337"/>
                        </a:lnTo>
                        <a:lnTo>
                          <a:pt x="1299" y="339"/>
                        </a:lnTo>
                        <a:lnTo>
                          <a:pt x="1297" y="340"/>
                        </a:lnTo>
                        <a:lnTo>
                          <a:pt x="1297" y="343"/>
                        </a:lnTo>
                        <a:lnTo>
                          <a:pt x="1295" y="347"/>
                        </a:lnTo>
                        <a:lnTo>
                          <a:pt x="1294" y="348"/>
                        </a:lnTo>
                        <a:lnTo>
                          <a:pt x="1294" y="350"/>
                        </a:lnTo>
                        <a:lnTo>
                          <a:pt x="1291" y="351"/>
                        </a:lnTo>
                        <a:lnTo>
                          <a:pt x="1289" y="353"/>
                        </a:lnTo>
                        <a:lnTo>
                          <a:pt x="1289" y="355"/>
                        </a:lnTo>
                        <a:lnTo>
                          <a:pt x="1287" y="358"/>
                        </a:lnTo>
                        <a:lnTo>
                          <a:pt x="1286" y="359"/>
                        </a:lnTo>
                        <a:lnTo>
                          <a:pt x="1284" y="361"/>
                        </a:lnTo>
                        <a:lnTo>
                          <a:pt x="1283" y="362"/>
                        </a:lnTo>
                        <a:lnTo>
                          <a:pt x="1281" y="362"/>
                        </a:lnTo>
                        <a:lnTo>
                          <a:pt x="1281" y="364"/>
                        </a:lnTo>
                        <a:lnTo>
                          <a:pt x="1280" y="367"/>
                        </a:lnTo>
                        <a:lnTo>
                          <a:pt x="1276" y="372"/>
                        </a:lnTo>
                        <a:lnTo>
                          <a:pt x="1276" y="374"/>
                        </a:lnTo>
                        <a:lnTo>
                          <a:pt x="1273" y="374"/>
                        </a:lnTo>
                        <a:lnTo>
                          <a:pt x="1270" y="377"/>
                        </a:lnTo>
                        <a:lnTo>
                          <a:pt x="1267" y="377"/>
                        </a:lnTo>
                        <a:lnTo>
                          <a:pt x="1264" y="378"/>
                        </a:lnTo>
                        <a:lnTo>
                          <a:pt x="1261" y="377"/>
                        </a:lnTo>
                        <a:lnTo>
                          <a:pt x="1257" y="377"/>
                        </a:lnTo>
                        <a:lnTo>
                          <a:pt x="1249" y="375"/>
                        </a:lnTo>
                        <a:lnTo>
                          <a:pt x="1240" y="374"/>
                        </a:lnTo>
                        <a:lnTo>
                          <a:pt x="1213" y="369"/>
                        </a:lnTo>
                        <a:lnTo>
                          <a:pt x="1205" y="367"/>
                        </a:lnTo>
                        <a:lnTo>
                          <a:pt x="1204" y="367"/>
                        </a:lnTo>
                        <a:lnTo>
                          <a:pt x="1202" y="367"/>
                        </a:lnTo>
                        <a:lnTo>
                          <a:pt x="1200" y="369"/>
                        </a:lnTo>
                        <a:lnTo>
                          <a:pt x="1199" y="370"/>
                        </a:lnTo>
                        <a:lnTo>
                          <a:pt x="1196" y="375"/>
                        </a:lnTo>
                        <a:lnTo>
                          <a:pt x="1194" y="378"/>
                        </a:lnTo>
                        <a:lnTo>
                          <a:pt x="1192" y="383"/>
                        </a:lnTo>
                        <a:lnTo>
                          <a:pt x="1192" y="386"/>
                        </a:lnTo>
                        <a:lnTo>
                          <a:pt x="1192" y="393"/>
                        </a:lnTo>
                        <a:lnTo>
                          <a:pt x="1192" y="400"/>
                        </a:lnTo>
                        <a:lnTo>
                          <a:pt x="1192" y="405"/>
                        </a:lnTo>
                        <a:lnTo>
                          <a:pt x="1192" y="408"/>
                        </a:lnTo>
                        <a:lnTo>
                          <a:pt x="1194" y="413"/>
                        </a:lnTo>
                        <a:lnTo>
                          <a:pt x="1197" y="418"/>
                        </a:lnTo>
                        <a:lnTo>
                          <a:pt x="1199" y="424"/>
                        </a:lnTo>
                        <a:lnTo>
                          <a:pt x="1200" y="432"/>
                        </a:lnTo>
                        <a:lnTo>
                          <a:pt x="1200" y="439"/>
                        </a:lnTo>
                        <a:lnTo>
                          <a:pt x="1202" y="442"/>
                        </a:lnTo>
                        <a:lnTo>
                          <a:pt x="1202" y="448"/>
                        </a:lnTo>
                        <a:lnTo>
                          <a:pt x="1202" y="451"/>
                        </a:lnTo>
                        <a:lnTo>
                          <a:pt x="1202" y="456"/>
                        </a:lnTo>
                        <a:lnTo>
                          <a:pt x="1202" y="459"/>
                        </a:lnTo>
                        <a:lnTo>
                          <a:pt x="1199" y="459"/>
                        </a:lnTo>
                        <a:lnTo>
                          <a:pt x="1197" y="461"/>
                        </a:lnTo>
                        <a:lnTo>
                          <a:pt x="1194" y="461"/>
                        </a:lnTo>
                        <a:lnTo>
                          <a:pt x="1194" y="464"/>
                        </a:lnTo>
                        <a:lnTo>
                          <a:pt x="1192" y="465"/>
                        </a:lnTo>
                        <a:lnTo>
                          <a:pt x="1192" y="467"/>
                        </a:lnTo>
                        <a:lnTo>
                          <a:pt x="1192" y="469"/>
                        </a:lnTo>
                        <a:lnTo>
                          <a:pt x="1189" y="470"/>
                        </a:lnTo>
                        <a:lnTo>
                          <a:pt x="1188" y="472"/>
                        </a:lnTo>
                        <a:lnTo>
                          <a:pt x="1185" y="475"/>
                        </a:lnTo>
                        <a:lnTo>
                          <a:pt x="1183" y="478"/>
                        </a:lnTo>
                        <a:lnTo>
                          <a:pt x="1183" y="481"/>
                        </a:lnTo>
                        <a:lnTo>
                          <a:pt x="1183" y="484"/>
                        </a:lnTo>
                        <a:lnTo>
                          <a:pt x="1185" y="488"/>
                        </a:lnTo>
                        <a:lnTo>
                          <a:pt x="1185" y="491"/>
                        </a:lnTo>
                        <a:lnTo>
                          <a:pt x="1186" y="492"/>
                        </a:lnTo>
                        <a:lnTo>
                          <a:pt x="1186" y="496"/>
                        </a:lnTo>
                        <a:lnTo>
                          <a:pt x="1185" y="500"/>
                        </a:lnTo>
                        <a:lnTo>
                          <a:pt x="1183" y="510"/>
                        </a:lnTo>
                        <a:lnTo>
                          <a:pt x="1183" y="513"/>
                        </a:lnTo>
                        <a:lnTo>
                          <a:pt x="1183" y="518"/>
                        </a:lnTo>
                        <a:lnTo>
                          <a:pt x="1185" y="519"/>
                        </a:lnTo>
                        <a:lnTo>
                          <a:pt x="1185" y="521"/>
                        </a:lnTo>
                        <a:lnTo>
                          <a:pt x="1183" y="526"/>
                        </a:lnTo>
                        <a:lnTo>
                          <a:pt x="1181" y="532"/>
                        </a:lnTo>
                        <a:lnTo>
                          <a:pt x="1181" y="535"/>
                        </a:lnTo>
                        <a:lnTo>
                          <a:pt x="1181" y="538"/>
                        </a:lnTo>
                        <a:lnTo>
                          <a:pt x="1181" y="540"/>
                        </a:lnTo>
                        <a:lnTo>
                          <a:pt x="1183" y="543"/>
                        </a:lnTo>
                        <a:lnTo>
                          <a:pt x="1185" y="548"/>
                        </a:lnTo>
                        <a:lnTo>
                          <a:pt x="1188" y="551"/>
                        </a:lnTo>
                        <a:lnTo>
                          <a:pt x="1188" y="554"/>
                        </a:lnTo>
                        <a:lnTo>
                          <a:pt x="1186" y="557"/>
                        </a:lnTo>
                        <a:lnTo>
                          <a:pt x="1185" y="560"/>
                        </a:lnTo>
                        <a:lnTo>
                          <a:pt x="1185" y="562"/>
                        </a:lnTo>
                        <a:lnTo>
                          <a:pt x="1185" y="565"/>
                        </a:lnTo>
                        <a:lnTo>
                          <a:pt x="1186" y="568"/>
                        </a:lnTo>
                        <a:lnTo>
                          <a:pt x="1188" y="570"/>
                        </a:lnTo>
                        <a:lnTo>
                          <a:pt x="1189" y="572"/>
                        </a:lnTo>
                        <a:lnTo>
                          <a:pt x="1191" y="572"/>
                        </a:lnTo>
                        <a:lnTo>
                          <a:pt x="1194" y="573"/>
                        </a:lnTo>
                        <a:lnTo>
                          <a:pt x="1196" y="573"/>
                        </a:lnTo>
                        <a:lnTo>
                          <a:pt x="1199" y="572"/>
                        </a:lnTo>
                        <a:lnTo>
                          <a:pt x="1200" y="572"/>
                        </a:lnTo>
                        <a:lnTo>
                          <a:pt x="1202" y="572"/>
                        </a:lnTo>
                        <a:lnTo>
                          <a:pt x="1204" y="572"/>
                        </a:lnTo>
                        <a:lnTo>
                          <a:pt x="1205" y="572"/>
                        </a:lnTo>
                        <a:lnTo>
                          <a:pt x="1205" y="570"/>
                        </a:lnTo>
                        <a:lnTo>
                          <a:pt x="1207" y="570"/>
                        </a:lnTo>
                        <a:lnTo>
                          <a:pt x="1208" y="570"/>
                        </a:lnTo>
                        <a:lnTo>
                          <a:pt x="1210" y="570"/>
                        </a:lnTo>
                        <a:lnTo>
                          <a:pt x="1211" y="570"/>
                        </a:lnTo>
                        <a:lnTo>
                          <a:pt x="1215" y="573"/>
                        </a:lnTo>
                        <a:lnTo>
                          <a:pt x="1219" y="576"/>
                        </a:lnTo>
                        <a:lnTo>
                          <a:pt x="1224" y="581"/>
                        </a:lnTo>
                        <a:lnTo>
                          <a:pt x="1230" y="586"/>
                        </a:lnTo>
                        <a:lnTo>
                          <a:pt x="1234" y="591"/>
                        </a:lnTo>
                        <a:lnTo>
                          <a:pt x="1237" y="594"/>
                        </a:lnTo>
                        <a:lnTo>
                          <a:pt x="1238" y="595"/>
                        </a:lnTo>
                        <a:lnTo>
                          <a:pt x="1238" y="597"/>
                        </a:lnTo>
                        <a:lnTo>
                          <a:pt x="1237" y="598"/>
                        </a:lnTo>
                        <a:lnTo>
                          <a:pt x="1234" y="600"/>
                        </a:lnTo>
                        <a:lnTo>
                          <a:pt x="1229" y="605"/>
                        </a:lnTo>
                        <a:lnTo>
                          <a:pt x="1226" y="608"/>
                        </a:lnTo>
                        <a:lnTo>
                          <a:pt x="1223" y="611"/>
                        </a:lnTo>
                        <a:lnTo>
                          <a:pt x="1219" y="613"/>
                        </a:lnTo>
                        <a:lnTo>
                          <a:pt x="1216" y="614"/>
                        </a:lnTo>
                        <a:lnTo>
                          <a:pt x="1215" y="616"/>
                        </a:lnTo>
                        <a:lnTo>
                          <a:pt x="1213" y="618"/>
                        </a:lnTo>
                        <a:lnTo>
                          <a:pt x="1213" y="619"/>
                        </a:lnTo>
                        <a:lnTo>
                          <a:pt x="1211" y="621"/>
                        </a:lnTo>
                        <a:lnTo>
                          <a:pt x="1211" y="625"/>
                        </a:lnTo>
                        <a:lnTo>
                          <a:pt x="1211" y="630"/>
                        </a:lnTo>
                        <a:lnTo>
                          <a:pt x="1210" y="632"/>
                        </a:lnTo>
                        <a:lnTo>
                          <a:pt x="1210" y="633"/>
                        </a:lnTo>
                        <a:lnTo>
                          <a:pt x="1207" y="632"/>
                        </a:lnTo>
                        <a:lnTo>
                          <a:pt x="1204" y="632"/>
                        </a:lnTo>
                        <a:lnTo>
                          <a:pt x="1202" y="633"/>
                        </a:lnTo>
                        <a:lnTo>
                          <a:pt x="1200" y="635"/>
                        </a:lnTo>
                        <a:lnTo>
                          <a:pt x="1199" y="637"/>
                        </a:lnTo>
                        <a:lnTo>
                          <a:pt x="1192" y="637"/>
                        </a:lnTo>
                        <a:lnTo>
                          <a:pt x="1192" y="638"/>
                        </a:lnTo>
                        <a:lnTo>
                          <a:pt x="1191" y="638"/>
                        </a:lnTo>
                        <a:lnTo>
                          <a:pt x="1191" y="640"/>
                        </a:lnTo>
                        <a:lnTo>
                          <a:pt x="1189" y="641"/>
                        </a:lnTo>
                        <a:lnTo>
                          <a:pt x="1189" y="644"/>
                        </a:lnTo>
                        <a:lnTo>
                          <a:pt x="1186" y="648"/>
                        </a:lnTo>
                        <a:lnTo>
                          <a:pt x="1183" y="651"/>
                        </a:lnTo>
                        <a:lnTo>
                          <a:pt x="1183" y="652"/>
                        </a:lnTo>
                        <a:lnTo>
                          <a:pt x="1181" y="654"/>
                        </a:lnTo>
                        <a:lnTo>
                          <a:pt x="1178" y="656"/>
                        </a:lnTo>
                        <a:lnTo>
                          <a:pt x="1177" y="657"/>
                        </a:lnTo>
                        <a:lnTo>
                          <a:pt x="1175" y="659"/>
                        </a:lnTo>
                        <a:lnTo>
                          <a:pt x="1173" y="660"/>
                        </a:lnTo>
                        <a:lnTo>
                          <a:pt x="1170" y="662"/>
                        </a:lnTo>
                        <a:lnTo>
                          <a:pt x="1167" y="665"/>
                        </a:lnTo>
                        <a:lnTo>
                          <a:pt x="1167" y="667"/>
                        </a:lnTo>
                        <a:lnTo>
                          <a:pt x="1165" y="668"/>
                        </a:lnTo>
                        <a:lnTo>
                          <a:pt x="1164" y="671"/>
                        </a:lnTo>
                        <a:lnTo>
                          <a:pt x="1162" y="673"/>
                        </a:lnTo>
                        <a:lnTo>
                          <a:pt x="1161" y="676"/>
                        </a:lnTo>
                        <a:lnTo>
                          <a:pt x="1161" y="678"/>
                        </a:lnTo>
                        <a:lnTo>
                          <a:pt x="1161" y="679"/>
                        </a:lnTo>
                        <a:lnTo>
                          <a:pt x="1159" y="679"/>
                        </a:lnTo>
                        <a:lnTo>
                          <a:pt x="1159" y="681"/>
                        </a:lnTo>
                        <a:lnTo>
                          <a:pt x="1162" y="690"/>
                        </a:lnTo>
                        <a:lnTo>
                          <a:pt x="1170" y="705"/>
                        </a:lnTo>
                        <a:lnTo>
                          <a:pt x="1177" y="716"/>
                        </a:lnTo>
                        <a:lnTo>
                          <a:pt x="1180" y="724"/>
                        </a:lnTo>
                        <a:lnTo>
                          <a:pt x="1185" y="732"/>
                        </a:lnTo>
                        <a:lnTo>
                          <a:pt x="1186" y="736"/>
                        </a:lnTo>
                        <a:lnTo>
                          <a:pt x="1188" y="741"/>
                        </a:lnTo>
                        <a:lnTo>
                          <a:pt x="1189" y="744"/>
                        </a:lnTo>
                        <a:lnTo>
                          <a:pt x="1180" y="752"/>
                        </a:lnTo>
                        <a:lnTo>
                          <a:pt x="1173" y="757"/>
                        </a:lnTo>
                        <a:lnTo>
                          <a:pt x="1170" y="760"/>
                        </a:lnTo>
                        <a:lnTo>
                          <a:pt x="1169" y="762"/>
                        </a:lnTo>
                        <a:lnTo>
                          <a:pt x="1169" y="763"/>
                        </a:lnTo>
                        <a:lnTo>
                          <a:pt x="1170" y="765"/>
                        </a:lnTo>
                        <a:lnTo>
                          <a:pt x="1170" y="770"/>
                        </a:lnTo>
                        <a:lnTo>
                          <a:pt x="1169" y="771"/>
                        </a:lnTo>
                        <a:lnTo>
                          <a:pt x="1169" y="773"/>
                        </a:lnTo>
                        <a:lnTo>
                          <a:pt x="1167" y="774"/>
                        </a:lnTo>
                        <a:lnTo>
                          <a:pt x="1162" y="777"/>
                        </a:lnTo>
                        <a:lnTo>
                          <a:pt x="1161" y="781"/>
                        </a:lnTo>
                        <a:lnTo>
                          <a:pt x="1159" y="782"/>
                        </a:lnTo>
                        <a:lnTo>
                          <a:pt x="1156" y="787"/>
                        </a:lnTo>
                        <a:lnTo>
                          <a:pt x="1154" y="787"/>
                        </a:lnTo>
                        <a:lnTo>
                          <a:pt x="1154" y="785"/>
                        </a:lnTo>
                        <a:lnTo>
                          <a:pt x="1150" y="790"/>
                        </a:lnTo>
                        <a:lnTo>
                          <a:pt x="1143" y="795"/>
                        </a:lnTo>
                        <a:lnTo>
                          <a:pt x="1129" y="806"/>
                        </a:lnTo>
                        <a:lnTo>
                          <a:pt x="1121" y="812"/>
                        </a:lnTo>
                        <a:lnTo>
                          <a:pt x="1115" y="816"/>
                        </a:lnTo>
                        <a:lnTo>
                          <a:pt x="1110" y="820"/>
                        </a:lnTo>
                        <a:lnTo>
                          <a:pt x="1112" y="820"/>
                        </a:lnTo>
                        <a:lnTo>
                          <a:pt x="1113" y="822"/>
                        </a:lnTo>
                        <a:lnTo>
                          <a:pt x="1116" y="822"/>
                        </a:lnTo>
                        <a:lnTo>
                          <a:pt x="1118" y="822"/>
                        </a:lnTo>
                        <a:lnTo>
                          <a:pt x="1120" y="823"/>
                        </a:lnTo>
                        <a:lnTo>
                          <a:pt x="1121" y="825"/>
                        </a:lnTo>
                        <a:lnTo>
                          <a:pt x="1123" y="827"/>
                        </a:lnTo>
                        <a:lnTo>
                          <a:pt x="1124" y="828"/>
                        </a:lnTo>
                        <a:lnTo>
                          <a:pt x="1124" y="831"/>
                        </a:lnTo>
                        <a:lnTo>
                          <a:pt x="1126" y="835"/>
                        </a:lnTo>
                        <a:lnTo>
                          <a:pt x="1126" y="836"/>
                        </a:lnTo>
                        <a:lnTo>
                          <a:pt x="1126" y="838"/>
                        </a:lnTo>
                        <a:lnTo>
                          <a:pt x="1126" y="839"/>
                        </a:lnTo>
                        <a:lnTo>
                          <a:pt x="1126" y="841"/>
                        </a:lnTo>
                        <a:lnTo>
                          <a:pt x="1126" y="844"/>
                        </a:lnTo>
                        <a:lnTo>
                          <a:pt x="1126" y="846"/>
                        </a:lnTo>
                        <a:lnTo>
                          <a:pt x="1126" y="847"/>
                        </a:lnTo>
                        <a:lnTo>
                          <a:pt x="1124" y="849"/>
                        </a:lnTo>
                        <a:lnTo>
                          <a:pt x="1123" y="850"/>
                        </a:lnTo>
                        <a:lnTo>
                          <a:pt x="1121" y="850"/>
                        </a:lnTo>
                        <a:lnTo>
                          <a:pt x="1120" y="850"/>
                        </a:lnTo>
                        <a:lnTo>
                          <a:pt x="1115" y="849"/>
                        </a:lnTo>
                        <a:lnTo>
                          <a:pt x="1115" y="847"/>
                        </a:lnTo>
                        <a:lnTo>
                          <a:pt x="1113" y="847"/>
                        </a:lnTo>
                        <a:lnTo>
                          <a:pt x="1112" y="847"/>
                        </a:lnTo>
                        <a:lnTo>
                          <a:pt x="1110" y="849"/>
                        </a:lnTo>
                        <a:lnTo>
                          <a:pt x="1108" y="849"/>
                        </a:lnTo>
                        <a:lnTo>
                          <a:pt x="1108" y="850"/>
                        </a:lnTo>
                        <a:lnTo>
                          <a:pt x="1108" y="852"/>
                        </a:lnTo>
                        <a:lnTo>
                          <a:pt x="1107" y="852"/>
                        </a:lnTo>
                        <a:lnTo>
                          <a:pt x="1104" y="855"/>
                        </a:lnTo>
                        <a:lnTo>
                          <a:pt x="1101" y="858"/>
                        </a:lnTo>
                        <a:lnTo>
                          <a:pt x="1099" y="858"/>
                        </a:lnTo>
                        <a:lnTo>
                          <a:pt x="1099" y="860"/>
                        </a:lnTo>
                        <a:lnTo>
                          <a:pt x="1097" y="861"/>
                        </a:lnTo>
                        <a:lnTo>
                          <a:pt x="1096" y="863"/>
                        </a:lnTo>
                        <a:lnTo>
                          <a:pt x="1096" y="865"/>
                        </a:lnTo>
                        <a:lnTo>
                          <a:pt x="1096" y="866"/>
                        </a:lnTo>
                        <a:lnTo>
                          <a:pt x="1093" y="871"/>
                        </a:lnTo>
                        <a:lnTo>
                          <a:pt x="1091" y="873"/>
                        </a:lnTo>
                        <a:lnTo>
                          <a:pt x="1091" y="874"/>
                        </a:lnTo>
                        <a:lnTo>
                          <a:pt x="1091" y="877"/>
                        </a:lnTo>
                        <a:lnTo>
                          <a:pt x="1089" y="882"/>
                        </a:lnTo>
                        <a:lnTo>
                          <a:pt x="1088" y="887"/>
                        </a:lnTo>
                        <a:lnTo>
                          <a:pt x="1088" y="888"/>
                        </a:lnTo>
                        <a:lnTo>
                          <a:pt x="1088" y="890"/>
                        </a:lnTo>
                        <a:lnTo>
                          <a:pt x="1088" y="892"/>
                        </a:lnTo>
                        <a:lnTo>
                          <a:pt x="1089" y="895"/>
                        </a:lnTo>
                        <a:lnTo>
                          <a:pt x="1089" y="896"/>
                        </a:lnTo>
                        <a:lnTo>
                          <a:pt x="1091" y="898"/>
                        </a:lnTo>
                        <a:lnTo>
                          <a:pt x="1093" y="899"/>
                        </a:lnTo>
                        <a:lnTo>
                          <a:pt x="1094" y="901"/>
                        </a:lnTo>
                        <a:lnTo>
                          <a:pt x="1096" y="903"/>
                        </a:lnTo>
                        <a:lnTo>
                          <a:pt x="1097" y="904"/>
                        </a:lnTo>
                        <a:lnTo>
                          <a:pt x="1099" y="904"/>
                        </a:lnTo>
                        <a:lnTo>
                          <a:pt x="1101" y="904"/>
                        </a:lnTo>
                        <a:lnTo>
                          <a:pt x="1102" y="906"/>
                        </a:lnTo>
                        <a:lnTo>
                          <a:pt x="1104" y="907"/>
                        </a:lnTo>
                        <a:lnTo>
                          <a:pt x="1107" y="907"/>
                        </a:lnTo>
                        <a:lnTo>
                          <a:pt x="1108" y="909"/>
                        </a:lnTo>
                        <a:lnTo>
                          <a:pt x="1110" y="911"/>
                        </a:lnTo>
                        <a:lnTo>
                          <a:pt x="1113" y="915"/>
                        </a:lnTo>
                        <a:lnTo>
                          <a:pt x="1115" y="915"/>
                        </a:lnTo>
                        <a:lnTo>
                          <a:pt x="1116" y="917"/>
                        </a:lnTo>
                        <a:lnTo>
                          <a:pt x="1118" y="918"/>
                        </a:lnTo>
                        <a:lnTo>
                          <a:pt x="1120" y="920"/>
                        </a:lnTo>
                        <a:lnTo>
                          <a:pt x="1121" y="922"/>
                        </a:lnTo>
                        <a:lnTo>
                          <a:pt x="1121" y="923"/>
                        </a:lnTo>
                        <a:lnTo>
                          <a:pt x="1123" y="926"/>
                        </a:lnTo>
                        <a:lnTo>
                          <a:pt x="1123" y="928"/>
                        </a:lnTo>
                        <a:lnTo>
                          <a:pt x="1124" y="928"/>
                        </a:lnTo>
                        <a:lnTo>
                          <a:pt x="1124" y="930"/>
                        </a:lnTo>
                        <a:lnTo>
                          <a:pt x="1124" y="933"/>
                        </a:lnTo>
                        <a:lnTo>
                          <a:pt x="1126" y="933"/>
                        </a:lnTo>
                        <a:lnTo>
                          <a:pt x="1126" y="934"/>
                        </a:lnTo>
                        <a:lnTo>
                          <a:pt x="1124" y="936"/>
                        </a:lnTo>
                        <a:lnTo>
                          <a:pt x="1126" y="937"/>
                        </a:lnTo>
                        <a:lnTo>
                          <a:pt x="1126" y="939"/>
                        </a:lnTo>
                        <a:lnTo>
                          <a:pt x="1126" y="941"/>
                        </a:lnTo>
                        <a:lnTo>
                          <a:pt x="1126" y="942"/>
                        </a:lnTo>
                        <a:lnTo>
                          <a:pt x="1127" y="944"/>
                        </a:lnTo>
                        <a:lnTo>
                          <a:pt x="1129" y="947"/>
                        </a:lnTo>
                        <a:lnTo>
                          <a:pt x="1129" y="949"/>
                        </a:lnTo>
                        <a:lnTo>
                          <a:pt x="1131" y="950"/>
                        </a:lnTo>
                        <a:lnTo>
                          <a:pt x="1129" y="955"/>
                        </a:lnTo>
                        <a:lnTo>
                          <a:pt x="1129" y="956"/>
                        </a:lnTo>
                        <a:lnTo>
                          <a:pt x="1129" y="958"/>
                        </a:lnTo>
                        <a:lnTo>
                          <a:pt x="1129" y="960"/>
                        </a:lnTo>
                        <a:lnTo>
                          <a:pt x="1131" y="964"/>
                        </a:lnTo>
                        <a:lnTo>
                          <a:pt x="1134" y="966"/>
                        </a:lnTo>
                        <a:lnTo>
                          <a:pt x="1137" y="968"/>
                        </a:lnTo>
                        <a:lnTo>
                          <a:pt x="1139" y="969"/>
                        </a:lnTo>
                        <a:lnTo>
                          <a:pt x="1140" y="971"/>
                        </a:lnTo>
                        <a:lnTo>
                          <a:pt x="1140" y="972"/>
                        </a:lnTo>
                        <a:lnTo>
                          <a:pt x="1142" y="974"/>
                        </a:lnTo>
                        <a:lnTo>
                          <a:pt x="1143" y="976"/>
                        </a:lnTo>
                        <a:lnTo>
                          <a:pt x="1143" y="977"/>
                        </a:lnTo>
                        <a:lnTo>
                          <a:pt x="1145" y="979"/>
                        </a:lnTo>
                        <a:lnTo>
                          <a:pt x="1145" y="980"/>
                        </a:lnTo>
                        <a:lnTo>
                          <a:pt x="1146" y="982"/>
                        </a:lnTo>
                        <a:lnTo>
                          <a:pt x="1146" y="983"/>
                        </a:lnTo>
                        <a:lnTo>
                          <a:pt x="1146" y="985"/>
                        </a:lnTo>
                        <a:lnTo>
                          <a:pt x="1146" y="987"/>
                        </a:lnTo>
                        <a:lnTo>
                          <a:pt x="1145" y="988"/>
                        </a:lnTo>
                        <a:lnTo>
                          <a:pt x="1145" y="990"/>
                        </a:lnTo>
                        <a:lnTo>
                          <a:pt x="1142" y="995"/>
                        </a:lnTo>
                        <a:lnTo>
                          <a:pt x="1140" y="996"/>
                        </a:lnTo>
                        <a:lnTo>
                          <a:pt x="1140" y="999"/>
                        </a:lnTo>
                        <a:lnTo>
                          <a:pt x="1139" y="999"/>
                        </a:lnTo>
                        <a:lnTo>
                          <a:pt x="1139" y="1001"/>
                        </a:lnTo>
                        <a:lnTo>
                          <a:pt x="1139" y="1006"/>
                        </a:lnTo>
                        <a:lnTo>
                          <a:pt x="1139" y="1007"/>
                        </a:lnTo>
                        <a:lnTo>
                          <a:pt x="1139" y="1014"/>
                        </a:lnTo>
                        <a:lnTo>
                          <a:pt x="1139" y="1015"/>
                        </a:lnTo>
                        <a:lnTo>
                          <a:pt x="1137" y="1017"/>
                        </a:lnTo>
                        <a:lnTo>
                          <a:pt x="1135" y="1018"/>
                        </a:lnTo>
                        <a:lnTo>
                          <a:pt x="1134" y="1018"/>
                        </a:lnTo>
                        <a:lnTo>
                          <a:pt x="1132" y="1018"/>
                        </a:lnTo>
                        <a:lnTo>
                          <a:pt x="1131" y="1020"/>
                        </a:lnTo>
                        <a:lnTo>
                          <a:pt x="1126" y="1017"/>
                        </a:lnTo>
                        <a:lnTo>
                          <a:pt x="1124" y="1015"/>
                        </a:lnTo>
                        <a:lnTo>
                          <a:pt x="1124" y="1014"/>
                        </a:lnTo>
                        <a:lnTo>
                          <a:pt x="1124" y="1012"/>
                        </a:lnTo>
                        <a:lnTo>
                          <a:pt x="1123" y="1012"/>
                        </a:lnTo>
                        <a:lnTo>
                          <a:pt x="1121" y="1010"/>
                        </a:lnTo>
                        <a:lnTo>
                          <a:pt x="1120" y="1009"/>
                        </a:lnTo>
                        <a:lnTo>
                          <a:pt x="1120" y="1007"/>
                        </a:lnTo>
                        <a:lnTo>
                          <a:pt x="1118" y="1006"/>
                        </a:lnTo>
                        <a:lnTo>
                          <a:pt x="1116" y="1004"/>
                        </a:lnTo>
                        <a:lnTo>
                          <a:pt x="1115" y="1001"/>
                        </a:lnTo>
                        <a:lnTo>
                          <a:pt x="1113" y="1001"/>
                        </a:lnTo>
                        <a:lnTo>
                          <a:pt x="1110" y="999"/>
                        </a:lnTo>
                        <a:lnTo>
                          <a:pt x="1108" y="999"/>
                        </a:lnTo>
                        <a:lnTo>
                          <a:pt x="1104" y="998"/>
                        </a:lnTo>
                        <a:lnTo>
                          <a:pt x="1102" y="996"/>
                        </a:lnTo>
                        <a:lnTo>
                          <a:pt x="1099" y="996"/>
                        </a:lnTo>
                        <a:lnTo>
                          <a:pt x="1097" y="996"/>
                        </a:lnTo>
                        <a:lnTo>
                          <a:pt x="1096" y="996"/>
                        </a:lnTo>
                        <a:lnTo>
                          <a:pt x="1093" y="996"/>
                        </a:lnTo>
                        <a:lnTo>
                          <a:pt x="1091" y="998"/>
                        </a:lnTo>
                        <a:lnTo>
                          <a:pt x="1089" y="999"/>
                        </a:lnTo>
                        <a:lnTo>
                          <a:pt x="1086" y="999"/>
                        </a:lnTo>
                        <a:lnTo>
                          <a:pt x="1085" y="1001"/>
                        </a:lnTo>
                        <a:lnTo>
                          <a:pt x="1083" y="1001"/>
                        </a:lnTo>
                        <a:lnTo>
                          <a:pt x="1080" y="1001"/>
                        </a:lnTo>
                        <a:lnTo>
                          <a:pt x="1077" y="1002"/>
                        </a:lnTo>
                        <a:lnTo>
                          <a:pt x="1075" y="1004"/>
                        </a:lnTo>
                        <a:lnTo>
                          <a:pt x="1072" y="1006"/>
                        </a:lnTo>
                        <a:lnTo>
                          <a:pt x="1072" y="1007"/>
                        </a:lnTo>
                        <a:lnTo>
                          <a:pt x="1070" y="1007"/>
                        </a:lnTo>
                        <a:lnTo>
                          <a:pt x="1069" y="1009"/>
                        </a:lnTo>
                        <a:lnTo>
                          <a:pt x="1069" y="1010"/>
                        </a:lnTo>
                        <a:lnTo>
                          <a:pt x="1067" y="1010"/>
                        </a:lnTo>
                        <a:lnTo>
                          <a:pt x="1066" y="1012"/>
                        </a:lnTo>
                        <a:lnTo>
                          <a:pt x="1064" y="1012"/>
                        </a:lnTo>
                        <a:lnTo>
                          <a:pt x="1064" y="1014"/>
                        </a:lnTo>
                        <a:lnTo>
                          <a:pt x="1063" y="1014"/>
                        </a:lnTo>
                        <a:lnTo>
                          <a:pt x="1063" y="1017"/>
                        </a:lnTo>
                        <a:lnTo>
                          <a:pt x="1061" y="1018"/>
                        </a:lnTo>
                        <a:lnTo>
                          <a:pt x="1061" y="1020"/>
                        </a:lnTo>
                        <a:lnTo>
                          <a:pt x="1061" y="1021"/>
                        </a:lnTo>
                        <a:lnTo>
                          <a:pt x="1061" y="1023"/>
                        </a:lnTo>
                        <a:lnTo>
                          <a:pt x="1063" y="1025"/>
                        </a:lnTo>
                        <a:lnTo>
                          <a:pt x="1064" y="1025"/>
                        </a:lnTo>
                        <a:lnTo>
                          <a:pt x="1066" y="1026"/>
                        </a:lnTo>
                        <a:lnTo>
                          <a:pt x="1066" y="1028"/>
                        </a:lnTo>
                        <a:lnTo>
                          <a:pt x="1067" y="1029"/>
                        </a:lnTo>
                        <a:lnTo>
                          <a:pt x="1069" y="1029"/>
                        </a:lnTo>
                        <a:lnTo>
                          <a:pt x="1070" y="1031"/>
                        </a:lnTo>
                        <a:lnTo>
                          <a:pt x="1072" y="1036"/>
                        </a:lnTo>
                        <a:lnTo>
                          <a:pt x="1074" y="1037"/>
                        </a:lnTo>
                        <a:lnTo>
                          <a:pt x="1074" y="1039"/>
                        </a:lnTo>
                        <a:lnTo>
                          <a:pt x="1074" y="1040"/>
                        </a:lnTo>
                        <a:lnTo>
                          <a:pt x="1074" y="1042"/>
                        </a:lnTo>
                        <a:lnTo>
                          <a:pt x="1077" y="1044"/>
                        </a:lnTo>
                        <a:lnTo>
                          <a:pt x="1078" y="1045"/>
                        </a:lnTo>
                        <a:lnTo>
                          <a:pt x="1080" y="1045"/>
                        </a:lnTo>
                        <a:lnTo>
                          <a:pt x="1082" y="1047"/>
                        </a:lnTo>
                        <a:lnTo>
                          <a:pt x="1083" y="1048"/>
                        </a:lnTo>
                        <a:lnTo>
                          <a:pt x="1085" y="1050"/>
                        </a:lnTo>
                        <a:lnTo>
                          <a:pt x="1086" y="1050"/>
                        </a:lnTo>
                        <a:lnTo>
                          <a:pt x="1088" y="1052"/>
                        </a:lnTo>
                        <a:lnTo>
                          <a:pt x="1089" y="1052"/>
                        </a:lnTo>
                        <a:lnTo>
                          <a:pt x="1091" y="1052"/>
                        </a:lnTo>
                        <a:lnTo>
                          <a:pt x="1093" y="1052"/>
                        </a:lnTo>
                        <a:lnTo>
                          <a:pt x="1094" y="1052"/>
                        </a:lnTo>
                        <a:lnTo>
                          <a:pt x="1094" y="1053"/>
                        </a:lnTo>
                        <a:lnTo>
                          <a:pt x="1096" y="1053"/>
                        </a:lnTo>
                        <a:lnTo>
                          <a:pt x="1097" y="1053"/>
                        </a:lnTo>
                        <a:lnTo>
                          <a:pt x="1101" y="1053"/>
                        </a:lnTo>
                        <a:lnTo>
                          <a:pt x="1107" y="1058"/>
                        </a:lnTo>
                        <a:lnTo>
                          <a:pt x="1107" y="1059"/>
                        </a:lnTo>
                        <a:lnTo>
                          <a:pt x="1107" y="1061"/>
                        </a:lnTo>
                        <a:lnTo>
                          <a:pt x="1108" y="1061"/>
                        </a:lnTo>
                        <a:lnTo>
                          <a:pt x="1108" y="1063"/>
                        </a:lnTo>
                        <a:lnTo>
                          <a:pt x="1110" y="1064"/>
                        </a:lnTo>
                        <a:lnTo>
                          <a:pt x="1110" y="1066"/>
                        </a:lnTo>
                        <a:lnTo>
                          <a:pt x="1112" y="1067"/>
                        </a:lnTo>
                        <a:lnTo>
                          <a:pt x="1112" y="1069"/>
                        </a:lnTo>
                        <a:lnTo>
                          <a:pt x="1112" y="1071"/>
                        </a:lnTo>
                        <a:lnTo>
                          <a:pt x="1110" y="1075"/>
                        </a:lnTo>
                        <a:lnTo>
                          <a:pt x="1110" y="1077"/>
                        </a:lnTo>
                        <a:lnTo>
                          <a:pt x="1108" y="1077"/>
                        </a:lnTo>
                        <a:lnTo>
                          <a:pt x="1105" y="1080"/>
                        </a:lnTo>
                        <a:lnTo>
                          <a:pt x="1104" y="1082"/>
                        </a:lnTo>
                        <a:lnTo>
                          <a:pt x="1102" y="1083"/>
                        </a:lnTo>
                        <a:lnTo>
                          <a:pt x="1101" y="1085"/>
                        </a:lnTo>
                        <a:lnTo>
                          <a:pt x="1097" y="1088"/>
                        </a:lnTo>
                        <a:lnTo>
                          <a:pt x="1094" y="1091"/>
                        </a:lnTo>
                        <a:lnTo>
                          <a:pt x="1093" y="1093"/>
                        </a:lnTo>
                        <a:lnTo>
                          <a:pt x="1093" y="1094"/>
                        </a:lnTo>
                        <a:lnTo>
                          <a:pt x="1091" y="1096"/>
                        </a:lnTo>
                        <a:lnTo>
                          <a:pt x="1091" y="1097"/>
                        </a:lnTo>
                        <a:lnTo>
                          <a:pt x="1091" y="1101"/>
                        </a:lnTo>
                        <a:lnTo>
                          <a:pt x="1093" y="1102"/>
                        </a:lnTo>
                        <a:lnTo>
                          <a:pt x="1094" y="1104"/>
                        </a:lnTo>
                        <a:lnTo>
                          <a:pt x="1096" y="1107"/>
                        </a:lnTo>
                        <a:lnTo>
                          <a:pt x="1097" y="1109"/>
                        </a:lnTo>
                        <a:lnTo>
                          <a:pt x="1102" y="1109"/>
                        </a:lnTo>
                        <a:lnTo>
                          <a:pt x="1104" y="1109"/>
                        </a:lnTo>
                        <a:lnTo>
                          <a:pt x="1105" y="1110"/>
                        </a:lnTo>
                        <a:lnTo>
                          <a:pt x="1107" y="1110"/>
                        </a:lnTo>
                        <a:lnTo>
                          <a:pt x="1108" y="1112"/>
                        </a:lnTo>
                        <a:lnTo>
                          <a:pt x="1110" y="1113"/>
                        </a:lnTo>
                        <a:lnTo>
                          <a:pt x="1113" y="1116"/>
                        </a:lnTo>
                        <a:lnTo>
                          <a:pt x="1116" y="1116"/>
                        </a:lnTo>
                        <a:lnTo>
                          <a:pt x="1116" y="1118"/>
                        </a:lnTo>
                        <a:lnTo>
                          <a:pt x="1120" y="1121"/>
                        </a:lnTo>
                        <a:lnTo>
                          <a:pt x="1121" y="1123"/>
                        </a:lnTo>
                        <a:lnTo>
                          <a:pt x="1124" y="1124"/>
                        </a:lnTo>
                        <a:lnTo>
                          <a:pt x="1124" y="1126"/>
                        </a:lnTo>
                        <a:lnTo>
                          <a:pt x="1124" y="1128"/>
                        </a:lnTo>
                        <a:lnTo>
                          <a:pt x="1126" y="1128"/>
                        </a:lnTo>
                        <a:lnTo>
                          <a:pt x="1126" y="1131"/>
                        </a:lnTo>
                        <a:lnTo>
                          <a:pt x="1126" y="1135"/>
                        </a:lnTo>
                        <a:lnTo>
                          <a:pt x="1126" y="1137"/>
                        </a:lnTo>
                        <a:lnTo>
                          <a:pt x="1124" y="1139"/>
                        </a:lnTo>
                        <a:lnTo>
                          <a:pt x="1123" y="1142"/>
                        </a:lnTo>
                        <a:lnTo>
                          <a:pt x="1121" y="1143"/>
                        </a:lnTo>
                        <a:lnTo>
                          <a:pt x="1120" y="1145"/>
                        </a:lnTo>
                        <a:lnTo>
                          <a:pt x="1118" y="1147"/>
                        </a:lnTo>
                        <a:lnTo>
                          <a:pt x="1118" y="1148"/>
                        </a:lnTo>
                        <a:lnTo>
                          <a:pt x="1116" y="1150"/>
                        </a:lnTo>
                        <a:lnTo>
                          <a:pt x="1116" y="1151"/>
                        </a:lnTo>
                        <a:lnTo>
                          <a:pt x="1116" y="1153"/>
                        </a:lnTo>
                        <a:lnTo>
                          <a:pt x="1116" y="1156"/>
                        </a:lnTo>
                        <a:lnTo>
                          <a:pt x="1116" y="1158"/>
                        </a:lnTo>
                        <a:lnTo>
                          <a:pt x="1115" y="1159"/>
                        </a:lnTo>
                        <a:lnTo>
                          <a:pt x="1113" y="1162"/>
                        </a:lnTo>
                        <a:lnTo>
                          <a:pt x="1112" y="1164"/>
                        </a:lnTo>
                        <a:lnTo>
                          <a:pt x="1110" y="1164"/>
                        </a:lnTo>
                        <a:lnTo>
                          <a:pt x="1105" y="1166"/>
                        </a:lnTo>
                        <a:lnTo>
                          <a:pt x="1104" y="1167"/>
                        </a:lnTo>
                        <a:lnTo>
                          <a:pt x="1101" y="1167"/>
                        </a:lnTo>
                        <a:lnTo>
                          <a:pt x="1101" y="1169"/>
                        </a:lnTo>
                        <a:lnTo>
                          <a:pt x="1099" y="1169"/>
                        </a:lnTo>
                        <a:lnTo>
                          <a:pt x="1097" y="1169"/>
                        </a:lnTo>
                        <a:lnTo>
                          <a:pt x="1094" y="1172"/>
                        </a:lnTo>
                        <a:lnTo>
                          <a:pt x="1093" y="1172"/>
                        </a:lnTo>
                        <a:lnTo>
                          <a:pt x="1091" y="1174"/>
                        </a:lnTo>
                        <a:lnTo>
                          <a:pt x="1089" y="1174"/>
                        </a:lnTo>
                        <a:lnTo>
                          <a:pt x="1086" y="1174"/>
                        </a:lnTo>
                        <a:lnTo>
                          <a:pt x="1085" y="1174"/>
                        </a:lnTo>
                        <a:lnTo>
                          <a:pt x="1083" y="1174"/>
                        </a:lnTo>
                        <a:lnTo>
                          <a:pt x="1078" y="1172"/>
                        </a:lnTo>
                        <a:lnTo>
                          <a:pt x="1077" y="1172"/>
                        </a:lnTo>
                        <a:lnTo>
                          <a:pt x="1075" y="1172"/>
                        </a:lnTo>
                        <a:lnTo>
                          <a:pt x="1074" y="1172"/>
                        </a:lnTo>
                        <a:lnTo>
                          <a:pt x="1070" y="1172"/>
                        </a:lnTo>
                        <a:lnTo>
                          <a:pt x="1069" y="1172"/>
                        </a:lnTo>
                        <a:lnTo>
                          <a:pt x="1067" y="1174"/>
                        </a:lnTo>
                        <a:lnTo>
                          <a:pt x="1066" y="1174"/>
                        </a:lnTo>
                        <a:lnTo>
                          <a:pt x="1066" y="1175"/>
                        </a:lnTo>
                        <a:lnTo>
                          <a:pt x="1064" y="1178"/>
                        </a:lnTo>
                        <a:lnTo>
                          <a:pt x="1064" y="1181"/>
                        </a:lnTo>
                        <a:lnTo>
                          <a:pt x="1066" y="1185"/>
                        </a:lnTo>
                        <a:lnTo>
                          <a:pt x="1066" y="1186"/>
                        </a:lnTo>
                        <a:lnTo>
                          <a:pt x="1066" y="1188"/>
                        </a:lnTo>
                        <a:lnTo>
                          <a:pt x="1066" y="1191"/>
                        </a:lnTo>
                        <a:lnTo>
                          <a:pt x="1067" y="1193"/>
                        </a:lnTo>
                        <a:lnTo>
                          <a:pt x="1070" y="1196"/>
                        </a:lnTo>
                        <a:lnTo>
                          <a:pt x="1077" y="1199"/>
                        </a:lnTo>
                        <a:lnTo>
                          <a:pt x="1078" y="1200"/>
                        </a:lnTo>
                        <a:lnTo>
                          <a:pt x="1082" y="1202"/>
                        </a:lnTo>
                        <a:lnTo>
                          <a:pt x="1083" y="1204"/>
                        </a:lnTo>
                        <a:lnTo>
                          <a:pt x="1086" y="1207"/>
                        </a:lnTo>
                        <a:lnTo>
                          <a:pt x="1089" y="1208"/>
                        </a:lnTo>
                        <a:lnTo>
                          <a:pt x="1091" y="1210"/>
                        </a:lnTo>
                        <a:lnTo>
                          <a:pt x="1093" y="1210"/>
                        </a:lnTo>
                        <a:lnTo>
                          <a:pt x="1094" y="1212"/>
                        </a:lnTo>
                        <a:lnTo>
                          <a:pt x="1097" y="1212"/>
                        </a:lnTo>
                        <a:lnTo>
                          <a:pt x="1099" y="1212"/>
                        </a:lnTo>
                        <a:lnTo>
                          <a:pt x="1101" y="1212"/>
                        </a:lnTo>
                        <a:lnTo>
                          <a:pt x="1102" y="1210"/>
                        </a:lnTo>
                        <a:lnTo>
                          <a:pt x="1104" y="1210"/>
                        </a:lnTo>
                        <a:lnTo>
                          <a:pt x="1105" y="1210"/>
                        </a:lnTo>
                        <a:lnTo>
                          <a:pt x="1107" y="1212"/>
                        </a:lnTo>
                        <a:lnTo>
                          <a:pt x="1110" y="1210"/>
                        </a:lnTo>
                        <a:lnTo>
                          <a:pt x="1113" y="1210"/>
                        </a:lnTo>
                        <a:lnTo>
                          <a:pt x="1115" y="1208"/>
                        </a:lnTo>
                        <a:lnTo>
                          <a:pt x="1118" y="1208"/>
                        </a:lnTo>
                        <a:lnTo>
                          <a:pt x="1118" y="1207"/>
                        </a:lnTo>
                        <a:lnTo>
                          <a:pt x="1120" y="1207"/>
                        </a:lnTo>
                        <a:lnTo>
                          <a:pt x="1123" y="1208"/>
                        </a:lnTo>
                        <a:lnTo>
                          <a:pt x="1127" y="1207"/>
                        </a:lnTo>
                        <a:lnTo>
                          <a:pt x="1131" y="1207"/>
                        </a:lnTo>
                        <a:lnTo>
                          <a:pt x="1132" y="1207"/>
                        </a:lnTo>
                        <a:lnTo>
                          <a:pt x="1134" y="1207"/>
                        </a:lnTo>
                        <a:lnTo>
                          <a:pt x="1135" y="1205"/>
                        </a:lnTo>
                        <a:lnTo>
                          <a:pt x="1137" y="1205"/>
                        </a:lnTo>
                        <a:lnTo>
                          <a:pt x="1139" y="1205"/>
                        </a:lnTo>
                        <a:lnTo>
                          <a:pt x="1140" y="1205"/>
                        </a:lnTo>
                        <a:lnTo>
                          <a:pt x="1142" y="1207"/>
                        </a:lnTo>
                        <a:lnTo>
                          <a:pt x="1143" y="1207"/>
                        </a:lnTo>
                        <a:lnTo>
                          <a:pt x="1145" y="1207"/>
                        </a:lnTo>
                        <a:lnTo>
                          <a:pt x="1145" y="1208"/>
                        </a:lnTo>
                        <a:lnTo>
                          <a:pt x="1146" y="1208"/>
                        </a:lnTo>
                        <a:lnTo>
                          <a:pt x="1148" y="1210"/>
                        </a:lnTo>
                        <a:lnTo>
                          <a:pt x="1150" y="1212"/>
                        </a:lnTo>
                        <a:lnTo>
                          <a:pt x="1151" y="1212"/>
                        </a:lnTo>
                        <a:lnTo>
                          <a:pt x="1153" y="1213"/>
                        </a:lnTo>
                        <a:lnTo>
                          <a:pt x="1154" y="1215"/>
                        </a:lnTo>
                        <a:lnTo>
                          <a:pt x="1156" y="1216"/>
                        </a:lnTo>
                        <a:lnTo>
                          <a:pt x="1156" y="1218"/>
                        </a:lnTo>
                        <a:lnTo>
                          <a:pt x="1158" y="1218"/>
                        </a:lnTo>
                        <a:lnTo>
                          <a:pt x="1159" y="1219"/>
                        </a:lnTo>
                        <a:lnTo>
                          <a:pt x="1161" y="1221"/>
                        </a:lnTo>
                        <a:lnTo>
                          <a:pt x="1162" y="1221"/>
                        </a:lnTo>
                        <a:lnTo>
                          <a:pt x="1162" y="1223"/>
                        </a:lnTo>
                        <a:lnTo>
                          <a:pt x="1164" y="1224"/>
                        </a:lnTo>
                        <a:lnTo>
                          <a:pt x="1167" y="1226"/>
                        </a:lnTo>
                        <a:lnTo>
                          <a:pt x="1170" y="1229"/>
                        </a:lnTo>
                        <a:lnTo>
                          <a:pt x="1172" y="1231"/>
                        </a:lnTo>
                        <a:lnTo>
                          <a:pt x="1173" y="1232"/>
                        </a:lnTo>
                        <a:lnTo>
                          <a:pt x="1178" y="1235"/>
                        </a:lnTo>
                        <a:lnTo>
                          <a:pt x="1181" y="1238"/>
                        </a:lnTo>
                        <a:lnTo>
                          <a:pt x="1185" y="1242"/>
                        </a:lnTo>
                        <a:lnTo>
                          <a:pt x="1186" y="1243"/>
                        </a:lnTo>
                        <a:lnTo>
                          <a:pt x="1188" y="1246"/>
                        </a:lnTo>
                        <a:lnTo>
                          <a:pt x="1189" y="1248"/>
                        </a:lnTo>
                        <a:lnTo>
                          <a:pt x="1189" y="1251"/>
                        </a:lnTo>
                        <a:lnTo>
                          <a:pt x="1189" y="1253"/>
                        </a:lnTo>
                        <a:lnTo>
                          <a:pt x="1191" y="1256"/>
                        </a:lnTo>
                        <a:lnTo>
                          <a:pt x="1191" y="1259"/>
                        </a:lnTo>
                        <a:lnTo>
                          <a:pt x="1191" y="1261"/>
                        </a:lnTo>
                        <a:lnTo>
                          <a:pt x="1191" y="1264"/>
                        </a:lnTo>
                        <a:lnTo>
                          <a:pt x="1192" y="1270"/>
                        </a:lnTo>
                        <a:lnTo>
                          <a:pt x="1194" y="1280"/>
                        </a:lnTo>
                        <a:lnTo>
                          <a:pt x="1194" y="1286"/>
                        </a:lnTo>
                        <a:lnTo>
                          <a:pt x="1196" y="1292"/>
                        </a:lnTo>
                        <a:lnTo>
                          <a:pt x="1196" y="1295"/>
                        </a:lnTo>
                        <a:lnTo>
                          <a:pt x="1196" y="1297"/>
                        </a:lnTo>
                        <a:lnTo>
                          <a:pt x="1197" y="1299"/>
                        </a:lnTo>
                        <a:lnTo>
                          <a:pt x="1197" y="1300"/>
                        </a:lnTo>
                        <a:lnTo>
                          <a:pt x="1200" y="1302"/>
                        </a:lnTo>
                        <a:lnTo>
                          <a:pt x="1202" y="1302"/>
                        </a:lnTo>
                        <a:lnTo>
                          <a:pt x="1205" y="1303"/>
                        </a:lnTo>
                        <a:lnTo>
                          <a:pt x="1208" y="1305"/>
                        </a:lnTo>
                        <a:lnTo>
                          <a:pt x="1210" y="1307"/>
                        </a:lnTo>
                        <a:lnTo>
                          <a:pt x="1213" y="1308"/>
                        </a:lnTo>
                        <a:lnTo>
                          <a:pt x="1215" y="1311"/>
                        </a:lnTo>
                        <a:lnTo>
                          <a:pt x="1216" y="1313"/>
                        </a:lnTo>
                        <a:lnTo>
                          <a:pt x="1219" y="1316"/>
                        </a:lnTo>
                        <a:lnTo>
                          <a:pt x="1219" y="1319"/>
                        </a:lnTo>
                        <a:lnTo>
                          <a:pt x="1221" y="1321"/>
                        </a:lnTo>
                        <a:lnTo>
                          <a:pt x="1221" y="1324"/>
                        </a:lnTo>
                        <a:lnTo>
                          <a:pt x="1223" y="1329"/>
                        </a:lnTo>
                        <a:lnTo>
                          <a:pt x="1223" y="1333"/>
                        </a:lnTo>
                        <a:lnTo>
                          <a:pt x="1223" y="1340"/>
                        </a:lnTo>
                        <a:lnTo>
                          <a:pt x="1223" y="1343"/>
                        </a:lnTo>
                        <a:lnTo>
                          <a:pt x="1221" y="1351"/>
                        </a:lnTo>
                        <a:lnTo>
                          <a:pt x="1219" y="1354"/>
                        </a:lnTo>
                        <a:lnTo>
                          <a:pt x="1219" y="1357"/>
                        </a:lnTo>
                        <a:lnTo>
                          <a:pt x="1218" y="1360"/>
                        </a:lnTo>
                        <a:lnTo>
                          <a:pt x="1218" y="1362"/>
                        </a:lnTo>
                        <a:lnTo>
                          <a:pt x="1219" y="1364"/>
                        </a:lnTo>
                        <a:lnTo>
                          <a:pt x="1219" y="1367"/>
                        </a:lnTo>
                        <a:lnTo>
                          <a:pt x="1221" y="1368"/>
                        </a:lnTo>
                        <a:lnTo>
                          <a:pt x="1224" y="1372"/>
                        </a:lnTo>
                        <a:lnTo>
                          <a:pt x="1229" y="1375"/>
                        </a:lnTo>
                        <a:lnTo>
                          <a:pt x="1232" y="1378"/>
                        </a:lnTo>
                        <a:lnTo>
                          <a:pt x="1240" y="1383"/>
                        </a:lnTo>
                        <a:lnTo>
                          <a:pt x="1245" y="1384"/>
                        </a:lnTo>
                        <a:lnTo>
                          <a:pt x="1251" y="1387"/>
                        </a:lnTo>
                        <a:lnTo>
                          <a:pt x="1254" y="1389"/>
                        </a:lnTo>
                        <a:lnTo>
                          <a:pt x="1256" y="1389"/>
                        </a:lnTo>
                        <a:lnTo>
                          <a:pt x="1259" y="1389"/>
                        </a:lnTo>
                        <a:lnTo>
                          <a:pt x="1261" y="1389"/>
                        </a:lnTo>
                        <a:lnTo>
                          <a:pt x="1262" y="1391"/>
                        </a:lnTo>
                        <a:lnTo>
                          <a:pt x="1264" y="1392"/>
                        </a:lnTo>
                        <a:lnTo>
                          <a:pt x="1273" y="1398"/>
                        </a:lnTo>
                        <a:lnTo>
                          <a:pt x="1276" y="1402"/>
                        </a:lnTo>
                        <a:lnTo>
                          <a:pt x="1278" y="1403"/>
                        </a:lnTo>
                        <a:lnTo>
                          <a:pt x="1283" y="1405"/>
                        </a:lnTo>
                        <a:lnTo>
                          <a:pt x="1289" y="1406"/>
                        </a:lnTo>
                        <a:lnTo>
                          <a:pt x="1292" y="1406"/>
                        </a:lnTo>
                        <a:lnTo>
                          <a:pt x="1297" y="1406"/>
                        </a:lnTo>
                        <a:lnTo>
                          <a:pt x="1299" y="1408"/>
                        </a:lnTo>
                        <a:lnTo>
                          <a:pt x="1302" y="1410"/>
                        </a:lnTo>
                        <a:lnTo>
                          <a:pt x="1303" y="1410"/>
                        </a:lnTo>
                        <a:lnTo>
                          <a:pt x="1303" y="1411"/>
                        </a:lnTo>
                        <a:lnTo>
                          <a:pt x="1305" y="1413"/>
                        </a:lnTo>
                        <a:lnTo>
                          <a:pt x="1306" y="1413"/>
                        </a:lnTo>
                        <a:lnTo>
                          <a:pt x="1308" y="1413"/>
                        </a:lnTo>
                        <a:lnTo>
                          <a:pt x="1310" y="1414"/>
                        </a:lnTo>
                        <a:lnTo>
                          <a:pt x="1311" y="1416"/>
                        </a:lnTo>
                        <a:lnTo>
                          <a:pt x="1311" y="1417"/>
                        </a:lnTo>
                        <a:lnTo>
                          <a:pt x="1313" y="1417"/>
                        </a:lnTo>
                        <a:lnTo>
                          <a:pt x="1314" y="1421"/>
                        </a:lnTo>
                        <a:lnTo>
                          <a:pt x="1316" y="1422"/>
                        </a:lnTo>
                        <a:lnTo>
                          <a:pt x="1314" y="1422"/>
                        </a:lnTo>
                        <a:lnTo>
                          <a:pt x="1311" y="1425"/>
                        </a:lnTo>
                        <a:lnTo>
                          <a:pt x="1310" y="1429"/>
                        </a:lnTo>
                        <a:lnTo>
                          <a:pt x="1308" y="1429"/>
                        </a:lnTo>
                        <a:lnTo>
                          <a:pt x="1306" y="1430"/>
                        </a:lnTo>
                        <a:lnTo>
                          <a:pt x="1305" y="1432"/>
                        </a:lnTo>
                        <a:lnTo>
                          <a:pt x="1302" y="1432"/>
                        </a:lnTo>
                        <a:lnTo>
                          <a:pt x="1299" y="1435"/>
                        </a:lnTo>
                        <a:lnTo>
                          <a:pt x="1299" y="1436"/>
                        </a:lnTo>
                        <a:lnTo>
                          <a:pt x="1295" y="1436"/>
                        </a:lnTo>
                        <a:lnTo>
                          <a:pt x="1294" y="1438"/>
                        </a:lnTo>
                        <a:lnTo>
                          <a:pt x="1292" y="1438"/>
                        </a:lnTo>
                        <a:lnTo>
                          <a:pt x="1291" y="1440"/>
                        </a:lnTo>
                        <a:lnTo>
                          <a:pt x="1291" y="1441"/>
                        </a:lnTo>
                        <a:lnTo>
                          <a:pt x="1291" y="1443"/>
                        </a:lnTo>
                        <a:lnTo>
                          <a:pt x="1289" y="1444"/>
                        </a:lnTo>
                        <a:lnTo>
                          <a:pt x="1287" y="1444"/>
                        </a:lnTo>
                        <a:lnTo>
                          <a:pt x="1286" y="1443"/>
                        </a:lnTo>
                        <a:lnTo>
                          <a:pt x="1284" y="1444"/>
                        </a:lnTo>
                        <a:lnTo>
                          <a:pt x="1284" y="1443"/>
                        </a:lnTo>
                        <a:lnTo>
                          <a:pt x="1283" y="1443"/>
                        </a:lnTo>
                        <a:lnTo>
                          <a:pt x="1283" y="1444"/>
                        </a:lnTo>
                        <a:lnTo>
                          <a:pt x="1281" y="1444"/>
                        </a:lnTo>
                        <a:lnTo>
                          <a:pt x="1280" y="1446"/>
                        </a:lnTo>
                        <a:lnTo>
                          <a:pt x="1278" y="1446"/>
                        </a:lnTo>
                        <a:lnTo>
                          <a:pt x="1276" y="1446"/>
                        </a:lnTo>
                        <a:lnTo>
                          <a:pt x="1276" y="1444"/>
                        </a:lnTo>
                        <a:lnTo>
                          <a:pt x="1275" y="1444"/>
                        </a:lnTo>
                        <a:lnTo>
                          <a:pt x="1273" y="1444"/>
                        </a:lnTo>
                        <a:lnTo>
                          <a:pt x="1272" y="1444"/>
                        </a:lnTo>
                        <a:lnTo>
                          <a:pt x="1270" y="1444"/>
                        </a:lnTo>
                        <a:lnTo>
                          <a:pt x="1268" y="1444"/>
                        </a:lnTo>
                        <a:lnTo>
                          <a:pt x="1267" y="1444"/>
                        </a:lnTo>
                        <a:lnTo>
                          <a:pt x="1265" y="1444"/>
                        </a:lnTo>
                        <a:lnTo>
                          <a:pt x="1264" y="1444"/>
                        </a:lnTo>
                        <a:lnTo>
                          <a:pt x="1262" y="1444"/>
                        </a:lnTo>
                        <a:lnTo>
                          <a:pt x="1259" y="1444"/>
                        </a:lnTo>
                        <a:lnTo>
                          <a:pt x="1257" y="1446"/>
                        </a:lnTo>
                        <a:lnTo>
                          <a:pt x="1256" y="1444"/>
                        </a:lnTo>
                        <a:lnTo>
                          <a:pt x="1254" y="1444"/>
                        </a:lnTo>
                        <a:lnTo>
                          <a:pt x="1253" y="1444"/>
                        </a:lnTo>
                        <a:lnTo>
                          <a:pt x="1251" y="1444"/>
                        </a:lnTo>
                        <a:lnTo>
                          <a:pt x="1251" y="1446"/>
                        </a:lnTo>
                        <a:lnTo>
                          <a:pt x="1251" y="1448"/>
                        </a:lnTo>
                        <a:lnTo>
                          <a:pt x="1249" y="1449"/>
                        </a:lnTo>
                        <a:lnTo>
                          <a:pt x="1249" y="1451"/>
                        </a:lnTo>
                        <a:lnTo>
                          <a:pt x="1248" y="1452"/>
                        </a:lnTo>
                        <a:lnTo>
                          <a:pt x="1248" y="1455"/>
                        </a:lnTo>
                        <a:lnTo>
                          <a:pt x="1248" y="1459"/>
                        </a:lnTo>
                        <a:lnTo>
                          <a:pt x="1248" y="1460"/>
                        </a:lnTo>
                        <a:lnTo>
                          <a:pt x="1248" y="1462"/>
                        </a:lnTo>
                        <a:lnTo>
                          <a:pt x="1248" y="1465"/>
                        </a:lnTo>
                        <a:lnTo>
                          <a:pt x="1248" y="1467"/>
                        </a:lnTo>
                        <a:lnTo>
                          <a:pt x="1246" y="1468"/>
                        </a:lnTo>
                        <a:lnTo>
                          <a:pt x="1246" y="1470"/>
                        </a:lnTo>
                        <a:lnTo>
                          <a:pt x="1246" y="1471"/>
                        </a:lnTo>
                        <a:lnTo>
                          <a:pt x="1246" y="1473"/>
                        </a:lnTo>
                        <a:lnTo>
                          <a:pt x="1245" y="1474"/>
                        </a:lnTo>
                        <a:lnTo>
                          <a:pt x="1238" y="1473"/>
                        </a:lnTo>
                        <a:lnTo>
                          <a:pt x="1235" y="1473"/>
                        </a:lnTo>
                        <a:lnTo>
                          <a:pt x="1232" y="1473"/>
                        </a:lnTo>
                        <a:lnTo>
                          <a:pt x="1229" y="1473"/>
                        </a:lnTo>
                        <a:lnTo>
                          <a:pt x="1226" y="1473"/>
                        </a:lnTo>
                        <a:lnTo>
                          <a:pt x="1216" y="1471"/>
                        </a:lnTo>
                        <a:lnTo>
                          <a:pt x="1208" y="1471"/>
                        </a:lnTo>
                        <a:lnTo>
                          <a:pt x="1202" y="1473"/>
                        </a:lnTo>
                        <a:lnTo>
                          <a:pt x="1199" y="1470"/>
                        </a:lnTo>
                        <a:lnTo>
                          <a:pt x="1192" y="1467"/>
                        </a:lnTo>
                        <a:lnTo>
                          <a:pt x="1191" y="1467"/>
                        </a:lnTo>
                        <a:lnTo>
                          <a:pt x="1186" y="1465"/>
                        </a:lnTo>
                        <a:lnTo>
                          <a:pt x="1185" y="1463"/>
                        </a:lnTo>
                        <a:lnTo>
                          <a:pt x="1181" y="1462"/>
                        </a:lnTo>
                        <a:lnTo>
                          <a:pt x="1180" y="1462"/>
                        </a:lnTo>
                        <a:lnTo>
                          <a:pt x="1178" y="1460"/>
                        </a:lnTo>
                        <a:lnTo>
                          <a:pt x="1177" y="1460"/>
                        </a:lnTo>
                        <a:lnTo>
                          <a:pt x="1175" y="1462"/>
                        </a:lnTo>
                        <a:lnTo>
                          <a:pt x="1172" y="1463"/>
                        </a:lnTo>
                        <a:lnTo>
                          <a:pt x="1167" y="1467"/>
                        </a:lnTo>
                        <a:lnTo>
                          <a:pt x="1162" y="1470"/>
                        </a:lnTo>
                        <a:lnTo>
                          <a:pt x="1159" y="1473"/>
                        </a:lnTo>
                        <a:lnTo>
                          <a:pt x="1156" y="1476"/>
                        </a:lnTo>
                        <a:lnTo>
                          <a:pt x="1154" y="1481"/>
                        </a:lnTo>
                        <a:lnTo>
                          <a:pt x="1154" y="1482"/>
                        </a:lnTo>
                        <a:lnTo>
                          <a:pt x="1153" y="1487"/>
                        </a:lnTo>
                        <a:lnTo>
                          <a:pt x="1151" y="1490"/>
                        </a:lnTo>
                        <a:lnTo>
                          <a:pt x="1150" y="1492"/>
                        </a:lnTo>
                        <a:lnTo>
                          <a:pt x="1145" y="1497"/>
                        </a:lnTo>
                        <a:lnTo>
                          <a:pt x="1142" y="1498"/>
                        </a:lnTo>
                        <a:lnTo>
                          <a:pt x="1139" y="1500"/>
                        </a:lnTo>
                        <a:lnTo>
                          <a:pt x="1139" y="1501"/>
                        </a:lnTo>
                        <a:lnTo>
                          <a:pt x="1139" y="1503"/>
                        </a:lnTo>
                        <a:lnTo>
                          <a:pt x="1137" y="1508"/>
                        </a:lnTo>
                        <a:lnTo>
                          <a:pt x="1135" y="1508"/>
                        </a:lnTo>
                        <a:lnTo>
                          <a:pt x="1135" y="1511"/>
                        </a:lnTo>
                        <a:lnTo>
                          <a:pt x="1135" y="1512"/>
                        </a:lnTo>
                        <a:lnTo>
                          <a:pt x="1137" y="1514"/>
                        </a:lnTo>
                        <a:lnTo>
                          <a:pt x="1137" y="1516"/>
                        </a:lnTo>
                        <a:lnTo>
                          <a:pt x="1137" y="1517"/>
                        </a:lnTo>
                        <a:lnTo>
                          <a:pt x="1137" y="1520"/>
                        </a:lnTo>
                        <a:lnTo>
                          <a:pt x="1135" y="1522"/>
                        </a:lnTo>
                        <a:lnTo>
                          <a:pt x="1135" y="1524"/>
                        </a:lnTo>
                        <a:lnTo>
                          <a:pt x="1135" y="1525"/>
                        </a:lnTo>
                        <a:lnTo>
                          <a:pt x="1137" y="1527"/>
                        </a:lnTo>
                        <a:lnTo>
                          <a:pt x="1135" y="1527"/>
                        </a:lnTo>
                        <a:lnTo>
                          <a:pt x="1134" y="1525"/>
                        </a:lnTo>
                        <a:lnTo>
                          <a:pt x="1131" y="1525"/>
                        </a:lnTo>
                        <a:lnTo>
                          <a:pt x="1129" y="1525"/>
                        </a:lnTo>
                        <a:lnTo>
                          <a:pt x="1126" y="1525"/>
                        </a:lnTo>
                        <a:lnTo>
                          <a:pt x="1124" y="1524"/>
                        </a:lnTo>
                        <a:lnTo>
                          <a:pt x="1121" y="1524"/>
                        </a:lnTo>
                        <a:lnTo>
                          <a:pt x="1120" y="1524"/>
                        </a:lnTo>
                        <a:lnTo>
                          <a:pt x="1118" y="1524"/>
                        </a:lnTo>
                        <a:lnTo>
                          <a:pt x="1118" y="1525"/>
                        </a:lnTo>
                        <a:lnTo>
                          <a:pt x="1116" y="1525"/>
                        </a:lnTo>
                        <a:lnTo>
                          <a:pt x="1115" y="1525"/>
                        </a:lnTo>
                        <a:lnTo>
                          <a:pt x="1115" y="1524"/>
                        </a:lnTo>
                        <a:lnTo>
                          <a:pt x="1113" y="1524"/>
                        </a:lnTo>
                        <a:lnTo>
                          <a:pt x="1113" y="1525"/>
                        </a:lnTo>
                        <a:lnTo>
                          <a:pt x="1112" y="1525"/>
                        </a:lnTo>
                        <a:lnTo>
                          <a:pt x="1108" y="1524"/>
                        </a:lnTo>
                        <a:lnTo>
                          <a:pt x="1107" y="1524"/>
                        </a:lnTo>
                        <a:lnTo>
                          <a:pt x="1105" y="1524"/>
                        </a:lnTo>
                        <a:lnTo>
                          <a:pt x="1102" y="1524"/>
                        </a:lnTo>
                        <a:lnTo>
                          <a:pt x="1101" y="1524"/>
                        </a:lnTo>
                        <a:lnTo>
                          <a:pt x="1099" y="1524"/>
                        </a:lnTo>
                        <a:lnTo>
                          <a:pt x="1097" y="1524"/>
                        </a:lnTo>
                        <a:lnTo>
                          <a:pt x="1096" y="1522"/>
                        </a:lnTo>
                        <a:lnTo>
                          <a:pt x="1094" y="1522"/>
                        </a:lnTo>
                        <a:lnTo>
                          <a:pt x="1093" y="1520"/>
                        </a:lnTo>
                        <a:lnTo>
                          <a:pt x="1091" y="1520"/>
                        </a:lnTo>
                        <a:lnTo>
                          <a:pt x="1091" y="1519"/>
                        </a:lnTo>
                        <a:lnTo>
                          <a:pt x="1091" y="1517"/>
                        </a:lnTo>
                        <a:lnTo>
                          <a:pt x="1091" y="1514"/>
                        </a:lnTo>
                        <a:lnTo>
                          <a:pt x="1091" y="1512"/>
                        </a:lnTo>
                        <a:lnTo>
                          <a:pt x="1093" y="1511"/>
                        </a:lnTo>
                        <a:lnTo>
                          <a:pt x="1094" y="1509"/>
                        </a:lnTo>
                        <a:lnTo>
                          <a:pt x="1096" y="1508"/>
                        </a:lnTo>
                        <a:lnTo>
                          <a:pt x="1097" y="1508"/>
                        </a:lnTo>
                        <a:lnTo>
                          <a:pt x="1099" y="1506"/>
                        </a:lnTo>
                        <a:lnTo>
                          <a:pt x="1101" y="1505"/>
                        </a:lnTo>
                        <a:lnTo>
                          <a:pt x="1102" y="1505"/>
                        </a:lnTo>
                        <a:lnTo>
                          <a:pt x="1102" y="1501"/>
                        </a:lnTo>
                        <a:lnTo>
                          <a:pt x="1104" y="1500"/>
                        </a:lnTo>
                        <a:lnTo>
                          <a:pt x="1105" y="1498"/>
                        </a:lnTo>
                        <a:lnTo>
                          <a:pt x="1107" y="1495"/>
                        </a:lnTo>
                        <a:lnTo>
                          <a:pt x="1110" y="1492"/>
                        </a:lnTo>
                        <a:lnTo>
                          <a:pt x="1110" y="1490"/>
                        </a:lnTo>
                        <a:lnTo>
                          <a:pt x="1112" y="1490"/>
                        </a:lnTo>
                        <a:lnTo>
                          <a:pt x="1113" y="1489"/>
                        </a:lnTo>
                        <a:lnTo>
                          <a:pt x="1115" y="1487"/>
                        </a:lnTo>
                        <a:lnTo>
                          <a:pt x="1115" y="1486"/>
                        </a:lnTo>
                        <a:lnTo>
                          <a:pt x="1115" y="1484"/>
                        </a:lnTo>
                        <a:lnTo>
                          <a:pt x="1116" y="1484"/>
                        </a:lnTo>
                        <a:lnTo>
                          <a:pt x="1115" y="1479"/>
                        </a:lnTo>
                        <a:lnTo>
                          <a:pt x="1115" y="1476"/>
                        </a:lnTo>
                        <a:lnTo>
                          <a:pt x="1115" y="1471"/>
                        </a:lnTo>
                        <a:lnTo>
                          <a:pt x="1113" y="1467"/>
                        </a:lnTo>
                        <a:lnTo>
                          <a:pt x="1113" y="1465"/>
                        </a:lnTo>
                        <a:lnTo>
                          <a:pt x="1113" y="1462"/>
                        </a:lnTo>
                        <a:lnTo>
                          <a:pt x="1113" y="1457"/>
                        </a:lnTo>
                        <a:lnTo>
                          <a:pt x="1113" y="1455"/>
                        </a:lnTo>
                        <a:lnTo>
                          <a:pt x="1115" y="1454"/>
                        </a:lnTo>
                        <a:lnTo>
                          <a:pt x="1115" y="1451"/>
                        </a:lnTo>
                        <a:lnTo>
                          <a:pt x="1116" y="1449"/>
                        </a:lnTo>
                        <a:lnTo>
                          <a:pt x="1116" y="1448"/>
                        </a:lnTo>
                        <a:lnTo>
                          <a:pt x="1116" y="1446"/>
                        </a:lnTo>
                        <a:lnTo>
                          <a:pt x="1116" y="1444"/>
                        </a:lnTo>
                        <a:lnTo>
                          <a:pt x="1118" y="1441"/>
                        </a:lnTo>
                        <a:lnTo>
                          <a:pt x="1118" y="1440"/>
                        </a:lnTo>
                        <a:lnTo>
                          <a:pt x="1118" y="1438"/>
                        </a:lnTo>
                        <a:lnTo>
                          <a:pt x="1118" y="1436"/>
                        </a:lnTo>
                        <a:lnTo>
                          <a:pt x="1118" y="1435"/>
                        </a:lnTo>
                        <a:lnTo>
                          <a:pt x="1120" y="1433"/>
                        </a:lnTo>
                        <a:lnTo>
                          <a:pt x="1120" y="1430"/>
                        </a:lnTo>
                        <a:lnTo>
                          <a:pt x="1121" y="1429"/>
                        </a:lnTo>
                        <a:lnTo>
                          <a:pt x="1121" y="1424"/>
                        </a:lnTo>
                        <a:lnTo>
                          <a:pt x="1121" y="1422"/>
                        </a:lnTo>
                        <a:lnTo>
                          <a:pt x="1121" y="1421"/>
                        </a:lnTo>
                        <a:lnTo>
                          <a:pt x="1121" y="1417"/>
                        </a:lnTo>
                        <a:lnTo>
                          <a:pt x="1121" y="1416"/>
                        </a:lnTo>
                        <a:lnTo>
                          <a:pt x="1121" y="1413"/>
                        </a:lnTo>
                        <a:lnTo>
                          <a:pt x="1121" y="1410"/>
                        </a:lnTo>
                        <a:lnTo>
                          <a:pt x="1120" y="1406"/>
                        </a:lnTo>
                        <a:lnTo>
                          <a:pt x="1120" y="1405"/>
                        </a:lnTo>
                        <a:lnTo>
                          <a:pt x="1120" y="1402"/>
                        </a:lnTo>
                        <a:lnTo>
                          <a:pt x="1120" y="1400"/>
                        </a:lnTo>
                        <a:lnTo>
                          <a:pt x="1120" y="1398"/>
                        </a:lnTo>
                        <a:lnTo>
                          <a:pt x="1120" y="1395"/>
                        </a:lnTo>
                        <a:lnTo>
                          <a:pt x="1120" y="1394"/>
                        </a:lnTo>
                        <a:lnTo>
                          <a:pt x="1121" y="1392"/>
                        </a:lnTo>
                        <a:lnTo>
                          <a:pt x="1120" y="1389"/>
                        </a:lnTo>
                        <a:lnTo>
                          <a:pt x="1118" y="1387"/>
                        </a:lnTo>
                        <a:lnTo>
                          <a:pt x="1116" y="1386"/>
                        </a:lnTo>
                        <a:lnTo>
                          <a:pt x="1115" y="1386"/>
                        </a:lnTo>
                        <a:lnTo>
                          <a:pt x="1112" y="1386"/>
                        </a:lnTo>
                        <a:lnTo>
                          <a:pt x="1110" y="1386"/>
                        </a:lnTo>
                        <a:lnTo>
                          <a:pt x="1108" y="1386"/>
                        </a:lnTo>
                        <a:lnTo>
                          <a:pt x="1107" y="1386"/>
                        </a:lnTo>
                        <a:lnTo>
                          <a:pt x="1107" y="1384"/>
                        </a:lnTo>
                        <a:lnTo>
                          <a:pt x="1105" y="1384"/>
                        </a:lnTo>
                        <a:lnTo>
                          <a:pt x="1105" y="1383"/>
                        </a:lnTo>
                        <a:lnTo>
                          <a:pt x="1105" y="1381"/>
                        </a:lnTo>
                        <a:lnTo>
                          <a:pt x="1105" y="1379"/>
                        </a:lnTo>
                        <a:lnTo>
                          <a:pt x="1107" y="1378"/>
                        </a:lnTo>
                        <a:lnTo>
                          <a:pt x="1112" y="1375"/>
                        </a:lnTo>
                        <a:lnTo>
                          <a:pt x="1113" y="1373"/>
                        </a:lnTo>
                        <a:lnTo>
                          <a:pt x="1115" y="1372"/>
                        </a:lnTo>
                        <a:lnTo>
                          <a:pt x="1115" y="1370"/>
                        </a:lnTo>
                        <a:lnTo>
                          <a:pt x="1118" y="1368"/>
                        </a:lnTo>
                        <a:lnTo>
                          <a:pt x="1118" y="1367"/>
                        </a:lnTo>
                        <a:lnTo>
                          <a:pt x="1120" y="1365"/>
                        </a:lnTo>
                        <a:lnTo>
                          <a:pt x="1120" y="1364"/>
                        </a:lnTo>
                        <a:lnTo>
                          <a:pt x="1120" y="1360"/>
                        </a:lnTo>
                        <a:lnTo>
                          <a:pt x="1121" y="1356"/>
                        </a:lnTo>
                        <a:lnTo>
                          <a:pt x="1120" y="1353"/>
                        </a:lnTo>
                        <a:lnTo>
                          <a:pt x="1118" y="1351"/>
                        </a:lnTo>
                        <a:lnTo>
                          <a:pt x="1116" y="1349"/>
                        </a:lnTo>
                        <a:lnTo>
                          <a:pt x="1116" y="1348"/>
                        </a:lnTo>
                        <a:lnTo>
                          <a:pt x="1115" y="1346"/>
                        </a:lnTo>
                        <a:lnTo>
                          <a:pt x="1115" y="1345"/>
                        </a:lnTo>
                        <a:lnTo>
                          <a:pt x="1113" y="1343"/>
                        </a:lnTo>
                        <a:lnTo>
                          <a:pt x="1112" y="1343"/>
                        </a:lnTo>
                        <a:lnTo>
                          <a:pt x="1110" y="1341"/>
                        </a:lnTo>
                        <a:lnTo>
                          <a:pt x="1110" y="1343"/>
                        </a:lnTo>
                        <a:lnTo>
                          <a:pt x="1108" y="1343"/>
                        </a:lnTo>
                        <a:lnTo>
                          <a:pt x="1108" y="1341"/>
                        </a:lnTo>
                        <a:lnTo>
                          <a:pt x="1107" y="1341"/>
                        </a:lnTo>
                        <a:lnTo>
                          <a:pt x="1107" y="1340"/>
                        </a:lnTo>
                        <a:lnTo>
                          <a:pt x="1105" y="1340"/>
                        </a:lnTo>
                        <a:lnTo>
                          <a:pt x="1104" y="1341"/>
                        </a:lnTo>
                        <a:lnTo>
                          <a:pt x="1102" y="1343"/>
                        </a:lnTo>
                        <a:lnTo>
                          <a:pt x="1101" y="1343"/>
                        </a:lnTo>
                        <a:lnTo>
                          <a:pt x="1099" y="1343"/>
                        </a:lnTo>
                        <a:lnTo>
                          <a:pt x="1097" y="1343"/>
                        </a:lnTo>
                        <a:lnTo>
                          <a:pt x="1096" y="1343"/>
                        </a:lnTo>
                        <a:lnTo>
                          <a:pt x="1094" y="1341"/>
                        </a:lnTo>
                        <a:lnTo>
                          <a:pt x="1094" y="1340"/>
                        </a:lnTo>
                        <a:lnTo>
                          <a:pt x="1093" y="1338"/>
                        </a:lnTo>
                        <a:lnTo>
                          <a:pt x="1091" y="1338"/>
                        </a:lnTo>
                        <a:lnTo>
                          <a:pt x="1089" y="1337"/>
                        </a:lnTo>
                        <a:lnTo>
                          <a:pt x="1088" y="1337"/>
                        </a:lnTo>
                        <a:lnTo>
                          <a:pt x="1086" y="1337"/>
                        </a:lnTo>
                        <a:lnTo>
                          <a:pt x="1085" y="1337"/>
                        </a:lnTo>
                        <a:lnTo>
                          <a:pt x="1083" y="1338"/>
                        </a:lnTo>
                        <a:lnTo>
                          <a:pt x="1083" y="1340"/>
                        </a:lnTo>
                        <a:lnTo>
                          <a:pt x="1083" y="1341"/>
                        </a:lnTo>
                        <a:lnTo>
                          <a:pt x="1085" y="1341"/>
                        </a:lnTo>
                        <a:lnTo>
                          <a:pt x="1085" y="1343"/>
                        </a:lnTo>
                        <a:lnTo>
                          <a:pt x="1086" y="1345"/>
                        </a:lnTo>
                        <a:lnTo>
                          <a:pt x="1088" y="1346"/>
                        </a:lnTo>
                        <a:lnTo>
                          <a:pt x="1088" y="1348"/>
                        </a:lnTo>
                        <a:lnTo>
                          <a:pt x="1086" y="1348"/>
                        </a:lnTo>
                        <a:lnTo>
                          <a:pt x="1086" y="1349"/>
                        </a:lnTo>
                        <a:lnTo>
                          <a:pt x="1085" y="1351"/>
                        </a:lnTo>
                        <a:lnTo>
                          <a:pt x="1083" y="1349"/>
                        </a:lnTo>
                        <a:lnTo>
                          <a:pt x="1082" y="1349"/>
                        </a:lnTo>
                        <a:lnTo>
                          <a:pt x="1080" y="1349"/>
                        </a:lnTo>
                        <a:lnTo>
                          <a:pt x="1078" y="1351"/>
                        </a:lnTo>
                        <a:lnTo>
                          <a:pt x="1077" y="1349"/>
                        </a:lnTo>
                        <a:lnTo>
                          <a:pt x="1077" y="1348"/>
                        </a:lnTo>
                        <a:lnTo>
                          <a:pt x="1075" y="1348"/>
                        </a:lnTo>
                        <a:lnTo>
                          <a:pt x="1074" y="1346"/>
                        </a:lnTo>
                        <a:lnTo>
                          <a:pt x="1072" y="1346"/>
                        </a:lnTo>
                        <a:lnTo>
                          <a:pt x="1070" y="1346"/>
                        </a:lnTo>
                        <a:lnTo>
                          <a:pt x="1070" y="1345"/>
                        </a:lnTo>
                        <a:lnTo>
                          <a:pt x="1069" y="1345"/>
                        </a:lnTo>
                        <a:lnTo>
                          <a:pt x="1067" y="1343"/>
                        </a:lnTo>
                        <a:lnTo>
                          <a:pt x="1067" y="1341"/>
                        </a:lnTo>
                        <a:lnTo>
                          <a:pt x="1066" y="1340"/>
                        </a:lnTo>
                        <a:lnTo>
                          <a:pt x="1066" y="1337"/>
                        </a:lnTo>
                        <a:lnTo>
                          <a:pt x="1064" y="1337"/>
                        </a:lnTo>
                        <a:lnTo>
                          <a:pt x="1063" y="1335"/>
                        </a:lnTo>
                        <a:lnTo>
                          <a:pt x="1061" y="1335"/>
                        </a:lnTo>
                        <a:lnTo>
                          <a:pt x="1059" y="1333"/>
                        </a:lnTo>
                        <a:lnTo>
                          <a:pt x="1058" y="1332"/>
                        </a:lnTo>
                        <a:lnTo>
                          <a:pt x="1058" y="1330"/>
                        </a:lnTo>
                        <a:lnTo>
                          <a:pt x="1055" y="1330"/>
                        </a:lnTo>
                        <a:lnTo>
                          <a:pt x="1053" y="1330"/>
                        </a:lnTo>
                        <a:lnTo>
                          <a:pt x="1051" y="1330"/>
                        </a:lnTo>
                        <a:lnTo>
                          <a:pt x="1051" y="1332"/>
                        </a:lnTo>
                        <a:lnTo>
                          <a:pt x="1053" y="1333"/>
                        </a:lnTo>
                        <a:lnTo>
                          <a:pt x="1053" y="1335"/>
                        </a:lnTo>
                        <a:lnTo>
                          <a:pt x="1053" y="1337"/>
                        </a:lnTo>
                        <a:lnTo>
                          <a:pt x="1055" y="1337"/>
                        </a:lnTo>
                        <a:lnTo>
                          <a:pt x="1055" y="1338"/>
                        </a:lnTo>
                        <a:lnTo>
                          <a:pt x="1053" y="1338"/>
                        </a:lnTo>
                        <a:lnTo>
                          <a:pt x="1051" y="1337"/>
                        </a:lnTo>
                        <a:lnTo>
                          <a:pt x="1050" y="1335"/>
                        </a:lnTo>
                        <a:lnTo>
                          <a:pt x="1048" y="1335"/>
                        </a:lnTo>
                        <a:lnTo>
                          <a:pt x="1047" y="1335"/>
                        </a:lnTo>
                        <a:lnTo>
                          <a:pt x="1045" y="1333"/>
                        </a:lnTo>
                        <a:lnTo>
                          <a:pt x="1044" y="1333"/>
                        </a:lnTo>
                        <a:lnTo>
                          <a:pt x="1040" y="1333"/>
                        </a:lnTo>
                        <a:lnTo>
                          <a:pt x="1039" y="1335"/>
                        </a:lnTo>
                        <a:lnTo>
                          <a:pt x="1037" y="1337"/>
                        </a:lnTo>
                        <a:lnTo>
                          <a:pt x="1036" y="1338"/>
                        </a:lnTo>
                        <a:lnTo>
                          <a:pt x="1034" y="1338"/>
                        </a:lnTo>
                        <a:lnTo>
                          <a:pt x="1032" y="1338"/>
                        </a:lnTo>
                        <a:lnTo>
                          <a:pt x="1031" y="1338"/>
                        </a:lnTo>
                        <a:lnTo>
                          <a:pt x="1031" y="1340"/>
                        </a:lnTo>
                        <a:lnTo>
                          <a:pt x="1031" y="1341"/>
                        </a:lnTo>
                        <a:lnTo>
                          <a:pt x="1029" y="1341"/>
                        </a:lnTo>
                        <a:lnTo>
                          <a:pt x="1029" y="1343"/>
                        </a:lnTo>
                        <a:lnTo>
                          <a:pt x="1028" y="1343"/>
                        </a:lnTo>
                        <a:lnTo>
                          <a:pt x="1026" y="1343"/>
                        </a:lnTo>
                        <a:lnTo>
                          <a:pt x="1026" y="1345"/>
                        </a:lnTo>
                        <a:lnTo>
                          <a:pt x="1026" y="1346"/>
                        </a:lnTo>
                        <a:lnTo>
                          <a:pt x="1026" y="1348"/>
                        </a:lnTo>
                        <a:lnTo>
                          <a:pt x="1025" y="1346"/>
                        </a:lnTo>
                        <a:lnTo>
                          <a:pt x="1025" y="1345"/>
                        </a:lnTo>
                        <a:lnTo>
                          <a:pt x="1023" y="1345"/>
                        </a:lnTo>
                        <a:lnTo>
                          <a:pt x="1021" y="1343"/>
                        </a:lnTo>
                        <a:lnTo>
                          <a:pt x="1021" y="1340"/>
                        </a:lnTo>
                        <a:lnTo>
                          <a:pt x="1017" y="1338"/>
                        </a:lnTo>
                        <a:lnTo>
                          <a:pt x="1015" y="1337"/>
                        </a:lnTo>
                        <a:lnTo>
                          <a:pt x="1013" y="1338"/>
                        </a:lnTo>
                        <a:lnTo>
                          <a:pt x="1012" y="1338"/>
                        </a:lnTo>
                        <a:lnTo>
                          <a:pt x="1010" y="1337"/>
                        </a:lnTo>
                        <a:lnTo>
                          <a:pt x="1009" y="1338"/>
                        </a:lnTo>
                        <a:lnTo>
                          <a:pt x="1007" y="1338"/>
                        </a:lnTo>
                        <a:lnTo>
                          <a:pt x="1007" y="1337"/>
                        </a:lnTo>
                        <a:lnTo>
                          <a:pt x="1006" y="1337"/>
                        </a:lnTo>
                        <a:lnTo>
                          <a:pt x="1006" y="1335"/>
                        </a:lnTo>
                        <a:lnTo>
                          <a:pt x="1006" y="1333"/>
                        </a:lnTo>
                        <a:lnTo>
                          <a:pt x="1006" y="1332"/>
                        </a:lnTo>
                        <a:lnTo>
                          <a:pt x="1004" y="1332"/>
                        </a:lnTo>
                        <a:lnTo>
                          <a:pt x="1004" y="1330"/>
                        </a:lnTo>
                        <a:lnTo>
                          <a:pt x="1004" y="1329"/>
                        </a:lnTo>
                        <a:lnTo>
                          <a:pt x="1006" y="1329"/>
                        </a:lnTo>
                        <a:lnTo>
                          <a:pt x="1006" y="1327"/>
                        </a:lnTo>
                        <a:lnTo>
                          <a:pt x="1007" y="1327"/>
                        </a:lnTo>
                        <a:lnTo>
                          <a:pt x="1009" y="1326"/>
                        </a:lnTo>
                        <a:lnTo>
                          <a:pt x="1009" y="1324"/>
                        </a:lnTo>
                        <a:lnTo>
                          <a:pt x="1010" y="1324"/>
                        </a:lnTo>
                        <a:lnTo>
                          <a:pt x="1009" y="1322"/>
                        </a:lnTo>
                        <a:lnTo>
                          <a:pt x="1007" y="1322"/>
                        </a:lnTo>
                        <a:lnTo>
                          <a:pt x="1006" y="1324"/>
                        </a:lnTo>
                        <a:lnTo>
                          <a:pt x="1006" y="1322"/>
                        </a:lnTo>
                        <a:lnTo>
                          <a:pt x="1004" y="1324"/>
                        </a:lnTo>
                        <a:lnTo>
                          <a:pt x="1002" y="1324"/>
                        </a:lnTo>
                        <a:lnTo>
                          <a:pt x="1001" y="1322"/>
                        </a:lnTo>
                        <a:lnTo>
                          <a:pt x="1001" y="1321"/>
                        </a:lnTo>
                        <a:lnTo>
                          <a:pt x="999" y="1321"/>
                        </a:lnTo>
                        <a:lnTo>
                          <a:pt x="999" y="1319"/>
                        </a:lnTo>
                        <a:lnTo>
                          <a:pt x="999" y="1318"/>
                        </a:lnTo>
                        <a:lnTo>
                          <a:pt x="998" y="1318"/>
                        </a:lnTo>
                        <a:lnTo>
                          <a:pt x="996" y="1318"/>
                        </a:lnTo>
                        <a:lnTo>
                          <a:pt x="994" y="1316"/>
                        </a:lnTo>
                        <a:lnTo>
                          <a:pt x="994" y="1318"/>
                        </a:lnTo>
                        <a:lnTo>
                          <a:pt x="993" y="1318"/>
                        </a:lnTo>
                        <a:lnTo>
                          <a:pt x="993" y="1319"/>
                        </a:lnTo>
                        <a:lnTo>
                          <a:pt x="991" y="1319"/>
                        </a:lnTo>
                        <a:lnTo>
                          <a:pt x="991" y="1321"/>
                        </a:lnTo>
                        <a:lnTo>
                          <a:pt x="990" y="1319"/>
                        </a:lnTo>
                        <a:lnTo>
                          <a:pt x="988" y="1318"/>
                        </a:lnTo>
                        <a:lnTo>
                          <a:pt x="988" y="1316"/>
                        </a:lnTo>
                        <a:lnTo>
                          <a:pt x="986" y="1314"/>
                        </a:lnTo>
                        <a:lnTo>
                          <a:pt x="985" y="1313"/>
                        </a:lnTo>
                        <a:lnTo>
                          <a:pt x="985" y="1314"/>
                        </a:lnTo>
                        <a:lnTo>
                          <a:pt x="983" y="1314"/>
                        </a:lnTo>
                        <a:lnTo>
                          <a:pt x="983" y="1316"/>
                        </a:lnTo>
                        <a:lnTo>
                          <a:pt x="982" y="1316"/>
                        </a:lnTo>
                        <a:lnTo>
                          <a:pt x="982" y="1318"/>
                        </a:lnTo>
                        <a:lnTo>
                          <a:pt x="980" y="1318"/>
                        </a:lnTo>
                        <a:lnTo>
                          <a:pt x="979" y="1318"/>
                        </a:lnTo>
                        <a:lnTo>
                          <a:pt x="977" y="1316"/>
                        </a:lnTo>
                        <a:lnTo>
                          <a:pt x="975" y="1318"/>
                        </a:lnTo>
                        <a:lnTo>
                          <a:pt x="974" y="1318"/>
                        </a:lnTo>
                        <a:lnTo>
                          <a:pt x="972" y="1318"/>
                        </a:lnTo>
                        <a:lnTo>
                          <a:pt x="971" y="1319"/>
                        </a:lnTo>
                        <a:lnTo>
                          <a:pt x="972" y="1319"/>
                        </a:lnTo>
                        <a:lnTo>
                          <a:pt x="972" y="1321"/>
                        </a:lnTo>
                        <a:lnTo>
                          <a:pt x="974" y="1322"/>
                        </a:lnTo>
                        <a:lnTo>
                          <a:pt x="974" y="1324"/>
                        </a:lnTo>
                        <a:lnTo>
                          <a:pt x="974" y="1326"/>
                        </a:lnTo>
                        <a:lnTo>
                          <a:pt x="974" y="1327"/>
                        </a:lnTo>
                        <a:lnTo>
                          <a:pt x="972" y="1327"/>
                        </a:lnTo>
                        <a:lnTo>
                          <a:pt x="971" y="1327"/>
                        </a:lnTo>
                        <a:lnTo>
                          <a:pt x="969" y="1327"/>
                        </a:lnTo>
                        <a:lnTo>
                          <a:pt x="967" y="1329"/>
                        </a:lnTo>
                        <a:lnTo>
                          <a:pt x="967" y="1327"/>
                        </a:lnTo>
                        <a:lnTo>
                          <a:pt x="966" y="1327"/>
                        </a:lnTo>
                        <a:lnTo>
                          <a:pt x="964" y="1327"/>
                        </a:lnTo>
                        <a:lnTo>
                          <a:pt x="966" y="1329"/>
                        </a:lnTo>
                        <a:lnTo>
                          <a:pt x="964" y="1330"/>
                        </a:lnTo>
                        <a:lnTo>
                          <a:pt x="964" y="1332"/>
                        </a:lnTo>
                        <a:lnTo>
                          <a:pt x="963" y="1332"/>
                        </a:lnTo>
                        <a:lnTo>
                          <a:pt x="961" y="1333"/>
                        </a:lnTo>
                        <a:lnTo>
                          <a:pt x="961" y="1335"/>
                        </a:lnTo>
                        <a:lnTo>
                          <a:pt x="961" y="1337"/>
                        </a:lnTo>
                        <a:lnTo>
                          <a:pt x="961" y="1338"/>
                        </a:lnTo>
                        <a:lnTo>
                          <a:pt x="960" y="1338"/>
                        </a:lnTo>
                        <a:lnTo>
                          <a:pt x="958" y="1338"/>
                        </a:lnTo>
                        <a:lnTo>
                          <a:pt x="958" y="1340"/>
                        </a:lnTo>
                        <a:lnTo>
                          <a:pt x="956" y="1340"/>
                        </a:lnTo>
                        <a:lnTo>
                          <a:pt x="958" y="1341"/>
                        </a:lnTo>
                        <a:lnTo>
                          <a:pt x="956" y="1343"/>
                        </a:lnTo>
                        <a:lnTo>
                          <a:pt x="955" y="1343"/>
                        </a:lnTo>
                        <a:lnTo>
                          <a:pt x="953" y="1343"/>
                        </a:lnTo>
                        <a:lnTo>
                          <a:pt x="952" y="1343"/>
                        </a:lnTo>
                        <a:lnTo>
                          <a:pt x="950" y="1345"/>
                        </a:lnTo>
                        <a:lnTo>
                          <a:pt x="952" y="1345"/>
                        </a:lnTo>
                        <a:lnTo>
                          <a:pt x="952" y="1346"/>
                        </a:lnTo>
                        <a:lnTo>
                          <a:pt x="950" y="1346"/>
                        </a:lnTo>
                        <a:lnTo>
                          <a:pt x="948" y="1346"/>
                        </a:lnTo>
                        <a:lnTo>
                          <a:pt x="947" y="1346"/>
                        </a:lnTo>
                        <a:lnTo>
                          <a:pt x="945" y="1346"/>
                        </a:lnTo>
                        <a:lnTo>
                          <a:pt x="944" y="1348"/>
                        </a:lnTo>
                        <a:lnTo>
                          <a:pt x="942" y="1348"/>
                        </a:lnTo>
                        <a:lnTo>
                          <a:pt x="942" y="1349"/>
                        </a:lnTo>
                        <a:lnTo>
                          <a:pt x="941" y="1349"/>
                        </a:lnTo>
                        <a:lnTo>
                          <a:pt x="941" y="1351"/>
                        </a:lnTo>
                        <a:lnTo>
                          <a:pt x="939" y="1351"/>
                        </a:lnTo>
                        <a:lnTo>
                          <a:pt x="939" y="1353"/>
                        </a:lnTo>
                        <a:lnTo>
                          <a:pt x="937" y="1353"/>
                        </a:lnTo>
                        <a:lnTo>
                          <a:pt x="937" y="1351"/>
                        </a:lnTo>
                        <a:lnTo>
                          <a:pt x="936" y="1351"/>
                        </a:lnTo>
                        <a:lnTo>
                          <a:pt x="934" y="1351"/>
                        </a:lnTo>
                        <a:lnTo>
                          <a:pt x="933" y="1351"/>
                        </a:lnTo>
                        <a:lnTo>
                          <a:pt x="931" y="1353"/>
                        </a:lnTo>
                        <a:lnTo>
                          <a:pt x="929" y="1353"/>
                        </a:lnTo>
                        <a:lnTo>
                          <a:pt x="928" y="1353"/>
                        </a:lnTo>
                        <a:lnTo>
                          <a:pt x="928" y="1354"/>
                        </a:lnTo>
                        <a:lnTo>
                          <a:pt x="926" y="1354"/>
                        </a:lnTo>
                        <a:lnTo>
                          <a:pt x="925" y="1354"/>
                        </a:lnTo>
                        <a:lnTo>
                          <a:pt x="925" y="1356"/>
                        </a:lnTo>
                        <a:lnTo>
                          <a:pt x="923" y="1356"/>
                        </a:lnTo>
                        <a:lnTo>
                          <a:pt x="922" y="1356"/>
                        </a:lnTo>
                        <a:lnTo>
                          <a:pt x="920" y="1356"/>
                        </a:lnTo>
                        <a:lnTo>
                          <a:pt x="920" y="1357"/>
                        </a:lnTo>
                        <a:lnTo>
                          <a:pt x="918" y="1356"/>
                        </a:lnTo>
                        <a:lnTo>
                          <a:pt x="917" y="1357"/>
                        </a:lnTo>
                        <a:lnTo>
                          <a:pt x="915" y="1357"/>
                        </a:lnTo>
                        <a:lnTo>
                          <a:pt x="914" y="1357"/>
                        </a:lnTo>
                        <a:lnTo>
                          <a:pt x="914" y="1359"/>
                        </a:lnTo>
                        <a:lnTo>
                          <a:pt x="912" y="1359"/>
                        </a:lnTo>
                        <a:lnTo>
                          <a:pt x="912" y="1360"/>
                        </a:lnTo>
                        <a:lnTo>
                          <a:pt x="910" y="1360"/>
                        </a:lnTo>
                        <a:lnTo>
                          <a:pt x="909" y="1360"/>
                        </a:lnTo>
                        <a:lnTo>
                          <a:pt x="907" y="1362"/>
                        </a:lnTo>
                        <a:lnTo>
                          <a:pt x="906" y="1362"/>
                        </a:lnTo>
                        <a:lnTo>
                          <a:pt x="904" y="1362"/>
                        </a:lnTo>
                        <a:lnTo>
                          <a:pt x="904" y="1364"/>
                        </a:lnTo>
                        <a:lnTo>
                          <a:pt x="903" y="1364"/>
                        </a:lnTo>
                        <a:lnTo>
                          <a:pt x="903" y="1365"/>
                        </a:lnTo>
                        <a:lnTo>
                          <a:pt x="901" y="1365"/>
                        </a:lnTo>
                        <a:lnTo>
                          <a:pt x="901" y="1367"/>
                        </a:lnTo>
                        <a:lnTo>
                          <a:pt x="899" y="1367"/>
                        </a:lnTo>
                        <a:lnTo>
                          <a:pt x="899" y="1368"/>
                        </a:lnTo>
                        <a:lnTo>
                          <a:pt x="898" y="1368"/>
                        </a:lnTo>
                        <a:lnTo>
                          <a:pt x="896" y="1368"/>
                        </a:lnTo>
                        <a:lnTo>
                          <a:pt x="895" y="1368"/>
                        </a:lnTo>
                        <a:lnTo>
                          <a:pt x="893" y="1368"/>
                        </a:lnTo>
                        <a:lnTo>
                          <a:pt x="891" y="1368"/>
                        </a:lnTo>
                        <a:lnTo>
                          <a:pt x="890" y="1368"/>
                        </a:lnTo>
                        <a:lnTo>
                          <a:pt x="888" y="1367"/>
                        </a:lnTo>
                        <a:lnTo>
                          <a:pt x="887" y="1368"/>
                        </a:lnTo>
                        <a:lnTo>
                          <a:pt x="885" y="1368"/>
                        </a:lnTo>
                        <a:lnTo>
                          <a:pt x="885" y="1367"/>
                        </a:lnTo>
                        <a:lnTo>
                          <a:pt x="884" y="1365"/>
                        </a:lnTo>
                        <a:lnTo>
                          <a:pt x="882" y="1365"/>
                        </a:lnTo>
                        <a:lnTo>
                          <a:pt x="880" y="1365"/>
                        </a:lnTo>
                        <a:lnTo>
                          <a:pt x="880" y="1364"/>
                        </a:lnTo>
                        <a:lnTo>
                          <a:pt x="879" y="1364"/>
                        </a:lnTo>
                        <a:lnTo>
                          <a:pt x="877" y="1365"/>
                        </a:lnTo>
                        <a:lnTo>
                          <a:pt x="876" y="1365"/>
                        </a:lnTo>
                        <a:lnTo>
                          <a:pt x="876" y="1367"/>
                        </a:lnTo>
                        <a:lnTo>
                          <a:pt x="874" y="1367"/>
                        </a:lnTo>
                        <a:lnTo>
                          <a:pt x="874" y="1368"/>
                        </a:lnTo>
                        <a:lnTo>
                          <a:pt x="872" y="1368"/>
                        </a:lnTo>
                        <a:lnTo>
                          <a:pt x="871" y="1370"/>
                        </a:lnTo>
                        <a:lnTo>
                          <a:pt x="869" y="1370"/>
                        </a:lnTo>
                        <a:lnTo>
                          <a:pt x="868" y="1372"/>
                        </a:lnTo>
                        <a:lnTo>
                          <a:pt x="868" y="1373"/>
                        </a:lnTo>
                        <a:lnTo>
                          <a:pt x="866" y="1373"/>
                        </a:lnTo>
                        <a:lnTo>
                          <a:pt x="865" y="1375"/>
                        </a:lnTo>
                        <a:lnTo>
                          <a:pt x="863" y="1375"/>
                        </a:lnTo>
                        <a:lnTo>
                          <a:pt x="863" y="1376"/>
                        </a:lnTo>
                        <a:lnTo>
                          <a:pt x="861" y="1376"/>
                        </a:lnTo>
                        <a:lnTo>
                          <a:pt x="860" y="1376"/>
                        </a:lnTo>
                        <a:lnTo>
                          <a:pt x="860" y="1378"/>
                        </a:lnTo>
                        <a:lnTo>
                          <a:pt x="858" y="1378"/>
                        </a:lnTo>
                        <a:lnTo>
                          <a:pt x="858" y="1376"/>
                        </a:lnTo>
                        <a:lnTo>
                          <a:pt x="857" y="1376"/>
                        </a:lnTo>
                        <a:lnTo>
                          <a:pt x="855" y="1376"/>
                        </a:lnTo>
                        <a:lnTo>
                          <a:pt x="853" y="1376"/>
                        </a:lnTo>
                        <a:lnTo>
                          <a:pt x="852" y="1376"/>
                        </a:lnTo>
                        <a:lnTo>
                          <a:pt x="850" y="1376"/>
                        </a:lnTo>
                        <a:lnTo>
                          <a:pt x="849" y="1376"/>
                        </a:lnTo>
                        <a:lnTo>
                          <a:pt x="847" y="1376"/>
                        </a:lnTo>
                        <a:lnTo>
                          <a:pt x="846" y="1376"/>
                        </a:lnTo>
                        <a:lnTo>
                          <a:pt x="844" y="1376"/>
                        </a:lnTo>
                        <a:lnTo>
                          <a:pt x="842" y="1375"/>
                        </a:lnTo>
                        <a:lnTo>
                          <a:pt x="841" y="1375"/>
                        </a:lnTo>
                        <a:lnTo>
                          <a:pt x="839" y="1373"/>
                        </a:lnTo>
                        <a:lnTo>
                          <a:pt x="839" y="1372"/>
                        </a:lnTo>
                        <a:lnTo>
                          <a:pt x="838" y="1370"/>
                        </a:lnTo>
                        <a:lnTo>
                          <a:pt x="836" y="1368"/>
                        </a:lnTo>
                        <a:lnTo>
                          <a:pt x="834" y="1368"/>
                        </a:lnTo>
                        <a:lnTo>
                          <a:pt x="833" y="1367"/>
                        </a:lnTo>
                        <a:lnTo>
                          <a:pt x="831" y="1367"/>
                        </a:lnTo>
                        <a:lnTo>
                          <a:pt x="831" y="1365"/>
                        </a:lnTo>
                        <a:lnTo>
                          <a:pt x="830" y="1364"/>
                        </a:lnTo>
                        <a:lnTo>
                          <a:pt x="828" y="1362"/>
                        </a:lnTo>
                        <a:lnTo>
                          <a:pt x="828" y="1360"/>
                        </a:lnTo>
                        <a:lnTo>
                          <a:pt x="828" y="1359"/>
                        </a:lnTo>
                        <a:lnTo>
                          <a:pt x="828" y="1357"/>
                        </a:lnTo>
                        <a:lnTo>
                          <a:pt x="830" y="1357"/>
                        </a:lnTo>
                        <a:lnTo>
                          <a:pt x="830" y="1356"/>
                        </a:lnTo>
                        <a:lnTo>
                          <a:pt x="831" y="1356"/>
                        </a:lnTo>
                        <a:lnTo>
                          <a:pt x="833" y="1356"/>
                        </a:lnTo>
                        <a:lnTo>
                          <a:pt x="833" y="1354"/>
                        </a:lnTo>
                        <a:lnTo>
                          <a:pt x="834" y="1354"/>
                        </a:lnTo>
                        <a:lnTo>
                          <a:pt x="834" y="1353"/>
                        </a:lnTo>
                        <a:lnTo>
                          <a:pt x="834" y="1351"/>
                        </a:lnTo>
                        <a:lnTo>
                          <a:pt x="833" y="1351"/>
                        </a:lnTo>
                        <a:lnTo>
                          <a:pt x="833" y="1349"/>
                        </a:lnTo>
                        <a:lnTo>
                          <a:pt x="833" y="1348"/>
                        </a:lnTo>
                        <a:lnTo>
                          <a:pt x="831" y="1348"/>
                        </a:lnTo>
                        <a:lnTo>
                          <a:pt x="831" y="1346"/>
                        </a:lnTo>
                        <a:lnTo>
                          <a:pt x="831" y="1345"/>
                        </a:lnTo>
                        <a:lnTo>
                          <a:pt x="831" y="1343"/>
                        </a:lnTo>
                        <a:lnTo>
                          <a:pt x="833" y="1343"/>
                        </a:lnTo>
                        <a:lnTo>
                          <a:pt x="833" y="1341"/>
                        </a:lnTo>
                        <a:lnTo>
                          <a:pt x="833" y="1340"/>
                        </a:lnTo>
                        <a:lnTo>
                          <a:pt x="834" y="1340"/>
                        </a:lnTo>
                        <a:lnTo>
                          <a:pt x="834" y="1338"/>
                        </a:lnTo>
                        <a:lnTo>
                          <a:pt x="834" y="1337"/>
                        </a:lnTo>
                        <a:lnTo>
                          <a:pt x="834" y="1335"/>
                        </a:lnTo>
                        <a:lnTo>
                          <a:pt x="834" y="1333"/>
                        </a:lnTo>
                        <a:lnTo>
                          <a:pt x="834" y="1332"/>
                        </a:lnTo>
                        <a:lnTo>
                          <a:pt x="834" y="1330"/>
                        </a:lnTo>
                        <a:lnTo>
                          <a:pt x="836" y="1329"/>
                        </a:lnTo>
                        <a:lnTo>
                          <a:pt x="834" y="1329"/>
                        </a:lnTo>
                        <a:lnTo>
                          <a:pt x="833" y="1329"/>
                        </a:lnTo>
                        <a:lnTo>
                          <a:pt x="831" y="1329"/>
                        </a:lnTo>
                        <a:lnTo>
                          <a:pt x="830" y="1329"/>
                        </a:lnTo>
                        <a:lnTo>
                          <a:pt x="828" y="1329"/>
                        </a:lnTo>
                        <a:lnTo>
                          <a:pt x="827" y="1329"/>
                        </a:lnTo>
                        <a:lnTo>
                          <a:pt x="825" y="1330"/>
                        </a:lnTo>
                        <a:lnTo>
                          <a:pt x="823" y="1330"/>
                        </a:lnTo>
                        <a:lnTo>
                          <a:pt x="822" y="1330"/>
                        </a:lnTo>
                        <a:lnTo>
                          <a:pt x="820" y="1329"/>
                        </a:lnTo>
                        <a:lnTo>
                          <a:pt x="819" y="1330"/>
                        </a:lnTo>
                        <a:lnTo>
                          <a:pt x="819" y="1329"/>
                        </a:lnTo>
                        <a:lnTo>
                          <a:pt x="817" y="1329"/>
                        </a:lnTo>
                        <a:lnTo>
                          <a:pt x="815" y="1327"/>
                        </a:lnTo>
                        <a:lnTo>
                          <a:pt x="815" y="1326"/>
                        </a:lnTo>
                        <a:lnTo>
                          <a:pt x="814" y="1327"/>
                        </a:lnTo>
                        <a:lnTo>
                          <a:pt x="812" y="1327"/>
                        </a:lnTo>
                        <a:lnTo>
                          <a:pt x="811" y="1327"/>
                        </a:lnTo>
                        <a:lnTo>
                          <a:pt x="809" y="1327"/>
                        </a:lnTo>
                        <a:lnTo>
                          <a:pt x="808" y="1327"/>
                        </a:lnTo>
                        <a:lnTo>
                          <a:pt x="806" y="1327"/>
                        </a:lnTo>
                        <a:lnTo>
                          <a:pt x="804" y="1327"/>
                        </a:lnTo>
                        <a:lnTo>
                          <a:pt x="803" y="1327"/>
                        </a:lnTo>
                        <a:lnTo>
                          <a:pt x="801" y="1327"/>
                        </a:lnTo>
                        <a:lnTo>
                          <a:pt x="800" y="1327"/>
                        </a:lnTo>
                        <a:lnTo>
                          <a:pt x="798" y="1327"/>
                        </a:lnTo>
                        <a:lnTo>
                          <a:pt x="796" y="1327"/>
                        </a:lnTo>
                        <a:lnTo>
                          <a:pt x="793" y="1327"/>
                        </a:lnTo>
                        <a:lnTo>
                          <a:pt x="792" y="1326"/>
                        </a:lnTo>
                        <a:lnTo>
                          <a:pt x="790" y="1326"/>
                        </a:lnTo>
                        <a:lnTo>
                          <a:pt x="788" y="1326"/>
                        </a:lnTo>
                        <a:lnTo>
                          <a:pt x="787" y="1324"/>
                        </a:lnTo>
                        <a:lnTo>
                          <a:pt x="785" y="1324"/>
                        </a:lnTo>
                        <a:lnTo>
                          <a:pt x="784" y="1324"/>
                        </a:lnTo>
                        <a:lnTo>
                          <a:pt x="782" y="1322"/>
                        </a:lnTo>
                        <a:lnTo>
                          <a:pt x="781" y="1322"/>
                        </a:lnTo>
                        <a:lnTo>
                          <a:pt x="781" y="1321"/>
                        </a:lnTo>
                        <a:lnTo>
                          <a:pt x="781" y="1319"/>
                        </a:lnTo>
                        <a:lnTo>
                          <a:pt x="782" y="1318"/>
                        </a:lnTo>
                        <a:lnTo>
                          <a:pt x="782" y="1316"/>
                        </a:lnTo>
                        <a:lnTo>
                          <a:pt x="781" y="1314"/>
                        </a:lnTo>
                        <a:lnTo>
                          <a:pt x="779" y="1314"/>
                        </a:lnTo>
                        <a:lnTo>
                          <a:pt x="779" y="1313"/>
                        </a:lnTo>
                        <a:lnTo>
                          <a:pt x="777" y="1313"/>
                        </a:lnTo>
                        <a:lnTo>
                          <a:pt x="776" y="1311"/>
                        </a:lnTo>
                        <a:lnTo>
                          <a:pt x="774" y="1311"/>
                        </a:lnTo>
                        <a:lnTo>
                          <a:pt x="774" y="1310"/>
                        </a:lnTo>
                        <a:lnTo>
                          <a:pt x="773" y="1308"/>
                        </a:lnTo>
                        <a:lnTo>
                          <a:pt x="771" y="1308"/>
                        </a:lnTo>
                        <a:lnTo>
                          <a:pt x="771" y="1307"/>
                        </a:lnTo>
                        <a:lnTo>
                          <a:pt x="769" y="1307"/>
                        </a:lnTo>
                        <a:lnTo>
                          <a:pt x="768" y="1305"/>
                        </a:lnTo>
                        <a:lnTo>
                          <a:pt x="766" y="1305"/>
                        </a:lnTo>
                        <a:lnTo>
                          <a:pt x="765" y="1303"/>
                        </a:lnTo>
                        <a:lnTo>
                          <a:pt x="765" y="1302"/>
                        </a:lnTo>
                        <a:lnTo>
                          <a:pt x="763" y="1302"/>
                        </a:lnTo>
                        <a:lnTo>
                          <a:pt x="763" y="1300"/>
                        </a:lnTo>
                        <a:lnTo>
                          <a:pt x="762" y="1299"/>
                        </a:lnTo>
                        <a:lnTo>
                          <a:pt x="762" y="1297"/>
                        </a:lnTo>
                        <a:lnTo>
                          <a:pt x="760" y="1297"/>
                        </a:lnTo>
                        <a:lnTo>
                          <a:pt x="760" y="1295"/>
                        </a:lnTo>
                        <a:lnTo>
                          <a:pt x="758" y="1294"/>
                        </a:lnTo>
                        <a:lnTo>
                          <a:pt x="758" y="1292"/>
                        </a:lnTo>
                        <a:lnTo>
                          <a:pt x="758" y="1291"/>
                        </a:lnTo>
                        <a:lnTo>
                          <a:pt x="760" y="1291"/>
                        </a:lnTo>
                        <a:lnTo>
                          <a:pt x="762" y="1291"/>
                        </a:lnTo>
                        <a:lnTo>
                          <a:pt x="763" y="1291"/>
                        </a:lnTo>
                        <a:lnTo>
                          <a:pt x="765" y="1291"/>
                        </a:lnTo>
                        <a:lnTo>
                          <a:pt x="766" y="1291"/>
                        </a:lnTo>
                        <a:lnTo>
                          <a:pt x="768" y="1289"/>
                        </a:lnTo>
                        <a:lnTo>
                          <a:pt x="768" y="1288"/>
                        </a:lnTo>
                        <a:lnTo>
                          <a:pt x="769" y="1286"/>
                        </a:lnTo>
                        <a:lnTo>
                          <a:pt x="769" y="1284"/>
                        </a:lnTo>
                        <a:lnTo>
                          <a:pt x="771" y="1284"/>
                        </a:lnTo>
                        <a:lnTo>
                          <a:pt x="773" y="1283"/>
                        </a:lnTo>
                        <a:lnTo>
                          <a:pt x="774" y="1281"/>
                        </a:lnTo>
                        <a:lnTo>
                          <a:pt x="774" y="1280"/>
                        </a:lnTo>
                        <a:lnTo>
                          <a:pt x="774" y="1278"/>
                        </a:lnTo>
                        <a:lnTo>
                          <a:pt x="774" y="1276"/>
                        </a:lnTo>
                        <a:lnTo>
                          <a:pt x="774" y="1275"/>
                        </a:lnTo>
                        <a:lnTo>
                          <a:pt x="774" y="1273"/>
                        </a:lnTo>
                        <a:lnTo>
                          <a:pt x="774" y="1272"/>
                        </a:lnTo>
                        <a:lnTo>
                          <a:pt x="774" y="1270"/>
                        </a:lnTo>
                        <a:lnTo>
                          <a:pt x="776" y="1269"/>
                        </a:lnTo>
                        <a:lnTo>
                          <a:pt x="776" y="1267"/>
                        </a:lnTo>
                        <a:lnTo>
                          <a:pt x="777" y="1267"/>
                        </a:lnTo>
                        <a:lnTo>
                          <a:pt x="777" y="1265"/>
                        </a:lnTo>
                        <a:lnTo>
                          <a:pt x="777" y="1264"/>
                        </a:lnTo>
                        <a:lnTo>
                          <a:pt x="779" y="1264"/>
                        </a:lnTo>
                        <a:lnTo>
                          <a:pt x="781" y="1262"/>
                        </a:lnTo>
                        <a:lnTo>
                          <a:pt x="781" y="1261"/>
                        </a:lnTo>
                        <a:lnTo>
                          <a:pt x="782" y="1259"/>
                        </a:lnTo>
                        <a:lnTo>
                          <a:pt x="784" y="1259"/>
                        </a:lnTo>
                        <a:lnTo>
                          <a:pt x="784" y="1257"/>
                        </a:lnTo>
                        <a:lnTo>
                          <a:pt x="785" y="1257"/>
                        </a:lnTo>
                        <a:lnTo>
                          <a:pt x="787" y="1256"/>
                        </a:lnTo>
                        <a:lnTo>
                          <a:pt x="787" y="1254"/>
                        </a:lnTo>
                        <a:lnTo>
                          <a:pt x="788" y="1254"/>
                        </a:lnTo>
                        <a:lnTo>
                          <a:pt x="788" y="1253"/>
                        </a:lnTo>
                        <a:lnTo>
                          <a:pt x="790" y="1253"/>
                        </a:lnTo>
                        <a:lnTo>
                          <a:pt x="790" y="1251"/>
                        </a:lnTo>
                        <a:lnTo>
                          <a:pt x="792" y="1250"/>
                        </a:lnTo>
                        <a:lnTo>
                          <a:pt x="792" y="1248"/>
                        </a:lnTo>
                        <a:lnTo>
                          <a:pt x="793" y="1246"/>
                        </a:lnTo>
                        <a:lnTo>
                          <a:pt x="792" y="1246"/>
                        </a:lnTo>
                        <a:lnTo>
                          <a:pt x="792" y="1245"/>
                        </a:lnTo>
                        <a:lnTo>
                          <a:pt x="790" y="1245"/>
                        </a:lnTo>
                        <a:lnTo>
                          <a:pt x="788" y="1245"/>
                        </a:lnTo>
                        <a:lnTo>
                          <a:pt x="787" y="1245"/>
                        </a:lnTo>
                        <a:lnTo>
                          <a:pt x="787" y="1246"/>
                        </a:lnTo>
                        <a:lnTo>
                          <a:pt x="785" y="1246"/>
                        </a:lnTo>
                        <a:lnTo>
                          <a:pt x="784" y="1246"/>
                        </a:lnTo>
                        <a:lnTo>
                          <a:pt x="782" y="1246"/>
                        </a:lnTo>
                        <a:lnTo>
                          <a:pt x="781" y="1246"/>
                        </a:lnTo>
                        <a:lnTo>
                          <a:pt x="779" y="1246"/>
                        </a:lnTo>
                        <a:lnTo>
                          <a:pt x="777" y="1246"/>
                        </a:lnTo>
                        <a:lnTo>
                          <a:pt x="776" y="1245"/>
                        </a:lnTo>
                        <a:lnTo>
                          <a:pt x="774" y="1243"/>
                        </a:lnTo>
                        <a:lnTo>
                          <a:pt x="773" y="1242"/>
                        </a:lnTo>
                        <a:lnTo>
                          <a:pt x="771" y="1240"/>
                        </a:lnTo>
                        <a:lnTo>
                          <a:pt x="771" y="1238"/>
                        </a:lnTo>
                        <a:lnTo>
                          <a:pt x="769" y="1238"/>
                        </a:lnTo>
                        <a:lnTo>
                          <a:pt x="768" y="1238"/>
                        </a:lnTo>
                        <a:lnTo>
                          <a:pt x="766" y="1237"/>
                        </a:lnTo>
                        <a:lnTo>
                          <a:pt x="765" y="1237"/>
                        </a:lnTo>
                        <a:lnTo>
                          <a:pt x="763" y="1238"/>
                        </a:lnTo>
                        <a:lnTo>
                          <a:pt x="762" y="1240"/>
                        </a:lnTo>
                        <a:lnTo>
                          <a:pt x="762" y="1238"/>
                        </a:lnTo>
                        <a:lnTo>
                          <a:pt x="760" y="1238"/>
                        </a:lnTo>
                        <a:lnTo>
                          <a:pt x="758" y="1238"/>
                        </a:lnTo>
                        <a:lnTo>
                          <a:pt x="757" y="1237"/>
                        </a:lnTo>
                        <a:lnTo>
                          <a:pt x="755" y="1237"/>
                        </a:lnTo>
                        <a:lnTo>
                          <a:pt x="754" y="1237"/>
                        </a:lnTo>
                        <a:lnTo>
                          <a:pt x="754" y="1235"/>
                        </a:lnTo>
                        <a:lnTo>
                          <a:pt x="752" y="1235"/>
                        </a:lnTo>
                        <a:lnTo>
                          <a:pt x="750" y="1235"/>
                        </a:lnTo>
                        <a:lnTo>
                          <a:pt x="749" y="1234"/>
                        </a:lnTo>
                        <a:lnTo>
                          <a:pt x="747" y="1234"/>
                        </a:lnTo>
                        <a:lnTo>
                          <a:pt x="746" y="1234"/>
                        </a:lnTo>
                        <a:lnTo>
                          <a:pt x="746" y="1232"/>
                        </a:lnTo>
                        <a:lnTo>
                          <a:pt x="744" y="1232"/>
                        </a:lnTo>
                        <a:lnTo>
                          <a:pt x="744" y="1234"/>
                        </a:lnTo>
                        <a:lnTo>
                          <a:pt x="743" y="1234"/>
                        </a:lnTo>
                        <a:lnTo>
                          <a:pt x="741" y="1234"/>
                        </a:lnTo>
                        <a:lnTo>
                          <a:pt x="741" y="1232"/>
                        </a:lnTo>
                        <a:lnTo>
                          <a:pt x="739" y="1232"/>
                        </a:lnTo>
                        <a:lnTo>
                          <a:pt x="741" y="1231"/>
                        </a:lnTo>
                        <a:lnTo>
                          <a:pt x="743" y="1231"/>
                        </a:lnTo>
                        <a:lnTo>
                          <a:pt x="741" y="1231"/>
                        </a:lnTo>
                        <a:lnTo>
                          <a:pt x="739" y="1229"/>
                        </a:lnTo>
                        <a:lnTo>
                          <a:pt x="739" y="1231"/>
                        </a:lnTo>
                        <a:lnTo>
                          <a:pt x="738" y="1229"/>
                        </a:lnTo>
                        <a:lnTo>
                          <a:pt x="736" y="1229"/>
                        </a:lnTo>
                        <a:lnTo>
                          <a:pt x="735" y="1229"/>
                        </a:lnTo>
                        <a:lnTo>
                          <a:pt x="733" y="1229"/>
                        </a:lnTo>
                        <a:lnTo>
                          <a:pt x="731" y="1227"/>
                        </a:lnTo>
                        <a:lnTo>
                          <a:pt x="730" y="1227"/>
                        </a:lnTo>
                        <a:lnTo>
                          <a:pt x="728" y="1226"/>
                        </a:lnTo>
                        <a:lnTo>
                          <a:pt x="727" y="1226"/>
                        </a:lnTo>
                        <a:lnTo>
                          <a:pt x="725" y="1226"/>
                        </a:lnTo>
                        <a:lnTo>
                          <a:pt x="724" y="1226"/>
                        </a:lnTo>
                        <a:lnTo>
                          <a:pt x="722" y="1226"/>
                        </a:lnTo>
                        <a:lnTo>
                          <a:pt x="722" y="1227"/>
                        </a:lnTo>
                        <a:lnTo>
                          <a:pt x="720" y="1227"/>
                        </a:lnTo>
                        <a:lnTo>
                          <a:pt x="719" y="1229"/>
                        </a:lnTo>
                        <a:lnTo>
                          <a:pt x="717" y="1229"/>
                        </a:lnTo>
                        <a:lnTo>
                          <a:pt x="716" y="1229"/>
                        </a:lnTo>
                        <a:lnTo>
                          <a:pt x="714" y="1227"/>
                        </a:lnTo>
                        <a:lnTo>
                          <a:pt x="712" y="1227"/>
                        </a:lnTo>
                        <a:lnTo>
                          <a:pt x="714" y="1226"/>
                        </a:lnTo>
                        <a:lnTo>
                          <a:pt x="714" y="1224"/>
                        </a:lnTo>
                        <a:lnTo>
                          <a:pt x="712" y="1224"/>
                        </a:lnTo>
                        <a:lnTo>
                          <a:pt x="711" y="1224"/>
                        </a:lnTo>
                        <a:lnTo>
                          <a:pt x="709" y="1224"/>
                        </a:lnTo>
                        <a:lnTo>
                          <a:pt x="708" y="1224"/>
                        </a:lnTo>
                        <a:lnTo>
                          <a:pt x="706" y="1223"/>
                        </a:lnTo>
                        <a:lnTo>
                          <a:pt x="705" y="1223"/>
                        </a:lnTo>
                        <a:lnTo>
                          <a:pt x="705" y="1224"/>
                        </a:lnTo>
                        <a:lnTo>
                          <a:pt x="703" y="1224"/>
                        </a:lnTo>
                        <a:lnTo>
                          <a:pt x="701" y="1224"/>
                        </a:lnTo>
                        <a:lnTo>
                          <a:pt x="701" y="1223"/>
                        </a:lnTo>
                        <a:lnTo>
                          <a:pt x="703" y="1221"/>
                        </a:lnTo>
                        <a:lnTo>
                          <a:pt x="701" y="1221"/>
                        </a:lnTo>
                        <a:lnTo>
                          <a:pt x="700" y="1221"/>
                        </a:lnTo>
                        <a:lnTo>
                          <a:pt x="698" y="1221"/>
                        </a:lnTo>
                        <a:lnTo>
                          <a:pt x="698" y="1223"/>
                        </a:lnTo>
                        <a:lnTo>
                          <a:pt x="697" y="1223"/>
                        </a:lnTo>
                        <a:lnTo>
                          <a:pt x="695" y="1223"/>
                        </a:lnTo>
                        <a:lnTo>
                          <a:pt x="695" y="1221"/>
                        </a:lnTo>
                        <a:lnTo>
                          <a:pt x="693" y="1221"/>
                        </a:lnTo>
                        <a:lnTo>
                          <a:pt x="692" y="1221"/>
                        </a:lnTo>
                        <a:lnTo>
                          <a:pt x="690" y="1219"/>
                        </a:lnTo>
                        <a:lnTo>
                          <a:pt x="690" y="1218"/>
                        </a:lnTo>
                        <a:lnTo>
                          <a:pt x="689" y="1216"/>
                        </a:lnTo>
                        <a:lnTo>
                          <a:pt x="687" y="1216"/>
                        </a:lnTo>
                        <a:lnTo>
                          <a:pt x="687" y="1218"/>
                        </a:lnTo>
                        <a:lnTo>
                          <a:pt x="686" y="1216"/>
                        </a:lnTo>
                        <a:lnTo>
                          <a:pt x="687" y="1216"/>
                        </a:lnTo>
                        <a:lnTo>
                          <a:pt x="687" y="1215"/>
                        </a:lnTo>
                        <a:lnTo>
                          <a:pt x="686" y="1215"/>
                        </a:lnTo>
                        <a:lnTo>
                          <a:pt x="686" y="1213"/>
                        </a:lnTo>
                        <a:lnTo>
                          <a:pt x="684" y="1213"/>
                        </a:lnTo>
                        <a:lnTo>
                          <a:pt x="682" y="1213"/>
                        </a:lnTo>
                        <a:lnTo>
                          <a:pt x="681" y="1215"/>
                        </a:lnTo>
                        <a:lnTo>
                          <a:pt x="681" y="1213"/>
                        </a:lnTo>
                        <a:lnTo>
                          <a:pt x="681" y="1212"/>
                        </a:lnTo>
                        <a:lnTo>
                          <a:pt x="679" y="1212"/>
                        </a:lnTo>
                        <a:lnTo>
                          <a:pt x="679" y="1210"/>
                        </a:lnTo>
                        <a:lnTo>
                          <a:pt x="678" y="1210"/>
                        </a:lnTo>
                        <a:lnTo>
                          <a:pt x="676" y="1210"/>
                        </a:lnTo>
                        <a:lnTo>
                          <a:pt x="676" y="1208"/>
                        </a:lnTo>
                        <a:lnTo>
                          <a:pt x="676" y="1207"/>
                        </a:lnTo>
                        <a:lnTo>
                          <a:pt x="674" y="1207"/>
                        </a:lnTo>
                        <a:lnTo>
                          <a:pt x="673" y="1207"/>
                        </a:lnTo>
                        <a:lnTo>
                          <a:pt x="671" y="1205"/>
                        </a:lnTo>
                        <a:lnTo>
                          <a:pt x="670" y="1204"/>
                        </a:lnTo>
                        <a:lnTo>
                          <a:pt x="670" y="1202"/>
                        </a:lnTo>
                        <a:lnTo>
                          <a:pt x="670" y="1200"/>
                        </a:lnTo>
                        <a:lnTo>
                          <a:pt x="668" y="1200"/>
                        </a:lnTo>
                        <a:lnTo>
                          <a:pt x="668" y="1199"/>
                        </a:lnTo>
                        <a:lnTo>
                          <a:pt x="667" y="1199"/>
                        </a:lnTo>
                        <a:lnTo>
                          <a:pt x="665" y="1199"/>
                        </a:lnTo>
                        <a:lnTo>
                          <a:pt x="663" y="1200"/>
                        </a:lnTo>
                        <a:lnTo>
                          <a:pt x="663" y="1199"/>
                        </a:lnTo>
                        <a:lnTo>
                          <a:pt x="662" y="1199"/>
                        </a:lnTo>
                        <a:lnTo>
                          <a:pt x="660" y="1199"/>
                        </a:lnTo>
                        <a:lnTo>
                          <a:pt x="659" y="1199"/>
                        </a:lnTo>
                        <a:lnTo>
                          <a:pt x="659" y="1200"/>
                        </a:lnTo>
                        <a:lnTo>
                          <a:pt x="657" y="1200"/>
                        </a:lnTo>
                        <a:lnTo>
                          <a:pt x="655" y="1202"/>
                        </a:lnTo>
                        <a:lnTo>
                          <a:pt x="654" y="1202"/>
                        </a:lnTo>
                        <a:lnTo>
                          <a:pt x="652" y="1202"/>
                        </a:lnTo>
                        <a:lnTo>
                          <a:pt x="651" y="1202"/>
                        </a:lnTo>
                        <a:lnTo>
                          <a:pt x="649" y="1202"/>
                        </a:lnTo>
                        <a:lnTo>
                          <a:pt x="648" y="1202"/>
                        </a:lnTo>
                        <a:lnTo>
                          <a:pt x="646" y="1202"/>
                        </a:lnTo>
                        <a:lnTo>
                          <a:pt x="644" y="1202"/>
                        </a:lnTo>
                        <a:lnTo>
                          <a:pt x="643" y="1202"/>
                        </a:lnTo>
                        <a:lnTo>
                          <a:pt x="641" y="1204"/>
                        </a:lnTo>
                        <a:lnTo>
                          <a:pt x="640" y="1202"/>
                        </a:lnTo>
                        <a:lnTo>
                          <a:pt x="638" y="1204"/>
                        </a:lnTo>
                        <a:lnTo>
                          <a:pt x="636" y="1204"/>
                        </a:lnTo>
                        <a:lnTo>
                          <a:pt x="635" y="1202"/>
                        </a:lnTo>
                        <a:lnTo>
                          <a:pt x="633" y="1202"/>
                        </a:lnTo>
                        <a:lnTo>
                          <a:pt x="632" y="1202"/>
                        </a:lnTo>
                        <a:lnTo>
                          <a:pt x="630" y="1202"/>
                        </a:lnTo>
                        <a:lnTo>
                          <a:pt x="629" y="1202"/>
                        </a:lnTo>
                        <a:lnTo>
                          <a:pt x="627" y="1202"/>
                        </a:lnTo>
                        <a:lnTo>
                          <a:pt x="625" y="1202"/>
                        </a:lnTo>
                        <a:lnTo>
                          <a:pt x="624" y="1202"/>
                        </a:lnTo>
                        <a:lnTo>
                          <a:pt x="622" y="1202"/>
                        </a:lnTo>
                        <a:lnTo>
                          <a:pt x="622" y="1200"/>
                        </a:lnTo>
                        <a:lnTo>
                          <a:pt x="621" y="1200"/>
                        </a:lnTo>
                        <a:lnTo>
                          <a:pt x="619" y="1200"/>
                        </a:lnTo>
                        <a:lnTo>
                          <a:pt x="617" y="1200"/>
                        </a:lnTo>
                        <a:lnTo>
                          <a:pt x="616" y="1200"/>
                        </a:lnTo>
                        <a:lnTo>
                          <a:pt x="614" y="1200"/>
                        </a:lnTo>
                        <a:lnTo>
                          <a:pt x="614" y="1199"/>
                        </a:lnTo>
                        <a:lnTo>
                          <a:pt x="613" y="1199"/>
                        </a:lnTo>
                        <a:lnTo>
                          <a:pt x="611" y="1199"/>
                        </a:lnTo>
                        <a:lnTo>
                          <a:pt x="609" y="1197"/>
                        </a:lnTo>
                        <a:lnTo>
                          <a:pt x="608" y="1197"/>
                        </a:lnTo>
                        <a:lnTo>
                          <a:pt x="606" y="1197"/>
                        </a:lnTo>
                        <a:lnTo>
                          <a:pt x="605" y="1196"/>
                        </a:lnTo>
                        <a:lnTo>
                          <a:pt x="603" y="1196"/>
                        </a:lnTo>
                        <a:lnTo>
                          <a:pt x="602" y="1194"/>
                        </a:lnTo>
                        <a:lnTo>
                          <a:pt x="600" y="1194"/>
                        </a:lnTo>
                        <a:lnTo>
                          <a:pt x="598" y="1194"/>
                        </a:lnTo>
                        <a:lnTo>
                          <a:pt x="597" y="1196"/>
                        </a:lnTo>
                        <a:lnTo>
                          <a:pt x="597" y="1197"/>
                        </a:lnTo>
                        <a:lnTo>
                          <a:pt x="595" y="1199"/>
                        </a:lnTo>
                        <a:lnTo>
                          <a:pt x="594" y="1200"/>
                        </a:lnTo>
                        <a:lnTo>
                          <a:pt x="594" y="1202"/>
                        </a:lnTo>
                        <a:lnTo>
                          <a:pt x="592" y="1204"/>
                        </a:lnTo>
                        <a:lnTo>
                          <a:pt x="592" y="1205"/>
                        </a:lnTo>
                        <a:lnTo>
                          <a:pt x="590" y="1207"/>
                        </a:lnTo>
                        <a:lnTo>
                          <a:pt x="589" y="1208"/>
                        </a:lnTo>
                        <a:lnTo>
                          <a:pt x="587" y="1208"/>
                        </a:lnTo>
                        <a:lnTo>
                          <a:pt x="587" y="1210"/>
                        </a:lnTo>
                        <a:lnTo>
                          <a:pt x="586" y="1210"/>
                        </a:lnTo>
                        <a:lnTo>
                          <a:pt x="584" y="1212"/>
                        </a:lnTo>
                        <a:lnTo>
                          <a:pt x="584" y="1213"/>
                        </a:lnTo>
                        <a:lnTo>
                          <a:pt x="583" y="1213"/>
                        </a:lnTo>
                        <a:lnTo>
                          <a:pt x="583" y="1215"/>
                        </a:lnTo>
                        <a:lnTo>
                          <a:pt x="581" y="1215"/>
                        </a:lnTo>
                        <a:lnTo>
                          <a:pt x="579" y="1216"/>
                        </a:lnTo>
                        <a:lnTo>
                          <a:pt x="578" y="1218"/>
                        </a:lnTo>
                        <a:lnTo>
                          <a:pt x="578" y="1219"/>
                        </a:lnTo>
                        <a:lnTo>
                          <a:pt x="576" y="1221"/>
                        </a:lnTo>
                        <a:lnTo>
                          <a:pt x="575" y="1223"/>
                        </a:lnTo>
                        <a:lnTo>
                          <a:pt x="573" y="1224"/>
                        </a:lnTo>
                        <a:lnTo>
                          <a:pt x="571" y="1224"/>
                        </a:lnTo>
                        <a:lnTo>
                          <a:pt x="570" y="1226"/>
                        </a:lnTo>
                        <a:lnTo>
                          <a:pt x="570" y="1227"/>
                        </a:lnTo>
                        <a:lnTo>
                          <a:pt x="568" y="1227"/>
                        </a:lnTo>
                        <a:lnTo>
                          <a:pt x="567" y="1227"/>
                        </a:lnTo>
                        <a:lnTo>
                          <a:pt x="565" y="1226"/>
                        </a:lnTo>
                        <a:lnTo>
                          <a:pt x="564" y="1224"/>
                        </a:lnTo>
                        <a:lnTo>
                          <a:pt x="562" y="1224"/>
                        </a:lnTo>
                        <a:lnTo>
                          <a:pt x="560" y="1224"/>
                        </a:lnTo>
                        <a:lnTo>
                          <a:pt x="559" y="1224"/>
                        </a:lnTo>
                        <a:lnTo>
                          <a:pt x="559" y="1223"/>
                        </a:lnTo>
                        <a:lnTo>
                          <a:pt x="557" y="1223"/>
                        </a:lnTo>
                        <a:lnTo>
                          <a:pt x="556" y="1223"/>
                        </a:lnTo>
                        <a:lnTo>
                          <a:pt x="554" y="1221"/>
                        </a:lnTo>
                        <a:lnTo>
                          <a:pt x="552" y="1223"/>
                        </a:lnTo>
                        <a:lnTo>
                          <a:pt x="551" y="1223"/>
                        </a:lnTo>
                        <a:lnTo>
                          <a:pt x="549" y="1223"/>
                        </a:lnTo>
                        <a:lnTo>
                          <a:pt x="548" y="1223"/>
                        </a:lnTo>
                        <a:lnTo>
                          <a:pt x="546" y="1223"/>
                        </a:lnTo>
                        <a:lnTo>
                          <a:pt x="546" y="1224"/>
                        </a:lnTo>
                        <a:lnTo>
                          <a:pt x="545" y="1224"/>
                        </a:lnTo>
                        <a:lnTo>
                          <a:pt x="543" y="1224"/>
                        </a:lnTo>
                        <a:lnTo>
                          <a:pt x="541" y="1224"/>
                        </a:lnTo>
                        <a:lnTo>
                          <a:pt x="540" y="1224"/>
                        </a:lnTo>
                        <a:lnTo>
                          <a:pt x="538" y="1224"/>
                        </a:lnTo>
                        <a:lnTo>
                          <a:pt x="538" y="1223"/>
                        </a:lnTo>
                        <a:lnTo>
                          <a:pt x="537" y="1223"/>
                        </a:lnTo>
                        <a:lnTo>
                          <a:pt x="535" y="1223"/>
                        </a:lnTo>
                        <a:lnTo>
                          <a:pt x="533" y="1223"/>
                        </a:lnTo>
                        <a:lnTo>
                          <a:pt x="533" y="1221"/>
                        </a:lnTo>
                        <a:lnTo>
                          <a:pt x="532" y="1221"/>
                        </a:lnTo>
                        <a:lnTo>
                          <a:pt x="532" y="1219"/>
                        </a:lnTo>
                        <a:lnTo>
                          <a:pt x="532" y="1218"/>
                        </a:lnTo>
                        <a:lnTo>
                          <a:pt x="530" y="1218"/>
                        </a:lnTo>
                        <a:lnTo>
                          <a:pt x="529" y="1218"/>
                        </a:lnTo>
                        <a:lnTo>
                          <a:pt x="527" y="1216"/>
                        </a:lnTo>
                        <a:lnTo>
                          <a:pt x="526" y="1216"/>
                        </a:lnTo>
                        <a:lnTo>
                          <a:pt x="526" y="1215"/>
                        </a:lnTo>
                        <a:lnTo>
                          <a:pt x="524" y="1215"/>
                        </a:lnTo>
                        <a:lnTo>
                          <a:pt x="522" y="1215"/>
                        </a:lnTo>
                        <a:lnTo>
                          <a:pt x="521" y="1215"/>
                        </a:lnTo>
                        <a:lnTo>
                          <a:pt x="519" y="1215"/>
                        </a:lnTo>
                        <a:lnTo>
                          <a:pt x="518" y="1215"/>
                        </a:lnTo>
                        <a:lnTo>
                          <a:pt x="516" y="1215"/>
                        </a:lnTo>
                        <a:lnTo>
                          <a:pt x="516" y="1213"/>
                        </a:lnTo>
                        <a:lnTo>
                          <a:pt x="514" y="1213"/>
                        </a:lnTo>
                        <a:lnTo>
                          <a:pt x="495" y="1210"/>
                        </a:lnTo>
                        <a:lnTo>
                          <a:pt x="497" y="1208"/>
                        </a:lnTo>
                        <a:lnTo>
                          <a:pt x="497" y="1207"/>
                        </a:lnTo>
                        <a:lnTo>
                          <a:pt x="497" y="1205"/>
                        </a:lnTo>
                        <a:lnTo>
                          <a:pt x="499" y="1204"/>
                        </a:lnTo>
                        <a:lnTo>
                          <a:pt x="497" y="1204"/>
                        </a:lnTo>
                        <a:lnTo>
                          <a:pt x="497" y="1202"/>
                        </a:lnTo>
                        <a:lnTo>
                          <a:pt x="497" y="1200"/>
                        </a:lnTo>
                        <a:lnTo>
                          <a:pt x="497" y="1199"/>
                        </a:lnTo>
                        <a:lnTo>
                          <a:pt x="497" y="1197"/>
                        </a:lnTo>
                        <a:lnTo>
                          <a:pt x="497" y="1196"/>
                        </a:lnTo>
                        <a:lnTo>
                          <a:pt x="495" y="1196"/>
                        </a:lnTo>
                        <a:lnTo>
                          <a:pt x="495" y="1194"/>
                        </a:lnTo>
                        <a:lnTo>
                          <a:pt x="494" y="1194"/>
                        </a:lnTo>
                        <a:lnTo>
                          <a:pt x="492" y="1193"/>
                        </a:lnTo>
                        <a:lnTo>
                          <a:pt x="491" y="1193"/>
                        </a:lnTo>
                        <a:lnTo>
                          <a:pt x="489" y="1191"/>
                        </a:lnTo>
                        <a:lnTo>
                          <a:pt x="488" y="1189"/>
                        </a:lnTo>
                        <a:lnTo>
                          <a:pt x="488" y="1188"/>
                        </a:lnTo>
                        <a:lnTo>
                          <a:pt x="486" y="1186"/>
                        </a:lnTo>
                        <a:lnTo>
                          <a:pt x="484" y="1185"/>
                        </a:lnTo>
                        <a:lnTo>
                          <a:pt x="483" y="1183"/>
                        </a:lnTo>
                        <a:lnTo>
                          <a:pt x="483" y="1181"/>
                        </a:lnTo>
                        <a:lnTo>
                          <a:pt x="484" y="1180"/>
                        </a:lnTo>
                        <a:lnTo>
                          <a:pt x="484" y="1178"/>
                        </a:lnTo>
                        <a:lnTo>
                          <a:pt x="484" y="1177"/>
                        </a:lnTo>
                        <a:lnTo>
                          <a:pt x="484" y="1175"/>
                        </a:lnTo>
                        <a:lnTo>
                          <a:pt x="484" y="1174"/>
                        </a:lnTo>
                        <a:lnTo>
                          <a:pt x="483" y="1172"/>
                        </a:lnTo>
                        <a:lnTo>
                          <a:pt x="483" y="1170"/>
                        </a:lnTo>
                        <a:lnTo>
                          <a:pt x="483" y="1169"/>
                        </a:lnTo>
                        <a:lnTo>
                          <a:pt x="483" y="1167"/>
                        </a:lnTo>
                        <a:lnTo>
                          <a:pt x="481" y="1167"/>
                        </a:lnTo>
                        <a:lnTo>
                          <a:pt x="481" y="1166"/>
                        </a:lnTo>
                        <a:lnTo>
                          <a:pt x="480" y="1166"/>
                        </a:lnTo>
                        <a:lnTo>
                          <a:pt x="478" y="1166"/>
                        </a:lnTo>
                        <a:lnTo>
                          <a:pt x="476" y="1164"/>
                        </a:lnTo>
                        <a:lnTo>
                          <a:pt x="475" y="1164"/>
                        </a:lnTo>
                        <a:lnTo>
                          <a:pt x="473" y="1164"/>
                        </a:lnTo>
                        <a:lnTo>
                          <a:pt x="472" y="1162"/>
                        </a:lnTo>
                        <a:lnTo>
                          <a:pt x="470" y="1162"/>
                        </a:lnTo>
                        <a:lnTo>
                          <a:pt x="469" y="1162"/>
                        </a:lnTo>
                        <a:lnTo>
                          <a:pt x="467" y="1162"/>
                        </a:lnTo>
                        <a:lnTo>
                          <a:pt x="465" y="1162"/>
                        </a:lnTo>
                        <a:lnTo>
                          <a:pt x="464" y="1162"/>
                        </a:lnTo>
                        <a:lnTo>
                          <a:pt x="462" y="1162"/>
                        </a:lnTo>
                        <a:lnTo>
                          <a:pt x="461" y="1161"/>
                        </a:lnTo>
                        <a:lnTo>
                          <a:pt x="459" y="1161"/>
                        </a:lnTo>
                        <a:lnTo>
                          <a:pt x="459" y="1159"/>
                        </a:lnTo>
                        <a:lnTo>
                          <a:pt x="457" y="1159"/>
                        </a:lnTo>
                        <a:lnTo>
                          <a:pt x="456" y="1159"/>
                        </a:lnTo>
                        <a:lnTo>
                          <a:pt x="454" y="1159"/>
                        </a:lnTo>
                        <a:lnTo>
                          <a:pt x="454" y="1158"/>
                        </a:lnTo>
                        <a:lnTo>
                          <a:pt x="453" y="1158"/>
                        </a:lnTo>
                        <a:lnTo>
                          <a:pt x="453" y="1156"/>
                        </a:lnTo>
                        <a:lnTo>
                          <a:pt x="454" y="1154"/>
                        </a:lnTo>
                        <a:lnTo>
                          <a:pt x="456" y="1153"/>
                        </a:lnTo>
                        <a:lnTo>
                          <a:pt x="456" y="1151"/>
                        </a:lnTo>
                        <a:lnTo>
                          <a:pt x="456" y="1150"/>
                        </a:lnTo>
                        <a:lnTo>
                          <a:pt x="457" y="1150"/>
                        </a:lnTo>
                        <a:lnTo>
                          <a:pt x="457" y="1148"/>
                        </a:lnTo>
                        <a:lnTo>
                          <a:pt x="457" y="1147"/>
                        </a:lnTo>
                        <a:lnTo>
                          <a:pt x="457" y="1145"/>
                        </a:lnTo>
                        <a:lnTo>
                          <a:pt x="457" y="1143"/>
                        </a:lnTo>
                        <a:lnTo>
                          <a:pt x="457" y="1142"/>
                        </a:lnTo>
                        <a:lnTo>
                          <a:pt x="456" y="1142"/>
                        </a:lnTo>
                        <a:lnTo>
                          <a:pt x="456" y="1140"/>
                        </a:lnTo>
                        <a:lnTo>
                          <a:pt x="456" y="1139"/>
                        </a:lnTo>
                        <a:lnTo>
                          <a:pt x="454" y="1139"/>
                        </a:lnTo>
                        <a:lnTo>
                          <a:pt x="453" y="1139"/>
                        </a:lnTo>
                        <a:lnTo>
                          <a:pt x="451" y="1139"/>
                        </a:lnTo>
                        <a:lnTo>
                          <a:pt x="451" y="1137"/>
                        </a:lnTo>
                        <a:lnTo>
                          <a:pt x="450" y="1137"/>
                        </a:lnTo>
                        <a:lnTo>
                          <a:pt x="448" y="1137"/>
                        </a:lnTo>
                        <a:lnTo>
                          <a:pt x="446" y="1137"/>
                        </a:lnTo>
                        <a:lnTo>
                          <a:pt x="445" y="1137"/>
                        </a:lnTo>
                        <a:lnTo>
                          <a:pt x="443" y="1137"/>
                        </a:lnTo>
                        <a:lnTo>
                          <a:pt x="442" y="1137"/>
                        </a:lnTo>
                        <a:lnTo>
                          <a:pt x="442" y="1139"/>
                        </a:lnTo>
                        <a:lnTo>
                          <a:pt x="440" y="1139"/>
                        </a:lnTo>
                        <a:lnTo>
                          <a:pt x="438" y="1140"/>
                        </a:lnTo>
                        <a:lnTo>
                          <a:pt x="437" y="1140"/>
                        </a:lnTo>
                        <a:lnTo>
                          <a:pt x="437" y="1142"/>
                        </a:lnTo>
                        <a:lnTo>
                          <a:pt x="435" y="1142"/>
                        </a:lnTo>
                        <a:lnTo>
                          <a:pt x="435" y="1143"/>
                        </a:lnTo>
                        <a:lnTo>
                          <a:pt x="434" y="1143"/>
                        </a:lnTo>
                        <a:lnTo>
                          <a:pt x="432" y="1143"/>
                        </a:lnTo>
                        <a:lnTo>
                          <a:pt x="431" y="1143"/>
                        </a:lnTo>
                        <a:lnTo>
                          <a:pt x="429" y="1142"/>
                        </a:lnTo>
                        <a:lnTo>
                          <a:pt x="429" y="1140"/>
                        </a:lnTo>
                        <a:lnTo>
                          <a:pt x="429" y="1139"/>
                        </a:lnTo>
                        <a:lnTo>
                          <a:pt x="427" y="1137"/>
                        </a:lnTo>
                        <a:lnTo>
                          <a:pt x="427" y="1135"/>
                        </a:lnTo>
                        <a:lnTo>
                          <a:pt x="427" y="1134"/>
                        </a:lnTo>
                        <a:lnTo>
                          <a:pt x="427" y="1132"/>
                        </a:lnTo>
                        <a:lnTo>
                          <a:pt x="426" y="1131"/>
                        </a:lnTo>
                        <a:lnTo>
                          <a:pt x="424" y="1131"/>
                        </a:lnTo>
                        <a:lnTo>
                          <a:pt x="423" y="1129"/>
                        </a:lnTo>
                        <a:lnTo>
                          <a:pt x="423" y="1128"/>
                        </a:lnTo>
                        <a:lnTo>
                          <a:pt x="421" y="1128"/>
                        </a:lnTo>
                        <a:lnTo>
                          <a:pt x="421" y="1126"/>
                        </a:lnTo>
                        <a:lnTo>
                          <a:pt x="421" y="1124"/>
                        </a:lnTo>
                        <a:lnTo>
                          <a:pt x="421" y="1123"/>
                        </a:lnTo>
                        <a:lnTo>
                          <a:pt x="421" y="1121"/>
                        </a:lnTo>
                        <a:lnTo>
                          <a:pt x="419" y="1121"/>
                        </a:lnTo>
                        <a:lnTo>
                          <a:pt x="419" y="1120"/>
                        </a:lnTo>
                        <a:lnTo>
                          <a:pt x="419" y="1118"/>
                        </a:lnTo>
                        <a:lnTo>
                          <a:pt x="419" y="1116"/>
                        </a:lnTo>
                        <a:lnTo>
                          <a:pt x="418" y="1116"/>
                        </a:lnTo>
                        <a:lnTo>
                          <a:pt x="418" y="1115"/>
                        </a:lnTo>
                        <a:lnTo>
                          <a:pt x="416" y="1115"/>
                        </a:lnTo>
                        <a:lnTo>
                          <a:pt x="416" y="1113"/>
                        </a:lnTo>
                        <a:lnTo>
                          <a:pt x="415" y="1113"/>
                        </a:lnTo>
                        <a:lnTo>
                          <a:pt x="415" y="1112"/>
                        </a:lnTo>
                        <a:lnTo>
                          <a:pt x="413" y="1112"/>
                        </a:lnTo>
                        <a:lnTo>
                          <a:pt x="413" y="1110"/>
                        </a:lnTo>
                        <a:lnTo>
                          <a:pt x="413" y="1109"/>
                        </a:lnTo>
                        <a:lnTo>
                          <a:pt x="413" y="1107"/>
                        </a:lnTo>
                        <a:lnTo>
                          <a:pt x="413" y="1105"/>
                        </a:lnTo>
                        <a:lnTo>
                          <a:pt x="413" y="1104"/>
                        </a:lnTo>
                        <a:lnTo>
                          <a:pt x="415" y="1102"/>
                        </a:lnTo>
                        <a:lnTo>
                          <a:pt x="415" y="1101"/>
                        </a:lnTo>
                        <a:lnTo>
                          <a:pt x="415" y="1099"/>
                        </a:lnTo>
                        <a:lnTo>
                          <a:pt x="416" y="1097"/>
                        </a:lnTo>
                        <a:lnTo>
                          <a:pt x="416" y="1096"/>
                        </a:lnTo>
                        <a:lnTo>
                          <a:pt x="415" y="1096"/>
                        </a:lnTo>
                        <a:lnTo>
                          <a:pt x="413" y="1096"/>
                        </a:lnTo>
                        <a:lnTo>
                          <a:pt x="411" y="1096"/>
                        </a:lnTo>
                        <a:lnTo>
                          <a:pt x="410" y="1096"/>
                        </a:lnTo>
                        <a:lnTo>
                          <a:pt x="408" y="1096"/>
                        </a:lnTo>
                        <a:lnTo>
                          <a:pt x="407" y="1096"/>
                        </a:lnTo>
                        <a:lnTo>
                          <a:pt x="405" y="1096"/>
                        </a:lnTo>
                        <a:lnTo>
                          <a:pt x="404" y="1096"/>
                        </a:lnTo>
                        <a:lnTo>
                          <a:pt x="400" y="1096"/>
                        </a:lnTo>
                        <a:lnTo>
                          <a:pt x="397" y="1093"/>
                        </a:lnTo>
                        <a:lnTo>
                          <a:pt x="394" y="1093"/>
                        </a:lnTo>
                        <a:lnTo>
                          <a:pt x="391" y="1091"/>
                        </a:lnTo>
                        <a:lnTo>
                          <a:pt x="389" y="1090"/>
                        </a:lnTo>
                        <a:lnTo>
                          <a:pt x="386" y="1090"/>
                        </a:lnTo>
                        <a:lnTo>
                          <a:pt x="385" y="1088"/>
                        </a:lnTo>
                        <a:lnTo>
                          <a:pt x="377" y="1086"/>
                        </a:lnTo>
                        <a:lnTo>
                          <a:pt x="370" y="1085"/>
                        </a:lnTo>
                        <a:lnTo>
                          <a:pt x="367" y="1083"/>
                        </a:lnTo>
                        <a:lnTo>
                          <a:pt x="362" y="1083"/>
                        </a:lnTo>
                        <a:lnTo>
                          <a:pt x="358" y="1083"/>
                        </a:lnTo>
                        <a:lnTo>
                          <a:pt x="351" y="1083"/>
                        </a:lnTo>
                        <a:lnTo>
                          <a:pt x="345" y="1083"/>
                        </a:lnTo>
                        <a:lnTo>
                          <a:pt x="343" y="1085"/>
                        </a:lnTo>
                        <a:lnTo>
                          <a:pt x="337" y="1088"/>
                        </a:lnTo>
                        <a:lnTo>
                          <a:pt x="335" y="1091"/>
                        </a:lnTo>
                        <a:lnTo>
                          <a:pt x="332" y="1094"/>
                        </a:lnTo>
                        <a:lnTo>
                          <a:pt x="331" y="1094"/>
                        </a:lnTo>
                        <a:lnTo>
                          <a:pt x="331" y="1096"/>
                        </a:lnTo>
                        <a:lnTo>
                          <a:pt x="329" y="1096"/>
                        </a:lnTo>
                        <a:lnTo>
                          <a:pt x="323" y="1096"/>
                        </a:lnTo>
                        <a:lnTo>
                          <a:pt x="316" y="1096"/>
                        </a:lnTo>
                        <a:lnTo>
                          <a:pt x="307" y="1097"/>
                        </a:lnTo>
                        <a:lnTo>
                          <a:pt x="297" y="1099"/>
                        </a:lnTo>
                        <a:lnTo>
                          <a:pt x="288" y="1099"/>
                        </a:lnTo>
                        <a:lnTo>
                          <a:pt x="277" y="1099"/>
                        </a:lnTo>
                        <a:lnTo>
                          <a:pt x="269" y="1101"/>
                        </a:lnTo>
                        <a:lnTo>
                          <a:pt x="263" y="1102"/>
                        </a:lnTo>
                        <a:lnTo>
                          <a:pt x="256" y="1102"/>
                        </a:lnTo>
                        <a:lnTo>
                          <a:pt x="255" y="1102"/>
                        </a:lnTo>
                        <a:lnTo>
                          <a:pt x="255" y="1104"/>
                        </a:lnTo>
                        <a:lnTo>
                          <a:pt x="255" y="1105"/>
                        </a:lnTo>
                        <a:lnTo>
                          <a:pt x="253" y="1109"/>
                        </a:lnTo>
                        <a:lnTo>
                          <a:pt x="253" y="1112"/>
                        </a:lnTo>
                        <a:lnTo>
                          <a:pt x="253" y="1115"/>
                        </a:lnTo>
                        <a:lnTo>
                          <a:pt x="252" y="1116"/>
                        </a:lnTo>
                        <a:lnTo>
                          <a:pt x="252" y="1121"/>
                        </a:lnTo>
                        <a:lnTo>
                          <a:pt x="250" y="1126"/>
                        </a:lnTo>
                        <a:lnTo>
                          <a:pt x="250" y="1131"/>
                        </a:lnTo>
                        <a:lnTo>
                          <a:pt x="250" y="1134"/>
                        </a:lnTo>
                        <a:lnTo>
                          <a:pt x="248" y="1137"/>
                        </a:lnTo>
                        <a:lnTo>
                          <a:pt x="248" y="1140"/>
                        </a:lnTo>
                        <a:lnTo>
                          <a:pt x="245" y="1145"/>
                        </a:lnTo>
                        <a:lnTo>
                          <a:pt x="245" y="1148"/>
                        </a:lnTo>
                        <a:lnTo>
                          <a:pt x="244" y="1150"/>
                        </a:lnTo>
                        <a:lnTo>
                          <a:pt x="242" y="1151"/>
                        </a:lnTo>
                        <a:lnTo>
                          <a:pt x="240" y="1153"/>
                        </a:lnTo>
                        <a:lnTo>
                          <a:pt x="239" y="1154"/>
                        </a:lnTo>
                        <a:lnTo>
                          <a:pt x="239" y="1156"/>
                        </a:lnTo>
                        <a:lnTo>
                          <a:pt x="239" y="1158"/>
                        </a:lnTo>
                        <a:lnTo>
                          <a:pt x="239" y="1161"/>
                        </a:lnTo>
                        <a:lnTo>
                          <a:pt x="239" y="1164"/>
                        </a:lnTo>
                        <a:lnTo>
                          <a:pt x="237" y="1169"/>
                        </a:lnTo>
                        <a:lnTo>
                          <a:pt x="237" y="1172"/>
                        </a:lnTo>
                        <a:lnTo>
                          <a:pt x="237" y="1174"/>
                        </a:lnTo>
                        <a:lnTo>
                          <a:pt x="239" y="1175"/>
                        </a:lnTo>
                        <a:lnTo>
                          <a:pt x="239" y="1177"/>
                        </a:lnTo>
                        <a:lnTo>
                          <a:pt x="239" y="1178"/>
                        </a:lnTo>
                        <a:lnTo>
                          <a:pt x="237" y="1178"/>
                        </a:lnTo>
                        <a:lnTo>
                          <a:pt x="236" y="1178"/>
                        </a:lnTo>
                        <a:lnTo>
                          <a:pt x="236" y="1180"/>
                        </a:lnTo>
                        <a:lnTo>
                          <a:pt x="236" y="1181"/>
                        </a:lnTo>
                        <a:lnTo>
                          <a:pt x="236" y="1183"/>
                        </a:lnTo>
                        <a:lnTo>
                          <a:pt x="234" y="1183"/>
                        </a:lnTo>
                        <a:lnTo>
                          <a:pt x="234" y="1185"/>
                        </a:lnTo>
                        <a:lnTo>
                          <a:pt x="232" y="1186"/>
                        </a:lnTo>
                        <a:lnTo>
                          <a:pt x="232" y="1188"/>
                        </a:lnTo>
                        <a:lnTo>
                          <a:pt x="231" y="1189"/>
                        </a:lnTo>
                        <a:lnTo>
                          <a:pt x="229" y="1189"/>
                        </a:lnTo>
                        <a:lnTo>
                          <a:pt x="231" y="1189"/>
                        </a:lnTo>
                        <a:lnTo>
                          <a:pt x="229" y="1191"/>
                        </a:lnTo>
                        <a:lnTo>
                          <a:pt x="228" y="1191"/>
                        </a:lnTo>
                        <a:lnTo>
                          <a:pt x="228" y="1193"/>
                        </a:lnTo>
                        <a:lnTo>
                          <a:pt x="228" y="1196"/>
                        </a:lnTo>
                        <a:lnTo>
                          <a:pt x="226" y="1196"/>
                        </a:lnTo>
                        <a:lnTo>
                          <a:pt x="225" y="1196"/>
                        </a:lnTo>
                        <a:lnTo>
                          <a:pt x="223" y="1196"/>
                        </a:lnTo>
                        <a:lnTo>
                          <a:pt x="223" y="1199"/>
                        </a:lnTo>
                        <a:lnTo>
                          <a:pt x="221" y="1200"/>
                        </a:lnTo>
                        <a:lnTo>
                          <a:pt x="221" y="1202"/>
                        </a:lnTo>
                        <a:lnTo>
                          <a:pt x="223" y="1205"/>
                        </a:lnTo>
                        <a:lnTo>
                          <a:pt x="223" y="1207"/>
                        </a:lnTo>
                        <a:lnTo>
                          <a:pt x="221" y="1210"/>
                        </a:lnTo>
                        <a:lnTo>
                          <a:pt x="220" y="1212"/>
                        </a:lnTo>
                        <a:lnTo>
                          <a:pt x="220" y="1213"/>
                        </a:lnTo>
                        <a:lnTo>
                          <a:pt x="218" y="1215"/>
                        </a:lnTo>
                        <a:lnTo>
                          <a:pt x="217" y="1216"/>
                        </a:lnTo>
                        <a:lnTo>
                          <a:pt x="213" y="1216"/>
                        </a:lnTo>
                        <a:lnTo>
                          <a:pt x="212" y="1218"/>
                        </a:lnTo>
                        <a:lnTo>
                          <a:pt x="210" y="1218"/>
                        </a:lnTo>
                        <a:lnTo>
                          <a:pt x="209" y="1218"/>
                        </a:lnTo>
                        <a:lnTo>
                          <a:pt x="209" y="1219"/>
                        </a:lnTo>
                        <a:lnTo>
                          <a:pt x="207" y="1219"/>
                        </a:lnTo>
                        <a:lnTo>
                          <a:pt x="206" y="1221"/>
                        </a:lnTo>
                        <a:lnTo>
                          <a:pt x="202" y="1223"/>
                        </a:lnTo>
                        <a:lnTo>
                          <a:pt x="202" y="1224"/>
                        </a:lnTo>
                        <a:lnTo>
                          <a:pt x="201" y="1226"/>
                        </a:lnTo>
                        <a:lnTo>
                          <a:pt x="199" y="1226"/>
                        </a:lnTo>
                        <a:lnTo>
                          <a:pt x="198" y="1224"/>
                        </a:lnTo>
                        <a:lnTo>
                          <a:pt x="196" y="1224"/>
                        </a:lnTo>
                        <a:lnTo>
                          <a:pt x="196" y="1226"/>
                        </a:lnTo>
                        <a:lnTo>
                          <a:pt x="194" y="1227"/>
                        </a:lnTo>
                        <a:lnTo>
                          <a:pt x="193" y="1227"/>
                        </a:lnTo>
                        <a:lnTo>
                          <a:pt x="191" y="1229"/>
                        </a:lnTo>
                        <a:lnTo>
                          <a:pt x="190" y="1229"/>
                        </a:lnTo>
                        <a:lnTo>
                          <a:pt x="188" y="1229"/>
                        </a:lnTo>
                        <a:lnTo>
                          <a:pt x="187" y="1229"/>
                        </a:lnTo>
                        <a:lnTo>
                          <a:pt x="187" y="1227"/>
                        </a:lnTo>
                        <a:lnTo>
                          <a:pt x="185" y="1226"/>
                        </a:lnTo>
                        <a:lnTo>
                          <a:pt x="185" y="1223"/>
                        </a:lnTo>
                        <a:lnTo>
                          <a:pt x="183" y="1219"/>
                        </a:lnTo>
                        <a:lnTo>
                          <a:pt x="180" y="1218"/>
                        </a:lnTo>
                        <a:lnTo>
                          <a:pt x="180" y="1216"/>
                        </a:lnTo>
                        <a:lnTo>
                          <a:pt x="180" y="1215"/>
                        </a:lnTo>
                        <a:lnTo>
                          <a:pt x="179" y="1215"/>
                        </a:lnTo>
                        <a:lnTo>
                          <a:pt x="177" y="1215"/>
                        </a:lnTo>
                        <a:lnTo>
                          <a:pt x="175" y="1215"/>
                        </a:lnTo>
                        <a:lnTo>
                          <a:pt x="174" y="1215"/>
                        </a:lnTo>
                        <a:lnTo>
                          <a:pt x="172" y="1215"/>
                        </a:lnTo>
                        <a:lnTo>
                          <a:pt x="171" y="1213"/>
                        </a:lnTo>
                        <a:lnTo>
                          <a:pt x="169" y="1212"/>
                        </a:lnTo>
                        <a:lnTo>
                          <a:pt x="168" y="1212"/>
                        </a:lnTo>
                        <a:lnTo>
                          <a:pt x="166" y="1213"/>
                        </a:lnTo>
                        <a:lnTo>
                          <a:pt x="163" y="1213"/>
                        </a:lnTo>
                        <a:lnTo>
                          <a:pt x="161" y="1213"/>
                        </a:lnTo>
                        <a:lnTo>
                          <a:pt x="161" y="1212"/>
                        </a:lnTo>
                        <a:lnTo>
                          <a:pt x="160" y="1210"/>
                        </a:lnTo>
                        <a:lnTo>
                          <a:pt x="158" y="1210"/>
                        </a:lnTo>
                        <a:lnTo>
                          <a:pt x="156" y="1210"/>
                        </a:lnTo>
                        <a:lnTo>
                          <a:pt x="153" y="1210"/>
                        </a:lnTo>
                        <a:lnTo>
                          <a:pt x="150" y="1210"/>
                        </a:lnTo>
                        <a:lnTo>
                          <a:pt x="149" y="1212"/>
                        </a:lnTo>
                        <a:lnTo>
                          <a:pt x="147" y="1213"/>
                        </a:lnTo>
                        <a:lnTo>
                          <a:pt x="145" y="1216"/>
                        </a:lnTo>
                        <a:lnTo>
                          <a:pt x="144" y="1219"/>
                        </a:lnTo>
                        <a:lnTo>
                          <a:pt x="142" y="1223"/>
                        </a:lnTo>
                        <a:lnTo>
                          <a:pt x="141" y="1223"/>
                        </a:lnTo>
                        <a:lnTo>
                          <a:pt x="139" y="1224"/>
                        </a:lnTo>
                        <a:lnTo>
                          <a:pt x="137" y="1226"/>
                        </a:lnTo>
                        <a:lnTo>
                          <a:pt x="134" y="1229"/>
                        </a:lnTo>
                        <a:lnTo>
                          <a:pt x="133" y="1232"/>
                        </a:lnTo>
                        <a:lnTo>
                          <a:pt x="133" y="1234"/>
                        </a:lnTo>
                        <a:lnTo>
                          <a:pt x="131" y="1235"/>
                        </a:lnTo>
                        <a:lnTo>
                          <a:pt x="131" y="1237"/>
                        </a:lnTo>
                        <a:lnTo>
                          <a:pt x="130" y="1238"/>
                        </a:lnTo>
                        <a:lnTo>
                          <a:pt x="128" y="1238"/>
                        </a:lnTo>
                        <a:lnTo>
                          <a:pt x="126" y="1237"/>
                        </a:lnTo>
                        <a:lnTo>
                          <a:pt x="125" y="1234"/>
                        </a:lnTo>
                        <a:lnTo>
                          <a:pt x="123" y="1234"/>
                        </a:lnTo>
                        <a:lnTo>
                          <a:pt x="120" y="1232"/>
                        </a:lnTo>
                        <a:lnTo>
                          <a:pt x="118" y="1231"/>
                        </a:lnTo>
                        <a:lnTo>
                          <a:pt x="115" y="1227"/>
                        </a:lnTo>
                        <a:lnTo>
                          <a:pt x="114" y="1227"/>
                        </a:lnTo>
                        <a:lnTo>
                          <a:pt x="112" y="1224"/>
                        </a:lnTo>
                        <a:lnTo>
                          <a:pt x="107" y="1221"/>
                        </a:lnTo>
                        <a:lnTo>
                          <a:pt x="106" y="1221"/>
                        </a:lnTo>
                        <a:lnTo>
                          <a:pt x="104" y="1218"/>
                        </a:lnTo>
                        <a:lnTo>
                          <a:pt x="103" y="1216"/>
                        </a:lnTo>
                        <a:lnTo>
                          <a:pt x="103" y="1213"/>
                        </a:lnTo>
                        <a:lnTo>
                          <a:pt x="103" y="1212"/>
                        </a:lnTo>
                        <a:lnTo>
                          <a:pt x="103" y="1208"/>
                        </a:lnTo>
                        <a:lnTo>
                          <a:pt x="101" y="1205"/>
                        </a:lnTo>
                        <a:lnTo>
                          <a:pt x="101" y="1202"/>
                        </a:lnTo>
                        <a:lnTo>
                          <a:pt x="99" y="1200"/>
                        </a:lnTo>
                        <a:lnTo>
                          <a:pt x="99" y="1197"/>
                        </a:lnTo>
                        <a:lnTo>
                          <a:pt x="99" y="1196"/>
                        </a:lnTo>
                        <a:lnTo>
                          <a:pt x="99" y="1194"/>
                        </a:lnTo>
                        <a:lnTo>
                          <a:pt x="99" y="1191"/>
                        </a:lnTo>
                        <a:lnTo>
                          <a:pt x="98" y="1188"/>
                        </a:lnTo>
                        <a:lnTo>
                          <a:pt x="99" y="1186"/>
                        </a:lnTo>
                        <a:lnTo>
                          <a:pt x="98" y="1185"/>
                        </a:lnTo>
                        <a:lnTo>
                          <a:pt x="101" y="1183"/>
                        </a:lnTo>
                        <a:lnTo>
                          <a:pt x="103" y="1181"/>
                        </a:lnTo>
                        <a:lnTo>
                          <a:pt x="104" y="1181"/>
                        </a:lnTo>
                        <a:lnTo>
                          <a:pt x="106" y="1180"/>
                        </a:lnTo>
                        <a:lnTo>
                          <a:pt x="111" y="1175"/>
                        </a:lnTo>
                        <a:lnTo>
                          <a:pt x="112" y="1174"/>
                        </a:lnTo>
                        <a:lnTo>
                          <a:pt x="114" y="1174"/>
                        </a:lnTo>
                        <a:lnTo>
                          <a:pt x="115" y="1172"/>
                        </a:lnTo>
                        <a:lnTo>
                          <a:pt x="117" y="1172"/>
                        </a:lnTo>
                        <a:lnTo>
                          <a:pt x="118" y="1172"/>
                        </a:lnTo>
                        <a:lnTo>
                          <a:pt x="118" y="1170"/>
                        </a:lnTo>
                        <a:lnTo>
                          <a:pt x="118" y="1169"/>
                        </a:lnTo>
                        <a:lnTo>
                          <a:pt x="120" y="1166"/>
                        </a:lnTo>
                        <a:lnTo>
                          <a:pt x="120" y="1162"/>
                        </a:lnTo>
                        <a:lnTo>
                          <a:pt x="120" y="1159"/>
                        </a:lnTo>
                        <a:lnTo>
                          <a:pt x="122" y="1156"/>
                        </a:lnTo>
                        <a:lnTo>
                          <a:pt x="123" y="1153"/>
                        </a:lnTo>
                        <a:lnTo>
                          <a:pt x="123" y="1150"/>
                        </a:lnTo>
                        <a:lnTo>
                          <a:pt x="123" y="1145"/>
                        </a:lnTo>
                        <a:lnTo>
                          <a:pt x="123" y="1142"/>
                        </a:lnTo>
                        <a:lnTo>
                          <a:pt x="123" y="1137"/>
                        </a:lnTo>
                        <a:lnTo>
                          <a:pt x="125" y="1134"/>
                        </a:lnTo>
                        <a:lnTo>
                          <a:pt x="125" y="1129"/>
                        </a:lnTo>
                        <a:lnTo>
                          <a:pt x="125" y="1124"/>
                        </a:lnTo>
                        <a:lnTo>
                          <a:pt x="125" y="1118"/>
                        </a:lnTo>
                        <a:lnTo>
                          <a:pt x="125" y="1115"/>
                        </a:lnTo>
                        <a:lnTo>
                          <a:pt x="126" y="1113"/>
                        </a:lnTo>
                        <a:lnTo>
                          <a:pt x="126" y="1112"/>
                        </a:lnTo>
                        <a:lnTo>
                          <a:pt x="128" y="1110"/>
                        </a:lnTo>
                        <a:lnTo>
                          <a:pt x="130" y="1109"/>
                        </a:lnTo>
                        <a:lnTo>
                          <a:pt x="130" y="1105"/>
                        </a:lnTo>
                        <a:lnTo>
                          <a:pt x="130" y="1104"/>
                        </a:lnTo>
                        <a:lnTo>
                          <a:pt x="128" y="1104"/>
                        </a:lnTo>
                        <a:lnTo>
                          <a:pt x="125" y="1102"/>
                        </a:lnTo>
                        <a:lnTo>
                          <a:pt x="123" y="1102"/>
                        </a:lnTo>
                        <a:lnTo>
                          <a:pt x="123" y="1101"/>
                        </a:lnTo>
                        <a:lnTo>
                          <a:pt x="123" y="1099"/>
                        </a:lnTo>
                        <a:lnTo>
                          <a:pt x="125" y="1096"/>
                        </a:lnTo>
                        <a:lnTo>
                          <a:pt x="126" y="1094"/>
                        </a:lnTo>
                        <a:lnTo>
                          <a:pt x="128" y="1093"/>
                        </a:lnTo>
                        <a:lnTo>
                          <a:pt x="128" y="1090"/>
                        </a:lnTo>
                        <a:lnTo>
                          <a:pt x="128" y="1088"/>
                        </a:lnTo>
                        <a:lnTo>
                          <a:pt x="128" y="1085"/>
                        </a:lnTo>
                        <a:lnTo>
                          <a:pt x="128" y="1082"/>
                        </a:lnTo>
                        <a:lnTo>
                          <a:pt x="125" y="1082"/>
                        </a:lnTo>
                        <a:lnTo>
                          <a:pt x="125" y="1080"/>
                        </a:lnTo>
                        <a:lnTo>
                          <a:pt x="123" y="1078"/>
                        </a:lnTo>
                        <a:lnTo>
                          <a:pt x="123" y="1077"/>
                        </a:lnTo>
                        <a:lnTo>
                          <a:pt x="125" y="1077"/>
                        </a:lnTo>
                        <a:lnTo>
                          <a:pt x="126" y="1077"/>
                        </a:lnTo>
                        <a:lnTo>
                          <a:pt x="130" y="1075"/>
                        </a:lnTo>
                        <a:lnTo>
                          <a:pt x="131" y="1075"/>
                        </a:lnTo>
                        <a:lnTo>
                          <a:pt x="133" y="1074"/>
                        </a:lnTo>
                        <a:lnTo>
                          <a:pt x="133" y="1072"/>
                        </a:lnTo>
                        <a:lnTo>
                          <a:pt x="134" y="1071"/>
                        </a:lnTo>
                        <a:lnTo>
                          <a:pt x="134" y="1069"/>
                        </a:lnTo>
                        <a:lnTo>
                          <a:pt x="136" y="1066"/>
                        </a:lnTo>
                        <a:lnTo>
                          <a:pt x="137" y="1064"/>
                        </a:lnTo>
                        <a:lnTo>
                          <a:pt x="137" y="1063"/>
                        </a:lnTo>
                        <a:lnTo>
                          <a:pt x="137" y="1061"/>
                        </a:lnTo>
                        <a:lnTo>
                          <a:pt x="137" y="1058"/>
                        </a:lnTo>
                        <a:lnTo>
                          <a:pt x="134" y="1058"/>
                        </a:lnTo>
                        <a:lnTo>
                          <a:pt x="131" y="1058"/>
                        </a:lnTo>
                        <a:lnTo>
                          <a:pt x="130" y="1058"/>
                        </a:lnTo>
                        <a:lnTo>
                          <a:pt x="126" y="1058"/>
                        </a:lnTo>
                        <a:lnTo>
                          <a:pt x="125" y="1056"/>
                        </a:lnTo>
                        <a:lnTo>
                          <a:pt x="122" y="1056"/>
                        </a:lnTo>
                        <a:lnTo>
                          <a:pt x="120" y="1056"/>
                        </a:lnTo>
                        <a:lnTo>
                          <a:pt x="118" y="1056"/>
                        </a:lnTo>
                        <a:lnTo>
                          <a:pt x="117" y="1056"/>
                        </a:lnTo>
                        <a:lnTo>
                          <a:pt x="115" y="1058"/>
                        </a:lnTo>
                        <a:lnTo>
                          <a:pt x="114" y="1058"/>
                        </a:lnTo>
                        <a:lnTo>
                          <a:pt x="109" y="1056"/>
                        </a:lnTo>
                        <a:lnTo>
                          <a:pt x="107" y="1056"/>
                        </a:lnTo>
                        <a:lnTo>
                          <a:pt x="106" y="1055"/>
                        </a:lnTo>
                        <a:lnTo>
                          <a:pt x="106" y="1053"/>
                        </a:lnTo>
                        <a:lnTo>
                          <a:pt x="106" y="1048"/>
                        </a:lnTo>
                        <a:lnTo>
                          <a:pt x="107" y="1047"/>
                        </a:lnTo>
                        <a:lnTo>
                          <a:pt x="107" y="1045"/>
                        </a:lnTo>
                        <a:lnTo>
                          <a:pt x="109" y="1042"/>
                        </a:lnTo>
                        <a:lnTo>
                          <a:pt x="107" y="1039"/>
                        </a:lnTo>
                        <a:lnTo>
                          <a:pt x="107" y="1036"/>
                        </a:lnTo>
                        <a:lnTo>
                          <a:pt x="109" y="1034"/>
                        </a:lnTo>
                        <a:lnTo>
                          <a:pt x="109" y="1033"/>
                        </a:lnTo>
                        <a:lnTo>
                          <a:pt x="112" y="1031"/>
                        </a:lnTo>
                        <a:lnTo>
                          <a:pt x="114" y="1029"/>
                        </a:lnTo>
                        <a:lnTo>
                          <a:pt x="115" y="1026"/>
                        </a:lnTo>
                        <a:lnTo>
                          <a:pt x="115" y="1021"/>
                        </a:lnTo>
                        <a:lnTo>
                          <a:pt x="117" y="1018"/>
                        </a:lnTo>
                        <a:lnTo>
                          <a:pt x="117" y="1017"/>
                        </a:lnTo>
                        <a:lnTo>
                          <a:pt x="117" y="1015"/>
                        </a:lnTo>
                        <a:lnTo>
                          <a:pt x="117" y="1014"/>
                        </a:lnTo>
                        <a:lnTo>
                          <a:pt x="115" y="1010"/>
                        </a:lnTo>
                        <a:lnTo>
                          <a:pt x="114" y="1010"/>
                        </a:lnTo>
                        <a:lnTo>
                          <a:pt x="112" y="1006"/>
                        </a:lnTo>
                        <a:lnTo>
                          <a:pt x="111" y="1004"/>
                        </a:lnTo>
                        <a:lnTo>
                          <a:pt x="109" y="1002"/>
                        </a:lnTo>
                        <a:lnTo>
                          <a:pt x="107" y="1001"/>
                        </a:lnTo>
                        <a:lnTo>
                          <a:pt x="106" y="1001"/>
                        </a:lnTo>
                        <a:lnTo>
                          <a:pt x="106" y="1002"/>
                        </a:lnTo>
                        <a:lnTo>
                          <a:pt x="103" y="999"/>
                        </a:lnTo>
                        <a:lnTo>
                          <a:pt x="101" y="998"/>
                        </a:lnTo>
                        <a:lnTo>
                          <a:pt x="99" y="996"/>
                        </a:lnTo>
                        <a:lnTo>
                          <a:pt x="98" y="996"/>
                        </a:lnTo>
                        <a:lnTo>
                          <a:pt x="96" y="993"/>
                        </a:lnTo>
                        <a:lnTo>
                          <a:pt x="95" y="993"/>
                        </a:lnTo>
                        <a:lnTo>
                          <a:pt x="93" y="993"/>
                        </a:lnTo>
                        <a:lnTo>
                          <a:pt x="92" y="993"/>
                        </a:lnTo>
                        <a:lnTo>
                          <a:pt x="87" y="995"/>
                        </a:lnTo>
                        <a:lnTo>
                          <a:pt x="85" y="996"/>
                        </a:lnTo>
                        <a:lnTo>
                          <a:pt x="84" y="996"/>
                        </a:lnTo>
                        <a:lnTo>
                          <a:pt x="82" y="999"/>
                        </a:lnTo>
                        <a:lnTo>
                          <a:pt x="82" y="1001"/>
                        </a:lnTo>
                        <a:lnTo>
                          <a:pt x="80" y="1002"/>
                        </a:lnTo>
                        <a:lnTo>
                          <a:pt x="80" y="1004"/>
                        </a:lnTo>
                        <a:lnTo>
                          <a:pt x="79" y="1006"/>
                        </a:lnTo>
                        <a:lnTo>
                          <a:pt x="77" y="1007"/>
                        </a:lnTo>
                        <a:lnTo>
                          <a:pt x="76" y="1009"/>
                        </a:lnTo>
                        <a:lnTo>
                          <a:pt x="73" y="1012"/>
                        </a:lnTo>
                        <a:lnTo>
                          <a:pt x="71" y="1012"/>
                        </a:lnTo>
                        <a:lnTo>
                          <a:pt x="69" y="1014"/>
                        </a:lnTo>
                        <a:lnTo>
                          <a:pt x="68" y="1014"/>
                        </a:lnTo>
                        <a:lnTo>
                          <a:pt x="66" y="1014"/>
                        </a:lnTo>
                        <a:lnTo>
                          <a:pt x="61" y="1012"/>
                        </a:lnTo>
                        <a:lnTo>
                          <a:pt x="55" y="1012"/>
                        </a:lnTo>
                        <a:lnTo>
                          <a:pt x="50" y="1014"/>
                        </a:lnTo>
                        <a:lnTo>
                          <a:pt x="46" y="1014"/>
                        </a:lnTo>
                        <a:lnTo>
                          <a:pt x="41" y="1015"/>
                        </a:lnTo>
                        <a:lnTo>
                          <a:pt x="34" y="1020"/>
                        </a:lnTo>
                        <a:lnTo>
                          <a:pt x="31" y="1021"/>
                        </a:lnTo>
                        <a:lnTo>
                          <a:pt x="28" y="1023"/>
                        </a:lnTo>
                        <a:lnTo>
                          <a:pt x="27" y="1025"/>
                        </a:lnTo>
                        <a:lnTo>
                          <a:pt x="25" y="1025"/>
                        </a:lnTo>
                        <a:lnTo>
                          <a:pt x="22" y="1023"/>
                        </a:lnTo>
                        <a:lnTo>
                          <a:pt x="12" y="1023"/>
                        </a:lnTo>
                        <a:lnTo>
                          <a:pt x="8" y="1025"/>
                        </a:lnTo>
                        <a:lnTo>
                          <a:pt x="4" y="1023"/>
                        </a:lnTo>
                        <a:lnTo>
                          <a:pt x="3" y="1023"/>
                        </a:lnTo>
                        <a:lnTo>
                          <a:pt x="1" y="1023"/>
                        </a:lnTo>
                        <a:lnTo>
                          <a:pt x="1" y="1020"/>
                        </a:lnTo>
                        <a:lnTo>
                          <a:pt x="0" y="1020"/>
                        </a:lnTo>
                        <a:lnTo>
                          <a:pt x="3" y="1018"/>
                        </a:lnTo>
                        <a:lnTo>
                          <a:pt x="3" y="1017"/>
                        </a:lnTo>
                        <a:lnTo>
                          <a:pt x="4" y="1017"/>
                        </a:lnTo>
                        <a:lnTo>
                          <a:pt x="4" y="1015"/>
                        </a:lnTo>
                        <a:lnTo>
                          <a:pt x="6" y="1014"/>
                        </a:lnTo>
                        <a:lnTo>
                          <a:pt x="6" y="1010"/>
                        </a:lnTo>
                        <a:lnTo>
                          <a:pt x="6" y="1009"/>
                        </a:lnTo>
                        <a:lnTo>
                          <a:pt x="8" y="999"/>
                        </a:lnTo>
                        <a:lnTo>
                          <a:pt x="11" y="995"/>
                        </a:lnTo>
                        <a:lnTo>
                          <a:pt x="14" y="991"/>
                        </a:lnTo>
                        <a:lnTo>
                          <a:pt x="15" y="988"/>
                        </a:lnTo>
                        <a:lnTo>
                          <a:pt x="22" y="983"/>
                        </a:lnTo>
                        <a:lnTo>
                          <a:pt x="23" y="983"/>
                        </a:lnTo>
                        <a:lnTo>
                          <a:pt x="25" y="983"/>
                        </a:lnTo>
                        <a:lnTo>
                          <a:pt x="27" y="982"/>
                        </a:lnTo>
                        <a:lnTo>
                          <a:pt x="31" y="982"/>
                        </a:lnTo>
                        <a:lnTo>
                          <a:pt x="36" y="980"/>
                        </a:lnTo>
                        <a:lnTo>
                          <a:pt x="38" y="979"/>
                        </a:lnTo>
                        <a:lnTo>
                          <a:pt x="41" y="979"/>
                        </a:lnTo>
                        <a:lnTo>
                          <a:pt x="42" y="979"/>
                        </a:lnTo>
                        <a:lnTo>
                          <a:pt x="47" y="977"/>
                        </a:lnTo>
                        <a:lnTo>
                          <a:pt x="50" y="976"/>
                        </a:lnTo>
                        <a:lnTo>
                          <a:pt x="55" y="966"/>
                        </a:lnTo>
                        <a:lnTo>
                          <a:pt x="55" y="964"/>
                        </a:lnTo>
                        <a:lnTo>
                          <a:pt x="54" y="963"/>
                        </a:lnTo>
                        <a:lnTo>
                          <a:pt x="52" y="963"/>
                        </a:lnTo>
                        <a:lnTo>
                          <a:pt x="49" y="960"/>
                        </a:lnTo>
                        <a:lnTo>
                          <a:pt x="46" y="958"/>
                        </a:lnTo>
                        <a:lnTo>
                          <a:pt x="44" y="956"/>
                        </a:lnTo>
                        <a:lnTo>
                          <a:pt x="42" y="956"/>
                        </a:lnTo>
                        <a:lnTo>
                          <a:pt x="41" y="955"/>
                        </a:lnTo>
                        <a:lnTo>
                          <a:pt x="39" y="953"/>
                        </a:lnTo>
                        <a:lnTo>
                          <a:pt x="38" y="947"/>
                        </a:lnTo>
                        <a:lnTo>
                          <a:pt x="38" y="945"/>
                        </a:lnTo>
                        <a:lnTo>
                          <a:pt x="38" y="942"/>
                        </a:lnTo>
                        <a:lnTo>
                          <a:pt x="39" y="937"/>
                        </a:lnTo>
                        <a:lnTo>
                          <a:pt x="49" y="931"/>
                        </a:lnTo>
                        <a:lnTo>
                          <a:pt x="65" y="918"/>
                        </a:lnTo>
                        <a:lnTo>
                          <a:pt x="66" y="917"/>
                        </a:lnTo>
                        <a:lnTo>
                          <a:pt x="68" y="915"/>
                        </a:lnTo>
                        <a:lnTo>
                          <a:pt x="69" y="914"/>
                        </a:lnTo>
                        <a:lnTo>
                          <a:pt x="79" y="906"/>
                        </a:lnTo>
                        <a:lnTo>
                          <a:pt x="82" y="903"/>
                        </a:lnTo>
                        <a:lnTo>
                          <a:pt x="84" y="903"/>
                        </a:lnTo>
                        <a:lnTo>
                          <a:pt x="84" y="901"/>
                        </a:lnTo>
                        <a:lnTo>
                          <a:pt x="88" y="896"/>
                        </a:lnTo>
                        <a:lnTo>
                          <a:pt x="92" y="893"/>
                        </a:lnTo>
                        <a:lnTo>
                          <a:pt x="95" y="888"/>
                        </a:lnTo>
                        <a:lnTo>
                          <a:pt x="95" y="887"/>
                        </a:lnTo>
                        <a:lnTo>
                          <a:pt x="96" y="887"/>
                        </a:lnTo>
                        <a:lnTo>
                          <a:pt x="101" y="877"/>
                        </a:lnTo>
                        <a:lnTo>
                          <a:pt x="101" y="873"/>
                        </a:lnTo>
                        <a:lnTo>
                          <a:pt x="101" y="863"/>
                        </a:lnTo>
                        <a:lnTo>
                          <a:pt x="103" y="860"/>
                        </a:lnTo>
                        <a:lnTo>
                          <a:pt x="107" y="857"/>
                        </a:lnTo>
                        <a:lnTo>
                          <a:pt x="114" y="858"/>
                        </a:lnTo>
                        <a:lnTo>
                          <a:pt x="125" y="861"/>
                        </a:lnTo>
                        <a:lnTo>
                          <a:pt x="133" y="865"/>
                        </a:lnTo>
                        <a:lnTo>
                          <a:pt x="136" y="868"/>
                        </a:lnTo>
                        <a:lnTo>
                          <a:pt x="137" y="868"/>
                        </a:lnTo>
                        <a:lnTo>
                          <a:pt x="139" y="868"/>
                        </a:lnTo>
                        <a:lnTo>
                          <a:pt x="141" y="868"/>
                        </a:lnTo>
                        <a:lnTo>
                          <a:pt x="142" y="865"/>
                        </a:lnTo>
                        <a:lnTo>
                          <a:pt x="141" y="860"/>
                        </a:lnTo>
                        <a:lnTo>
                          <a:pt x="137" y="858"/>
                        </a:lnTo>
                        <a:lnTo>
                          <a:pt x="137" y="857"/>
                        </a:lnTo>
                        <a:lnTo>
                          <a:pt x="136" y="855"/>
                        </a:lnTo>
                        <a:lnTo>
                          <a:pt x="131" y="849"/>
                        </a:lnTo>
                        <a:lnTo>
                          <a:pt x="131" y="846"/>
                        </a:lnTo>
                        <a:lnTo>
                          <a:pt x="130" y="844"/>
                        </a:lnTo>
                        <a:lnTo>
                          <a:pt x="130" y="841"/>
                        </a:lnTo>
                        <a:lnTo>
                          <a:pt x="123" y="827"/>
                        </a:lnTo>
                        <a:lnTo>
                          <a:pt x="123" y="819"/>
                        </a:lnTo>
                        <a:lnTo>
                          <a:pt x="123" y="812"/>
                        </a:lnTo>
                        <a:lnTo>
                          <a:pt x="122" y="808"/>
                        </a:lnTo>
                        <a:lnTo>
                          <a:pt x="122" y="803"/>
                        </a:lnTo>
                        <a:lnTo>
                          <a:pt x="123" y="797"/>
                        </a:lnTo>
                        <a:lnTo>
                          <a:pt x="125" y="792"/>
                        </a:lnTo>
                        <a:lnTo>
                          <a:pt x="128" y="787"/>
                        </a:lnTo>
                        <a:lnTo>
                          <a:pt x="128" y="785"/>
                        </a:lnTo>
                        <a:lnTo>
                          <a:pt x="131" y="779"/>
                        </a:lnTo>
                        <a:lnTo>
                          <a:pt x="136" y="760"/>
                        </a:lnTo>
                        <a:lnTo>
                          <a:pt x="139" y="757"/>
                        </a:lnTo>
                        <a:lnTo>
                          <a:pt x="141" y="755"/>
                        </a:lnTo>
                        <a:lnTo>
                          <a:pt x="147" y="749"/>
                        </a:lnTo>
                        <a:lnTo>
                          <a:pt x="150" y="744"/>
                        </a:lnTo>
                        <a:lnTo>
                          <a:pt x="155" y="739"/>
                        </a:lnTo>
                        <a:lnTo>
                          <a:pt x="158" y="732"/>
                        </a:lnTo>
                        <a:lnTo>
                          <a:pt x="156" y="725"/>
                        </a:lnTo>
                        <a:lnTo>
                          <a:pt x="150" y="717"/>
                        </a:lnTo>
                        <a:lnTo>
                          <a:pt x="149" y="713"/>
                        </a:lnTo>
                        <a:lnTo>
                          <a:pt x="147" y="705"/>
                        </a:lnTo>
                        <a:lnTo>
                          <a:pt x="145" y="703"/>
                        </a:lnTo>
                        <a:lnTo>
                          <a:pt x="144" y="698"/>
                        </a:lnTo>
                        <a:lnTo>
                          <a:pt x="142" y="695"/>
                        </a:lnTo>
                        <a:lnTo>
                          <a:pt x="139" y="690"/>
                        </a:lnTo>
                        <a:lnTo>
                          <a:pt x="137" y="687"/>
                        </a:lnTo>
                        <a:lnTo>
                          <a:pt x="136" y="687"/>
                        </a:lnTo>
                        <a:lnTo>
                          <a:pt x="134" y="684"/>
                        </a:lnTo>
                        <a:lnTo>
                          <a:pt x="131" y="682"/>
                        </a:lnTo>
                        <a:lnTo>
                          <a:pt x="130" y="681"/>
                        </a:lnTo>
                        <a:lnTo>
                          <a:pt x="126" y="679"/>
                        </a:lnTo>
                        <a:lnTo>
                          <a:pt x="125" y="678"/>
                        </a:lnTo>
                        <a:lnTo>
                          <a:pt x="115" y="675"/>
                        </a:lnTo>
                        <a:lnTo>
                          <a:pt x="114" y="673"/>
                        </a:lnTo>
                        <a:lnTo>
                          <a:pt x="114" y="671"/>
                        </a:lnTo>
                        <a:lnTo>
                          <a:pt x="111" y="670"/>
                        </a:lnTo>
                        <a:lnTo>
                          <a:pt x="109" y="670"/>
                        </a:lnTo>
                        <a:lnTo>
                          <a:pt x="107" y="668"/>
                        </a:lnTo>
                        <a:lnTo>
                          <a:pt x="106" y="668"/>
                        </a:lnTo>
                        <a:lnTo>
                          <a:pt x="101" y="657"/>
                        </a:lnTo>
                        <a:lnTo>
                          <a:pt x="99" y="652"/>
                        </a:lnTo>
                        <a:lnTo>
                          <a:pt x="98" y="649"/>
                        </a:lnTo>
                        <a:lnTo>
                          <a:pt x="99" y="643"/>
                        </a:lnTo>
                        <a:lnTo>
                          <a:pt x="101" y="637"/>
                        </a:lnTo>
                        <a:lnTo>
                          <a:pt x="99" y="621"/>
                        </a:lnTo>
                        <a:lnTo>
                          <a:pt x="101" y="619"/>
                        </a:lnTo>
                        <a:lnTo>
                          <a:pt x="103" y="616"/>
                        </a:lnTo>
                        <a:lnTo>
                          <a:pt x="104" y="614"/>
                        </a:lnTo>
                        <a:lnTo>
                          <a:pt x="106" y="614"/>
                        </a:lnTo>
                        <a:lnTo>
                          <a:pt x="107" y="614"/>
                        </a:lnTo>
                        <a:lnTo>
                          <a:pt x="109" y="614"/>
                        </a:lnTo>
                        <a:lnTo>
                          <a:pt x="111" y="614"/>
                        </a:lnTo>
                        <a:lnTo>
                          <a:pt x="112" y="614"/>
                        </a:lnTo>
                        <a:lnTo>
                          <a:pt x="118" y="614"/>
                        </a:lnTo>
                        <a:lnTo>
                          <a:pt x="125" y="614"/>
                        </a:lnTo>
                        <a:lnTo>
                          <a:pt x="130" y="613"/>
                        </a:lnTo>
                        <a:lnTo>
                          <a:pt x="137" y="613"/>
                        </a:lnTo>
                        <a:lnTo>
                          <a:pt x="145" y="613"/>
                        </a:lnTo>
                        <a:lnTo>
                          <a:pt x="149" y="611"/>
                        </a:lnTo>
                        <a:lnTo>
                          <a:pt x="155" y="611"/>
                        </a:lnTo>
                        <a:lnTo>
                          <a:pt x="158" y="610"/>
                        </a:lnTo>
                        <a:lnTo>
                          <a:pt x="163" y="610"/>
                        </a:lnTo>
                        <a:lnTo>
                          <a:pt x="164" y="608"/>
                        </a:lnTo>
                        <a:lnTo>
                          <a:pt x="166" y="608"/>
                        </a:lnTo>
                        <a:lnTo>
                          <a:pt x="168" y="608"/>
                        </a:lnTo>
                        <a:lnTo>
                          <a:pt x="174" y="608"/>
                        </a:lnTo>
                        <a:lnTo>
                          <a:pt x="175" y="610"/>
                        </a:lnTo>
                        <a:lnTo>
                          <a:pt x="180" y="611"/>
                        </a:lnTo>
                        <a:lnTo>
                          <a:pt x="183" y="613"/>
                        </a:lnTo>
                        <a:lnTo>
                          <a:pt x="194" y="624"/>
                        </a:lnTo>
                        <a:lnTo>
                          <a:pt x="199" y="625"/>
                        </a:lnTo>
                        <a:lnTo>
                          <a:pt x="202" y="627"/>
                        </a:lnTo>
                        <a:lnTo>
                          <a:pt x="206" y="629"/>
                        </a:lnTo>
                        <a:lnTo>
                          <a:pt x="209" y="629"/>
                        </a:lnTo>
                        <a:lnTo>
                          <a:pt x="220" y="629"/>
                        </a:lnTo>
                        <a:lnTo>
                          <a:pt x="223" y="625"/>
                        </a:lnTo>
                        <a:lnTo>
                          <a:pt x="231" y="622"/>
                        </a:lnTo>
                        <a:lnTo>
                          <a:pt x="234" y="621"/>
                        </a:lnTo>
                        <a:lnTo>
                          <a:pt x="236" y="619"/>
                        </a:lnTo>
                        <a:lnTo>
                          <a:pt x="237" y="618"/>
                        </a:lnTo>
                        <a:lnTo>
                          <a:pt x="242" y="614"/>
                        </a:lnTo>
                        <a:lnTo>
                          <a:pt x="247" y="611"/>
                        </a:lnTo>
                        <a:lnTo>
                          <a:pt x="248" y="611"/>
                        </a:lnTo>
                        <a:lnTo>
                          <a:pt x="250" y="610"/>
                        </a:lnTo>
                        <a:lnTo>
                          <a:pt x="253" y="605"/>
                        </a:lnTo>
                        <a:lnTo>
                          <a:pt x="253" y="603"/>
                        </a:lnTo>
                        <a:lnTo>
                          <a:pt x="258" y="594"/>
                        </a:lnTo>
                        <a:lnTo>
                          <a:pt x="261" y="579"/>
                        </a:lnTo>
                        <a:lnTo>
                          <a:pt x="261" y="575"/>
                        </a:lnTo>
                        <a:lnTo>
                          <a:pt x="261" y="565"/>
                        </a:lnTo>
                        <a:lnTo>
                          <a:pt x="261" y="562"/>
                        </a:lnTo>
                        <a:lnTo>
                          <a:pt x="258" y="551"/>
                        </a:lnTo>
                        <a:lnTo>
                          <a:pt x="255" y="538"/>
                        </a:lnTo>
                        <a:lnTo>
                          <a:pt x="255" y="530"/>
                        </a:lnTo>
                        <a:lnTo>
                          <a:pt x="255" y="524"/>
                        </a:lnTo>
                        <a:lnTo>
                          <a:pt x="255" y="519"/>
                        </a:lnTo>
                        <a:lnTo>
                          <a:pt x="255" y="518"/>
                        </a:lnTo>
                        <a:lnTo>
                          <a:pt x="256" y="507"/>
                        </a:lnTo>
                        <a:lnTo>
                          <a:pt x="258" y="502"/>
                        </a:lnTo>
                        <a:lnTo>
                          <a:pt x="258" y="497"/>
                        </a:lnTo>
                        <a:lnTo>
                          <a:pt x="258" y="496"/>
                        </a:lnTo>
                        <a:lnTo>
                          <a:pt x="258" y="492"/>
                        </a:lnTo>
                        <a:lnTo>
                          <a:pt x="259" y="483"/>
                        </a:lnTo>
                        <a:lnTo>
                          <a:pt x="259" y="481"/>
                        </a:lnTo>
                        <a:lnTo>
                          <a:pt x="259" y="478"/>
                        </a:lnTo>
                        <a:lnTo>
                          <a:pt x="258" y="477"/>
                        </a:lnTo>
                        <a:lnTo>
                          <a:pt x="258" y="473"/>
                        </a:lnTo>
                        <a:lnTo>
                          <a:pt x="256" y="470"/>
                        </a:lnTo>
                        <a:lnTo>
                          <a:pt x="255" y="467"/>
                        </a:lnTo>
                        <a:lnTo>
                          <a:pt x="255" y="465"/>
                        </a:lnTo>
                        <a:lnTo>
                          <a:pt x="252" y="464"/>
                        </a:lnTo>
                        <a:lnTo>
                          <a:pt x="244" y="456"/>
                        </a:lnTo>
                        <a:lnTo>
                          <a:pt x="232" y="443"/>
                        </a:lnTo>
                        <a:lnTo>
                          <a:pt x="232" y="442"/>
                        </a:lnTo>
                        <a:lnTo>
                          <a:pt x="228" y="437"/>
                        </a:lnTo>
                        <a:lnTo>
                          <a:pt x="223" y="424"/>
                        </a:lnTo>
                        <a:lnTo>
                          <a:pt x="223" y="423"/>
                        </a:lnTo>
                        <a:lnTo>
                          <a:pt x="221" y="420"/>
                        </a:lnTo>
                        <a:lnTo>
                          <a:pt x="218" y="412"/>
                        </a:lnTo>
                        <a:lnTo>
                          <a:pt x="215" y="405"/>
                        </a:lnTo>
                        <a:lnTo>
                          <a:pt x="212" y="402"/>
                        </a:lnTo>
                        <a:lnTo>
                          <a:pt x="209" y="394"/>
                        </a:lnTo>
                        <a:lnTo>
                          <a:pt x="202" y="386"/>
                        </a:lnTo>
                        <a:lnTo>
                          <a:pt x="196" y="380"/>
                        </a:lnTo>
                        <a:lnTo>
                          <a:pt x="185" y="372"/>
                        </a:lnTo>
                        <a:lnTo>
                          <a:pt x="183" y="370"/>
                        </a:lnTo>
                        <a:lnTo>
                          <a:pt x="182" y="367"/>
                        </a:lnTo>
                        <a:lnTo>
                          <a:pt x="182" y="364"/>
                        </a:lnTo>
                        <a:lnTo>
                          <a:pt x="182" y="362"/>
                        </a:lnTo>
                        <a:lnTo>
                          <a:pt x="182" y="359"/>
                        </a:lnTo>
                        <a:lnTo>
                          <a:pt x="185" y="356"/>
                        </a:lnTo>
                        <a:lnTo>
                          <a:pt x="188" y="353"/>
                        </a:lnTo>
                        <a:lnTo>
                          <a:pt x="190" y="351"/>
                        </a:lnTo>
                        <a:lnTo>
                          <a:pt x="193" y="350"/>
                        </a:lnTo>
                        <a:lnTo>
                          <a:pt x="196" y="348"/>
                        </a:lnTo>
                        <a:lnTo>
                          <a:pt x="202" y="343"/>
                        </a:lnTo>
                        <a:lnTo>
                          <a:pt x="204" y="343"/>
                        </a:lnTo>
                        <a:lnTo>
                          <a:pt x="213" y="336"/>
                        </a:lnTo>
                        <a:lnTo>
                          <a:pt x="218" y="334"/>
                        </a:lnTo>
                        <a:lnTo>
                          <a:pt x="225" y="331"/>
                        </a:lnTo>
                        <a:lnTo>
                          <a:pt x="229" y="331"/>
                        </a:lnTo>
                        <a:lnTo>
                          <a:pt x="231" y="331"/>
                        </a:lnTo>
                        <a:lnTo>
                          <a:pt x="232" y="331"/>
                        </a:lnTo>
                        <a:lnTo>
                          <a:pt x="239" y="332"/>
                        </a:lnTo>
                        <a:lnTo>
                          <a:pt x="245" y="332"/>
                        </a:lnTo>
                        <a:lnTo>
                          <a:pt x="247" y="331"/>
                        </a:lnTo>
                        <a:lnTo>
                          <a:pt x="250" y="331"/>
                        </a:lnTo>
                        <a:lnTo>
                          <a:pt x="252" y="328"/>
                        </a:lnTo>
                        <a:lnTo>
                          <a:pt x="252" y="326"/>
                        </a:lnTo>
                        <a:lnTo>
                          <a:pt x="252" y="321"/>
                        </a:lnTo>
                        <a:lnTo>
                          <a:pt x="250" y="318"/>
                        </a:lnTo>
                        <a:lnTo>
                          <a:pt x="248" y="318"/>
                        </a:lnTo>
                        <a:lnTo>
                          <a:pt x="247" y="317"/>
                        </a:lnTo>
                        <a:lnTo>
                          <a:pt x="244" y="313"/>
                        </a:lnTo>
                        <a:lnTo>
                          <a:pt x="242" y="310"/>
                        </a:lnTo>
                        <a:lnTo>
                          <a:pt x="240" y="307"/>
                        </a:lnTo>
                        <a:lnTo>
                          <a:pt x="240" y="304"/>
                        </a:lnTo>
                        <a:lnTo>
                          <a:pt x="242" y="301"/>
                        </a:lnTo>
                        <a:lnTo>
                          <a:pt x="245" y="299"/>
                        </a:lnTo>
                        <a:lnTo>
                          <a:pt x="245" y="298"/>
                        </a:lnTo>
                        <a:lnTo>
                          <a:pt x="247" y="298"/>
                        </a:lnTo>
                        <a:lnTo>
                          <a:pt x="250" y="294"/>
                        </a:lnTo>
                        <a:lnTo>
                          <a:pt x="252" y="293"/>
                        </a:lnTo>
                        <a:lnTo>
                          <a:pt x="253" y="291"/>
                        </a:lnTo>
                        <a:lnTo>
                          <a:pt x="255" y="291"/>
                        </a:lnTo>
                        <a:lnTo>
                          <a:pt x="264" y="283"/>
                        </a:lnTo>
                        <a:lnTo>
                          <a:pt x="266" y="283"/>
                        </a:lnTo>
                        <a:lnTo>
                          <a:pt x="267" y="282"/>
                        </a:lnTo>
                        <a:lnTo>
                          <a:pt x="269" y="280"/>
                        </a:lnTo>
                        <a:lnTo>
                          <a:pt x="274" y="279"/>
                        </a:lnTo>
                        <a:lnTo>
                          <a:pt x="275" y="277"/>
                        </a:lnTo>
                        <a:lnTo>
                          <a:pt x="278" y="275"/>
                        </a:lnTo>
                        <a:lnTo>
                          <a:pt x="280" y="275"/>
                        </a:lnTo>
                        <a:lnTo>
                          <a:pt x="283" y="275"/>
                        </a:lnTo>
                        <a:lnTo>
                          <a:pt x="283" y="274"/>
                        </a:lnTo>
                        <a:lnTo>
                          <a:pt x="291" y="272"/>
                        </a:lnTo>
                        <a:lnTo>
                          <a:pt x="301" y="266"/>
                        </a:lnTo>
                        <a:lnTo>
                          <a:pt x="302" y="266"/>
                        </a:lnTo>
                        <a:lnTo>
                          <a:pt x="305" y="264"/>
                        </a:lnTo>
                        <a:lnTo>
                          <a:pt x="307" y="263"/>
                        </a:lnTo>
                        <a:lnTo>
                          <a:pt x="310" y="258"/>
                        </a:lnTo>
                        <a:lnTo>
                          <a:pt x="312" y="256"/>
                        </a:lnTo>
                        <a:lnTo>
                          <a:pt x="315" y="253"/>
                        </a:lnTo>
                        <a:lnTo>
                          <a:pt x="316" y="252"/>
                        </a:lnTo>
                        <a:lnTo>
                          <a:pt x="318" y="250"/>
                        </a:lnTo>
                        <a:lnTo>
                          <a:pt x="326" y="242"/>
                        </a:lnTo>
                        <a:lnTo>
                          <a:pt x="329" y="231"/>
                        </a:lnTo>
                        <a:lnTo>
                          <a:pt x="332" y="225"/>
                        </a:lnTo>
                        <a:lnTo>
                          <a:pt x="332" y="221"/>
                        </a:lnTo>
                        <a:lnTo>
                          <a:pt x="334" y="212"/>
                        </a:lnTo>
                        <a:lnTo>
                          <a:pt x="337" y="206"/>
                        </a:lnTo>
                        <a:lnTo>
                          <a:pt x="337" y="204"/>
                        </a:lnTo>
                        <a:lnTo>
                          <a:pt x="343" y="199"/>
                        </a:lnTo>
                        <a:lnTo>
                          <a:pt x="347" y="198"/>
                        </a:lnTo>
                        <a:lnTo>
                          <a:pt x="348" y="198"/>
                        </a:lnTo>
                        <a:lnTo>
                          <a:pt x="353" y="196"/>
                        </a:lnTo>
                        <a:lnTo>
                          <a:pt x="359" y="195"/>
                        </a:lnTo>
                        <a:lnTo>
                          <a:pt x="364" y="190"/>
                        </a:lnTo>
                        <a:lnTo>
                          <a:pt x="366" y="188"/>
                        </a:lnTo>
                        <a:lnTo>
                          <a:pt x="369" y="185"/>
                        </a:lnTo>
                        <a:lnTo>
                          <a:pt x="370" y="183"/>
                        </a:lnTo>
                        <a:lnTo>
                          <a:pt x="378" y="180"/>
                        </a:lnTo>
                        <a:lnTo>
                          <a:pt x="388" y="177"/>
                        </a:lnTo>
                        <a:lnTo>
                          <a:pt x="389" y="177"/>
                        </a:lnTo>
                        <a:lnTo>
                          <a:pt x="391" y="177"/>
                        </a:lnTo>
                        <a:lnTo>
                          <a:pt x="397" y="176"/>
                        </a:lnTo>
                        <a:lnTo>
                          <a:pt x="402" y="172"/>
                        </a:lnTo>
                        <a:lnTo>
                          <a:pt x="402" y="171"/>
                        </a:lnTo>
                        <a:lnTo>
                          <a:pt x="410" y="160"/>
                        </a:lnTo>
                        <a:lnTo>
                          <a:pt x="410" y="158"/>
                        </a:lnTo>
                        <a:lnTo>
                          <a:pt x="411" y="157"/>
                        </a:lnTo>
                        <a:lnTo>
                          <a:pt x="411" y="150"/>
                        </a:lnTo>
                        <a:lnTo>
                          <a:pt x="410" y="145"/>
                        </a:lnTo>
                        <a:lnTo>
                          <a:pt x="410" y="139"/>
                        </a:lnTo>
                        <a:lnTo>
                          <a:pt x="410" y="138"/>
                        </a:lnTo>
                        <a:lnTo>
                          <a:pt x="413" y="136"/>
                        </a:lnTo>
                        <a:lnTo>
                          <a:pt x="418" y="134"/>
                        </a:lnTo>
                        <a:lnTo>
                          <a:pt x="421" y="134"/>
                        </a:lnTo>
                        <a:lnTo>
                          <a:pt x="424" y="134"/>
                        </a:lnTo>
                        <a:lnTo>
                          <a:pt x="426" y="136"/>
                        </a:lnTo>
                        <a:lnTo>
                          <a:pt x="427" y="136"/>
                        </a:lnTo>
                        <a:lnTo>
                          <a:pt x="427" y="138"/>
                        </a:lnTo>
                        <a:lnTo>
                          <a:pt x="431" y="147"/>
                        </a:lnTo>
                        <a:lnTo>
                          <a:pt x="431" y="149"/>
                        </a:lnTo>
                        <a:lnTo>
                          <a:pt x="432" y="152"/>
                        </a:lnTo>
                        <a:lnTo>
                          <a:pt x="432" y="155"/>
                        </a:lnTo>
                        <a:lnTo>
                          <a:pt x="434" y="160"/>
                        </a:lnTo>
                        <a:lnTo>
                          <a:pt x="438" y="163"/>
                        </a:lnTo>
                        <a:lnTo>
                          <a:pt x="442" y="163"/>
                        </a:lnTo>
                        <a:lnTo>
                          <a:pt x="450" y="166"/>
                        </a:lnTo>
                        <a:lnTo>
                          <a:pt x="453" y="169"/>
                        </a:lnTo>
                        <a:lnTo>
                          <a:pt x="453" y="171"/>
                        </a:lnTo>
                        <a:lnTo>
                          <a:pt x="453" y="172"/>
                        </a:lnTo>
                        <a:lnTo>
                          <a:pt x="453" y="174"/>
                        </a:lnTo>
                        <a:lnTo>
                          <a:pt x="451" y="177"/>
                        </a:lnTo>
                        <a:lnTo>
                          <a:pt x="446" y="177"/>
                        </a:lnTo>
                        <a:lnTo>
                          <a:pt x="443" y="179"/>
                        </a:lnTo>
                        <a:lnTo>
                          <a:pt x="440" y="179"/>
                        </a:lnTo>
                        <a:lnTo>
                          <a:pt x="434" y="182"/>
                        </a:lnTo>
                        <a:lnTo>
                          <a:pt x="427" y="183"/>
                        </a:lnTo>
                        <a:lnTo>
                          <a:pt x="423" y="185"/>
                        </a:lnTo>
                        <a:lnTo>
                          <a:pt x="419" y="188"/>
                        </a:lnTo>
                        <a:lnTo>
                          <a:pt x="418" y="190"/>
                        </a:lnTo>
                        <a:lnTo>
                          <a:pt x="416" y="191"/>
                        </a:lnTo>
                        <a:lnTo>
                          <a:pt x="416" y="193"/>
                        </a:lnTo>
                        <a:lnTo>
                          <a:pt x="416" y="196"/>
                        </a:lnTo>
                        <a:lnTo>
                          <a:pt x="416" y="198"/>
                        </a:lnTo>
                        <a:lnTo>
                          <a:pt x="418" y="199"/>
                        </a:lnTo>
                        <a:lnTo>
                          <a:pt x="418" y="201"/>
                        </a:lnTo>
                        <a:lnTo>
                          <a:pt x="421" y="204"/>
                        </a:lnTo>
                        <a:lnTo>
                          <a:pt x="423" y="204"/>
                        </a:lnTo>
                        <a:lnTo>
                          <a:pt x="426" y="207"/>
                        </a:lnTo>
                        <a:lnTo>
                          <a:pt x="432" y="209"/>
                        </a:lnTo>
                        <a:lnTo>
                          <a:pt x="434" y="210"/>
                        </a:lnTo>
                        <a:lnTo>
                          <a:pt x="440" y="209"/>
                        </a:lnTo>
                        <a:lnTo>
                          <a:pt x="443" y="209"/>
                        </a:lnTo>
                        <a:lnTo>
                          <a:pt x="454" y="209"/>
                        </a:lnTo>
                        <a:lnTo>
                          <a:pt x="457" y="209"/>
                        </a:lnTo>
                        <a:lnTo>
                          <a:pt x="459" y="210"/>
                        </a:lnTo>
                        <a:lnTo>
                          <a:pt x="465" y="212"/>
                        </a:lnTo>
                        <a:lnTo>
                          <a:pt x="467" y="212"/>
                        </a:lnTo>
                        <a:lnTo>
                          <a:pt x="473" y="214"/>
                        </a:lnTo>
                        <a:lnTo>
                          <a:pt x="476" y="214"/>
                        </a:lnTo>
                        <a:lnTo>
                          <a:pt x="483" y="217"/>
                        </a:lnTo>
                        <a:lnTo>
                          <a:pt x="484" y="217"/>
                        </a:lnTo>
                        <a:lnTo>
                          <a:pt x="489" y="218"/>
                        </a:lnTo>
                        <a:lnTo>
                          <a:pt x="492" y="220"/>
                        </a:lnTo>
                        <a:lnTo>
                          <a:pt x="502" y="220"/>
                        </a:lnTo>
                        <a:lnTo>
                          <a:pt x="503" y="220"/>
                        </a:lnTo>
                        <a:lnTo>
                          <a:pt x="508" y="220"/>
                        </a:lnTo>
                        <a:lnTo>
                          <a:pt x="511" y="220"/>
                        </a:lnTo>
                        <a:lnTo>
                          <a:pt x="513" y="220"/>
                        </a:lnTo>
                        <a:lnTo>
                          <a:pt x="513" y="218"/>
                        </a:lnTo>
                        <a:lnTo>
                          <a:pt x="516" y="218"/>
                        </a:lnTo>
                        <a:lnTo>
                          <a:pt x="526" y="221"/>
                        </a:lnTo>
                        <a:lnTo>
                          <a:pt x="533" y="226"/>
                        </a:lnTo>
                        <a:lnTo>
                          <a:pt x="538" y="229"/>
                        </a:lnTo>
                        <a:lnTo>
                          <a:pt x="541" y="233"/>
                        </a:lnTo>
                        <a:lnTo>
                          <a:pt x="546" y="237"/>
                        </a:lnTo>
                        <a:lnTo>
                          <a:pt x="564" y="261"/>
                        </a:lnTo>
                        <a:lnTo>
                          <a:pt x="571" y="267"/>
                        </a:lnTo>
                        <a:lnTo>
                          <a:pt x="581" y="271"/>
                        </a:lnTo>
                        <a:lnTo>
                          <a:pt x="583" y="271"/>
                        </a:lnTo>
                        <a:lnTo>
                          <a:pt x="594" y="275"/>
                        </a:lnTo>
                        <a:lnTo>
                          <a:pt x="603" y="280"/>
                        </a:lnTo>
                        <a:lnTo>
                          <a:pt x="609" y="286"/>
                        </a:lnTo>
                        <a:lnTo>
                          <a:pt x="617" y="293"/>
                        </a:lnTo>
                        <a:lnTo>
                          <a:pt x="632" y="307"/>
                        </a:lnTo>
                        <a:lnTo>
                          <a:pt x="643" y="315"/>
                        </a:lnTo>
                        <a:lnTo>
                          <a:pt x="648" y="318"/>
                        </a:lnTo>
                        <a:lnTo>
                          <a:pt x="654" y="320"/>
                        </a:lnTo>
                        <a:lnTo>
                          <a:pt x="655" y="321"/>
                        </a:lnTo>
                        <a:lnTo>
                          <a:pt x="659" y="321"/>
                        </a:lnTo>
                        <a:lnTo>
                          <a:pt x="660" y="323"/>
                        </a:lnTo>
                        <a:lnTo>
                          <a:pt x="678" y="331"/>
                        </a:lnTo>
                        <a:lnTo>
                          <a:pt x="679" y="331"/>
                        </a:lnTo>
                        <a:lnTo>
                          <a:pt x="689" y="337"/>
                        </a:lnTo>
                        <a:lnTo>
                          <a:pt x="706" y="340"/>
                        </a:lnTo>
                        <a:lnTo>
                          <a:pt x="709" y="340"/>
                        </a:lnTo>
                        <a:lnTo>
                          <a:pt x="717" y="342"/>
                        </a:lnTo>
                        <a:lnTo>
                          <a:pt x="720" y="343"/>
                        </a:lnTo>
                        <a:lnTo>
                          <a:pt x="722" y="343"/>
                        </a:lnTo>
                        <a:lnTo>
                          <a:pt x="728" y="343"/>
                        </a:lnTo>
                        <a:lnTo>
                          <a:pt x="731" y="345"/>
                        </a:lnTo>
                        <a:lnTo>
                          <a:pt x="741" y="345"/>
                        </a:lnTo>
                        <a:lnTo>
                          <a:pt x="747" y="343"/>
                        </a:lnTo>
                        <a:lnTo>
                          <a:pt x="749" y="342"/>
                        </a:lnTo>
                        <a:lnTo>
                          <a:pt x="750" y="342"/>
                        </a:lnTo>
                        <a:lnTo>
                          <a:pt x="752" y="340"/>
                        </a:lnTo>
                        <a:lnTo>
                          <a:pt x="754" y="339"/>
                        </a:lnTo>
                        <a:lnTo>
                          <a:pt x="754" y="337"/>
                        </a:lnTo>
                        <a:lnTo>
                          <a:pt x="757" y="334"/>
                        </a:lnTo>
                        <a:lnTo>
                          <a:pt x="757" y="332"/>
                        </a:lnTo>
                        <a:lnTo>
                          <a:pt x="758" y="323"/>
                        </a:lnTo>
                        <a:lnTo>
                          <a:pt x="758" y="321"/>
                        </a:lnTo>
                        <a:lnTo>
                          <a:pt x="758" y="317"/>
                        </a:lnTo>
                        <a:lnTo>
                          <a:pt x="757" y="305"/>
                        </a:lnTo>
                        <a:lnTo>
                          <a:pt x="755" y="301"/>
                        </a:lnTo>
                        <a:lnTo>
                          <a:pt x="749" y="290"/>
                        </a:lnTo>
                        <a:lnTo>
                          <a:pt x="749" y="285"/>
                        </a:lnTo>
                        <a:lnTo>
                          <a:pt x="750" y="282"/>
                        </a:lnTo>
                        <a:lnTo>
                          <a:pt x="752" y="280"/>
                        </a:lnTo>
                        <a:lnTo>
                          <a:pt x="755" y="279"/>
                        </a:lnTo>
                        <a:lnTo>
                          <a:pt x="763" y="277"/>
                        </a:lnTo>
                        <a:lnTo>
                          <a:pt x="768" y="275"/>
                        </a:lnTo>
                        <a:lnTo>
                          <a:pt x="773" y="275"/>
                        </a:lnTo>
                        <a:lnTo>
                          <a:pt x="779" y="274"/>
                        </a:lnTo>
                        <a:lnTo>
                          <a:pt x="788" y="274"/>
                        </a:lnTo>
                        <a:lnTo>
                          <a:pt x="790" y="274"/>
                        </a:lnTo>
                        <a:lnTo>
                          <a:pt x="800" y="274"/>
                        </a:lnTo>
                        <a:lnTo>
                          <a:pt x="808" y="272"/>
                        </a:lnTo>
                        <a:lnTo>
                          <a:pt x="819" y="271"/>
                        </a:lnTo>
                        <a:lnTo>
                          <a:pt x="828" y="271"/>
                        </a:lnTo>
                        <a:lnTo>
                          <a:pt x="830" y="271"/>
                        </a:lnTo>
                        <a:lnTo>
                          <a:pt x="831" y="271"/>
                        </a:lnTo>
                        <a:lnTo>
                          <a:pt x="849" y="269"/>
                        </a:lnTo>
                        <a:lnTo>
                          <a:pt x="850" y="269"/>
                        </a:lnTo>
                        <a:lnTo>
                          <a:pt x="860" y="267"/>
                        </a:lnTo>
                        <a:lnTo>
                          <a:pt x="866" y="264"/>
                        </a:lnTo>
                        <a:lnTo>
                          <a:pt x="868" y="263"/>
                        </a:lnTo>
                        <a:lnTo>
                          <a:pt x="871" y="255"/>
                        </a:lnTo>
                        <a:lnTo>
                          <a:pt x="871" y="252"/>
                        </a:lnTo>
                        <a:lnTo>
                          <a:pt x="871" y="250"/>
                        </a:lnTo>
                        <a:lnTo>
                          <a:pt x="871" y="247"/>
                        </a:lnTo>
                        <a:lnTo>
                          <a:pt x="868" y="242"/>
                        </a:lnTo>
                        <a:lnTo>
                          <a:pt x="868" y="241"/>
                        </a:lnTo>
                        <a:lnTo>
                          <a:pt x="866" y="234"/>
                        </a:lnTo>
                        <a:lnTo>
                          <a:pt x="857" y="221"/>
                        </a:lnTo>
                        <a:lnTo>
                          <a:pt x="857" y="220"/>
                        </a:lnTo>
                        <a:lnTo>
                          <a:pt x="857" y="215"/>
                        </a:lnTo>
                        <a:lnTo>
                          <a:pt x="857" y="199"/>
                        </a:lnTo>
                        <a:lnTo>
                          <a:pt x="857" y="195"/>
                        </a:lnTo>
                        <a:lnTo>
                          <a:pt x="857" y="193"/>
                        </a:lnTo>
                        <a:lnTo>
                          <a:pt x="855" y="182"/>
                        </a:lnTo>
                        <a:lnTo>
                          <a:pt x="853" y="166"/>
                        </a:lnTo>
                        <a:lnTo>
                          <a:pt x="852" y="155"/>
                        </a:lnTo>
                        <a:lnTo>
                          <a:pt x="850" y="149"/>
                        </a:lnTo>
                        <a:lnTo>
                          <a:pt x="849" y="138"/>
                        </a:lnTo>
                        <a:lnTo>
                          <a:pt x="847" y="128"/>
                        </a:lnTo>
                        <a:lnTo>
                          <a:pt x="844" y="114"/>
                        </a:lnTo>
                        <a:lnTo>
                          <a:pt x="846" y="106"/>
                        </a:lnTo>
                        <a:lnTo>
                          <a:pt x="850" y="98"/>
                        </a:lnTo>
                        <a:lnTo>
                          <a:pt x="852" y="98"/>
                        </a:lnTo>
                        <a:lnTo>
                          <a:pt x="852" y="96"/>
                        </a:lnTo>
                        <a:lnTo>
                          <a:pt x="857" y="88"/>
                        </a:lnTo>
                        <a:lnTo>
                          <a:pt x="858" y="79"/>
                        </a:lnTo>
                        <a:lnTo>
                          <a:pt x="858" y="73"/>
                        </a:lnTo>
                        <a:lnTo>
                          <a:pt x="858" y="69"/>
                        </a:lnTo>
                        <a:lnTo>
                          <a:pt x="860" y="58"/>
                        </a:lnTo>
                        <a:lnTo>
                          <a:pt x="860" y="57"/>
                        </a:lnTo>
                        <a:lnTo>
                          <a:pt x="858" y="54"/>
                        </a:lnTo>
                        <a:lnTo>
                          <a:pt x="860" y="43"/>
                        </a:lnTo>
                        <a:lnTo>
                          <a:pt x="860" y="30"/>
                        </a:lnTo>
                        <a:lnTo>
                          <a:pt x="855" y="25"/>
                        </a:lnTo>
                        <a:lnTo>
                          <a:pt x="852" y="20"/>
                        </a:lnTo>
                        <a:lnTo>
                          <a:pt x="847" y="17"/>
                        </a:lnTo>
                        <a:lnTo>
                          <a:pt x="844" y="14"/>
                        </a:lnTo>
                        <a:lnTo>
                          <a:pt x="842" y="11"/>
                        </a:lnTo>
                        <a:lnTo>
                          <a:pt x="842" y="9"/>
                        </a:lnTo>
                        <a:lnTo>
                          <a:pt x="842" y="8"/>
                        </a:lnTo>
                        <a:lnTo>
                          <a:pt x="846" y="1"/>
                        </a:lnTo>
                        <a:lnTo>
                          <a:pt x="849" y="0"/>
                        </a:lnTo>
                        <a:lnTo>
                          <a:pt x="850" y="0"/>
                        </a:lnTo>
                        <a:lnTo>
                          <a:pt x="857" y="0"/>
                        </a:lnTo>
                        <a:lnTo>
                          <a:pt x="858" y="0"/>
                        </a:lnTo>
                        <a:lnTo>
                          <a:pt x="860" y="1"/>
                        </a:lnTo>
                        <a:lnTo>
                          <a:pt x="869" y="3"/>
                        </a:lnTo>
                        <a:lnTo>
                          <a:pt x="876" y="6"/>
                        </a:lnTo>
                        <a:lnTo>
                          <a:pt x="888" y="14"/>
                        </a:lnTo>
                        <a:close/>
                      </a:path>
                    </a:pathLst>
                  </a:custGeom>
                  <a:solidFill>
                    <a:srgbClr val="E1E1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38" name="Freeform 37"/>
                  <p:cNvSpPr>
                    <a:spLocks/>
                  </p:cNvSpPr>
                  <p:nvPr/>
                </p:nvSpPr>
                <p:spPr bwMode="auto">
                  <a:xfrm>
                    <a:off x="3059" y="1490"/>
                    <a:ext cx="474" cy="1513"/>
                  </a:xfrm>
                  <a:custGeom>
                    <a:avLst/>
                    <a:gdLst>
                      <a:gd name="T0" fmla="*/ 73 w 474"/>
                      <a:gd name="T1" fmla="*/ 6 h 1513"/>
                      <a:gd name="T2" fmla="*/ 130 w 474"/>
                      <a:gd name="T3" fmla="*/ 19 h 1513"/>
                      <a:gd name="T4" fmla="*/ 186 w 474"/>
                      <a:gd name="T5" fmla="*/ 70 h 1513"/>
                      <a:gd name="T6" fmla="*/ 225 w 474"/>
                      <a:gd name="T7" fmla="*/ 93 h 1513"/>
                      <a:gd name="T8" fmla="*/ 306 w 474"/>
                      <a:gd name="T9" fmla="*/ 109 h 1513"/>
                      <a:gd name="T10" fmla="*/ 331 w 474"/>
                      <a:gd name="T11" fmla="*/ 133 h 1513"/>
                      <a:gd name="T12" fmla="*/ 352 w 474"/>
                      <a:gd name="T13" fmla="*/ 201 h 1513"/>
                      <a:gd name="T14" fmla="*/ 369 w 474"/>
                      <a:gd name="T15" fmla="*/ 236 h 1513"/>
                      <a:gd name="T16" fmla="*/ 428 w 474"/>
                      <a:gd name="T17" fmla="*/ 234 h 1513"/>
                      <a:gd name="T18" fmla="*/ 449 w 474"/>
                      <a:gd name="T19" fmla="*/ 280 h 1513"/>
                      <a:gd name="T20" fmla="*/ 422 w 474"/>
                      <a:gd name="T21" fmla="*/ 314 h 1513"/>
                      <a:gd name="T22" fmla="*/ 399 w 474"/>
                      <a:gd name="T23" fmla="*/ 344 h 1513"/>
                      <a:gd name="T24" fmla="*/ 325 w 474"/>
                      <a:gd name="T25" fmla="*/ 355 h 1513"/>
                      <a:gd name="T26" fmla="*/ 312 w 474"/>
                      <a:gd name="T27" fmla="*/ 418 h 1513"/>
                      <a:gd name="T28" fmla="*/ 295 w 474"/>
                      <a:gd name="T29" fmla="*/ 464 h 1513"/>
                      <a:gd name="T30" fmla="*/ 293 w 474"/>
                      <a:gd name="T31" fmla="*/ 526 h 1513"/>
                      <a:gd name="T32" fmla="*/ 314 w 474"/>
                      <a:gd name="T33" fmla="*/ 558 h 1513"/>
                      <a:gd name="T34" fmla="*/ 346 w 474"/>
                      <a:gd name="T35" fmla="*/ 586 h 1513"/>
                      <a:gd name="T36" fmla="*/ 312 w 474"/>
                      <a:gd name="T37" fmla="*/ 621 h 1513"/>
                      <a:gd name="T38" fmla="*/ 279 w 474"/>
                      <a:gd name="T39" fmla="*/ 651 h 1513"/>
                      <a:gd name="T40" fmla="*/ 301 w 474"/>
                      <a:gd name="T41" fmla="*/ 730 h 1513"/>
                      <a:gd name="T42" fmla="*/ 262 w 474"/>
                      <a:gd name="T43" fmla="*/ 776 h 1513"/>
                      <a:gd name="T44" fmla="*/ 238 w 474"/>
                      <a:gd name="T45" fmla="*/ 824 h 1513"/>
                      <a:gd name="T46" fmla="*/ 220 w 474"/>
                      <a:gd name="T47" fmla="*/ 838 h 1513"/>
                      <a:gd name="T48" fmla="*/ 200 w 474"/>
                      <a:gd name="T49" fmla="*/ 876 h 1513"/>
                      <a:gd name="T50" fmla="*/ 227 w 474"/>
                      <a:gd name="T51" fmla="*/ 901 h 1513"/>
                      <a:gd name="T52" fmla="*/ 238 w 474"/>
                      <a:gd name="T53" fmla="*/ 928 h 1513"/>
                      <a:gd name="T54" fmla="*/ 255 w 474"/>
                      <a:gd name="T55" fmla="*/ 963 h 1513"/>
                      <a:gd name="T56" fmla="*/ 251 w 474"/>
                      <a:gd name="T57" fmla="*/ 1001 h 1513"/>
                      <a:gd name="T58" fmla="*/ 225 w 474"/>
                      <a:gd name="T59" fmla="*/ 987 h 1513"/>
                      <a:gd name="T60" fmla="*/ 184 w 474"/>
                      <a:gd name="T61" fmla="*/ 992 h 1513"/>
                      <a:gd name="T62" fmla="*/ 178 w 474"/>
                      <a:gd name="T63" fmla="*/ 1012 h 1513"/>
                      <a:gd name="T64" fmla="*/ 200 w 474"/>
                      <a:gd name="T65" fmla="*/ 1038 h 1513"/>
                      <a:gd name="T66" fmla="*/ 224 w 474"/>
                      <a:gd name="T67" fmla="*/ 1055 h 1513"/>
                      <a:gd name="T68" fmla="*/ 206 w 474"/>
                      <a:gd name="T69" fmla="*/ 1090 h 1513"/>
                      <a:gd name="T70" fmla="*/ 238 w 474"/>
                      <a:gd name="T71" fmla="*/ 1114 h 1513"/>
                      <a:gd name="T72" fmla="*/ 224 w 474"/>
                      <a:gd name="T73" fmla="*/ 1150 h 1513"/>
                      <a:gd name="T74" fmla="*/ 187 w 474"/>
                      <a:gd name="T75" fmla="*/ 1158 h 1513"/>
                      <a:gd name="T76" fmla="*/ 194 w 474"/>
                      <a:gd name="T77" fmla="*/ 1188 h 1513"/>
                      <a:gd name="T78" fmla="*/ 230 w 474"/>
                      <a:gd name="T79" fmla="*/ 1194 h 1513"/>
                      <a:gd name="T80" fmla="*/ 260 w 474"/>
                      <a:gd name="T81" fmla="*/ 1196 h 1513"/>
                      <a:gd name="T82" fmla="*/ 290 w 474"/>
                      <a:gd name="T83" fmla="*/ 1221 h 1513"/>
                      <a:gd name="T84" fmla="*/ 308 w 474"/>
                      <a:gd name="T85" fmla="*/ 1283 h 1513"/>
                      <a:gd name="T86" fmla="*/ 335 w 474"/>
                      <a:gd name="T87" fmla="*/ 1326 h 1513"/>
                      <a:gd name="T88" fmla="*/ 368 w 474"/>
                      <a:gd name="T89" fmla="*/ 1375 h 1513"/>
                      <a:gd name="T90" fmla="*/ 418 w 474"/>
                      <a:gd name="T91" fmla="*/ 1399 h 1513"/>
                      <a:gd name="T92" fmla="*/ 407 w 474"/>
                      <a:gd name="T93" fmla="*/ 1422 h 1513"/>
                      <a:gd name="T94" fmla="*/ 388 w 474"/>
                      <a:gd name="T95" fmla="*/ 1430 h 1513"/>
                      <a:gd name="T96" fmla="*/ 363 w 474"/>
                      <a:gd name="T97" fmla="*/ 1434 h 1513"/>
                      <a:gd name="T98" fmla="*/ 344 w 474"/>
                      <a:gd name="T99" fmla="*/ 1459 h 1513"/>
                      <a:gd name="T100" fmla="*/ 279 w 474"/>
                      <a:gd name="T101" fmla="*/ 1453 h 1513"/>
                      <a:gd name="T102" fmla="*/ 247 w 474"/>
                      <a:gd name="T103" fmla="*/ 1498 h 1513"/>
                      <a:gd name="T104" fmla="*/ 230 w 474"/>
                      <a:gd name="T105" fmla="*/ 1510 h 1513"/>
                      <a:gd name="T106" fmla="*/ 205 w 474"/>
                      <a:gd name="T107" fmla="*/ 1506 h 1513"/>
                      <a:gd name="T108" fmla="*/ 222 w 474"/>
                      <a:gd name="T109" fmla="*/ 1478 h 1513"/>
                      <a:gd name="T110" fmla="*/ 227 w 474"/>
                      <a:gd name="T111" fmla="*/ 1437 h 1513"/>
                      <a:gd name="T112" fmla="*/ 233 w 474"/>
                      <a:gd name="T113" fmla="*/ 1402 h 1513"/>
                      <a:gd name="T114" fmla="*/ 220 w 474"/>
                      <a:gd name="T115" fmla="*/ 1372 h 1513"/>
                      <a:gd name="T116" fmla="*/ 233 w 474"/>
                      <a:gd name="T117" fmla="*/ 1342 h 1513"/>
                      <a:gd name="T118" fmla="*/ 214 w 474"/>
                      <a:gd name="T119" fmla="*/ 1329 h 1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4" h="1513">
                        <a:moveTo>
                          <a:pt x="0" y="0"/>
                        </a:moveTo>
                        <a:lnTo>
                          <a:pt x="15" y="6"/>
                        </a:lnTo>
                        <a:lnTo>
                          <a:pt x="18" y="6"/>
                        </a:lnTo>
                        <a:lnTo>
                          <a:pt x="19" y="6"/>
                        </a:lnTo>
                        <a:lnTo>
                          <a:pt x="24" y="6"/>
                        </a:lnTo>
                        <a:lnTo>
                          <a:pt x="26" y="6"/>
                        </a:lnTo>
                        <a:lnTo>
                          <a:pt x="30" y="5"/>
                        </a:lnTo>
                        <a:lnTo>
                          <a:pt x="32" y="5"/>
                        </a:lnTo>
                        <a:lnTo>
                          <a:pt x="34" y="3"/>
                        </a:lnTo>
                        <a:lnTo>
                          <a:pt x="38" y="2"/>
                        </a:lnTo>
                        <a:lnTo>
                          <a:pt x="46" y="0"/>
                        </a:lnTo>
                        <a:lnTo>
                          <a:pt x="49" y="0"/>
                        </a:lnTo>
                        <a:lnTo>
                          <a:pt x="53" y="0"/>
                        </a:lnTo>
                        <a:lnTo>
                          <a:pt x="54" y="0"/>
                        </a:lnTo>
                        <a:lnTo>
                          <a:pt x="64" y="0"/>
                        </a:lnTo>
                        <a:lnTo>
                          <a:pt x="65" y="2"/>
                        </a:lnTo>
                        <a:lnTo>
                          <a:pt x="73" y="6"/>
                        </a:lnTo>
                        <a:lnTo>
                          <a:pt x="78" y="11"/>
                        </a:lnTo>
                        <a:lnTo>
                          <a:pt x="87" y="21"/>
                        </a:lnTo>
                        <a:lnTo>
                          <a:pt x="92" y="36"/>
                        </a:lnTo>
                        <a:lnTo>
                          <a:pt x="97" y="44"/>
                        </a:lnTo>
                        <a:lnTo>
                          <a:pt x="100" y="44"/>
                        </a:lnTo>
                        <a:lnTo>
                          <a:pt x="102" y="44"/>
                        </a:lnTo>
                        <a:lnTo>
                          <a:pt x="105" y="41"/>
                        </a:lnTo>
                        <a:lnTo>
                          <a:pt x="114" y="25"/>
                        </a:lnTo>
                        <a:lnTo>
                          <a:pt x="114" y="24"/>
                        </a:lnTo>
                        <a:lnTo>
                          <a:pt x="116" y="22"/>
                        </a:lnTo>
                        <a:lnTo>
                          <a:pt x="118" y="22"/>
                        </a:lnTo>
                        <a:lnTo>
                          <a:pt x="119" y="21"/>
                        </a:lnTo>
                        <a:lnTo>
                          <a:pt x="121" y="19"/>
                        </a:lnTo>
                        <a:lnTo>
                          <a:pt x="124" y="17"/>
                        </a:lnTo>
                        <a:lnTo>
                          <a:pt x="125" y="17"/>
                        </a:lnTo>
                        <a:lnTo>
                          <a:pt x="129" y="17"/>
                        </a:lnTo>
                        <a:lnTo>
                          <a:pt x="130" y="19"/>
                        </a:lnTo>
                        <a:lnTo>
                          <a:pt x="132" y="19"/>
                        </a:lnTo>
                        <a:lnTo>
                          <a:pt x="140" y="27"/>
                        </a:lnTo>
                        <a:lnTo>
                          <a:pt x="141" y="29"/>
                        </a:lnTo>
                        <a:lnTo>
                          <a:pt x="143" y="29"/>
                        </a:lnTo>
                        <a:lnTo>
                          <a:pt x="154" y="40"/>
                        </a:lnTo>
                        <a:lnTo>
                          <a:pt x="157" y="43"/>
                        </a:lnTo>
                        <a:lnTo>
                          <a:pt x="159" y="44"/>
                        </a:lnTo>
                        <a:lnTo>
                          <a:pt x="160" y="44"/>
                        </a:lnTo>
                        <a:lnTo>
                          <a:pt x="165" y="51"/>
                        </a:lnTo>
                        <a:lnTo>
                          <a:pt x="175" y="60"/>
                        </a:lnTo>
                        <a:lnTo>
                          <a:pt x="178" y="63"/>
                        </a:lnTo>
                        <a:lnTo>
                          <a:pt x="178" y="65"/>
                        </a:lnTo>
                        <a:lnTo>
                          <a:pt x="179" y="67"/>
                        </a:lnTo>
                        <a:lnTo>
                          <a:pt x="182" y="67"/>
                        </a:lnTo>
                        <a:lnTo>
                          <a:pt x="184" y="67"/>
                        </a:lnTo>
                        <a:lnTo>
                          <a:pt x="186" y="68"/>
                        </a:lnTo>
                        <a:lnTo>
                          <a:pt x="186" y="70"/>
                        </a:lnTo>
                        <a:lnTo>
                          <a:pt x="187" y="70"/>
                        </a:lnTo>
                        <a:lnTo>
                          <a:pt x="187" y="71"/>
                        </a:lnTo>
                        <a:lnTo>
                          <a:pt x="189" y="73"/>
                        </a:lnTo>
                        <a:lnTo>
                          <a:pt x="190" y="74"/>
                        </a:lnTo>
                        <a:lnTo>
                          <a:pt x="190" y="76"/>
                        </a:lnTo>
                        <a:lnTo>
                          <a:pt x="192" y="76"/>
                        </a:lnTo>
                        <a:lnTo>
                          <a:pt x="194" y="78"/>
                        </a:lnTo>
                        <a:lnTo>
                          <a:pt x="198" y="81"/>
                        </a:lnTo>
                        <a:lnTo>
                          <a:pt x="201" y="82"/>
                        </a:lnTo>
                        <a:lnTo>
                          <a:pt x="205" y="84"/>
                        </a:lnTo>
                        <a:lnTo>
                          <a:pt x="205" y="86"/>
                        </a:lnTo>
                        <a:lnTo>
                          <a:pt x="206" y="86"/>
                        </a:lnTo>
                        <a:lnTo>
                          <a:pt x="209" y="87"/>
                        </a:lnTo>
                        <a:lnTo>
                          <a:pt x="213" y="90"/>
                        </a:lnTo>
                        <a:lnTo>
                          <a:pt x="216" y="92"/>
                        </a:lnTo>
                        <a:lnTo>
                          <a:pt x="220" y="93"/>
                        </a:lnTo>
                        <a:lnTo>
                          <a:pt x="225" y="93"/>
                        </a:lnTo>
                        <a:lnTo>
                          <a:pt x="228" y="93"/>
                        </a:lnTo>
                        <a:lnTo>
                          <a:pt x="233" y="93"/>
                        </a:lnTo>
                        <a:lnTo>
                          <a:pt x="235" y="95"/>
                        </a:lnTo>
                        <a:lnTo>
                          <a:pt x="236" y="97"/>
                        </a:lnTo>
                        <a:lnTo>
                          <a:pt x="238" y="97"/>
                        </a:lnTo>
                        <a:lnTo>
                          <a:pt x="239" y="97"/>
                        </a:lnTo>
                        <a:lnTo>
                          <a:pt x="241" y="97"/>
                        </a:lnTo>
                        <a:lnTo>
                          <a:pt x="246" y="98"/>
                        </a:lnTo>
                        <a:lnTo>
                          <a:pt x="251" y="98"/>
                        </a:lnTo>
                        <a:lnTo>
                          <a:pt x="257" y="100"/>
                        </a:lnTo>
                        <a:lnTo>
                          <a:pt x="265" y="101"/>
                        </a:lnTo>
                        <a:lnTo>
                          <a:pt x="276" y="103"/>
                        </a:lnTo>
                        <a:lnTo>
                          <a:pt x="285" y="106"/>
                        </a:lnTo>
                        <a:lnTo>
                          <a:pt x="295" y="108"/>
                        </a:lnTo>
                        <a:lnTo>
                          <a:pt x="301" y="108"/>
                        </a:lnTo>
                        <a:lnTo>
                          <a:pt x="304" y="109"/>
                        </a:lnTo>
                        <a:lnTo>
                          <a:pt x="306" y="109"/>
                        </a:lnTo>
                        <a:lnTo>
                          <a:pt x="308" y="109"/>
                        </a:lnTo>
                        <a:lnTo>
                          <a:pt x="308" y="111"/>
                        </a:lnTo>
                        <a:lnTo>
                          <a:pt x="308" y="114"/>
                        </a:lnTo>
                        <a:lnTo>
                          <a:pt x="308" y="117"/>
                        </a:lnTo>
                        <a:lnTo>
                          <a:pt x="309" y="119"/>
                        </a:lnTo>
                        <a:lnTo>
                          <a:pt x="309" y="122"/>
                        </a:lnTo>
                        <a:lnTo>
                          <a:pt x="309" y="124"/>
                        </a:lnTo>
                        <a:lnTo>
                          <a:pt x="312" y="125"/>
                        </a:lnTo>
                        <a:lnTo>
                          <a:pt x="312" y="127"/>
                        </a:lnTo>
                        <a:lnTo>
                          <a:pt x="316" y="128"/>
                        </a:lnTo>
                        <a:lnTo>
                          <a:pt x="317" y="130"/>
                        </a:lnTo>
                        <a:lnTo>
                          <a:pt x="319" y="131"/>
                        </a:lnTo>
                        <a:lnTo>
                          <a:pt x="320" y="133"/>
                        </a:lnTo>
                        <a:lnTo>
                          <a:pt x="322" y="133"/>
                        </a:lnTo>
                        <a:lnTo>
                          <a:pt x="323" y="133"/>
                        </a:lnTo>
                        <a:lnTo>
                          <a:pt x="328" y="133"/>
                        </a:lnTo>
                        <a:lnTo>
                          <a:pt x="331" y="133"/>
                        </a:lnTo>
                        <a:lnTo>
                          <a:pt x="333" y="135"/>
                        </a:lnTo>
                        <a:lnTo>
                          <a:pt x="336" y="133"/>
                        </a:lnTo>
                        <a:lnTo>
                          <a:pt x="338" y="133"/>
                        </a:lnTo>
                        <a:lnTo>
                          <a:pt x="339" y="133"/>
                        </a:lnTo>
                        <a:lnTo>
                          <a:pt x="341" y="131"/>
                        </a:lnTo>
                        <a:lnTo>
                          <a:pt x="342" y="133"/>
                        </a:lnTo>
                        <a:lnTo>
                          <a:pt x="344" y="133"/>
                        </a:lnTo>
                        <a:lnTo>
                          <a:pt x="346" y="135"/>
                        </a:lnTo>
                        <a:lnTo>
                          <a:pt x="347" y="135"/>
                        </a:lnTo>
                        <a:lnTo>
                          <a:pt x="347" y="136"/>
                        </a:lnTo>
                        <a:lnTo>
                          <a:pt x="347" y="147"/>
                        </a:lnTo>
                        <a:lnTo>
                          <a:pt x="347" y="174"/>
                        </a:lnTo>
                        <a:lnTo>
                          <a:pt x="347" y="193"/>
                        </a:lnTo>
                        <a:lnTo>
                          <a:pt x="347" y="198"/>
                        </a:lnTo>
                        <a:lnTo>
                          <a:pt x="347" y="200"/>
                        </a:lnTo>
                        <a:lnTo>
                          <a:pt x="350" y="200"/>
                        </a:lnTo>
                        <a:lnTo>
                          <a:pt x="352" y="201"/>
                        </a:lnTo>
                        <a:lnTo>
                          <a:pt x="354" y="201"/>
                        </a:lnTo>
                        <a:lnTo>
                          <a:pt x="355" y="201"/>
                        </a:lnTo>
                        <a:lnTo>
                          <a:pt x="355" y="203"/>
                        </a:lnTo>
                        <a:lnTo>
                          <a:pt x="357" y="204"/>
                        </a:lnTo>
                        <a:lnTo>
                          <a:pt x="358" y="209"/>
                        </a:lnTo>
                        <a:lnTo>
                          <a:pt x="358" y="211"/>
                        </a:lnTo>
                        <a:lnTo>
                          <a:pt x="361" y="212"/>
                        </a:lnTo>
                        <a:lnTo>
                          <a:pt x="363" y="217"/>
                        </a:lnTo>
                        <a:lnTo>
                          <a:pt x="365" y="219"/>
                        </a:lnTo>
                        <a:lnTo>
                          <a:pt x="365" y="222"/>
                        </a:lnTo>
                        <a:lnTo>
                          <a:pt x="366" y="223"/>
                        </a:lnTo>
                        <a:lnTo>
                          <a:pt x="366" y="227"/>
                        </a:lnTo>
                        <a:lnTo>
                          <a:pt x="366" y="228"/>
                        </a:lnTo>
                        <a:lnTo>
                          <a:pt x="368" y="231"/>
                        </a:lnTo>
                        <a:lnTo>
                          <a:pt x="368" y="233"/>
                        </a:lnTo>
                        <a:lnTo>
                          <a:pt x="369" y="234"/>
                        </a:lnTo>
                        <a:lnTo>
                          <a:pt x="369" y="236"/>
                        </a:lnTo>
                        <a:lnTo>
                          <a:pt x="371" y="236"/>
                        </a:lnTo>
                        <a:lnTo>
                          <a:pt x="385" y="242"/>
                        </a:lnTo>
                        <a:lnTo>
                          <a:pt x="403" y="250"/>
                        </a:lnTo>
                        <a:lnTo>
                          <a:pt x="412" y="253"/>
                        </a:lnTo>
                        <a:lnTo>
                          <a:pt x="415" y="253"/>
                        </a:lnTo>
                        <a:lnTo>
                          <a:pt x="418" y="252"/>
                        </a:lnTo>
                        <a:lnTo>
                          <a:pt x="418" y="247"/>
                        </a:lnTo>
                        <a:lnTo>
                          <a:pt x="420" y="246"/>
                        </a:lnTo>
                        <a:lnTo>
                          <a:pt x="420" y="244"/>
                        </a:lnTo>
                        <a:lnTo>
                          <a:pt x="422" y="242"/>
                        </a:lnTo>
                        <a:lnTo>
                          <a:pt x="422" y="239"/>
                        </a:lnTo>
                        <a:lnTo>
                          <a:pt x="423" y="236"/>
                        </a:lnTo>
                        <a:lnTo>
                          <a:pt x="423" y="234"/>
                        </a:lnTo>
                        <a:lnTo>
                          <a:pt x="423" y="233"/>
                        </a:lnTo>
                        <a:lnTo>
                          <a:pt x="425" y="233"/>
                        </a:lnTo>
                        <a:lnTo>
                          <a:pt x="426" y="234"/>
                        </a:lnTo>
                        <a:lnTo>
                          <a:pt x="428" y="234"/>
                        </a:lnTo>
                        <a:lnTo>
                          <a:pt x="450" y="244"/>
                        </a:lnTo>
                        <a:lnTo>
                          <a:pt x="463" y="250"/>
                        </a:lnTo>
                        <a:lnTo>
                          <a:pt x="471" y="253"/>
                        </a:lnTo>
                        <a:lnTo>
                          <a:pt x="472" y="253"/>
                        </a:lnTo>
                        <a:lnTo>
                          <a:pt x="472" y="255"/>
                        </a:lnTo>
                        <a:lnTo>
                          <a:pt x="472" y="257"/>
                        </a:lnTo>
                        <a:lnTo>
                          <a:pt x="472" y="261"/>
                        </a:lnTo>
                        <a:lnTo>
                          <a:pt x="474" y="263"/>
                        </a:lnTo>
                        <a:lnTo>
                          <a:pt x="464" y="261"/>
                        </a:lnTo>
                        <a:lnTo>
                          <a:pt x="463" y="263"/>
                        </a:lnTo>
                        <a:lnTo>
                          <a:pt x="461" y="263"/>
                        </a:lnTo>
                        <a:lnTo>
                          <a:pt x="460" y="263"/>
                        </a:lnTo>
                        <a:lnTo>
                          <a:pt x="458" y="265"/>
                        </a:lnTo>
                        <a:lnTo>
                          <a:pt x="458" y="266"/>
                        </a:lnTo>
                        <a:lnTo>
                          <a:pt x="453" y="272"/>
                        </a:lnTo>
                        <a:lnTo>
                          <a:pt x="452" y="276"/>
                        </a:lnTo>
                        <a:lnTo>
                          <a:pt x="449" y="280"/>
                        </a:lnTo>
                        <a:lnTo>
                          <a:pt x="447" y="284"/>
                        </a:lnTo>
                        <a:lnTo>
                          <a:pt x="445" y="285"/>
                        </a:lnTo>
                        <a:lnTo>
                          <a:pt x="442" y="287"/>
                        </a:lnTo>
                        <a:lnTo>
                          <a:pt x="441" y="288"/>
                        </a:lnTo>
                        <a:lnTo>
                          <a:pt x="437" y="290"/>
                        </a:lnTo>
                        <a:lnTo>
                          <a:pt x="434" y="290"/>
                        </a:lnTo>
                        <a:lnTo>
                          <a:pt x="433" y="291"/>
                        </a:lnTo>
                        <a:lnTo>
                          <a:pt x="431" y="295"/>
                        </a:lnTo>
                        <a:lnTo>
                          <a:pt x="431" y="296"/>
                        </a:lnTo>
                        <a:lnTo>
                          <a:pt x="430" y="298"/>
                        </a:lnTo>
                        <a:lnTo>
                          <a:pt x="428" y="301"/>
                        </a:lnTo>
                        <a:lnTo>
                          <a:pt x="426" y="303"/>
                        </a:lnTo>
                        <a:lnTo>
                          <a:pt x="426" y="304"/>
                        </a:lnTo>
                        <a:lnTo>
                          <a:pt x="426" y="306"/>
                        </a:lnTo>
                        <a:lnTo>
                          <a:pt x="426" y="309"/>
                        </a:lnTo>
                        <a:lnTo>
                          <a:pt x="425" y="310"/>
                        </a:lnTo>
                        <a:lnTo>
                          <a:pt x="422" y="314"/>
                        </a:lnTo>
                        <a:lnTo>
                          <a:pt x="422" y="315"/>
                        </a:lnTo>
                        <a:lnTo>
                          <a:pt x="420" y="315"/>
                        </a:lnTo>
                        <a:lnTo>
                          <a:pt x="420" y="320"/>
                        </a:lnTo>
                        <a:lnTo>
                          <a:pt x="417" y="318"/>
                        </a:lnTo>
                        <a:lnTo>
                          <a:pt x="415" y="318"/>
                        </a:lnTo>
                        <a:lnTo>
                          <a:pt x="414" y="320"/>
                        </a:lnTo>
                        <a:lnTo>
                          <a:pt x="412" y="323"/>
                        </a:lnTo>
                        <a:lnTo>
                          <a:pt x="411" y="325"/>
                        </a:lnTo>
                        <a:lnTo>
                          <a:pt x="409" y="326"/>
                        </a:lnTo>
                        <a:lnTo>
                          <a:pt x="409" y="329"/>
                        </a:lnTo>
                        <a:lnTo>
                          <a:pt x="407" y="333"/>
                        </a:lnTo>
                        <a:lnTo>
                          <a:pt x="406" y="334"/>
                        </a:lnTo>
                        <a:lnTo>
                          <a:pt x="406" y="336"/>
                        </a:lnTo>
                        <a:lnTo>
                          <a:pt x="403" y="337"/>
                        </a:lnTo>
                        <a:lnTo>
                          <a:pt x="401" y="339"/>
                        </a:lnTo>
                        <a:lnTo>
                          <a:pt x="401" y="341"/>
                        </a:lnTo>
                        <a:lnTo>
                          <a:pt x="399" y="344"/>
                        </a:lnTo>
                        <a:lnTo>
                          <a:pt x="398" y="345"/>
                        </a:lnTo>
                        <a:lnTo>
                          <a:pt x="396" y="347"/>
                        </a:lnTo>
                        <a:lnTo>
                          <a:pt x="395" y="348"/>
                        </a:lnTo>
                        <a:lnTo>
                          <a:pt x="393" y="348"/>
                        </a:lnTo>
                        <a:lnTo>
                          <a:pt x="393" y="350"/>
                        </a:lnTo>
                        <a:lnTo>
                          <a:pt x="392" y="353"/>
                        </a:lnTo>
                        <a:lnTo>
                          <a:pt x="388" y="358"/>
                        </a:lnTo>
                        <a:lnTo>
                          <a:pt x="388" y="360"/>
                        </a:lnTo>
                        <a:lnTo>
                          <a:pt x="385" y="360"/>
                        </a:lnTo>
                        <a:lnTo>
                          <a:pt x="382" y="363"/>
                        </a:lnTo>
                        <a:lnTo>
                          <a:pt x="379" y="363"/>
                        </a:lnTo>
                        <a:lnTo>
                          <a:pt x="376" y="364"/>
                        </a:lnTo>
                        <a:lnTo>
                          <a:pt x="373" y="363"/>
                        </a:lnTo>
                        <a:lnTo>
                          <a:pt x="369" y="363"/>
                        </a:lnTo>
                        <a:lnTo>
                          <a:pt x="361" y="361"/>
                        </a:lnTo>
                        <a:lnTo>
                          <a:pt x="352" y="360"/>
                        </a:lnTo>
                        <a:lnTo>
                          <a:pt x="325" y="355"/>
                        </a:lnTo>
                        <a:lnTo>
                          <a:pt x="317" y="353"/>
                        </a:lnTo>
                        <a:lnTo>
                          <a:pt x="316" y="353"/>
                        </a:lnTo>
                        <a:lnTo>
                          <a:pt x="314" y="353"/>
                        </a:lnTo>
                        <a:lnTo>
                          <a:pt x="312" y="355"/>
                        </a:lnTo>
                        <a:lnTo>
                          <a:pt x="311" y="356"/>
                        </a:lnTo>
                        <a:lnTo>
                          <a:pt x="308" y="361"/>
                        </a:lnTo>
                        <a:lnTo>
                          <a:pt x="306" y="364"/>
                        </a:lnTo>
                        <a:lnTo>
                          <a:pt x="304" y="369"/>
                        </a:lnTo>
                        <a:lnTo>
                          <a:pt x="304" y="372"/>
                        </a:lnTo>
                        <a:lnTo>
                          <a:pt x="304" y="379"/>
                        </a:lnTo>
                        <a:lnTo>
                          <a:pt x="304" y="386"/>
                        </a:lnTo>
                        <a:lnTo>
                          <a:pt x="304" y="391"/>
                        </a:lnTo>
                        <a:lnTo>
                          <a:pt x="304" y="394"/>
                        </a:lnTo>
                        <a:lnTo>
                          <a:pt x="306" y="399"/>
                        </a:lnTo>
                        <a:lnTo>
                          <a:pt x="309" y="404"/>
                        </a:lnTo>
                        <a:lnTo>
                          <a:pt x="311" y="410"/>
                        </a:lnTo>
                        <a:lnTo>
                          <a:pt x="312" y="418"/>
                        </a:lnTo>
                        <a:lnTo>
                          <a:pt x="312" y="425"/>
                        </a:lnTo>
                        <a:lnTo>
                          <a:pt x="314" y="428"/>
                        </a:lnTo>
                        <a:lnTo>
                          <a:pt x="314" y="434"/>
                        </a:lnTo>
                        <a:lnTo>
                          <a:pt x="314" y="437"/>
                        </a:lnTo>
                        <a:lnTo>
                          <a:pt x="314" y="442"/>
                        </a:lnTo>
                        <a:lnTo>
                          <a:pt x="314" y="445"/>
                        </a:lnTo>
                        <a:lnTo>
                          <a:pt x="311" y="445"/>
                        </a:lnTo>
                        <a:lnTo>
                          <a:pt x="309" y="447"/>
                        </a:lnTo>
                        <a:lnTo>
                          <a:pt x="306" y="447"/>
                        </a:lnTo>
                        <a:lnTo>
                          <a:pt x="306" y="450"/>
                        </a:lnTo>
                        <a:lnTo>
                          <a:pt x="304" y="451"/>
                        </a:lnTo>
                        <a:lnTo>
                          <a:pt x="304" y="453"/>
                        </a:lnTo>
                        <a:lnTo>
                          <a:pt x="304" y="455"/>
                        </a:lnTo>
                        <a:lnTo>
                          <a:pt x="301" y="456"/>
                        </a:lnTo>
                        <a:lnTo>
                          <a:pt x="300" y="458"/>
                        </a:lnTo>
                        <a:lnTo>
                          <a:pt x="297" y="461"/>
                        </a:lnTo>
                        <a:lnTo>
                          <a:pt x="295" y="464"/>
                        </a:lnTo>
                        <a:lnTo>
                          <a:pt x="295" y="467"/>
                        </a:lnTo>
                        <a:lnTo>
                          <a:pt x="295" y="470"/>
                        </a:lnTo>
                        <a:lnTo>
                          <a:pt x="297" y="474"/>
                        </a:lnTo>
                        <a:lnTo>
                          <a:pt x="297" y="477"/>
                        </a:lnTo>
                        <a:lnTo>
                          <a:pt x="298" y="478"/>
                        </a:lnTo>
                        <a:lnTo>
                          <a:pt x="298" y="482"/>
                        </a:lnTo>
                        <a:lnTo>
                          <a:pt x="297" y="486"/>
                        </a:lnTo>
                        <a:lnTo>
                          <a:pt x="295" y="496"/>
                        </a:lnTo>
                        <a:lnTo>
                          <a:pt x="295" y="499"/>
                        </a:lnTo>
                        <a:lnTo>
                          <a:pt x="295" y="504"/>
                        </a:lnTo>
                        <a:lnTo>
                          <a:pt x="297" y="505"/>
                        </a:lnTo>
                        <a:lnTo>
                          <a:pt x="297" y="507"/>
                        </a:lnTo>
                        <a:lnTo>
                          <a:pt x="295" y="512"/>
                        </a:lnTo>
                        <a:lnTo>
                          <a:pt x="293" y="518"/>
                        </a:lnTo>
                        <a:lnTo>
                          <a:pt x="293" y="521"/>
                        </a:lnTo>
                        <a:lnTo>
                          <a:pt x="293" y="524"/>
                        </a:lnTo>
                        <a:lnTo>
                          <a:pt x="293" y="526"/>
                        </a:lnTo>
                        <a:lnTo>
                          <a:pt x="295" y="529"/>
                        </a:lnTo>
                        <a:lnTo>
                          <a:pt x="297" y="534"/>
                        </a:lnTo>
                        <a:lnTo>
                          <a:pt x="300" y="537"/>
                        </a:lnTo>
                        <a:lnTo>
                          <a:pt x="300" y="540"/>
                        </a:lnTo>
                        <a:lnTo>
                          <a:pt x="298" y="543"/>
                        </a:lnTo>
                        <a:lnTo>
                          <a:pt x="297" y="546"/>
                        </a:lnTo>
                        <a:lnTo>
                          <a:pt x="297" y="548"/>
                        </a:lnTo>
                        <a:lnTo>
                          <a:pt x="297" y="551"/>
                        </a:lnTo>
                        <a:lnTo>
                          <a:pt x="298" y="554"/>
                        </a:lnTo>
                        <a:lnTo>
                          <a:pt x="300" y="556"/>
                        </a:lnTo>
                        <a:lnTo>
                          <a:pt x="301" y="558"/>
                        </a:lnTo>
                        <a:lnTo>
                          <a:pt x="303" y="558"/>
                        </a:lnTo>
                        <a:lnTo>
                          <a:pt x="306" y="559"/>
                        </a:lnTo>
                        <a:lnTo>
                          <a:pt x="308" y="559"/>
                        </a:lnTo>
                        <a:lnTo>
                          <a:pt x="311" y="558"/>
                        </a:lnTo>
                        <a:lnTo>
                          <a:pt x="312" y="558"/>
                        </a:lnTo>
                        <a:lnTo>
                          <a:pt x="314" y="558"/>
                        </a:lnTo>
                        <a:lnTo>
                          <a:pt x="316" y="558"/>
                        </a:lnTo>
                        <a:lnTo>
                          <a:pt x="317" y="558"/>
                        </a:lnTo>
                        <a:lnTo>
                          <a:pt x="317" y="556"/>
                        </a:lnTo>
                        <a:lnTo>
                          <a:pt x="319" y="556"/>
                        </a:lnTo>
                        <a:lnTo>
                          <a:pt x="320" y="556"/>
                        </a:lnTo>
                        <a:lnTo>
                          <a:pt x="322" y="556"/>
                        </a:lnTo>
                        <a:lnTo>
                          <a:pt x="323" y="556"/>
                        </a:lnTo>
                        <a:lnTo>
                          <a:pt x="327" y="559"/>
                        </a:lnTo>
                        <a:lnTo>
                          <a:pt x="331" y="562"/>
                        </a:lnTo>
                        <a:lnTo>
                          <a:pt x="336" y="567"/>
                        </a:lnTo>
                        <a:lnTo>
                          <a:pt x="342" y="572"/>
                        </a:lnTo>
                        <a:lnTo>
                          <a:pt x="346" y="577"/>
                        </a:lnTo>
                        <a:lnTo>
                          <a:pt x="349" y="580"/>
                        </a:lnTo>
                        <a:lnTo>
                          <a:pt x="350" y="581"/>
                        </a:lnTo>
                        <a:lnTo>
                          <a:pt x="350" y="583"/>
                        </a:lnTo>
                        <a:lnTo>
                          <a:pt x="349" y="584"/>
                        </a:lnTo>
                        <a:lnTo>
                          <a:pt x="346" y="586"/>
                        </a:lnTo>
                        <a:lnTo>
                          <a:pt x="341" y="591"/>
                        </a:lnTo>
                        <a:lnTo>
                          <a:pt x="338" y="594"/>
                        </a:lnTo>
                        <a:lnTo>
                          <a:pt x="335" y="597"/>
                        </a:lnTo>
                        <a:lnTo>
                          <a:pt x="331" y="599"/>
                        </a:lnTo>
                        <a:lnTo>
                          <a:pt x="328" y="600"/>
                        </a:lnTo>
                        <a:lnTo>
                          <a:pt x="327" y="602"/>
                        </a:lnTo>
                        <a:lnTo>
                          <a:pt x="325" y="604"/>
                        </a:lnTo>
                        <a:lnTo>
                          <a:pt x="325" y="605"/>
                        </a:lnTo>
                        <a:lnTo>
                          <a:pt x="323" y="607"/>
                        </a:lnTo>
                        <a:lnTo>
                          <a:pt x="323" y="611"/>
                        </a:lnTo>
                        <a:lnTo>
                          <a:pt x="323" y="616"/>
                        </a:lnTo>
                        <a:lnTo>
                          <a:pt x="322" y="618"/>
                        </a:lnTo>
                        <a:lnTo>
                          <a:pt x="322" y="619"/>
                        </a:lnTo>
                        <a:lnTo>
                          <a:pt x="319" y="618"/>
                        </a:lnTo>
                        <a:lnTo>
                          <a:pt x="316" y="618"/>
                        </a:lnTo>
                        <a:lnTo>
                          <a:pt x="314" y="619"/>
                        </a:lnTo>
                        <a:lnTo>
                          <a:pt x="312" y="621"/>
                        </a:lnTo>
                        <a:lnTo>
                          <a:pt x="311" y="623"/>
                        </a:lnTo>
                        <a:lnTo>
                          <a:pt x="304" y="623"/>
                        </a:lnTo>
                        <a:lnTo>
                          <a:pt x="304" y="624"/>
                        </a:lnTo>
                        <a:lnTo>
                          <a:pt x="303" y="624"/>
                        </a:lnTo>
                        <a:lnTo>
                          <a:pt x="303" y="626"/>
                        </a:lnTo>
                        <a:lnTo>
                          <a:pt x="301" y="627"/>
                        </a:lnTo>
                        <a:lnTo>
                          <a:pt x="301" y="630"/>
                        </a:lnTo>
                        <a:lnTo>
                          <a:pt x="298" y="634"/>
                        </a:lnTo>
                        <a:lnTo>
                          <a:pt x="295" y="637"/>
                        </a:lnTo>
                        <a:lnTo>
                          <a:pt x="295" y="638"/>
                        </a:lnTo>
                        <a:lnTo>
                          <a:pt x="293" y="640"/>
                        </a:lnTo>
                        <a:lnTo>
                          <a:pt x="290" y="642"/>
                        </a:lnTo>
                        <a:lnTo>
                          <a:pt x="289" y="643"/>
                        </a:lnTo>
                        <a:lnTo>
                          <a:pt x="287" y="645"/>
                        </a:lnTo>
                        <a:lnTo>
                          <a:pt x="285" y="646"/>
                        </a:lnTo>
                        <a:lnTo>
                          <a:pt x="282" y="648"/>
                        </a:lnTo>
                        <a:lnTo>
                          <a:pt x="279" y="651"/>
                        </a:lnTo>
                        <a:lnTo>
                          <a:pt x="279" y="653"/>
                        </a:lnTo>
                        <a:lnTo>
                          <a:pt x="277" y="654"/>
                        </a:lnTo>
                        <a:lnTo>
                          <a:pt x="276" y="657"/>
                        </a:lnTo>
                        <a:lnTo>
                          <a:pt x="274" y="659"/>
                        </a:lnTo>
                        <a:lnTo>
                          <a:pt x="273" y="662"/>
                        </a:lnTo>
                        <a:lnTo>
                          <a:pt x="273" y="664"/>
                        </a:lnTo>
                        <a:lnTo>
                          <a:pt x="273" y="665"/>
                        </a:lnTo>
                        <a:lnTo>
                          <a:pt x="271" y="665"/>
                        </a:lnTo>
                        <a:lnTo>
                          <a:pt x="271" y="667"/>
                        </a:lnTo>
                        <a:lnTo>
                          <a:pt x="274" y="676"/>
                        </a:lnTo>
                        <a:lnTo>
                          <a:pt x="282" y="691"/>
                        </a:lnTo>
                        <a:lnTo>
                          <a:pt x="289" y="702"/>
                        </a:lnTo>
                        <a:lnTo>
                          <a:pt x="292" y="710"/>
                        </a:lnTo>
                        <a:lnTo>
                          <a:pt x="297" y="718"/>
                        </a:lnTo>
                        <a:lnTo>
                          <a:pt x="298" y="722"/>
                        </a:lnTo>
                        <a:lnTo>
                          <a:pt x="300" y="727"/>
                        </a:lnTo>
                        <a:lnTo>
                          <a:pt x="301" y="730"/>
                        </a:lnTo>
                        <a:lnTo>
                          <a:pt x="292" y="738"/>
                        </a:lnTo>
                        <a:lnTo>
                          <a:pt x="285" y="743"/>
                        </a:lnTo>
                        <a:lnTo>
                          <a:pt x="282" y="746"/>
                        </a:lnTo>
                        <a:lnTo>
                          <a:pt x="281" y="748"/>
                        </a:lnTo>
                        <a:lnTo>
                          <a:pt x="281" y="749"/>
                        </a:lnTo>
                        <a:lnTo>
                          <a:pt x="282" y="751"/>
                        </a:lnTo>
                        <a:lnTo>
                          <a:pt x="282" y="756"/>
                        </a:lnTo>
                        <a:lnTo>
                          <a:pt x="281" y="757"/>
                        </a:lnTo>
                        <a:lnTo>
                          <a:pt x="281" y="759"/>
                        </a:lnTo>
                        <a:lnTo>
                          <a:pt x="279" y="760"/>
                        </a:lnTo>
                        <a:lnTo>
                          <a:pt x="274" y="763"/>
                        </a:lnTo>
                        <a:lnTo>
                          <a:pt x="273" y="767"/>
                        </a:lnTo>
                        <a:lnTo>
                          <a:pt x="271" y="768"/>
                        </a:lnTo>
                        <a:lnTo>
                          <a:pt x="268" y="773"/>
                        </a:lnTo>
                        <a:lnTo>
                          <a:pt x="266" y="773"/>
                        </a:lnTo>
                        <a:lnTo>
                          <a:pt x="266" y="771"/>
                        </a:lnTo>
                        <a:lnTo>
                          <a:pt x="262" y="776"/>
                        </a:lnTo>
                        <a:lnTo>
                          <a:pt x="255" y="781"/>
                        </a:lnTo>
                        <a:lnTo>
                          <a:pt x="241" y="792"/>
                        </a:lnTo>
                        <a:lnTo>
                          <a:pt x="233" y="798"/>
                        </a:lnTo>
                        <a:lnTo>
                          <a:pt x="227" y="802"/>
                        </a:lnTo>
                        <a:lnTo>
                          <a:pt x="222" y="806"/>
                        </a:lnTo>
                        <a:lnTo>
                          <a:pt x="224" y="806"/>
                        </a:lnTo>
                        <a:lnTo>
                          <a:pt x="225" y="808"/>
                        </a:lnTo>
                        <a:lnTo>
                          <a:pt x="228" y="808"/>
                        </a:lnTo>
                        <a:lnTo>
                          <a:pt x="230" y="808"/>
                        </a:lnTo>
                        <a:lnTo>
                          <a:pt x="232" y="809"/>
                        </a:lnTo>
                        <a:lnTo>
                          <a:pt x="233" y="811"/>
                        </a:lnTo>
                        <a:lnTo>
                          <a:pt x="235" y="813"/>
                        </a:lnTo>
                        <a:lnTo>
                          <a:pt x="236" y="814"/>
                        </a:lnTo>
                        <a:lnTo>
                          <a:pt x="236" y="817"/>
                        </a:lnTo>
                        <a:lnTo>
                          <a:pt x="238" y="821"/>
                        </a:lnTo>
                        <a:lnTo>
                          <a:pt x="238" y="822"/>
                        </a:lnTo>
                        <a:lnTo>
                          <a:pt x="238" y="824"/>
                        </a:lnTo>
                        <a:lnTo>
                          <a:pt x="238" y="825"/>
                        </a:lnTo>
                        <a:lnTo>
                          <a:pt x="238" y="827"/>
                        </a:lnTo>
                        <a:lnTo>
                          <a:pt x="238" y="830"/>
                        </a:lnTo>
                        <a:lnTo>
                          <a:pt x="238" y="832"/>
                        </a:lnTo>
                        <a:lnTo>
                          <a:pt x="238" y="833"/>
                        </a:lnTo>
                        <a:lnTo>
                          <a:pt x="236" y="835"/>
                        </a:lnTo>
                        <a:lnTo>
                          <a:pt x="235" y="836"/>
                        </a:lnTo>
                        <a:lnTo>
                          <a:pt x="233" y="836"/>
                        </a:lnTo>
                        <a:lnTo>
                          <a:pt x="232" y="836"/>
                        </a:lnTo>
                        <a:lnTo>
                          <a:pt x="227" y="835"/>
                        </a:lnTo>
                        <a:lnTo>
                          <a:pt x="227" y="833"/>
                        </a:lnTo>
                        <a:lnTo>
                          <a:pt x="225" y="833"/>
                        </a:lnTo>
                        <a:lnTo>
                          <a:pt x="224" y="833"/>
                        </a:lnTo>
                        <a:lnTo>
                          <a:pt x="222" y="835"/>
                        </a:lnTo>
                        <a:lnTo>
                          <a:pt x="220" y="835"/>
                        </a:lnTo>
                        <a:lnTo>
                          <a:pt x="220" y="836"/>
                        </a:lnTo>
                        <a:lnTo>
                          <a:pt x="220" y="838"/>
                        </a:lnTo>
                        <a:lnTo>
                          <a:pt x="219" y="838"/>
                        </a:lnTo>
                        <a:lnTo>
                          <a:pt x="216" y="841"/>
                        </a:lnTo>
                        <a:lnTo>
                          <a:pt x="213" y="844"/>
                        </a:lnTo>
                        <a:lnTo>
                          <a:pt x="211" y="844"/>
                        </a:lnTo>
                        <a:lnTo>
                          <a:pt x="211" y="846"/>
                        </a:lnTo>
                        <a:lnTo>
                          <a:pt x="209" y="847"/>
                        </a:lnTo>
                        <a:lnTo>
                          <a:pt x="208" y="849"/>
                        </a:lnTo>
                        <a:lnTo>
                          <a:pt x="208" y="851"/>
                        </a:lnTo>
                        <a:lnTo>
                          <a:pt x="208" y="852"/>
                        </a:lnTo>
                        <a:lnTo>
                          <a:pt x="205" y="857"/>
                        </a:lnTo>
                        <a:lnTo>
                          <a:pt x="203" y="859"/>
                        </a:lnTo>
                        <a:lnTo>
                          <a:pt x="203" y="860"/>
                        </a:lnTo>
                        <a:lnTo>
                          <a:pt x="203" y="863"/>
                        </a:lnTo>
                        <a:lnTo>
                          <a:pt x="201" y="868"/>
                        </a:lnTo>
                        <a:lnTo>
                          <a:pt x="200" y="873"/>
                        </a:lnTo>
                        <a:lnTo>
                          <a:pt x="200" y="874"/>
                        </a:lnTo>
                        <a:lnTo>
                          <a:pt x="200" y="876"/>
                        </a:lnTo>
                        <a:lnTo>
                          <a:pt x="200" y="878"/>
                        </a:lnTo>
                        <a:lnTo>
                          <a:pt x="201" y="881"/>
                        </a:lnTo>
                        <a:lnTo>
                          <a:pt x="201" y="882"/>
                        </a:lnTo>
                        <a:lnTo>
                          <a:pt x="203" y="884"/>
                        </a:lnTo>
                        <a:lnTo>
                          <a:pt x="205" y="885"/>
                        </a:lnTo>
                        <a:lnTo>
                          <a:pt x="206" y="887"/>
                        </a:lnTo>
                        <a:lnTo>
                          <a:pt x="208" y="889"/>
                        </a:lnTo>
                        <a:lnTo>
                          <a:pt x="209" y="890"/>
                        </a:lnTo>
                        <a:lnTo>
                          <a:pt x="211" y="890"/>
                        </a:lnTo>
                        <a:lnTo>
                          <a:pt x="213" y="890"/>
                        </a:lnTo>
                        <a:lnTo>
                          <a:pt x="214" y="892"/>
                        </a:lnTo>
                        <a:lnTo>
                          <a:pt x="216" y="893"/>
                        </a:lnTo>
                        <a:lnTo>
                          <a:pt x="219" y="893"/>
                        </a:lnTo>
                        <a:lnTo>
                          <a:pt x="220" y="895"/>
                        </a:lnTo>
                        <a:lnTo>
                          <a:pt x="222" y="897"/>
                        </a:lnTo>
                        <a:lnTo>
                          <a:pt x="225" y="901"/>
                        </a:lnTo>
                        <a:lnTo>
                          <a:pt x="227" y="901"/>
                        </a:lnTo>
                        <a:lnTo>
                          <a:pt x="228" y="903"/>
                        </a:lnTo>
                        <a:lnTo>
                          <a:pt x="230" y="904"/>
                        </a:lnTo>
                        <a:lnTo>
                          <a:pt x="232" y="906"/>
                        </a:lnTo>
                        <a:lnTo>
                          <a:pt x="233" y="908"/>
                        </a:lnTo>
                        <a:lnTo>
                          <a:pt x="233" y="909"/>
                        </a:lnTo>
                        <a:lnTo>
                          <a:pt x="235" y="912"/>
                        </a:lnTo>
                        <a:lnTo>
                          <a:pt x="235" y="914"/>
                        </a:lnTo>
                        <a:lnTo>
                          <a:pt x="236" y="914"/>
                        </a:lnTo>
                        <a:lnTo>
                          <a:pt x="236" y="916"/>
                        </a:lnTo>
                        <a:lnTo>
                          <a:pt x="236" y="919"/>
                        </a:lnTo>
                        <a:lnTo>
                          <a:pt x="238" y="919"/>
                        </a:lnTo>
                        <a:lnTo>
                          <a:pt x="238" y="920"/>
                        </a:lnTo>
                        <a:lnTo>
                          <a:pt x="236" y="922"/>
                        </a:lnTo>
                        <a:lnTo>
                          <a:pt x="238" y="923"/>
                        </a:lnTo>
                        <a:lnTo>
                          <a:pt x="238" y="925"/>
                        </a:lnTo>
                        <a:lnTo>
                          <a:pt x="238" y="927"/>
                        </a:lnTo>
                        <a:lnTo>
                          <a:pt x="238" y="928"/>
                        </a:lnTo>
                        <a:lnTo>
                          <a:pt x="239" y="930"/>
                        </a:lnTo>
                        <a:lnTo>
                          <a:pt x="241" y="933"/>
                        </a:lnTo>
                        <a:lnTo>
                          <a:pt x="241" y="935"/>
                        </a:lnTo>
                        <a:lnTo>
                          <a:pt x="243" y="936"/>
                        </a:lnTo>
                        <a:lnTo>
                          <a:pt x="241" y="941"/>
                        </a:lnTo>
                        <a:lnTo>
                          <a:pt x="241" y="942"/>
                        </a:lnTo>
                        <a:lnTo>
                          <a:pt x="241" y="944"/>
                        </a:lnTo>
                        <a:lnTo>
                          <a:pt x="241" y="946"/>
                        </a:lnTo>
                        <a:lnTo>
                          <a:pt x="243" y="950"/>
                        </a:lnTo>
                        <a:lnTo>
                          <a:pt x="246" y="952"/>
                        </a:lnTo>
                        <a:lnTo>
                          <a:pt x="249" y="954"/>
                        </a:lnTo>
                        <a:lnTo>
                          <a:pt x="251" y="955"/>
                        </a:lnTo>
                        <a:lnTo>
                          <a:pt x="252" y="957"/>
                        </a:lnTo>
                        <a:lnTo>
                          <a:pt x="252" y="958"/>
                        </a:lnTo>
                        <a:lnTo>
                          <a:pt x="254" y="960"/>
                        </a:lnTo>
                        <a:lnTo>
                          <a:pt x="255" y="962"/>
                        </a:lnTo>
                        <a:lnTo>
                          <a:pt x="255" y="963"/>
                        </a:lnTo>
                        <a:lnTo>
                          <a:pt x="257" y="965"/>
                        </a:lnTo>
                        <a:lnTo>
                          <a:pt x="257" y="966"/>
                        </a:lnTo>
                        <a:lnTo>
                          <a:pt x="258" y="968"/>
                        </a:lnTo>
                        <a:lnTo>
                          <a:pt x="258" y="969"/>
                        </a:lnTo>
                        <a:lnTo>
                          <a:pt x="258" y="971"/>
                        </a:lnTo>
                        <a:lnTo>
                          <a:pt x="258" y="973"/>
                        </a:lnTo>
                        <a:lnTo>
                          <a:pt x="257" y="974"/>
                        </a:lnTo>
                        <a:lnTo>
                          <a:pt x="257" y="976"/>
                        </a:lnTo>
                        <a:lnTo>
                          <a:pt x="254" y="981"/>
                        </a:lnTo>
                        <a:lnTo>
                          <a:pt x="252" y="982"/>
                        </a:lnTo>
                        <a:lnTo>
                          <a:pt x="252" y="985"/>
                        </a:lnTo>
                        <a:lnTo>
                          <a:pt x="251" y="985"/>
                        </a:lnTo>
                        <a:lnTo>
                          <a:pt x="251" y="987"/>
                        </a:lnTo>
                        <a:lnTo>
                          <a:pt x="251" y="992"/>
                        </a:lnTo>
                        <a:lnTo>
                          <a:pt x="251" y="993"/>
                        </a:lnTo>
                        <a:lnTo>
                          <a:pt x="251" y="1000"/>
                        </a:lnTo>
                        <a:lnTo>
                          <a:pt x="251" y="1001"/>
                        </a:lnTo>
                        <a:lnTo>
                          <a:pt x="249" y="1003"/>
                        </a:lnTo>
                        <a:lnTo>
                          <a:pt x="247" y="1004"/>
                        </a:lnTo>
                        <a:lnTo>
                          <a:pt x="246" y="1004"/>
                        </a:lnTo>
                        <a:lnTo>
                          <a:pt x="244" y="1004"/>
                        </a:lnTo>
                        <a:lnTo>
                          <a:pt x="243" y="1006"/>
                        </a:lnTo>
                        <a:lnTo>
                          <a:pt x="238" y="1003"/>
                        </a:lnTo>
                        <a:lnTo>
                          <a:pt x="236" y="1001"/>
                        </a:lnTo>
                        <a:lnTo>
                          <a:pt x="236" y="1000"/>
                        </a:lnTo>
                        <a:lnTo>
                          <a:pt x="236" y="998"/>
                        </a:lnTo>
                        <a:lnTo>
                          <a:pt x="235" y="998"/>
                        </a:lnTo>
                        <a:lnTo>
                          <a:pt x="233" y="996"/>
                        </a:lnTo>
                        <a:lnTo>
                          <a:pt x="232" y="995"/>
                        </a:lnTo>
                        <a:lnTo>
                          <a:pt x="232" y="993"/>
                        </a:lnTo>
                        <a:lnTo>
                          <a:pt x="230" y="992"/>
                        </a:lnTo>
                        <a:lnTo>
                          <a:pt x="228" y="990"/>
                        </a:lnTo>
                        <a:lnTo>
                          <a:pt x="227" y="987"/>
                        </a:lnTo>
                        <a:lnTo>
                          <a:pt x="225" y="987"/>
                        </a:lnTo>
                        <a:lnTo>
                          <a:pt x="222" y="985"/>
                        </a:lnTo>
                        <a:lnTo>
                          <a:pt x="220" y="985"/>
                        </a:lnTo>
                        <a:lnTo>
                          <a:pt x="216" y="984"/>
                        </a:lnTo>
                        <a:lnTo>
                          <a:pt x="214" y="982"/>
                        </a:lnTo>
                        <a:lnTo>
                          <a:pt x="211" y="982"/>
                        </a:lnTo>
                        <a:lnTo>
                          <a:pt x="209" y="982"/>
                        </a:lnTo>
                        <a:lnTo>
                          <a:pt x="208" y="982"/>
                        </a:lnTo>
                        <a:lnTo>
                          <a:pt x="205" y="982"/>
                        </a:lnTo>
                        <a:lnTo>
                          <a:pt x="203" y="984"/>
                        </a:lnTo>
                        <a:lnTo>
                          <a:pt x="201" y="985"/>
                        </a:lnTo>
                        <a:lnTo>
                          <a:pt x="198" y="985"/>
                        </a:lnTo>
                        <a:lnTo>
                          <a:pt x="197" y="987"/>
                        </a:lnTo>
                        <a:lnTo>
                          <a:pt x="195" y="987"/>
                        </a:lnTo>
                        <a:lnTo>
                          <a:pt x="192" y="987"/>
                        </a:lnTo>
                        <a:lnTo>
                          <a:pt x="189" y="988"/>
                        </a:lnTo>
                        <a:lnTo>
                          <a:pt x="187" y="990"/>
                        </a:lnTo>
                        <a:lnTo>
                          <a:pt x="184" y="992"/>
                        </a:lnTo>
                        <a:lnTo>
                          <a:pt x="184" y="993"/>
                        </a:lnTo>
                        <a:lnTo>
                          <a:pt x="182" y="993"/>
                        </a:lnTo>
                        <a:lnTo>
                          <a:pt x="181" y="995"/>
                        </a:lnTo>
                        <a:lnTo>
                          <a:pt x="181" y="996"/>
                        </a:lnTo>
                        <a:lnTo>
                          <a:pt x="179" y="996"/>
                        </a:lnTo>
                        <a:lnTo>
                          <a:pt x="178" y="998"/>
                        </a:lnTo>
                        <a:lnTo>
                          <a:pt x="176" y="998"/>
                        </a:lnTo>
                        <a:lnTo>
                          <a:pt x="176" y="1000"/>
                        </a:lnTo>
                        <a:lnTo>
                          <a:pt x="175" y="1000"/>
                        </a:lnTo>
                        <a:lnTo>
                          <a:pt x="175" y="1003"/>
                        </a:lnTo>
                        <a:lnTo>
                          <a:pt x="173" y="1004"/>
                        </a:lnTo>
                        <a:lnTo>
                          <a:pt x="173" y="1006"/>
                        </a:lnTo>
                        <a:lnTo>
                          <a:pt x="173" y="1007"/>
                        </a:lnTo>
                        <a:lnTo>
                          <a:pt x="173" y="1009"/>
                        </a:lnTo>
                        <a:lnTo>
                          <a:pt x="175" y="1011"/>
                        </a:lnTo>
                        <a:lnTo>
                          <a:pt x="176" y="1011"/>
                        </a:lnTo>
                        <a:lnTo>
                          <a:pt x="178" y="1012"/>
                        </a:lnTo>
                        <a:lnTo>
                          <a:pt x="178" y="1014"/>
                        </a:lnTo>
                        <a:lnTo>
                          <a:pt x="179" y="1015"/>
                        </a:lnTo>
                        <a:lnTo>
                          <a:pt x="181" y="1015"/>
                        </a:lnTo>
                        <a:lnTo>
                          <a:pt x="182" y="1017"/>
                        </a:lnTo>
                        <a:lnTo>
                          <a:pt x="184" y="1022"/>
                        </a:lnTo>
                        <a:lnTo>
                          <a:pt x="186" y="1023"/>
                        </a:lnTo>
                        <a:lnTo>
                          <a:pt x="186" y="1025"/>
                        </a:lnTo>
                        <a:lnTo>
                          <a:pt x="186" y="1026"/>
                        </a:lnTo>
                        <a:lnTo>
                          <a:pt x="186" y="1028"/>
                        </a:lnTo>
                        <a:lnTo>
                          <a:pt x="189" y="1030"/>
                        </a:lnTo>
                        <a:lnTo>
                          <a:pt x="190" y="1031"/>
                        </a:lnTo>
                        <a:lnTo>
                          <a:pt x="192" y="1031"/>
                        </a:lnTo>
                        <a:lnTo>
                          <a:pt x="194" y="1033"/>
                        </a:lnTo>
                        <a:lnTo>
                          <a:pt x="195" y="1034"/>
                        </a:lnTo>
                        <a:lnTo>
                          <a:pt x="197" y="1036"/>
                        </a:lnTo>
                        <a:lnTo>
                          <a:pt x="198" y="1036"/>
                        </a:lnTo>
                        <a:lnTo>
                          <a:pt x="200" y="1038"/>
                        </a:lnTo>
                        <a:lnTo>
                          <a:pt x="201" y="1038"/>
                        </a:lnTo>
                        <a:lnTo>
                          <a:pt x="203" y="1038"/>
                        </a:lnTo>
                        <a:lnTo>
                          <a:pt x="205" y="1038"/>
                        </a:lnTo>
                        <a:lnTo>
                          <a:pt x="206" y="1038"/>
                        </a:lnTo>
                        <a:lnTo>
                          <a:pt x="206" y="1039"/>
                        </a:lnTo>
                        <a:lnTo>
                          <a:pt x="208" y="1039"/>
                        </a:lnTo>
                        <a:lnTo>
                          <a:pt x="209" y="1039"/>
                        </a:lnTo>
                        <a:lnTo>
                          <a:pt x="213" y="1039"/>
                        </a:lnTo>
                        <a:lnTo>
                          <a:pt x="219" y="1044"/>
                        </a:lnTo>
                        <a:lnTo>
                          <a:pt x="219" y="1045"/>
                        </a:lnTo>
                        <a:lnTo>
                          <a:pt x="219" y="1047"/>
                        </a:lnTo>
                        <a:lnTo>
                          <a:pt x="220" y="1047"/>
                        </a:lnTo>
                        <a:lnTo>
                          <a:pt x="220" y="1049"/>
                        </a:lnTo>
                        <a:lnTo>
                          <a:pt x="222" y="1050"/>
                        </a:lnTo>
                        <a:lnTo>
                          <a:pt x="222" y="1052"/>
                        </a:lnTo>
                        <a:lnTo>
                          <a:pt x="224" y="1053"/>
                        </a:lnTo>
                        <a:lnTo>
                          <a:pt x="224" y="1055"/>
                        </a:lnTo>
                        <a:lnTo>
                          <a:pt x="224" y="1057"/>
                        </a:lnTo>
                        <a:lnTo>
                          <a:pt x="222" y="1061"/>
                        </a:lnTo>
                        <a:lnTo>
                          <a:pt x="222" y="1063"/>
                        </a:lnTo>
                        <a:lnTo>
                          <a:pt x="220" y="1063"/>
                        </a:lnTo>
                        <a:lnTo>
                          <a:pt x="217" y="1066"/>
                        </a:lnTo>
                        <a:lnTo>
                          <a:pt x="216" y="1068"/>
                        </a:lnTo>
                        <a:lnTo>
                          <a:pt x="214" y="1069"/>
                        </a:lnTo>
                        <a:lnTo>
                          <a:pt x="213" y="1071"/>
                        </a:lnTo>
                        <a:lnTo>
                          <a:pt x="209" y="1074"/>
                        </a:lnTo>
                        <a:lnTo>
                          <a:pt x="206" y="1077"/>
                        </a:lnTo>
                        <a:lnTo>
                          <a:pt x="205" y="1079"/>
                        </a:lnTo>
                        <a:lnTo>
                          <a:pt x="205" y="1080"/>
                        </a:lnTo>
                        <a:lnTo>
                          <a:pt x="203" y="1082"/>
                        </a:lnTo>
                        <a:lnTo>
                          <a:pt x="203" y="1083"/>
                        </a:lnTo>
                        <a:lnTo>
                          <a:pt x="203" y="1087"/>
                        </a:lnTo>
                        <a:lnTo>
                          <a:pt x="205" y="1088"/>
                        </a:lnTo>
                        <a:lnTo>
                          <a:pt x="206" y="1090"/>
                        </a:lnTo>
                        <a:lnTo>
                          <a:pt x="208" y="1093"/>
                        </a:lnTo>
                        <a:lnTo>
                          <a:pt x="209" y="1095"/>
                        </a:lnTo>
                        <a:lnTo>
                          <a:pt x="214" y="1095"/>
                        </a:lnTo>
                        <a:lnTo>
                          <a:pt x="216" y="1095"/>
                        </a:lnTo>
                        <a:lnTo>
                          <a:pt x="217" y="1096"/>
                        </a:lnTo>
                        <a:lnTo>
                          <a:pt x="219" y="1096"/>
                        </a:lnTo>
                        <a:lnTo>
                          <a:pt x="220" y="1098"/>
                        </a:lnTo>
                        <a:lnTo>
                          <a:pt x="222" y="1099"/>
                        </a:lnTo>
                        <a:lnTo>
                          <a:pt x="225" y="1102"/>
                        </a:lnTo>
                        <a:lnTo>
                          <a:pt x="228" y="1102"/>
                        </a:lnTo>
                        <a:lnTo>
                          <a:pt x="228" y="1104"/>
                        </a:lnTo>
                        <a:lnTo>
                          <a:pt x="232" y="1107"/>
                        </a:lnTo>
                        <a:lnTo>
                          <a:pt x="233" y="1109"/>
                        </a:lnTo>
                        <a:lnTo>
                          <a:pt x="236" y="1110"/>
                        </a:lnTo>
                        <a:lnTo>
                          <a:pt x="236" y="1112"/>
                        </a:lnTo>
                        <a:lnTo>
                          <a:pt x="236" y="1114"/>
                        </a:lnTo>
                        <a:lnTo>
                          <a:pt x="238" y="1114"/>
                        </a:lnTo>
                        <a:lnTo>
                          <a:pt x="238" y="1117"/>
                        </a:lnTo>
                        <a:lnTo>
                          <a:pt x="238" y="1121"/>
                        </a:lnTo>
                        <a:lnTo>
                          <a:pt x="238" y="1123"/>
                        </a:lnTo>
                        <a:lnTo>
                          <a:pt x="236" y="1125"/>
                        </a:lnTo>
                        <a:lnTo>
                          <a:pt x="235" y="1128"/>
                        </a:lnTo>
                        <a:lnTo>
                          <a:pt x="233" y="1129"/>
                        </a:lnTo>
                        <a:lnTo>
                          <a:pt x="232" y="1131"/>
                        </a:lnTo>
                        <a:lnTo>
                          <a:pt x="230" y="1133"/>
                        </a:lnTo>
                        <a:lnTo>
                          <a:pt x="230" y="1134"/>
                        </a:lnTo>
                        <a:lnTo>
                          <a:pt x="228" y="1136"/>
                        </a:lnTo>
                        <a:lnTo>
                          <a:pt x="228" y="1137"/>
                        </a:lnTo>
                        <a:lnTo>
                          <a:pt x="228" y="1139"/>
                        </a:lnTo>
                        <a:lnTo>
                          <a:pt x="228" y="1142"/>
                        </a:lnTo>
                        <a:lnTo>
                          <a:pt x="228" y="1144"/>
                        </a:lnTo>
                        <a:lnTo>
                          <a:pt x="227" y="1145"/>
                        </a:lnTo>
                        <a:lnTo>
                          <a:pt x="225" y="1148"/>
                        </a:lnTo>
                        <a:lnTo>
                          <a:pt x="224" y="1150"/>
                        </a:lnTo>
                        <a:lnTo>
                          <a:pt x="222" y="1150"/>
                        </a:lnTo>
                        <a:lnTo>
                          <a:pt x="217" y="1152"/>
                        </a:lnTo>
                        <a:lnTo>
                          <a:pt x="216" y="1153"/>
                        </a:lnTo>
                        <a:lnTo>
                          <a:pt x="213" y="1153"/>
                        </a:lnTo>
                        <a:lnTo>
                          <a:pt x="213" y="1155"/>
                        </a:lnTo>
                        <a:lnTo>
                          <a:pt x="211" y="1155"/>
                        </a:lnTo>
                        <a:lnTo>
                          <a:pt x="209" y="1155"/>
                        </a:lnTo>
                        <a:lnTo>
                          <a:pt x="206" y="1158"/>
                        </a:lnTo>
                        <a:lnTo>
                          <a:pt x="205" y="1158"/>
                        </a:lnTo>
                        <a:lnTo>
                          <a:pt x="203" y="1160"/>
                        </a:lnTo>
                        <a:lnTo>
                          <a:pt x="201" y="1160"/>
                        </a:lnTo>
                        <a:lnTo>
                          <a:pt x="198" y="1160"/>
                        </a:lnTo>
                        <a:lnTo>
                          <a:pt x="197" y="1160"/>
                        </a:lnTo>
                        <a:lnTo>
                          <a:pt x="195" y="1160"/>
                        </a:lnTo>
                        <a:lnTo>
                          <a:pt x="190" y="1158"/>
                        </a:lnTo>
                        <a:lnTo>
                          <a:pt x="189" y="1158"/>
                        </a:lnTo>
                        <a:lnTo>
                          <a:pt x="187" y="1158"/>
                        </a:lnTo>
                        <a:lnTo>
                          <a:pt x="186" y="1158"/>
                        </a:lnTo>
                        <a:lnTo>
                          <a:pt x="182" y="1158"/>
                        </a:lnTo>
                        <a:lnTo>
                          <a:pt x="181" y="1158"/>
                        </a:lnTo>
                        <a:lnTo>
                          <a:pt x="179" y="1160"/>
                        </a:lnTo>
                        <a:lnTo>
                          <a:pt x="178" y="1160"/>
                        </a:lnTo>
                        <a:lnTo>
                          <a:pt x="178" y="1161"/>
                        </a:lnTo>
                        <a:lnTo>
                          <a:pt x="176" y="1164"/>
                        </a:lnTo>
                        <a:lnTo>
                          <a:pt x="176" y="1167"/>
                        </a:lnTo>
                        <a:lnTo>
                          <a:pt x="178" y="1171"/>
                        </a:lnTo>
                        <a:lnTo>
                          <a:pt x="178" y="1172"/>
                        </a:lnTo>
                        <a:lnTo>
                          <a:pt x="178" y="1174"/>
                        </a:lnTo>
                        <a:lnTo>
                          <a:pt x="178" y="1177"/>
                        </a:lnTo>
                        <a:lnTo>
                          <a:pt x="179" y="1179"/>
                        </a:lnTo>
                        <a:lnTo>
                          <a:pt x="182" y="1182"/>
                        </a:lnTo>
                        <a:lnTo>
                          <a:pt x="189" y="1185"/>
                        </a:lnTo>
                        <a:lnTo>
                          <a:pt x="190" y="1186"/>
                        </a:lnTo>
                        <a:lnTo>
                          <a:pt x="194" y="1188"/>
                        </a:lnTo>
                        <a:lnTo>
                          <a:pt x="195" y="1190"/>
                        </a:lnTo>
                        <a:lnTo>
                          <a:pt x="198" y="1193"/>
                        </a:lnTo>
                        <a:lnTo>
                          <a:pt x="201" y="1194"/>
                        </a:lnTo>
                        <a:lnTo>
                          <a:pt x="203" y="1196"/>
                        </a:lnTo>
                        <a:lnTo>
                          <a:pt x="205" y="1196"/>
                        </a:lnTo>
                        <a:lnTo>
                          <a:pt x="206" y="1198"/>
                        </a:lnTo>
                        <a:lnTo>
                          <a:pt x="209" y="1198"/>
                        </a:lnTo>
                        <a:lnTo>
                          <a:pt x="211" y="1198"/>
                        </a:lnTo>
                        <a:lnTo>
                          <a:pt x="213" y="1198"/>
                        </a:lnTo>
                        <a:lnTo>
                          <a:pt x="214" y="1196"/>
                        </a:lnTo>
                        <a:lnTo>
                          <a:pt x="216" y="1196"/>
                        </a:lnTo>
                        <a:lnTo>
                          <a:pt x="217" y="1196"/>
                        </a:lnTo>
                        <a:lnTo>
                          <a:pt x="219" y="1198"/>
                        </a:lnTo>
                        <a:lnTo>
                          <a:pt x="222" y="1196"/>
                        </a:lnTo>
                        <a:lnTo>
                          <a:pt x="225" y="1196"/>
                        </a:lnTo>
                        <a:lnTo>
                          <a:pt x="227" y="1194"/>
                        </a:lnTo>
                        <a:lnTo>
                          <a:pt x="230" y="1194"/>
                        </a:lnTo>
                        <a:lnTo>
                          <a:pt x="230" y="1193"/>
                        </a:lnTo>
                        <a:lnTo>
                          <a:pt x="232" y="1193"/>
                        </a:lnTo>
                        <a:lnTo>
                          <a:pt x="235" y="1194"/>
                        </a:lnTo>
                        <a:lnTo>
                          <a:pt x="239" y="1193"/>
                        </a:lnTo>
                        <a:lnTo>
                          <a:pt x="243" y="1193"/>
                        </a:lnTo>
                        <a:lnTo>
                          <a:pt x="244" y="1193"/>
                        </a:lnTo>
                        <a:lnTo>
                          <a:pt x="246" y="1193"/>
                        </a:lnTo>
                        <a:lnTo>
                          <a:pt x="247" y="1191"/>
                        </a:lnTo>
                        <a:lnTo>
                          <a:pt x="249" y="1191"/>
                        </a:lnTo>
                        <a:lnTo>
                          <a:pt x="251" y="1191"/>
                        </a:lnTo>
                        <a:lnTo>
                          <a:pt x="252" y="1191"/>
                        </a:lnTo>
                        <a:lnTo>
                          <a:pt x="254" y="1193"/>
                        </a:lnTo>
                        <a:lnTo>
                          <a:pt x="255" y="1193"/>
                        </a:lnTo>
                        <a:lnTo>
                          <a:pt x="257" y="1193"/>
                        </a:lnTo>
                        <a:lnTo>
                          <a:pt x="257" y="1194"/>
                        </a:lnTo>
                        <a:lnTo>
                          <a:pt x="258" y="1194"/>
                        </a:lnTo>
                        <a:lnTo>
                          <a:pt x="260" y="1196"/>
                        </a:lnTo>
                        <a:lnTo>
                          <a:pt x="262" y="1198"/>
                        </a:lnTo>
                        <a:lnTo>
                          <a:pt x="263" y="1198"/>
                        </a:lnTo>
                        <a:lnTo>
                          <a:pt x="265" y="1199"/>
                        </a:lnTo>
                        <a:lnTo>
                          <a:pt x="266" y="1201"/>
                        </a:lnTo>
                        <a:lnTo>
                          <a:pt x="268" y="1202"/>
                        </a:lnTo>
                        <a:lnTo>
                          <a:pt x="268" y="1204"/>
                        </a:lnTo>
                        <a:lnTo>
                          <a:pt x="270" y="1204"/>
                        </a:lnTo>
                        <a:lnTo>
                          <a:pt x="271" y="1205"/>
                        </a:lnTo>
                        <a:lnTo>
                          <a:pt x="273" y="1207"/>
                        </a:lnTo>
                        <a:lnTo>
                          <a:pt x="274" y="1207"/>
                        </a:lnTo>
                        <a:lnTo>
                          <a:pt x="274" y="1209"/>
                        </a:lnTo>
                        <a:lnTo>
                          <a:pt x="276" y="1210"/>
                        </a:lnTo>
                        <a:lnTo>
                          <a:pt x="279" y="1212"/>
                        </a:lnTo>
                        <a:lnTo>
                          <a:pt x="282" y="1215"/>
                        </a:lnTo>
                        <a:lnTo>
                          <a:pt x="284" y="1217"/>
                        </a:lnTo>
                        <a:lnTo>
                          <a:pt x="285" y="1218"/>
                        </a:lnTo>
                        <a:lnTo>
                          <a:pt x="290" y="1221"/>
                        </a:lnTo>
                        <a:lnTo>
                          <a:pt x="293" y="1224"/>
                        </a:lnTo>
                        <a:lnTo>
                          <a:pt x="297" y="1228"/>
                        </a:lnTo>
                        <a:lnTo>
                          <a:pt x="298" y="1229"/>
                        </a:lnTo>
                        <a:lnTo>
                          <a:pt x="300" y="1232"/>
                        </a:lnTo>
                        <a:lnTo>
                          <a:pt x="301" y="1234"/>
                        </a:lnTo>
                        <a:lnTo>
                          <a:pt x="301" y="1237"/>
                        </a:lnTo>
                        <a:lnTo>
                          <a:pt x="301" y="1239"/>
                        </a:lnTo>
                        <a:lnTo>
                          <a:pt x="303" y="1242"/>
                        </a:lnTo>
                        <a:lnTo>
                          <a:pt x="303" y="1245"/>
                        </a:lnTo>
                        <a:lnTo>
                          <a:pt x="303" y="1247"/>
                        </a:lnTo>
                        <a:lnTo>
                          <a:pt x="303" y="1250"/>
                        </a:lnTo>
                        <a:lnTo>
                          <a:pt x="304" y="1256"/>
                        </a:lnTo>
                        <a:lnTo>
                          <a:pt x="306" y="1266"/>
                        </a:lnTo>
                        <a:lnTo>
                          <a:pt x="306" y="1272"/>
                        </a:lnTo>
                        <a:lnTo>
                          <a:pt x="308" y="1278"/>
                        </a:lnTo>
                        <a:lnTo>
                          <a:pt x="308" y="1281"/>
                        </a:lnTo>
                        <a:lnTo>
                          <a:pt x="308" y="1283"/>
                        </a:lnTo>
                        <a:lnTo>
                          <a:pt x="309" y="1285"/>
                        </a:lnTo>
                        <a:lnTo>
                          <a:pt x="309" y="1286"/>
                        </a:lnTo>
                        <a:lnTo>
                          <a:pt x="312" y="1288"/>
                        </a:lnTo>
                        <a:lnTo>
                          <a:pt x="314" y="1288"/>
                        </a:lnTo>
                        <a:lnTo>
                          <a:pt x="317" y="1289"/>
                        </a:lnTo>
                        <a:lnTo>
                          <a:pt x="320" y="1291"/>
                        </a:lnTo>
                        <a:lnTo>
                          <a:pt x="322" y="1293"/>
                        </a:lnTo>
                        <a:lnTo>
                          <a:pt x="325" y="1294"/>
                        </a:lnTo>
                        <a:lnTo>
                          <a:pt x="327" y="1297"/>
                        </a:lnTo>
                        <a:lnTo>
                          <a:pt x="328" y="1299"/>
                        </a:lnTo>
                        <a:lnTo>
                          <a:pt x="331" y="1302"/>
                        </a:lnTo>
                        <a:lnTo>
                          <a:pt x="331" y="1305"/>
                        </a:lnTo>
                        <a:lnTo>
                          <a:pt x="333" y="1307"/>
                        </a:lnTo>
                        <a:lnTo>
                          <a:pt x="333" y="1310"/>
                        </a:lnTo>
                        <a:lnTo>
                          <a:pt x="335" y="1315"/>
                        </a:lnTo>
                        <a:lnTo>
                          <a:pt x="335" y="1319"/>
                        </a:lnTo>
                        <a:lnTo>
                          <a:pt x="335" y="1326"/>
                        </a:lnTo>
                        <a:lnTo>
                          <a:pt x="335" y="1329"/>
                        </a:lnTo>
                        <a:lnTo>
                          <a:pt x="333" y="1337"/>
                        </a:lnTo>
                        <a:lnTo>
                          <a:pt x="331" y="1340"/>
                        </a:lnTo>
                        <a:lnTo>
                          <a:pt x="331" y="1343"/>
                        </a:lnTo>
                        <a:lnTo>
                          <a:pt x="330" y="1346"/>
                        </a:lnTo>
                        <a:lnTo>
                          <a:pt x="330" y="1348"/>
                        </a:lnTo>
                        <a:lnTo>
                          <a:pt x="331" y="1350"/>
                        </a:lnTo>
                        <a:lnTo>
                          <a:pt x="331" y="1353"/>
                        </a:lnTo>
                        <a:lnTo>
                          <a:pt x="333" y="1354"/>
                        </a:lnTo>
                        <a:lnTo>
                          <a:pt x="336" y="1358"/>
                        </a:lnTo>
                        <a:lnTo>
                          <a:pt x="341" y="1361"/>
                        </a:lnTo>
                        <a:lnTo>
                          <a:pt x="344" y="1364"/>
                        </a:lnTo>
                        <a:lnTo>
                          <a:pt x="352" y="1369"/>
                        </a:lnTo>
                        <a:lnTo>
                          <a:pt x="357" y="1370"/>
                        </a:lnTo>
                        <a:lnTo>
                          <a:pt x="363" y="1373"/>
                        </a:lnTo>
                        <a:lnTo>
                          <a:pt x="366" y="1375"/>
                        </a:lnTo>
                        <a:lnTo>
                          <a:pt x="368" y="1375"/>
                        </a:lnTo>
                        <a:lnTo>
                          <a:pt x="371" y="1375"/>
                        </a:lnTo>
                        <a:lnTo>
                          <a:pt x="373" y="1375"/>
                        </a:lnTo>
                        <a:lnTo>
                          <a:pt x="374" y="1377"/>
                        </a:lnTo>
                        <a:lnTo>
                          <a:pt x="376" y="1378"/>
                        </a:lnTo>
                        <a:lnTo>
                          <a:pt x="385" y="1384"/>
                        </a:lnTo>
                        <a:lnTo>
                          <a:pt x="388" y="1388"/>
                        </a:lnTo>
                        <a:lnTo>
                          <a:pt x="390" y="1389"/>
                        </a:lnTo>
                        <a:lnTo>
                          <a:pt x="395" y="1391"/>
                        </a:lnTo>
                        <a:lnTo>
                          <a:pt x="401" y="1392"/>
                        </a:lnTo>
                        <a:lnTo>
                          <a:pt x="404" y="1392"/>
                        </a:lnTo>
                        <a:lnTo>
                          <a:pt x="409" y="1392"/>
                        </a:lnTo>
                        <a:lnTo>
                          <a:pt x="411" y="1394"/>
                        </a:lnTo>
                        <a:lnTo>
                          <a:pt x="414" y="1396"/>
                        </a:lnTo>
                        <a:lnTo>
                          <a:pt x="415" y="1396"/>
                        </a:lnTo>
                        <a:lnTo>
                          <a:pt x="415" y="1397"/>
                        </a:lnTo>
                        <a:lnTo>
                          <a:pt x="417" y="1399"/>
                        </a:lnTo>
                        <a:lnTo>
                          <a:pt x="418" y="1399"/>
                        </a:lnTo>
                        <a:lnTo>
                          <a:pt x="420" y="1399"/>
                        </a:lnTo>
                        <a:lnTo>
                          <a:pt x="422" y="1400"/>
                        </a:lnTo>
                        <a:lnTo>
                          <a:pt x="423" y="1402"/>
                        </a:lnTo>
                        <a:lnTo>
                          <a:pt x="423" y="1403"/>
                        </a:lnTo>
                        <a:lnTo>
                          <a:pt x="425" y="1403"/>
                        </a:lnTo>
                        <a:lnTo>
                          <a:pt x="426" y="1407"/>
                        </a:lnTo>
                        <a:lnTo>
                          <a:pt x="428" y="1408"/>
                        </a:lnTo>
                        <a:lnTo>
                          <a:pt x="426" y="1408"/>
                        </a:lnTo>
                        <a:lnTo>
                          <a:pt x="423" y="1411"/>
                        </a:lnTo>
                        <a:lnTo>
                          <a:pt x="422" y="1415"/>
                        </a:lnTo>
                        <a:lnTo>
                          <a:pt x="420" y="1415"/>
                        </a:lnTo>
                        <a:lnTo>
                          <a:pt x="418" y="1416"/>
                        </a:lnTo>
                        <a:lnTo>
                          <a:pt x="417" y="1418"/>
                        </a:lnTo>
                        <a:lnTo>
                          <a:pt x="414" y="1418"/>
                        </a:lnTo>
                        <a:lnTo>
                          <a:pt x="411" y="1421"/>
                        </a:lnTo>
                        <a:lnTo>
                          <a:pt x="411" y="1422"/>
                        </a:lnTo>
                        <a:lnTo>
                          <a:pt x="407" y="1422"/>
                        </a:lnTo>
                        <a:lnTo>
                          <a:pt x="406" y="1424"/>
                        </a:lnTo>
                        <a:lnTo>
                          <a:pt x="404" y="1424"/>
                        </a:lnTo>
                        <a:lnTo>
                          <a:pt x="403" y="1426"/>
                        </a:lnTo>
                        <a:lnTo>
                          <a:pt x="403" y="1427"/>
                        </a:lnTo>
                        <a:lnTo>
                          <a:pt x="403" y="1429"/>
                        </a:lnTo>
                        <a:lnTo>
                          <a:pt x="401" y="1430"/>
                        </a:lnTo>
                        <a:lnTo>
                          <a:pt x="399" y="1430"/>
                        </a:lnTo>
                        <a:lnTo>
                          <a:pt x="398" y="1429"/>
                        </a:lnTo>
                        <a:lnTo>
                          <a:pt x="396" y="1430"/>
                        </a:lnTo>
                        <a:lnTo>
                          <a:pt x="396" y="1429"/>
                        </a:lnTo>
                        <a:lnTo>
                          <a:pt x="395" y="1429"/>
                        </a:lnTo>
                        <a:lnTo>
                          <a:pt x="395" y="1430"/>
                        </a:lnTo>
                        <a:lnTo>
                          <a:pt x="393" y="1430"/>
                        </a:lnTo>
                        <a:lnTo>
                          <a:pt x="392" y="1432"/>
                        </a:lnTo>
                        <a:lnTo>
                          <a:pt x="390" y="1432"/>
                        </a:lnTo>
                        <a:lnTo>
                          <a:pt x="388" y="1432"/>
                        </a:lnTo>
                        <a:lnTo>
                          <a:pt x="388" y="1430"/>
                        </a:lnTo>
                        <a:lnTo>
                          <a:pt x="387" y="1430"/>
                        </a:lnTo>
                        <a:lnTo>
                          <a:pt x="385" y="1430"/>
                        </a:lnTo>
                        <a:lnTo>
                          <a:pt x="384" y="1430"/>
                        </a:lnTo>
                        <a:lnTo>
                          <a:pt x="382" y="1430"/>
                        </a:lnTo>
                        <a:lnTo>
                          <a:pt x="380" y="1430"/>
                        </a:lnTo>
                        <a:lnTo>
                          <a:pt x="379" y="1430"/>
                        </a:lnTo>
                        <a:lnTo>
                          <a:pt x="377" y="1430"/>
                        </a:lnTo>
                        <a:lnTo>
                          <a:pt x="376" y="1430"/>
                        </a:lnTo>
                        <a:lnTo>
                          <a:pt x="374" y="1430"/>
                        </a:lnTo>
                        <a:lnTo>
                          <a:pt x="371" y="1430"/>
                        </a:lnTo>
                        <a:lnTo>
                          <a:pt x="369" y="1432"/>
                        </a:lnTo>
                        <a:lnTo>
                          <a:pt x="368" y="1430"/>
                        </a:lnTo>
                        <a:lnTo>
                          <a:pt x="366" y="1430"/>
                        </a:lnTo>
                        <a:lnTo>
                          <a:pt x="365" y="1430"/>
                        </a:lnTo>
                        <a:lnTo>
                          <a:pt x="363" y="1430"/>
                        </a:lnTo>
                        <a:lnTo>
                          <a:pt x="363" y="1432"/>
                        </a:lnTo>
                        <a:lnTo>
                          <a:pt x="363" y="1434"/>
                        </a:lnTo>
                        <a:lnTo>
                          <a:pt x="361" y="1435"/>
                        </a:lnTo>
                        <a:lnTo>
                          <a:pt x="361" y="1437"/>
                        </a:lnTo>
                        <a:lnTo>
                          <a:pt x="360" y="1438"/>
                        </a:lnTo>
                        <a:lnTo>
                          <a:pt x="360" y="1441"/>
                        </a:lnTo>
                        <a:lnTo>
                          <a:pt x="360" y="1445"/>
                        </a:lnTo>
                        <a:lnTo>
                          <a:pt x="360" y="1446"/>
                        </a:lnTo>
                        <a:lnTo>
                          <a:pt x="360" y="1448"/>
                        </a:lnTo>
                        <a:lnTo>
                          <a:pt x="360" y="1451"/>
                        </a:lnTo>
                        <a:lnTo>
                          <a:pt x="360" y="1453"/>
                        </a:lnTo>
                        <a:lnTo>
                          <a:pt x="358" y="1454"/>
                        </a:lnTo>
                        <a:lnTo>
                          <a:pt x="358" y="1456"/>
                        </a:lnTo>
                        <a:lnTo>
                          <a:pt x="358" y="1457"/>
                        </a:lnTo>
                        <a:lnTo>
                          <a:pt x="358" y="1459"/>
                        </a:lnTo>
                        <a:lnTo>
                          <a:pt x="357" y="1460"/>
                        </a:lnTo>
                        <a:lnTo>
                          <a:pt x="350" y="1459"/>
                        </a:lnTo>
                        <a:lnTo>
                          <a:pt x="347" y="1459"/>
                        </a:lnTo>
                        <a:lnTo>
                          <a:pt x="344" y="1459"/>
                        </a:lnTo>
                        <a:lnTo>
                          <a:pt x="341" y="1459"/>
                        </a:lnTo>
                        <a:lnTo>
                          <a:pt x="338" y="1459"/>
                        </a:lnTo>
                        <a:lnTo>
                          <a:pt x="328" y="1457"/>
                        </a:lnTo>
                        <a:lnTo>
                          <a:pt x="320" y="1457"/>
                        </a:lnTo>
                        <a:lnTo>
                          <a:pt x="314" y="1459"/>
                        </a:lnTo>
                        <a:lnTo>
                          <a:pt x="311" y="1456"/>
                        </a:lnTo>
                        <a:lnTo>
                          <a:pt x="304" y="1453"/>
                        </a:lnTo>
                        <a:lnTo>
                          <a:pt x="303" y="1453"/>
                        </a:lnTo>
                        <a:lnTo>
                          <a:pt x="298" y="1451"/>
                        </a:lnTo>
                        <a:lnTo>
                          <a:pt x="297" y="1449"/>
                        </a:lnTo>
                        <a:lnTo>
                          <a:pt x="293" y="1448"/>
                        </a:lnTo>
                        <a:lnTo>
                          <a:pt x="292" y="1448"/>
                        </a:lnTo>
                        <a:lnTo>
                          <a:pt x="290" y="1446"/>
                        </a:lnTo>
                        <a:lnTo>
                          <a:pt x="289" y="1446"/>
                        </a:lnTo>
                        <a:lnTo>
                          <a:pt x="287" y="1448"/>
                        </a:lnTo>
                        <a:lnTo>
                          <a:pt x="284" y="1449"/>
                        </a:lnTo>
                        <a:lnTo>
                          <a:pt x="279" y="1453"/>
                        </a:lnTo>
                        <a:lnTo>
                          <a:pt x="274" y="1456"/>
                        </a:lnTo>
                        <a:lnTo>
                          <a:pt x="271" y="1459"/>
                        </a:lnTo>
                        <a:lnTo>
                          <a:pt x="268" y="1462"/>
                        </a:lnTo>
                        <a:lnTo>
                          <a:pt x="266" y="1467"/>
                        </a:lnTo>
                        <a:lnTo>
                          <a:pt x="266" y="1468"/>
                        </a:lnTo>
                        <a:lnTo>
                          <a:pt x="265" y="1473"/>
                        </a:lnTo>
                        <a:lnTo>
                          <a:pt x="263" y="1476"/>
                        </a:lnTo>
                        <a:lnTo>
                          <a:pt x="262" y="1478"/>
                        </a:lnTo>
                        <a:lnTo>
                          <a:pt x="257" y="1483"/>
                        </a:lnTo>
                        <a:lnTo>
                          <a:pt x="254" y="1484"/>
                        </a:lnTo>
                        <a:lnTo>
                          <a:pt x="251" y="1486"/>
                        </a:lnTo>
                        <a:lnTo>
                          <a:pt x="251" y="1487"/>
                        </a:lnTo>
                        <a:lnTo>
                          <a:pt x="251" y="1489"/>
                        </a:lnTo>
                        <a:lnTo>
                          <a:pt x="249" y="1494"/>
                        </a:lnTo>
                        <a:lnTo>
                          <a:pt x="247" y="1494"/>
                        </a:lnTo>
                        <a:lnTo>
                          <a:pt x="247" y="1497"/>
                        </a:lnTo>
                        <a:lnTo>
                          <a:pt x="247" y="1498"/>
                        </a:lnTo>
                        <a:lnTo>
                          <a:pt x="249" y="1500"/>
                        </a:lnTo>
                        <a:lnTo>
                          <a:pt x="249" y="1502"/>
                        </a:lnTo>
                        <a:lnTo>
                          <a:pt x="249" y="1503"/>
                        </a:lnTo>
                        <a:lnTo>
                          <a:pt x="249" y="1506"/>
                        </a:lnTo>
                        <a:lnTo>
                          <a:pt x="247" y="1508"/>
                        </a:lnTo>
                        <a:lnTo>
                          <a:pt x="247" y="1510"/>
                        </a:lnTo>
                        <a:lnTo>
                          <a:pt x="247" y="1511"/>
                        </a:lnTo>
                        <a:lnTo>
                          <a:pt x="249" y="1513"/>
                        </a:lnTo>
                        <a:lnTo>
                          <a:pt x="247" y="1513"/>
                        </a:lnTo>
                        <a:lnTo>
                          <a:pt x="246" y="1511"/>
                        </a:lnTo>
                        <a:lnTo>
                          <a:pt x="243" y="1511"/>
                        </a:lnTo>
                        <a:lnTo>
                          <a:pt x="241" y="1511"/>
                        </a:lnTo>
                        <a:lnTo>
                          <a:pt x="238" y="1511"/>
                        </a:lnTo>
                        <a:lnTo>
                          <a:pt x="236" y="1510"/>
                        </a:lnTo>
                        <a:lnTo>
                          <a:pt x="233" y="1510"/>
                        </a:lnTo>
                        <a:lnTo>
                          <a:pt x="232" y="1510"/>
                        </a:lnTo>
                        <a:lnTo>
                          <a:pt x="230" y="1510"/>
                        </a:lnTo>
                        <a:lnTo>
                          <a:pt x="230" y="1511"/>
                        </a:lnTo>
                        <a:lnTo>
                          <a:pt x="228" y="1511"/>
                        </a:lnTo>
                        <a:lnTo>
                          <a:pt x="227" y="1511"/>
                        </a:lnTo>
                        <a:lnTo>
                          <a:pt x="227" y="1510"/>
                        </a:lnTo>
                        <a:lnTo>
                          <a:pt x="225" y="1510"/>
                        </a:lnTo>
                        <a:lnTo>
                          <a:pt x="225" y="1511"/>
                        </a:lnTo>
                        <a:lnTo>
                          <a:pt x="224" y="1511"/>
                        </a:lnTo>
                        <a:lnTo>
                          <a:pt x="220" y="1510"/>
                        </a:lnTo>
                        <a:lnTo>
                          <a:pt x="219" y="1510"/>
                        </a:lnTo>
                        <a:lnTo>
                          <a:pt x="217" y="1510"/>
                        </a:lnTo>
                        <a:lnTo>
                          <a:pt x="214" y="1510"/>
                        </a:lnTo>
                        <a:lnTo>
                          <a:pt x="213" y="1510"/>
                        </a:lnTo>
                        <a:lnTo>
                          <a:pt x="211" y="1510"/>
                        </a:lnTo>
                        <a:lnTo>
                          <a:pt x="209" y="1510"/>
                        </a:lnTo>
                        <a:lnTo>
                          <a:pt x="208" y="1508"/>
                        </a:lnTo>
                        <a:lnTo>
                          <a:pt x="206" y="1508"/>
                        </a:lnTo>
                        <a:lnTo>
                          <a:pt x="205" y="1506"/>
                        </a:lnTo>
                        <a:lnTo>
                          <a:pt x="203" y="1506"/>
                        </a:lnTo>
                        <a:lnTo>
                          <a:pt x="203" y="1505"/>
                        </a:lnTo>
                        <a:lnTo>
                          <a:pt x="203" y="1503"/>
                        </a:lnTo>
                        <a:lnTo>
                          <a:pt x="203" y="1500"/>
                        </a:lnTo>
                        <a:lnTo>
                          <a:pt x="203" y="1498"/>
                        </a:lnTo>
                        <a:lnTo>
                          <a:pt x="205" y="1497"/>
                        </a:lnTo>
                        <a:lnTo>
                          <a:pt x="206" y="1495"/>
                        </a:lnTo>
                        <a:lnTo>
                          <a:pt x="208" y="1494"/>
                        </a:lnTo>
                        <a:lnTo>
                          <a:pt x="209" y="1494"/>
                        </a:lnTo>
                        <a:lnTo>
                          <a:pt x="211" y="1492"/>
                        </a:lnTo>
                        <a:lnTo>
                          <a:pt x="213" y="1491"/>
                        </a:lnTo>
                        <a:lnTo>
                          <a:pt x="214" y="1491"/>
                        </a:lnTo>
                        <a:lnTo>
                          <a:pt x="214" y="1487"/>
                        </a:lnTo>
                        <a:lnTo>
                          <a:pt x="216" y="1486"/>
                        </a:lnTo>
                        <a:lnTo>
                          <a:pt x="217" y="1484"/>
                        </a:lnTo>
                        <a:lnTo>
                          <a:pt x="219" y="1481"/>
                        </a:lnTo>
                        <a:lnTo>
                          <a:pt x="222" y="1478"/>
                        </a:lnTo>
                        <a:lnTo>
                          <a:pt x="222" y="1476"/>
                        </a:lnTo>
                        <a:lnTo>
                          <a:pt x="224" y="1476"/>
                        </a:lnTo>
                        <a:lnTo>
                          <a:pt x="225" y="1475"/>
                        </a:lnTo>
                        <a:lnTo>
                          <a:pt x="227" y="1473"/>
                        </a:lnTo>
                        <a:lnTo>
                          <a:pt x="227" y="1472"/>
                        </a:lnTo>
                        <a:lnTo>
                          <a:pt x="227" y="1470"/>
                        </a:lnTo>
                        <a:lnTo>
                          <a:pt x="228" y="1470"/>
                        </a:lnTo>
                        <a:lnTo>
                          <a:pt x="227" y="1465"/>
                        </a:lnTo>
                        <a:lnTo>
                          <a:pt x="227" y="1462"/>
                        </a:lnTo>
                        <a:lnTo>
                          <a:pt x="227" y="1457"/>
                        </a:lnTo>
                        <a:lnTo>
                          <a:pt x="225" y="1453"/>
                        </a:lnTo>
                        <a:lnTo>
                          <a:pt x="225" y="1451"/>
                        </a:lnTo>
                        <a:lnTo>
                          <a:pt x="225" y="1448"/>
                        </a:lnTo>
                        <a:lnTo>
                          <a:pt x="225" y="1443"/>
                        </a:lnTo>
                        <a:lnTo>
                          <a:pt x="225" y="1441"/>
                        </a:lnTo>
                        <a:lnTo>
                          <a:pt x="227" y="1440"/>
                        </a:lnTo>
                        <a:lnTo>
                          <a:pt x="227" y="1437"/>
                        </a:lnTo>
                        <a:lnTo>
                          <a:pt x="228" y="1435"/>
                        </a:lnTo>
                        <a:lnTo>
                          <a:pt x="228" y="1434"/>
                        </a:lnTo>
                        <a:lnTo>
                          <a:pt x="228" y="1432"/>
                        </a:lnTo>
                        <a:lnTo>
                          <a:pt x="228" y="1430"/>
                        </a:lnTo>
                        <a:lnTo>
                          <a:pt x="230" y="1427"/>
                        </a:lnTo>
                        <a:lnTo>
                          <a:pt x="230" y="1426"/>
                        </a:lnTo>
                        <a:lnTo>
                          <a:pt x="230" y="1424"/>
                        </a:lnTo>
                        <a:lnTo>
                          <a:pt x="230" y="1422"/>
                        </a:lnTo>
                        <a:lnTo>
                          <a:pt x="230" y="1421"/>
                        </a:lnTo>
                        <a:lnTo>
                          <a:pt x="232" y="1419"/>
                        </a:lnTo>
                        <a:lnTo>
                          <a:pt x="232" y="1416"/>
                        </a:lnTo>
                        <a:lnTo>
                          <a:pt x="233" y="1415"/>
                        </a:lnTo>
                        <a:lnTo>
                          <a:pt x="233" y="1410"/>
                        </a:lnTo>
                        <a:lnTo>
                          <a:pt x="233" y="1408"/>
                        </a:lnTo>
                        <a:lnTo>
                          <a:pt x="233" y="1407"/>
                        </a:lnTo>
                        <a:lnTo>
                          <a:pt x="233" y="1403"/>
                        </a:lnTo>
                        <a:lnTo>
                          <a:pt x="233" y="1402"/>
                        </a:lnTo>
                        <a:lnTo>
                          <a:pt x="233" y="1399"/>
                        </a:lnTo>
                        <a:lnTo>
                          <a:pt x="233" y="1396"/>
                        </a:lnTo>
                        <a:lnTo>
                          <a:pt x="232" y="1392"/>
                        </a:lnTo>
                        <a:lnTo>
                          <a:pt x="232" y="1391"/>
                        </a:lnTo>
                        <a:lnTo>
                          <a:pt x="232" y="1388"/>
                        </a:lnTo>
                        <a:lnTo>
                          <a:pt x="232" y="1386"/>
                        </a:lnTo>
                        <a:lnTo>
                          <a:pt x="232" y="1384"/>
                        </a:lnTo>
                        <a:lnTo>
                          <a:pt x="232" y="1381"/>
                        </a:lnTo>
                        <a:lnTo>
                          <a:pt x="232" y="1380"/>
                        </a:lnTo>
                        <a:lnTo>
                          <a:pt x="233" y="1378"/>
                        </a:lnTo>
                        <a:lnTo>
                          <a:pt x="232" y="1375"/>
                        </a:lnTo>
                        <a:lnTo>
                          <a:pt x="230" y="1373"/>
                        </a:lnTo>
                        <a:lnTo>
                          <a:pt x="228" y="1372"/>
                        </a:lnTo>
                        <a:lnTo>
                          <a:pt x="227" y="1372"/>
                        </a:lnTo>
                        <a:lnTo>
                          <a:pt x="224" y="1372"/>
                        </a:lnTo>
                        <a:lnTo>
                          <a:pt x="222" y="1372"/>
                        </a:lnTo>
                        <a:lnTo>
                          <a:pt x="220" y="1372"/>
                        </a:lnTo>
                        <a:lnTo>
                          <a:pt x="219" y="1372"/>
                        </a:lnTo>
                        <a:lnTo>
                          <a:pt x="219" y="1370"/>
                        </a:lnTo>
                        <a:lnTo>
                          <a:pt x="217" y="1370"/>
                        </a:lnTo>
                        <a:lnTo>
                          <a:pt x="217" y="1369"/>
                        </a:lnTo>
                        <a:lnTo>
                          <a:pt x="217" y="1367"/>
                        </a:lnTo>
                        <a:lnTo>
                          <a:pt x="217" y="1365"/>
                        </a:lnTo>
                        <a:lnTo>
                          <a:pt x="219" y="1364"/>
                        </a:lnTo>
                        <a:lnTo>
                          <a:pt x="224" y="1361"/>
                        </a:lnTo>
                        <a:lnTo>
                          <a:pt x="225" y="1359"/>
                        </a:lnTo>
                        <a:lnTo>
                          <a:pt x="227" y="1358"/>
                        </a:lnTo>
                        <a:lnTo>
                          <a:pt x="227" y="1356"/>
                        </a:lnTo>
                        <a:lnTo>
                          <a:pt x="230" y="1354"/>
                        </a:lnTo>
                        <a:lnTo>
                          <a:pt x="230" y="1353"/>
                        </a:lnTo>
                        <a:lnTo>
                          <a:pt x="232" y="1351"/>
                        </a:lnTo>
                        <a:lnTo>
                          <a:pt x="232" y="1350"/>
                        </a:lnTo>
                        <a:lnTo>
                          <a:pt x="232" y="1346"/>
                        </a:lnTo>
                        <a:lnTo>
                          <a:pt x="233" y="1342"/>
                        </a:lnTo>
                        <a:lnTo>
                          <a:pt x="232" y="1339"/>
                        </a:lnTo>
                        <a:lnTo>
                          <a:pt x="230" y="1337"/>
                        </a:lnTo>
                        <a:lnTo>
                          <a:pt x="228" y="1335"/>
                        </a:lnTo>
                        <a:lnTo>
                          <a:pt x="228" y="1334"/>
                        </a:lnTo>
                        <a:lnTo>
                          <a:pt x="227" y="1332"/>
                        </a:lnTo>
                        <a:lnTo>
                          <a:pt x="227" y="1331"/>
                        </a:lnTo>
                        <a:lnTo>
                          <a:pt x="225" y="1329"/>
                        </a:lnTo>
                        <a:lnTo>
                          <a:pt x="224" y="1329"/>
                        </a:lnTo>
                        <a:lnTo>
                          <a:pt x="222" y="1327"/>
                        </a:lnTo>
                        <a:lnTo>
                          <a:pt x="222" y="1329"/>
                        </a:lnTo>
                        <a:lnTo>
                          <a:pt x="220" y="1329"/>
                        </a:lnTo>
                        <a:lnTo>
                          <a:pt x="220" y="1327"/>
                        </a:lnTo>
                        <a:lnTo>
                          <a:pt x="219" y="1327"/>
                        </a:lnTo>
                        <a:lnTo>
                          <a:pt x="219" y="1326"/>
                        </a:lnTo>
                        <a:lnTo>
                          <a:pt x="217" y="1326"/>
                        </a:lnTo>
                        <a:lnTo>
                          <a:pt x="216" y="1327"/>
                        </a:lnTo>
                        <a:lnTo>
                          <a:pt x="214" y="1329"/>
                        </a:lnTo>
                        <a:lnTo>
                          <a:pt x="213" y="1329"/>
                        </a:lnTo>
                        <a:lnTo>
                          <a:pt x="211" y="1329"/>
                        </a:lnTo>
                        <a:lnTo>
                          <a:pt x="209" y="1329"/>
                        </a:lnTo>
                        <a:lnTo>
                          <a:pt x="208" y="1329"/>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39" name="Freeform 38"/>
                  <p:cNvSpPr>
                    <a:spLocks/>
                  </p:cNvSpPr>
                  <p:nvPr/>
                </p:nvSpPr>
                <p:spPr bwMode="auto">
                  <a:xfrm>
                    <a:off x="2269" y="2510"/>
                    <a:ext cx="998" cy="344"/>
                  </a:xfrm>
                  <a:custGeom>
                    <a:avLst/>
                    <a:gdLst>
                      <a:gd name="T0" fmla="*/ 990 w 998"/>
                      <a:gd name="T1" fmla="*/ 314 h 344"/>
                      <a:gd name="T2" fmla="*/ 969 w 998"/>
                      <a:gd name="T3" fmla="*/ 307 h 344"/>
                      <a:gd name="T4" fmla="*/ 957 w 998"/>
                      <a:gd name="T5" fmla="*/ 304 h 344"/>
                      <a:gd name="T6" fmla="*/ 931 w 998"/>
                      <a:gd name="T7" fmla="*/ 307 h 344"/>
                      <a:gd name="T8" fmla="*/ 911 w 998"/>
                      <a:gd name="T9" fmla="*/ 304 h 344"/>
                      <a:gd name="T10" fmla="*/ 909 w 998"/>
                      <a:gd name="T11" fmla="*/ 288 h 344"/>
                      <a:gd name="T12" fmla="*/ 893 w 998"/>
                      <a:gd name="T13" fmla="*/ 287 h 344"/>
                      <a:gd name="T14" fmla="*/ 873 w 998"/>
                      <a:gd name="T15" fmla="*/ 285 h 344"/>
                      <a:gd name="T16" fmla="*/ 865 w 998"/>
                      <a:gd name="T17" fmla="*/ 298 h 344"/>
                      <a:gd name="T18" fmla="*/ 852 w 998"/>
                      <a:gd name="T19" fmla="*/ 312 h 344"/>
                      <a:gd name="T20" fmla="*/ 831 w 998"/>
                      <a:gd name="T21" fmla="*/ 319 h 344"/>
                      <a:gd name="T22" fmla="*/ 812 w 998"/>
                      <a:gd name="T23" fmla="*/ 326 h 344"/>
                      <a:gd name="T24" fmla="*/ 792 w 998"/>
                      <a:gd name="T25" fmla="*/ 334 h 344"/>
                      <a:gd name="T26" fmla="*/ 771 w 998"/>
                      <a:gd name="T27" fmla="*/ 336 h 344"/>
                      <a:gd name="T28" fmla="*/ 751 w 998"/>
                      <a:gd name="T29" fmla="*/ 342 h 344"/>
                      <a:gd name="T30" fmla="*/ 730 w 998"/>
                      <a:gd name="T31" fmla="*/ 325 h 344"/>
                      <a:gd name="T32" fmla="*/ 735 w 998"/>
                      <a:gd name="T33" fmla="*/ 309 h 344"/>
                      <a:gd name="T34" fmla="*/ 727 w 998"/>
                      <a:gd name="T35" fmla="*/ 296 h 344"/>
                      <a:gd name="T36" fmla="*/ 703 w 998"/>
                      <a:gd name="T37" fmla="*/ 293 h 344"/>
                      <a:gd name="T38" fmla="*/ 683 w 998"/>
                      <a:gd name="T39" fmla="*/ 280 h 344"/>
                      <a:gd name="T40" fmla="*/ 664 w 998"/>
                      <a:gd name="T41" fmla="*/ 265 h 344"/>
                      <a:gd name="T42" fmla="*/ 675 w 998"/>
                      <a:gd name="T43" fmla="*/ 249 h 344"/>
                      <a:gd name="T44" fmla="*/ 684 w 998"/>
                      <a:gd name="T45" fmla="*/ 225 h 344"/>
                      <a:gd name="T46" fmla="*/ 689 w 998"/>
                      <a:gd name="T47" fmla="*/ 211 h 344"/>
                      <a:gd name="T48" fmla="*/ 665 w 998"/>
                      <a:gd name="T49" fmla="*/ 204 h 344"/>
                      <a:gd name="T50" fmla="*/ 645 w 998"/>
                      <a:gd name="T51" fmla="*/ 200 h 344"/>
                      <a:gd name="T52" fmla="*/ 627 w 998"/>
                      <a:gd name="T53" fmla="*/ 192 h 344"/>
                      <a:gd name="T54" fmla="*/ 607 w 998"/>
                      <a:gd name="T55" fmla="*/ 189 h 344"/>
                      <a:gd name="T56" fmla="*/ 591 w 998"/>
                      <a:gd name="T57" fmla="*/ 182 h 344"/>
                      <a:gd name="T58" fmla="*/ 578 w 998"/>
                      <a:gd name="T59" fmla="*/ 174 h 344"/>
                      <a:gd name="T60" fmla="*/ 561 w 998"/>
                      <a:gd name="T61" fmla="*/ 166 h 344"/>
                      <a:gd name="T62" fmla="*/ 534 w 998"/>
                      <a:gd name="T63" fmla="*/ 168 h 344"/>
                      <a:gd name="T64" fmla="*/ 510 w 998"/>
                      <a:gd name="T65" fmla="*/ 163 h 344"/>
                      <a:gd name="T66" fmla="*/ 489 w 998"/>
                      <a:gd name="T67" fmla="*/ 176 h 344"/>
                      <a:gd name="T68" fmla="*/ 469 w 998"/>
                      <a:gd name="T69" fmla="*/ 193 h 344"/>
                      <a:gd name="T70" fmla="*/ 445 w 998"/>
                      <a:gd name="T71" fmla="*/ 190 h 344"/>
                      <a:gd name="T72" fmla="*/ 426 w 998"/>
                      <a:gd name="T73" fmla="*/ 181 h 344"/>
                      <a:gd name="T74" fmla="*/ 399 w 998"/>
                      <a:gd name="T75" fmla="*/ 163 h 344"/>
                      <a:gd name="T76" fmla="*/ 386 w 998"/>
                      <a:gd name="T77" fmla="*/ 141 h 344"/>
                      <a:gd name="T78" fmla="*/ 367 w 998"/>
                      <a:gd name="T79" fmla="*/ 128 h 344"/>
                      <a:gd name="T80" fmla="*/ 359 w 998"/>
                      <a:gd name="T81" fmla="*/ 114 h 344"/>
                      <a:gd name="T82" fmla="*/ 344 w 998"/>
                      <a:gd name="T83" fmla="*/ 103 h 344"/>
                      <a:gd name="T84" fmla="*/ 329 w 998"/>
                      <a:gd name="T85" fmla="*/ 98 h 344"/>
                      <a:gd name="T86" fmla="*/ 318 w 998"/>
                      <a:gd name="T87" fmla="*/ 79 h 344"/>
                      <a:gd name="T88" fmla="*/ 312 w 998"/>
                      <a:gd name="T89" fmla="*/ 62 h 344"/>
                      <a:gd name="T90" fmla="*/ 253 w 998"/>
                      <a:gd name="T91" fmla="*/ 49 h 344"/>
                      <a:gd name="T92" fmla="*/ 158 w 998"/>
                      <a:gd name="T93" fmla="*/ 68 h 344"/>
                      <a:gd name="T94" fmla="*/ 144 w 998"/>
                      <a:gd name="T95" fmla="*/ 117 h 344"/>
                      <a:gd name="T96" fmla="*/ 138 w 998"/>
                      <a:gd name="T97" fmla="*/ 149 h 344"/>
                      <a:gd name="T98" fmla="*/ 123 w 998"/>
                      <a:gd name="T99" fmla="*/ 168 h 344"/>
                      <a:gd name="T100" fmla="*/ 103 w 998"/>
                      <a:gd name="T101" fmla="*/ 192 h 344"/>
                      <a:gd name="T102" fmla="*/ 82 w 998"/>
                      <a:gd name="T103" fmla="*/ 181 h 344"/>
                      <a:gd name="T104" fmla="*/ 52 w 998"/>
                      <a:gd name="T105" fmla="*/ 176 h 344"/>
                      <a:gd name="T106" fmla="*/ 27 w 998"/>
                      <a:gd name="T107" fmla="*/ 200 h 344"/>
                      <a:gd name="T108" fmla="*/ 1 w 998"/>
                      <a:gd name="T109" fmla="*/ 163 h 344"/>
                      <a:gd name="T110" fmla="*/ 20 w 998"/>
                      <a:gd name="T111" fmla="*/ 136 h 344"/>
                      <a:gd name="T112" fmla="*/ 28 w 998"/>
                      <a:gd name="T113" fmla="*/ 78 h 344"/>
                      <a:gd name="T114" fmla="*/ 27 w 998"/>
                      <a:gd name="T115" fmla="*/ 48 h 344"/>
                      <a:gd name="T116" fmla="*/ 36 w 998"/>
                      <a:gd name="T117" fmla="*/ 24 h 344"/>
                      <a:gd name="T118" fmla="*/ 9 w 998"/>
                      <a:gd name="T119" fmla="*/ 11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98" h="344">
                        <a:moveTo>
                          <a:pt x="998" y="309"/>
                        </a:moveTo>
                        <a:lnTo>
                          <a:pt x="996" y="307"/>
                        </a:lnTo>
                        <a:lnTo>
                          <a:pt x="996" y="306"/>
                        </a:lnTo>
                        <a:lnTo>
                          <a:pt x="995" y="304"/>
                        </a:lnTo>
                        <a:lnTo>
                          <a:pt x="993" y="304"/>
                        </a:lnTo>
                        <a:lnTo>
                          <a:pt x="991" y="303"/>
                        </a:lnTo>
                        <a:lnTo>
                          <a:pt x="990" y="303"/>
                        </a:lnTo>
                        <a:lnTo>
                          <a:pt x="988" y="303"/>
                        </a:lnTo>
                        <a:lnTo>
                          <a:pt x="987" y="303"/>
                        </a:lnTo>
                        <a:lnTo>
                          <a:pt x="985" y="304"/>
                        </a:lnTo>
                        <a:lnTo>
                          <a:pt x="985" y="306"/>
                        </a:lnTo>
                        <a:lnTo>
                          <a:pt x="985" y="307"/>
                        </a:lnTo>
                        <a:lnTo>
                          <a:pt x="987" y="307"/>
                        </a:lnTo>
                        <a:lnTo>
                          <a:pt x="987" y="309"/>
                        </a:lnTo>
                        <a:lnTo>
                          <a:pt x="988" y="311"/>
                        </a:lnTo>
                        <a:lnTo>
                          <a:pt x="990" y="312"/>
                        </a:lnTo>
                        <a:lnTo>
                          <a:pt x="990" y="314"/>
                        </a:lnTo>
                        <a:lnTo>
                          <a:pt x="988" y="314"/>
                        </a:lnTo>
                        <a:lnTo>
                          <a:pt x="988" y="315"/>
                        </a:lnTo>
                        <a:lnTo>
                          <a:pt x="987" y="317"/>
                        </a:lnTo>
                        <a:lnTo>
                          <a:pt x="985" y="315"/>
                        </a:lnTo>
                        <a:lnTo>
                          <a:pt x="984" y="315"/>
                        </a:lnTo>
                        <a:lnTo>
                          <a:pt x="982" y="315"/>
                        </a:lnTo>
                        <a:lnTo>
                          <a:pt x="980" y="317"/>
                        </a:lnTo>
                        <a:lnTo>
                          <a:pt x="979" y="315"/>
                        </a:lnTo>
                        <a:lnTo>
                          <a:pt x="979" y="314"/>
                        </a:lnTo>
                        <a:lnTo>
                          <a:pt x="977" y="314"/>
                        </a:lnTo>
                        <a:lnTo>
                          <a:pt x="976" y="312"/>
                        </a:lnTo>
                        <a:lnTo>
                          <a:pt x="974" y="312"/>
                        </a:lnTo>
                        <a:lnTo>
                          <a:pt x="972" y="312"/>
                        </a:lnTo>
                        <a:lnTo>
                          <a:pt x="972" y="311"/>
                        </a:lnTo>
                        <a:lnTo>
                          <a:pt x="971" y="311"/>
                        </a:lnTo>
                        <a:lnTo>
                          <a:pt x="969" y="309"/>
                        </a:lnTo>
                        <a:lnTo>
                          <a:pt x="969" y="307"/>
                        </a:lnTo>
                        <a:lnTo>
                          <a:pt x="968" y="306"/>
                        </a:lnTo>
                        <a:lnTo>
                          <a:pt x="968" y="303"/>
                        </a:lnTo>
                        <a:lnTo>
                          <a:pt x="966" y="303"/>
                        </a:lnTo>
                        <a:lnTo>
                          <a:pt x="965" y="301"/>
                        </a:lnTo>
                        <a:lnTo>
                          <a:pt x="963" y="301"/>
                        </a:lnTo>
                        <a:lnTo>
                          <a:pt x="961" y="299"/>
                        </a:lnTo>
                        <a:lnTo>
                          <a:pt x="960" y="298"/>
                        </a:lnTo>
                        <a:lnTo>
                          <a:pt x="960" y="296"/>
                        </a:lnTo>
                        <a:lnTo>
                          <a:pt x="957" y="296"/>
                        </a:lnTo>
                        <a:lnTo>
                          <a:pt x="955" y="296"/>
                        </a:lnTo>
                        <a:lnTo>
                          <a:pt x="953" y="296"/>
                        </a:lnTo>
                        <a:lnTo>
                          <a:pt x="953" y="298"/>
                        </a:lnTo>
                        <a:lnTo>
                          <a:pt x="955" y="299"/>
                        </a:lnTo>
                        <a:lnTo>
                          <a:pt x="955" y="301"/>
                        </a:lnTo>
                        <a:lnTo>
                          <a:pt x="955" y="303"/>
                        </a:lnTo>
                        <a:lnTo>
                          <a:pt x="957" y="303"/>
                        </a:lnTo>
                        <a:lnTo>
                          <a:pt x="957" y="304"/>
                        </a:lnTo>
                        <a:lnTo>
                          <a:pt x="955" y="304"/>
                        </a:lnTo>
                        <a:lnTo>
                          <a:pt x="953" y="303"/>
                        </a:lnTo>
                        <a:lnTo>
                          <a:pt x="952" y="301"/>
                        </a:lnTo>
                        <a:lnTo>
                          <a:pt x="950" y="301"/>
                        </a:lnTo>
                        <a:lnTo>
                          <a:pt x="949" y="301"/>
                        </a:lnTo>
                        <a:lnTo>
                          <a:pt x="947" y="299"/>
                        </a:lnTo>
                        <a:lnTo>
                          <a:pt x="946" y="299"/>
                        </a:lnTo>
                        <a:lnTo>
                          <a:pt x="942" y="299"/>
                        </a:lnTo>
                        <a:lnTo>
                          <a:pt x="941" y="301"/>
                        </a:lnTo>
                        <a:lnTo>
                          <a:pt x="939" y="303"/>
                        </a:lnTo>
                        <a:lnTo>
                          <a:pt x="938" y="304"/>
                        </a:lnTo>
                        <a:lnTo>
                          <a:pt x="936" y="304"/>
                        </a:lnTo>
                        <a:lnTo>
                          <a:pt x="934" y="304"/>
                        </a:lnTo>
                        <a:lnTo>
                          <a:pt x="933" y="304"/>
                        </a:lnTo>
                        <a:lnTo>
                          <a:pt x="933" y="306"/>
                        </a:lnTo>
                        <a:lnTo>
                          <a:pt x="933" y="307"/>
                        </a:lnTo>
                        <a:lnTo>
                          <a:pt x="931" y="307"/>
                        </a:lnTo>
                        <a:lnTo>
                          <a:pt x="931" y="309"/>
                        </a:lnTo>
                        <a:lnTo>
                          <a:pt x="930" y="309"/>
                        </a:lnTo>
                        <a:lnTo>
                          <a:pt x="928" y="309"/>
                        </a:lnTo>
                        <a:lnTo>
                          <a:pt x="928" y="311"/>
                        </a:lnTo>
                        <a:lnTo>
                          <a:pt x="928" y="312"/>
                        </a:lnTo>
                        <a:lnTo>
                          <a:pt x="928" y="314"/>
                        </a:lnTo>
                        <a:lnTo>
                          <a:pt x="927" y="312"/>
                        </a:lnTo>
                        <a:lnTo>
                          <a:pt x="927" y="311"/>
                        </a:lnTo>
                        <a:lnTo>
                          <a:pt x="925" y="311"/>
                        </a:lnTo>
                        <a:lnTo>
                          <a:pt x="923" y="309"/>
                        </a:lnTo>
                        <a:lnTo>
                          <a:pt x="923" y="306"/>
                        </a:lnTo>
                        <a:lnTo>
                          <a:pt x="919" y="304"/>
                        </a:lnTo>
                        <a:lnTo>
                          <a:pt x="917" y="303"/>
                        </a:lnTo>
                        <a:lnTo>
                          <a:pt x="915" y="304"/>
                        </a:lnTo>
                        <a:lnTo>
                          <a:pt x="914" y="304"/>
                        </a:lnTo>
                        <a:lnTo>
                          <a:pt x="912" y="303"/>
                        </a:lnTo>
                        <a:lnTo>
                          <a:pt x="911" y="304"/>
                        </a:lnTo>
                        <a:lnTo>
                          <a:pt x="909" y="304"/>
                        </a:lnTo>
                        <a:lnTo>
                          <a:pt x="909" y="303"/>
                        </a:lnTo>
                        <a:lnTo>
                          <a:pt x="908" y="303"/>
                        </a:lnTo>
                        <a:lnTo>
                          <a:pt x="908" y="301"/>
                        </a:lnTo>
                        <a:lnTo>
                          <a:pt x="908" y="299"/>
                        </a:lnTo>
                        <a:lnTo>
                          <a:pt x="908" y="298"/>
                        </a:lnTo>
                        <a:lnTo>
                          <a:pt x="906" y="298"/>
                        </a:lnTo>
                        <a:lnTo>
                          <a:pt x="906" y="296"/>
                        </a:lnTo>
                        <a:lnTo>
                          <a:pt x="906" y="295"/>
                        </a:lnTo>
                        <a:lnTo>
                          <a:pt x="908" y="295"/>
                        </a:lnTo>
                        <a:lnTo>
                          <a:pt x="908" y="293"/>
                        </a:lnTo>
                        <a:lnTo>
                          <a:pt x="909" y="293"/>
                        </a:lnTo>
                        <a:lnTo>
                          <a:pt x="911" y="292"/>
                        </a:lnTo>
                        <a:lnTo>
                          <a:pt x="911" y="290"/>
                        </a:lnTo>
                        <a:lnTo>
                          <a:pt x="912" y="290"/>
                        </a:lnTo>
                        <a:lnTo>
                          <a:pt x="911" y="288"/>
                        </a:lnTo>
                        <a:lnTo>
                          <a:pt x="909" y="288"/>
                        </a:lnTo>
                        <a:lnTo>
                          <a:pt x="908" y="290"/>
                        </a:lnTo>
                        <a:lnTo>
                          <a:pt x="908" y="288"/>
                        </a:lnTo>
                        <a:lnTo>
                          <a:pt x="906" y="290"/>
                        </a:lnTo>
                        <a:lnTo>
                          <a:pt x="904" y="290"/>
                        </a:lnTo>
                        <a:lnTo>
                          <a:pt x="903" y="288"/>
                        </a:lnTo>
                        <a:lnTo>
                          <a:pt x="903" y="287"/>
                        </a:lnTo>
                        <a:lnTo>
                          <a:pt x="901" y="287"/>
                        </a:lnTo>
                        <a:lnTo>
                          <a:pt x="901" y="285"/>
                        </a:lnTo>
                        <a:lnTo>
                          <a:pt x="901" y="284"/>
                        </a:lnTo>
                        <a:lnTo>
                          <a:pt x="900" y="284"/>
                        </a:lnTo>
                        <a:lnTo>
                          <a:pt x="898" y="284"/>
                        </a:lnTo>
                        <a:lnTo>
                          <a:pt x="896" y="282"/>
                        </a:lnTo>
                        <a:lnTo>
                          <a:pt x="896" y="284"/>
                        </a:lnTo>
                        <a:lnTo>
                          <a:pt x="895" y="284"/>
                        </a:lnTo>
                        <a:lnTo>
                          <a:pt x="895" y="285"/>
                        </a:lnTo>
                        <a:lnTo>
                          <a:pt x="893" y="285"/>
                        </a:lnTo>
                        <a:lnTo>
                          <a:pt x="893" y="287"/>
                        </a:lnTo>
                        <a:lnTo>
                          <a:pt x="892" y="285"/>
                        </a:lnTo>
                        <a:lnTo>
                          <a:pt x="890" y="284"/>
                        </a:lnTo>
                        <a:lnTo>
                          <a:pt x="890" y="282"/>
                        </a:lnTo>
                        <a:lnTo>
                          <a:pt x="888" y="280"/>
                        </a:lnTo>
                        <a:lnTo>
                          <a:pt x="887" y="279"/>
                        </a:lnTo>
                        <a:lnTo>
                          <a:pt x="887" y="280"/>
                        </a:lnTo>
                        <a:lnTo>
                          <a:pt x="885" y="280"/>
                        </a:lnTo>
                        <a:lnTo>
                          <a:pt x="885" y="282"/>
                        </a:lnTo>
                        <a:lnTo>
                          <a:pt x="884" y="282"/>
                        </a:lnTo>
                        <a:lnTo>
                          <a:pt x="884" y="284"/>
                        </a:lnTo>
                        <a:lnTo>
                          <a:pt x="882" y="284"/>
                        </a:lnTo>
                        <a:lnTo>
                          <a:pt x="881" y="284"/>
                        </a:lnTo>
                        <a:lnTo>
                          <a:pt x="879" y="282"/>
                        </a:lnTo>
                        <a:lnTo>
                          <a:pt x="877" y="284"/>
                        </a:lnTo>
                        <a:lnTo>
                          <a:pt x="876" y="284"/>
                        </a:lnTo>
                        <a:lnTo>
                          <a:pt x="874" y="284"/>
                        </a:lnTo>
                        <a:lnTo>
                          <a:pt x="873" y="285"/>
                        </a:lnTo>
                        <a:lnTo>
                          <a:pt x="874" y="285"/>
                        </a:lnTo>
                        <a:lnTo>
                          <a:pt x="874" y="287"/>
                        </a:lnTo>
                        <a:lnTo>
                          <a:pt x="876" y="288"/>
                        </a:lnTo>
                        <a:lnTo>
                          <a:pt x="876" y="290"/>
                        </a:lnTo>
                        <a:lnTo>
                          <a:pt x="876" y="292"/>
                        </a:lnTo>
                        <a:lnTo>
                          <a:pt x="876" y="293"/>
                        </a:lnTo>
                        <a:lnTo>
                          <a:pt x="874" y="293"/>
                        </a:lnTo>
                        <a:lnTo>
                          <a:pt x="873" y="293"/>
                        </a:lnTo>
                        <a:lnTo>
                          <a:pt x="871" y="293"/>
                        </a:lnTo>
                        <a:lnTo>
                          <a:pt x="869" y="295"/>
                        </a:lnTo>
                        <a:lnTo>
                          <a:pt x="869" y="293"/>
                        </a:lnTo>
                        <a:lnTo>
                          <a:pt x="868" y="293"/>
                        </a:lnTo>
                        <a:lnTo>
                          <a:pt x="866" y="293"/>
                        </a:lnTo>
                        <a:lnTo>
                          <a:pt x="868" y="295"/>
                        </a:lnTo>
                        <a:lnTo>
                          <a:pt x="866" y="296"/>
                        </a:lnTo>
                        <a:lnTo>
                          <a:pt x="866" y="298"/>
                        </a:lnTo>
                        <a:lnTo>
                          <a:pt x="865" y="298"/>
                        </a:lnTo>
                        <a:lnTo>
                          <a:pt x="863" y="299"/>
                        </a:lnTo>
                        <a:lnTo>
                          <a:pt x="863" y="301"/>
                        </a:lnTo>
                        <a:lnTo>
                          <a:pt x="863" y="303"/>
                        </a:lnTo>
                        <a:lnTo>
                          <a:pt x="863" y="304"/>
                        </a:lnTo>
                        <a:lnTo>
                          <a:pt x="862" y="304"/>
                        </a:lnTo>
                        <a:lnTo>
                          <a:pt x="860" y="304"/>
                        </a:lnTo>
                        <a:lnTo>
                          <a:pt x="860" y="306"/>
                        </a:lnTo>
                        <a:lnTo>
                          <a:pt x="858" y="306"/>
                        </a:lnTo>
                        <a:lnTo>
                          <a:pt x="860" y="307"/>
                        </a:lnTo>
                        <a:lnTo>
                          <a:pt x="858" y="309"/>
                        </a:lnTo>
                        <a:lnTo>
                          <a:pt x="857" y="309"/>
                        </a:lnTo>
                        <a:lnTo>
                          <a:pt x="855" y="309"/>
                        </a:lnTo>
                        <a:lnTo>
                          <a:pt x="854" y="309"/>
                        </a:lnTo>
                        <a:lnTo>
                          <a:pt x="852" y="311"/>
                        </a:lnTo>
                        <a:lnTo>
                          <a:pt x="854" y="311"/>
                        </a:lnTo>
                        <a:lnTo>
                          <a:pt x="854" y="312"/>
                        </a:lnTo>
                        <a:lnTo>
                          <a:pt x="852" y="312"/>
                        </a:lnTo>
                        <a:lnTo>
                          <a:pt x="850" y="312"/>
                        </a:lnTo>
                        <a:lnTo>
                          <a:pt x="849" y="312"/>
                        </a:lnTo>
                        <a:lnTo>
                          <a:pt x="847" y="312"/>
                        </a:lnTo>
                        <a:lnTo>
                          <a:pt x="846" y="314"/>
                        </a:lnTo>
                        <a:lnTo>
                          <a:pt x="844" y="314"/>
                        </a:lnTo>
                        <a:lnTo>
                          <a:pt x="844" y="315"/>
                        </a:lnTo>
                        <a:lnTo>
                          <a:pt x="843" y="315"/>
                        </a:lnTo>
                        <a:lnTo>
                          <a:pt x="843" y="317"/>
                        </a:lnTo>
                        <a:lnTo>
                          <a:pt x="841" y="317"/>
                        </a:lnTo>
                        <a:lnTo>
                          <a:pt x="841" y="319"/>
                        </a:lnTo>
                        <a:lnTo>
                          <a:pt x="839" y="319"/>
                        </a:lnTo>
                        <a:lnTo>
                          <a:pt x="839" y="317"/>
                        </a:lnTo>
                        <a:lnTo>
                          <a:pt x="838" y="317"/>
                        </a:lnTo>
                        <a:lnTo>
                          <a:pt x="836" y="317"/>
                        </a:lnTo>
                        <a:lnTo>
                          <a:pt x="835" y="317"/>
                        </a:lnTo>
                        <a:lnTo>
                          <a:pt x="833" y="319"/>
                        </a:lnTo>
                        <a:lnTo>
                          <a:pt x="831" y="319"/>
                        </a:lnTo>
                        <a:lnTo>
                          <a:pt x="830" y="319"/>
                        </a:lnTo>
                        <a:lnTo>
                          <a:pt x="830" y="320"/>
                        </a:lnTo>
                        <a:lnTo>
                          <a:pt x="828" y="320"/>
                        </a:lnTo>
                        <a:lnTo>
                          <a:pt x="827" y="320"/>
                        </a:lnTo>
                        <a:lnTo>
                          <a:pt x="827" y="322"/>
                        </a:lnTo>
                        <a:lnTo>
                          <a:pt x="825" y="322"/>
                        </a:lnTo>
                        <a:lnTo>
                          <a:pt x="824" y="322"/>
                        </a:lnTo>
                        <a:lnTo>
                          <a:pt x="822" y="322"/>
                        </a:lnTo>
                        <a:lnTo>
                          <a:pt x="822" y="323"/>
                        </a:lnTo>
                        <a:lnTo>
                          <a:pt x="820" y="322"/>
                        </a:lnTo>
                        <a:lnTo>
                          <a:pt x="819" y="323"/>
                        </a:lnTo>
                        <a:lnTo>
                          <a:pt x="817" y="323"/>
                        </a:lnTo>
                        <a:lnTo>
                          <a:pt x="816" y="323"/>
                        </a:lnTo>
                        <a:lnTo>
                          <a:pt x="816" y="325"/>
                        </a:lnTo>
                        <a:lnTo>
                          <a:pt x="814" y="325"/>
                        </a:lnTo>
                        <a:lnTo>
                          <a:pt x="814" y="326"/>
                        </a:lnTo>
                        <a:lnTo>
                          <a:pt x="812" y="326"/>
                        </a:lnTo>
                        <a:lnTo>
                          <a:pt x="811" y="326"/>
                        </a:lnTo>
                        <a:lnTo>
                          <a:pt x="809" y="328"/>
                        </a:lnTo>
                        <a:lnTo>
                          <a:pt x="808" y="328"/>
                        </a:lnTo>
                        <a:lnTo>
                          <a:pt x="806" y="328"/>
                        </a:lnTo>
                        <a:lnTo>
                          <a:pt x="806" y="330"/>
                        </a:lnTo>
                        <a:lnTo>
                          <a:pt x="805" y="330"/>
                        </a:lnTo>
                        <a:lnTo>
                          <a:pt x="805" y="331"/>
                        </a:lnTo>
                        <a:lnTo>
                          <a:pt x="803" y="331"/>
                        </a:lnTo>
                        <a:lnTo>
                          <a:pt x="803" y="333"/>
                        </a:lnTo>
                        <a:lnTo>
                          <a:pt x="801" y="333"/>
                        </a:lnTo>
                        <a:lnTo>
                          <a:pt x="801" y="334"/>
                        </a:lnTo>
                        <a:lnTo>
                          <a:pt x="800" y="334"/>
                        </a:lnTo>
                        <a:lnTo>
                          <a:pt x="798" y="334"/>
                        </a:lnTo>
                        <a:lnTo>
                          <a:pt x="797" y="334"/>
                        </a:lnTo>
                        <a:lnTo>
                          <a:pt x="795" y="334"/>
                        </a:lnTo>
                        <a:lnTo>
                          <a:pt x="793" y="334"/>
                        </a:lnTo>
                        <a:lnTo>
                          <a:pt x="792" y="334"/>
                        </a:lnTo>
                        <a:lnTo>
                          <a:pt x="790" y="333"/>
                        </a:lnTo>
                        <a:lnTo>
                          <a:pt x="789" y="334"/>
                        </a:lnTo>
                        <a:lnTo>
                          <a:pt x="787" y="334"/>
                        </a:lnTo>
                        <a:lnTo>
                          <a:pt x="787" y="333"/>
                        </a:lnTo>
                        <a:lnTo>
                          <a:pt x="786" y="331"/>
                        </a:lnTo>
                        <a:lnTo>
                          <a:pt x="784" y="331"/>
                        </a:lnTo>
                        <a:lnTo>
                          <a:pt x="782" y="331"/>
                        </a:lnTo>
                        <a:lnTo>
                          <a:pt x="782" y="330"/>
                        </a:lnTo>
                        <a:lnTo>
                          <a:pt x="781" y="330"/>
                        </a:lnTo>
                        <a:lnTo>
                          <a:pt x="779" y="331"/>
                        </a:lnTo>
                        <a:lnTo>
                          <a:pt x="778" y="331"/>
                        </a:lnTo>
                        <a:lnTo>
                          <a:pt x="778" y="333"/>
                        </a:lnTo>
                        <a:lnTo>
                          <a:pt x="776" y="333"/>
                        </a:lnTo>
                        <a:lnTo>
                          <a:pt x="776" y="334"/>
                        </a:lnTo>
                        <a:lnTo>
                          <a:pt x="774" y="334"/>
                        </a:lnTo>
                        <a:lnTo>
                          <a:pt x="773" y="336"/>
                        </a:lnTo>
                        <a:lnTo>
                          <a:pt x="771" y="336"/>
                        </a:lnTo>
                        <a:lnTo>
                          <a:pt x="770" y="338"/>
                        </a:lnTo>
                        <a:lnTo>
                          <a:pt x="770" y="339"/>
                        </a:lnTo>
                        <a:lnTo>
                          <a:pt x="768" y="339"/>
                        </a:lnTo>
                        <a:lnTo>
                          <a:pt x="767" y="341"/>
                        </a:lnTo>
                        <a:lnTo>
                          <a:pt x="765" y="341"/>
                        </a:lnTo>
                        <a:lnTo>
                          <a:pt x="765" y="342"/>
                        </a:lnTo>
                        <a:lnTo>
                          <a:pt x="763" y="342"/>
                        </a:lnTo>
                        <a:lnTo>
                          <a:pt x="762" y="342"/>
                        </a:lnTo>
                        <a:lnTo>
                          <a:pt x="762" y="344"/>
                        </a:lnTo>
                        <a:lnTo>
                          <a:pt x="760" y="344"/>
                        </a:lnTo>
                        <a:lnTo>
                          <a:pt x="760" y="342"/>
                        </a:lnTo>
                        <a:lnTo>
                          <a:pt x="759" y="342"/>
                        </a:lnTo>
                        <a:lnTo>
                          <a:pt x="757" y="342"/>
                        </a:lnTo>
                        <a:lnTo>
                          <a:pt x="755" y="342"/>
                        </a:lnTo>
                        <a:lnTo>
                          <a:pt x="754" y="342"/>
                        </a:lnTo>
                        <a:lnTo>
                          <a:pt x="752" y="342"/>
                        </a:lnTo>
                        <a:lnTo>
                          <a:pt x="751" y="342"/>
                        </a:lnTo>
                        <a:lnTo>
                          <a:pt x="749" y="342"/>
                        </a:lnTo>
                        <a:lnTo>
                          <a:pt x="748" y="342"/>
                        </a:lnTo>
                        <a:lnTo>
                          <a:pt x="746" y="342"/>
                        </a:lnTo>
                        <a:lnTo>
                          <a:pt x="744" y="341"/>
                        </a:lnTo>
                        <a:lnTo>
                          <a:pt x="743" y="341"/>
                        </a:lnTo>
                        <a:lnTo>
                          <a:pt x="741" y="339"/>
                        </a:lnTo>
                        <a:lnTo>
                          <a:pt x="741" y="338"/>
                        </a:lnTo>
                        <a:lnTo>
                          <a:pt x="740" y="336"/>
                        </a:lnTo>
                        <a:lnTo>
                          <a:pt x="738" y="334"/>
                        </a:lnTo>
                        <a:lnTo>
                          <a:pt x="736" y="334"/>
                        </a:lnTo>
                        <a:lnTo>
                          <a:pt x="735" y="333"/>
                        </a:lnTo>
                        <a:lnTo>
                          <a:pt x="733" y="333"/>
                        </a:lnTo>
                        <a:lnTo>
                          <a:pt x="733" y="331"/>
                        </a:lnTo>
                        <a:lnTo>
                          <a:pt x="732" y="330"/>
                        </a:lnTo>
                        <a:lnTo>
                          <a:pt x="730" y="328"/>
                        </a:lnTo>
                        <a:lnTo>
                          <a:pt x="730" y="326"/>
                        </a:lnTo>
                        <a:lnTo>
                          <a:pt x="730" y="325"/>
                        </a:lnTo>
                        <a:lnTo>
                          <a:pt x="730" y="323"/>
                        </a:lnTo>
                        <a:lnTo>
                          <a:pt x="732" y="323"/>
                        </a:lnTo>
                        <a:lnTo>
                          <a:pt x="732" y="322"/>
                        </a:lnTo>
                        <a:lnTo>
                          <a:pt x="733" y="322"/>
                        </a:lnTo>
                        <a:lnTo>
                          <a:pt x="735" y="322"/>
                        </a:lnTo>
                        <a:lnTo>
                          <a:pt x="735" y="320"/>
                        </a:lnTo>
                        <a:lnTo>
                          <a:pt x="736" y="320"/>
                        </a:lnTo>
                        <a:lnTo>
                          <a:pt x="736" y="319"/>
                        </a:lnTo>
                        <a:lnTo>
                          <a:pt x="736" y="317"/>
                        </a:lnTo>
                        <a:lnTo>
                          <a:pt x="735" y="317"/>
                        </a:lnTo>
                        <a:lnTo>
                          <a:pt x="735" y="315"/>
                        </a:lnTo>
                        <a:lnTo>
                          <a:pt x="735" y="314"/>
                        </a:lnTo>
                        <a:lnTo>
                          <a:pt x="733" y="314"/>
                        </a:lnTo>
                        <a:lnTo>
                          <a:pt x="733" y="312"/>
                        </a:lnTo>
                        <a:lnTo>
                          <a:pt x="733" y="311"/>
                        </a:lnTo>
                        <a:lnTo>
                          <a:pt x="733" y="309"/>
                        </a:lnTo>
                        <a:lnTo>
                          <a:pt x="735" y="309"/>
                        </a:lnTo>
                        <a:lnTo>
                          <a:pt x="735" y="307"/>
                        </a:lnTo>
                        <a:lnTo>
                          <a:pt x="735" y="306"/>
                        </a:lnTo>
                        <a:lnTo>
                          <a:pt x="736" y="306"/>
                        </a:lnTo>
                        <a:lnTo>
                          <a:pt x="736" y="304"/>
                        </a:lnTo>
                        <a:lnTo>
                          <a:pt x="736" y="303"/>
                        </a:lnTo>
                        <a:lnTo>
                          <a:pt x="736" y="301"/>
                        </a:lnTo>
                        <a:lnTo>
                          <a:pt x="736" y="299"/>
                        </a:lnTo>
                        <a:lnTo>
                          <a:pt x="736" y="298"/>
                        </a:lnTo>
                        <a:lnTo>
                          <a:pt x="736" y="296"/>
                        </a:lnTo>
                        <a:lnTo>
                          <a:pt x="738" y="295"/>
                        </a:lnTo>
                        <a:lnTo>
                          <a:pt x="736" y="295"/>
                        </a:lnTo>
                        <a:lnTo>
                          <a:pt x="735" y="295"/>
                        </a:lnTo>
                        <a:lnTo>
                          <a:pt x="733" y="295"/>
                        </a:lnTo>
                        <a:lnTo>
                          <a:pt x="732" y="295"/>
                        </a:lnTo>
                        <a:lnTo>
                          <a:pt x="730" y="295"/>
                        </a:lnTo>
                        <a:lnTo>
                          <a:pt x="729" y="295"/>
                        </a:lnTo>
                        <a:lnTo>
                          <a:pt x="727" y="296"/>
                        </a:lnTo>
                        <a:lnTo>
                          <a:pt x="725" y="296"/>
                        </a:lnTo>
                        <a:lnTo>
                          <a:pt x="724" y="296"/>
                        </a:lnTo>
                        <a:lnTo>
                          <a:pt x="722" y="295"/>
                        </a:lnTo>
                        <a:lnTo>
                          <a:pt x="721" y="296"/>
                        </a:lnTo>
                        <a:lnTo>
                          <a:pt x="721" y="295"/>
                        </a:lnTo>
                        <a:lnTo>
                          <a:pt x="719" y="295"/>
                        </a:lnTo>
                        <a:lnTo>
                          <a:pt x="717" y="293"/>
                        </a:lnTo>
                        <a:lnTo>
                          <a:pt x="717" y="292"/>
                        </a:lnTo>
                        <a:lnTo>
                          <a:pt x="716" y="293"/>
                        </a:lnTo>
                        <a:lnTo>
                          <a:pt x="714" y="293"/>
                        </a:lnTo>
                        <a:lnTo>
                          <a:pt x="713" y="293"/>
                        </a:lnTo>
                        <a:lnTo>
                          <a:pt x="711" y="293"/>
                        </a:lnTo>
                        <a:lnTo>
                          <a:pt x="710" y="293"/>
                        </a:lnTo>
                        <a:lnTo>
                          <a:pt x="708" y="293"/>
                        </a:lnTo>
                        <a:lnTo>
                          <a:pt x="706" y="293"/>
                        </a:lnTo>
                        <a:lnTo>
                          <a:pt x="705" y="293"/>
                        </a:lnTo>
                        <a:lnTo>
                          <a:pt x="703" y="293"/>
                        </a:lnTo>
                        <a:lnTo>
                          <a:pt x="702" y="293"/>
                        </a:lnTo>
                        <a:lnTo>
                          <a:pt x="700" y="293"/>
                        </a:lnTo>
                        <a:lnTo>
                          <a:pt x="698" y="293"/>
                        </a:lnTo>
                        <a:lnTo>
                          <a:pt x="695" y="293"/>
                        </a:lnTo>
                        <a:lnTo>
                          <a:pt x="694" y="292"/>
                        </a:lnTo>
                        <a:lnTo>
                          <a:pt x="692" y="292"/>
                        </a:lnTo>
                        <a:lnTo>
                          <a:pt x="690" y="292"/>
                        </a:lnTo>
                        <a:lnTo>
                          <a:pt x="689" y="290"/>
                        </a:lnTo>
                        <a:lnTo>
                          <a:pt x="687" y="290"/>
                        </a:lnTo>
                        <a:lnTo>
                          <a:pt x="686" y="290"/>
                        </a:lnTo>
                        <a:lnTo>
                          <a:pt x="684" y="288"/>
                        </a:lnTo>
                        <a:lnTo>
                          <a:pt x="683" y="288"/>
                        </a:lnTo>
                        <a:lnTo>
                          <a:pt x="683" y="287"/>
                        </a:lnTo>
                        <a:lnTo>
                          <a:pt x="683" y="285"/>
                        </a:lnTo>
                        <a:lnTo>
                          <a:pt x="684" y="284"/>
                        </a:lnTo>
                        <a:lnTo>
                          <a:pt x="684" y="282"/>
                        </a:lnTo>
                        <a:lnTo>
                          <a:pt x="683" y="280"/>
                        </a:lnTo>
                        <a:lnTo>
                          <a:pt x="681" y="280"/>
                        </a:lnTo>
                        <a:lnTo>
                          <a:pt x="681" y="279"/>
                        </a:lnTo>
                        <a:lnTo>
                          <a:pt x="679" y="279"/>
                        </a:lnTo>
                        <a:lnTo>
                          <a:pt x="678" y="277"/>
                        </a:lnTo>
                        <a:lnTo>
                          <a:pt x="676" y="277"/>
                        </a:lnTo>
                        <a:lnTo>
                          <a:pt x="676" y="276"/>
                        </a:lnTo>
                        <a:lnTo>
                          <a:pt x="675" y="274"/>
                        </a:lnTo>
                        <a:lnTo>
                          <a:pt x="673" y="274"/>
                        </a:lnTo>
                        <a:lnTo>
                          <a:pt x="673" y="273"/>
                        </a:lnTo>
                        <a:lnTo>
                          <a:pt x="671" y="273"/>
                        </a:lnTo>
                        <a:lnTo>
                          <a:pt x="670" y="271"/>
                        </a:lnTo>
                        <a:lnTo>
                          <a:pt x="668" y="271"/>
                        </a:lnTo>
                        <a:lnTo>
                          <a:pt x="667" y="269"/>
                        </a:lnTo>
                        <a:lnTo>
                          <a:pt x="667" y="268"/>
                        </a:lnTo>
                        <a:lnTo>
                          <a:pt x="665" y="268"/>
                        </a:lnTo>
                        <a:lnTo>
                          <a:pt x="665" y="266"/>
                        </a:lnTo>
                        <a:lnTo>
                          <a:pt x="664" y="265"/>
                        </a:lnTo>
                        <a:lnTo>
                          <a:pt x="664" y="263"/>
                        </a:lnTo>
                        <a:lnTo>
                          <a:pt x="662" y="263"/>
                        </a:lnTo>
                        <a:lnTo>
                          <a:pt x="662" y="261"/>
                        </a:lnTo>
                        <a:lnTo>
                          <a:pt x="660" y="260"/>
                        </a:lnTo>
                        <a:lnTo>
                          <a:pt x="660" y="258"/>
                        </a:lnTo>
                        <a:lnTo>
                          <a:pt x="660" y="257"/>
                        </a:lnTo>
                        <a:lnTo>
                          <a:pt x="662" y="257"/>
                        </a:lnTo>
                        <a:lnTo>
                          <a:pt x="664" y="257"/>
                        </a:lnTo>
                        <a:lnTo>
                          <a:pt x="665" y="257"/>
                        </a:lnTo>
                        <a:lnTo>
                          <a:pt x="667" y="257"/>
                        </a:lnTo>
                        <a:lnTo>
                          <a:pt x="668" y="257"/>
                        </a:lnTo>
                        <a:lnTo>
                          <a:pt x="670" y="255"/>
                        </a:lnTo>
                        <a:lnTo>
                          <a:pt x="670" y="254"/>
                        </a:lnTo>
                        <a:lnTo>
                          <a:pt x="671" y="252"/>
                        </a:lnTo>
                        <a:lnTo>
                          <a:pt x="671" y="250"/>
                        </a:lnTo>
                        <a:lnTo>
                          <a:pt x="673" y="250"/>
                        </a:lnTo>
                        <a:lnTo>
                          <a:pt x="675" y="249"/>
                        </a:lnTo>
                        <a:lnTo>
                          <a:pt x="676" y="247"/>
                        </a:lnTo>
                        <a:lnTo>
                          <a:pt x="676" y="246"/>
                        </a:lnTo>
                        <a:lnTo>
                          <a:pt x="676" y="244"/>
                        </a:lnTo>
                        <a:lnTo>
                          <a:pt x="676" y="242"/>
                        </a:lnTo>
                        <a:lnTo>
                          <a:pt x="676" y="241"/>
                        </a:lnTo>
                        <a:lnTo>
                          <a:pt x="676" y="239"/>
                        </a:lnTo>
                        <a:lnTo>
                          <a:pt x="676" y="238"/>
                        </a:lnTo>
                        <a:lnTo>
                          <a:pt x="676" y="236"/>
                        </a:lnTo>
                        <a:lnTo>
                          <a:pt x="678" y="235"/>
                        </a:lnTo>
                        <a:lnTo>
                          <a:pt x="678" y="233"/>
                        </a:lnTo>
                        <a:lnTo>
                          <a:pt x="679" y="233"/>
                        </a:lnTo>
                        <a:lnTo>
                          <a:pt x="679" y="231"/>
                        </a:lnTo>
                        <a:lnTo>
                          <a:pt x="679" y="230"/>
                        </a:lnTo>
                        <a:lnTo>
                          <a:pt x="681" y="230"/>
                        </a:lnTo>
                        <a:lnTo>
                          <a:pt x="683" y="228"/>
                        </a:lnTo>
                        <a:lnTo>
                          <a:pt x="683" y="227"/>
                        </a:lnTo>
                        <a:lnTo>
                          <a:pt x="684" y="225"/>
                        </a:lnTo>
                        <a:lnTo>
                          <a:pt x="686" y="225"/>
                        </a:lnTo>
                        <a:lnTo>
                          <a:pt x="686" y="223"/>
                        </a:lnTo>
                        <a:lnTo>
                          <a:pt x="687" y="223"/>
                        </a:lnTo>
                        <a:lnTo>
                          <a:pt x="689" y="222"/>
                        </a:lnTo>
                        <a:lnTo>
                          <a:pt x="689" y="220"/>
                        </a:lnTo>
                        <a:lnTo>
                          <a:pt x="690" y="220"/>
                        </a:lnTo>
                        <a:lnTo>
                          <a:pt x="690" y="219"/>
                        </a:lnTo>
                        <a:lnTo>
                          <a:pt x="692" y="219"/>
                        </a:lnTo>
                        <a:lnTo>
                          <a:pt x="692" y="217"/>
                        </a:lnTo>
                        <a:lnTo>
                          <a:pt x="694" y="216"/>
                        </a:lnTo>
                        <a:lnTo>
                          <a:pt x="694" y="214"/>
                        </a:lnTo>
                        <a:lnTo>
                          <a:pt x="695" y="212"/>
                        </a:lnTo>
                        <a:lnTo>
                          <a:pt x="694" y="212"/>
                        </a:lnTo>
                        <a:lnTo>
                          <a:pt x="694" y="211"/>
                        </a:lnTo>
                        <a:lnTo>
                          <a:pt x="692" y="211"/>
                        </a:lnTo>
                        <a:lnTo>
                          <a:pt x="690" y="211"/>
                        </a:lnTo>
                        <a:lnTo>
                          <a:pt x="689" y="211"/>
                        </a:lnTo>
                        <a:lnTo>
                          <a:pt x="689" y="212"/>
                        </a:lnTo>
                        <a:lnTo>
                          <a:pt x="687" y="212"/>
                        </a:lnTo>
                        <a:lnTo>
                          <a:pt x="686" y="212"/>
                        </a:lnTo>
                        <a:lnTo>
                          <a:pt x="684" y="212"/>
                        </a:lnTo>
                        <a:lnTo>
                          <a:pt x="683" y="212"/>
                        </a:lnTo>
                        <a:lnTo>
                          <a:pt x="681" y="212"/>
                        </a:lnTo>
                        <a:lnTo>
                          <a:pt x="679" y="212"/>
                        </a:lnTo>
                        <a:lnTo>
                          <a:pt x="678" y="211"/>
                        </a:lnTo>
                        <a:lnTo>
                          <a:pt x="676" y="209"/>
                        </a:lnTo>
                        <a:lnTo>
                          <a:pt x="675" y="208"/>
                        </a:lnTo>
                        <a:lnTo>
                          <a:pt x="673" y="206"/>
                        </a:lnTo>
                        <a:lnTo>
                          <a:pt x="673" y="204"/>
                        </a:lnTo>
                        <a:lnTo>
                          <a:pt x="671" y="204"/>
                        </a:lnTo>
                        <a:lnTo>
                          <a:pt x="670" y="204"/>
                        </a:lnTo>
                        <a:lnTo>
                          <a:pt x="668" y="203"/>
                        </a:lnTo>
                        <a:lnTo>
                          <a:pt x="667" y="203"/>
                        </a:lnTo>
                        <a:lnTo>
                          <a:pt x="665" y="204"/>
                        </a:lnTo>
                        <a:lnTo>
                          <a:pt x="664" y="206"/>
                        </a:lnTo>
                        <a:lnTo>
                          <a:pt x="664" y="204"/>
                        </a:lnTo>
                        <a:lnTo>
                          <a:pt x="662" y="204"/>
                        </a:lnTo>
                        <a:lnTo>
                          <a:pt x="660" y="204"/>
                        </a:lnTo>
                        <a:lnTo>
                          <a:pt x="659" y="203"/>
                        </a:lnTo>
                        <a:lnTo>
                          <a:pt x="657" y="203"/>
                        </a:lnTo>
                        <a:lnTo>
                          <a:pt x="656" y="203"/>
                        </a:lnTo>
                        <a:lnTo>
                          <a:pt x="656" y="201"/>
                        </a:lnTo>
                        <a:lnTo>
                          <a:pt x="654" y="201"/>
                        </a:lnTo>
                        <a:lnTo>
                          <a:pt x="652" y="201"/>
                        </a:lnTo>
                        <a:lnTo>
                          <a:pt x="651" y="200"/>
                        </a:lnTo>
                        <a:lnTo>
                          <a:pt x="649" y="200"/>
                        </a:lnTo>
                        <a:lnTo>
                          <a:pt x="648" y="200"/>
                        </a:lnTo>
                        <a:lnTo>
                          <a:pt x="648" y="198"/>
                        </a:lnTo>
                        <a:lnTo>
                          <a:pt x="646" y="198"/>
                        </a:lnTo>
                        <a:lnTo>
                          <a:pt x="646" y="200"/>
                        </a:lnTo>
                        <a:lnTo>
                          <a:pt x="645" y="200"/>
                        </a:lnTo>
                        <a:lnTo>
                          <a:pt x="643" y="200"/>
                        </a:lnTo>
                        <a:lnTo>
                          <a:pt x="643" y="198"/>
                        </a:lnTo>
                        <a:lnTo>
                          <a:pt x="641" y="198"/>
                        </a:lnTo>
                        <a:lnTo>
                          <a:pt x="643" y="197"/>
                        </a:lnTo>
                        <a:lnTo>
                          <a:pt x="645" y="197"/>
                        </a:lnTo>
                        <a:lnTo>
                          <a:pt x="643" y="197"/>
                        </a:lnTo>
                        <a:lnTo>
                          <a:pt x="641" y="195"/>
                        </a:lnTo>
                        <a:lnTo>
                          <a:pt x="641" y="197"/>
                        </a:lnTo>
                        <a:lnTo>
                          <a:pt x="640" y="195"/>
                        </a:lnTo>
                        <a:lnTo>
                          <a:pt x="638" y="195"/>
                        </a:lnTo>
                        <a:lnTo>
                          <a:pt x="637" y="195"/>
                        </a:lnTo>
                        <a:lnTo>
                          <a:pt x="635" y="195"/>
                        </a:lnTo>
                        <a:lnTo>
                          <a:pt x="633" y="193"/>
                        </a:lnTo>
                        <a:lnTo>
                          <a:pt x="632" y="193"/>
                        </a:lnTo>
                        <a:lnTo>
                          <a:pt x="630" y="192"/>
                        </a:lnTo>
                        <a:lnTo>
                          <a:pt x="629" y="192"/>
                        </a:lnTo>
                        <a:lnTo>
                          <a:pt x="627" y="192"/>
                        </a:lnTo>
                        <a:lnTo>
                          <a:pt x="626" y="192"/>
                        </a:lnTo>
                        <a:lnTo>
                          <a:pt x="624" y="192"/>
                        </a:lnTo>
                        <a:lnTo>
                          <a:pt x="624" y="193"/>
                        </a:lnTo>
                        <a:lnTo>
                          <a:pt x="622" y="193"/>
                        </a:lnTo>
                        <a:lnTo>
                          <a:pt x="621" y="195"/>
                        </a:lnTo>
                        <a:lnTo>
                          <a:pt x="619" y="195"/>
                        </a:lnTo>
                        <a:lnTo>
                          <a:pt x="618" y="195"/>
                        </a:lnTo>
                        <a:lnTo>
                          <a:pt x="616" y="193"/>
                        </a:lnTo>
                        <a:lnTo>
                          <a:pt x="614" y="193"/>
                        </a:lnTo>
                        <a:lnTo>
                          <a:pt x="616" y="192"/>
                        </a:lnTo>
                        <a:lnTo>
                          <a:pt x="616" y="190"/>
                        </a:lnTo>
                        <a:lnTo>
                          <a:pt x="614" y="190"/>
                        </a:lnTo>
                        <a:lnTo>
                          <a:pt x="613" y="190"/>
                        </a:lnTo>
                        <a:lnTo>
                          <a:pt x="611" y="190"/>
                        </a:lnTo>
                        <a:lnTo>
                          <a:pt x="610" y="190"/>
                        </a:lnTo>
                        <a:lnTo>
                          <a:pt x="608" y="189"/>
                        </a:lnTo>
                        <a:lnTo>
                          <a:pt x="607" y="189"/>
                        </a:lnTo>
                        <a:lnTo>
                          <a:pt x="607" y="190"/>
                        </a:lnTo>
                        <a:lnTo>
                          <a:pt x="605" y="190"/>
                        </a:lnTo>
                        <a:lnTo>
                          <a:pt x="603" y="190"/>
                        </a:lnTo>
                        <a:lnTo>
                          <a:pt x="603" y="189"/>
                        </a:lnTo>
                        <a:lnTo>
                          <a:pt x="605" y="187"/>
                        </a:lnTo>
                        <a:lnTo>
                          <a:pt x="603" y="187"/>
                        </a:lnTo>
                        <a:lnTo>
                          <a:pt x="602" y="187"/>
                        </a:lnTo>
                        <a:lnTo>
                          <a:pt x="600" y="187"/>
                        </a:lnTo>
                        <a:lnTo>
                          <a:pt x="600" y="189"/>
                        </a:lnTo>
                        <a:lnTo>
                          <a:pt x="599" y="189"/>
                        </a:lnTo>
                        <a:lnTo>
                          <a:pt x="597" y="189"/>
                        </a:lnTo>
                        <a:lnTo>
                          <a:pt x="597" y="187"/>
                        </a:lnTo>
                        <a:lnTo>
                          <a:pt x="595" y="187"/>
                        </a:lnTo>
                        <a:lnTo>
                          <a:pt x="594" y="187"/>
                        </a:lnTo>
                        <a:lnTo>
                          <a:pt x="592" y="185"/>
                        </a:lnTo>
                        <a:lnTo>
                          <a:pt x="592" y="184"/>
                        </a:lnTo>
                        <a:lnTo>
                          <a:pt x="591" y="182"/>
                        </a:lnTo>
                        <a:lnTo>
                          <a:pt x="589" y="182"/>
                        </a:lnTo>
                        <a:lnTo>
                          <a:pt x="589" y="184"/>
                        </a:lnTo>
                        <a:lnTo>
                          <a:pt x="588" y="182"/>
                        </a:lnTo>
                        <a:lnTo>
                          <a:pt x="589" y="182"/>
                        </a:lnTo>
                        <a:lnTo>
                          <a:pt x="589" y="181"/>
                        </a:lnTo>
                        <a:lnTo>
                          <a:pt x="588" y="181"/>
                        </a:lnTo>
                        <a:lnTo>
                          <a:pt x="588" y="179"/>
                        </a:lnTo>
                        <a:lnTo>
                          <a:pt x="586" y="179"/>
                        </a:lnTo>
                        <a:lnTo>
                          <a:pt x="584" y="179"/>
                        </a:lnTo>
                        <a:lnTo>
                          <a:pt x="583" y="181"/>
                        </a:lnTo>
                        <a:lnTo>
                          <a:pt x="583" y="179"/>
                        </a:lnTo>
                        <a:lnTo>
                          <a:pt x="583" y="178"/>
                        </a:lnTo>
                        <a:lnTo>
                          <a:pt x="581" y="178"/>
                        </a:lnTo>
                        <a:lnTo>
                          <a:pt x="581" y="176"/>
                        </a:lnTo>
                        <a:lnTo>
                          <a:pt x="580" y="176"/>
                        </a:lnTo>
                        <a:lnTo>
                          <a:pt x="578" y="176"/>
                        </a:lnTo>
                        <a:lnTo>
                          <a:pt x="578" y="174"/>
                        </a:lnTo>
                        <a:lnTo>
                          <a:pt x="578" y="173"/>
                        </a:lnTo>
                        <a:lnTo>
                          <a:pt x="576" y="173"/>
                        </a:lnTo>
                        <a:lnTo>
                          <a:pt x="575" y="173"/>
                        </a:lnTo>
                        <a:lnTo>
                          <a:pt x="573" y="171"/>
                        </a:lnTo>
                        <a:lnTo>
                          <a:pt x="572" y="170"/>
                        </a:lnTo>
                        <a:lnTo>
                          <a:pt x="572" y="168"/>
                        </a:lnTo>
                        <a:lnTo>
                          <a:pt x="572" y="166"/>
                        </a:lnTo>
                        <a:lnTo>
                          <a:pt x="570" y="166"/>
                        </a:lnTo>
                        <a:lnTo>
                          <a:pt x="570" y="165"/>
                        </a:lnTo>
                        <a:lnTo>
                          <a:pt x="569" y="165"/>
                        </a:lnTo>
                        <a:lnTo>
                          <a:pt x="567" y="165"/>
                        </a:lnTo>
                        <a:lnTo>
                          <a:pt x="565" y="166"/>
                        </a:lnTo>
                        <a:lnTo>
                          <a:pt x="565" y="165"/>
                        </a:lnTo>
                        <a:lnTo>
                          <a:pt x="564" y="165"/>
                        </a:lnTo>
                        <a:lnTo>
                          <a:pt x="562" y="165"/>
                        </a:lnTo>
                        <a:lnTo>
                          <a:pt x="561" y="165"/>
                        </a:lnTo>
                        <a:lnTo>
                          <a:pt x="561" y="166"/>
                        </a:lnTo>
                        <a:lnTo>
                          <a:pt x="559" y="166"/>
                        </a:lnTo>
                        <a:lnTo>
                          <a:pt x="557" y="168"/>
                        </a:lnTo>
                        <a:lnTo>
                          <a:pt x="556" y="168"/>
                        </a:lnTo>
                        <a:lnTo>
                          <a:pt x="554" y="168"/>
                        </a:lnTo>
                        <a:lnTo>
                          <a:pt x="553" y="168"/>
                        </a:lnTo>
                        <a:lnTo>
                          <a:pt x="551" y="168"/>
                        </a:lnTo>
                        <a:lnTo>
                          <a:pt x="550" y="168"/>
                        </a:lnTo>
                        <a:lnTo>
                          <a:pt x="548" y="168"/>
                        </a:lnTo>
                        <a:lnTo>
                          <a:pt x="546" y="168"/>
                        </a:lnTo>
                        <a:lnTo>
                          <a:pt x="545" y="168"/>
                        </a:lnTo>
                        <a:lnTo>
                          <a:pt x="543" y="170"/>
                        </a:lnTo>
                        <a:lnTo>
                          <a:pt x="542" y="168"/>
                        </a:lnTo>
                        <a:lnTo>
                          <a:pt x="540" y="170"/>
                        </a:lnTo>
                        <a:lnTo>
                          <a:pt x="538" y="170"/>
                        </a:lnTo>
                        <a:lnTo>
                          <a:pt x="537" y="168"/>
                        </a:lnTo>
                        <a:lnTo>
                          <a:pt x="535" y="168"/>
                        </a:lnTo>
                        <a:lnTo>
                          <a:pt x="534" y="168"/>
                        </a:lnTo>
                        <a:lnTo>
                          <a:pt x="532" y="168"/>
                        </a:lnTo>
                        <a:lnTo>
                          <a:pt x="531" y="168"/>
                        </a:lnTo>
                        <a:lnTo>
                          <a:pt x="529" y="168"/>
                        </a:lnTo>
                        <a:lnTo>
                          <a:pt x="527" y="168"/>
                        </a:lnTo>
                        <a:lnTo>
                          <a:pt x="526" y="168"/>
                        </a:lnTo>
                        <a:lnTo>
                          <a:pt x="524" y="168"/>
                        </a:lnTo>
                        <a:lnTo>
                          <a:pt x="524" y="166"/>
                        </a:lnTo>
                        <a:lnTo>
                          <a:pt x="523" y="166"/>
                        </a:lnTo>
                        <a:lnTo>
                          <a:pt x="521" y="166"/>
                        </a:lnTo>
                        <a:lnTo>
                          <a:pt x="519" y="166"/>
                        </a:lnTo>
                        <a:lnTo>
                          <a:pt x="518" y="166"/>
                        </a:lnTo>
                        <a:lnTo>
                          <a:pt x="516" y="166"/>
                        </a:lnTo>
                        <a:lnTo>
                          <a:pt x="516" y="165"/>
                        </a:lnTo>
                        <a:lnTo>
                          <a:pt x="515" y="165"/>
                        </a:lnTo>
                        <a:lnTo>
                          <a:pt x="513" y="165"/>
                        </a:lnTo>
                        <a:lnTo>
                          <a:pt x="511" y="163"/>
                        </a:lnTo>
                        <a:lnTo>
                          <a:pt x="510" y="163"/>
                        </a:lnTo>
                        <a:lnTo>
                          <a:pt x="508" y="163"/>
                        </a:lnTo>
                        <a:lnTo>
                          <a:pt x="507" y="162"/>
                        </a:lnTo>
                        <a:lnTo>
                          <a:pt x="505" y="162"/>
                        </a:lnTo>
                        <a:lnTo>
                          <a:pt x="504" y="160"/>
                        </a:lnTo>
                        <a:lnTo>
                          <a:pt x="502" y="160"/>
                        </a:lnTo>
                        <a:lnTo>
                          <a:pt x="500" y="160"/>
                        </a:lnTo>
                        <a:lnTo>
                          <a:pt x="499" y="162"/>
                        </a:lnTo>
                        <a:lnTo>
                          <a:pt x="499" y="163"/>
                        </a:lnTo>
                        <a:lnTo>
                          <a:pt x="497" y="165"/>
                        </a:lnTo>
                        <a:lnTo>
                          <a:pt x="496" y="166"/>
                        </a:lnTo>
                        <a:lnTo>
                          <a:pt x="496" y="168"/>
                        </a:lnTo>
                        <a:lnTo>
                          <a:pt x="494" y="170"/>
                        </a:lnTo>
                        <a:lnTo>
                          <a:pt x="494" y="171"/>
                        </a:lnTo>
                        <a:lnTo>
                          <a:pt x="492" y="173"/>
                        </a:lnTo>
                        <a:lnTo>
                          <a:pt x="491" y="174"/>
                        </a:lnTo>
                        <a:lnTo>
                          <a:pt x="489" y="174"/>
                        </a:lnTo>
                        <a:lnTo>
                          <a:pt x="489" y="176"/>
                        </a:lnTo>
                        <a:lnTo>
                          <a:pt x="488" y="176"/>
                        </a:lnTo>
                        <a:lnTo>
                          <a:pt x="486" y="178"/>
                        </a:lnTo>
                        <a:lnTo>
                          <a:pt x="486" y="179"/>
                        </a:lnTo>
                        <a:lnTo>
                          <a:pt x="485" y="179"/>
                        </a:lnTo>
                        <a:lnTo>
                          <a:pt x="485" y="181"/>
                        </a:lnTo>
                        <a:lnTo>
                          <a:pt x="483" y="181"/>
                        </a:lnTo>
                        <a:lnTo>
                          <a:pt x="481" y="182"/>
                        </a:lnTo>
                        <a:lnTo>
                          <a:pt x="480" y="184"/>
                        </a:lnTo>
                        <a:lnTo>
                          <a:pt x="480" y="185"/>
                        </a:lnTo>
                        <a:lnTo>
                          <a:pt x="478" y="187"/>
                        </a:lnTo>
                        <a:lnTo>
                          <a:pt x="477" y="189"/>
                        </a:lnTo>
                        <a:lnTo>
                          <a:pt x="475" y="190"/>
                        </a:lnTo>
                        <a:lnTo>
                          <a:pt x="473" y="190"/>
                        </a:lnTo>
                        <a:lnTo>
                          <a:pt x="472" y="192"/>
                        </a:lnTo>
                        <a:lnTo>
                          <a:pt x="472" y="193"/>
                        </a:lnTo>
                        <a:lnTo>
                          <a:pt x="470" y="193"/>
                        </a:lnTo>
                        <a:lnTo>
                          <a:pt x="469" y="193"/>
                        </a:lnTo>
                        <a:lnTo>
                          <a:pt x="467" y="192"/>
                        </a:lnTo>
                        <a:lnTo>
                          <a:pt x="466" y="190"/>
                        </a:lnTo>
                        <a:lnTo>
                          <a:pt x="464" y="190"/>
                        </a:lnTo>
                        <a:lnTo>
                          <a:pt x="462" y="190"/>
                        </a:lnTo>
                        <a:lnTo>
                          <a:pt x="461" y="190"/>
                        </a:lnTo>
                        <a:lnTo>
                          <a:pt x="461" y="189"/>
                        </a:lnTo>
                        <a:lnTo>
                          <a:pt x="459" y="189"/>
                        </a:lnTo>
                        <a:lnTo>
                          <a:pt x="458" y="189"/>
                        </a:lnTo>
                        <a:lnTo>
                          <a:pt x="456" y="187"/>
                        </a:lnTo>
                        <a:lnTo>
                          <a:pt x="454" y="189"/>
                        </a:lnTo>
                        <a:lnTo>
                          <a:pt x="453" y="189"/>
                        </a:lnTo>
                        <a:lnTo>
                          <a:pt x="451" y="189"/>
                        </a:lnTo>
                        <a:lnTo>
                          <a:pt x="450" y="189"/>
                        </a:lnTo>
                        <a:lnTo>
                          <a:pt x="448" y="189"/>
                        </a:lnTo>
                        <a:lnTo>
                          <a:pt x="448" y="190"/>
                        </a:lnTo>
                        <a:lnTo>
                          <a:pt x="447" y="190"/>
                        </a:lnTo>
                        <a:lnTo>
                          <a:pt x="445" y="190"/>
                        </a:lnTo>
                        <a:lnTo>
                          <a:pt x="443" y="190"/>
                        </a:lnTo>
                        <a:lnTo>
                          <a:pt x="442" y="190"/>
                        </a:lnTo>
                        <a:lnTo>
                          <a:pt x="440" y="190"/>
                        </a:lnTo>
                        <a:lnTo>
                          <a:pt x="440" y="189"/>
                        </a:lnTo>
                        <a:lnTo>
                          <a:pt x="439" y="189"/>
                        </a:lnTo>
                        <a:lnTo>
                          <a:pt x="437" y="189"/>
                        </a:lnTo>
                        <a:lnTo>
                          <a:pt x="435" y="189"/>
                        </a:lnTo>
                        <a:lnTo>
                          <a:pt x="435" y="187"/>
                        </a:lnTo>
                        <a:lnTo>
                          <a:pt x="434" y="187"/>
                        </a:lnTo>
                        <a:lnTo>
                          <a:pt x="434" y="185"/>
                        </a:lnTo>
                        <a:lnTo>
                          <a:pt x="434" y="184"/>
                        </a:lnTo>
                        <a:lnTo>
                          <a:pt x="432" y="184"/>
                        </a:lnTo>
                        <a:lnTo>
                          <a:pt x="431" y="184"/>
                        </a:lnTo>
                        <a:lnTo>
                          <a:pt x="429" y="182"/>
                        </a:lnTo>
                        <a:lnTo>
                          <a:pt x="428" y="182"/>
                        </a:lnTo>
                        <a:lnTo>
                          <a:pt x="428" y="181"/>
                        </a:lnTo>
                        <a:lnTo>
                          <a:pt x="426" y="181"/>
                        </a:lnTo>
                        <a:lnTo>
                          <a:pt x="424" y="181"/>
                        </a:lnTo>
                        <a:lnTo>
                          <a:pt x="423" y="181"/>
                        </a:lnTo>
                        <a:lnTo>
                          <a:pt x="421" y="181"/>
                        </a:lnTo>
                        <a:lnTo>
                          <a:pt x="420" y="181"/>
                        </a:lnTo>
                        <a:lnTo>
                          <a:pt x="418" y="181"/>
                        </a:lnTo>
                        <a:lnTo>
                          <a:pt x="418" y="179"/>
                        </a:lnTo>
                        <a:lnTo>
                          <a:pt x="416" y="179"/>
                        </a:lnTo>
                        <a:lnTo>
                          <a:pt x="397" y="176"/>
                        </a:lnTo>
                        <a:lnTo>
                          <a:pt x="399" y="174"/>
                        </a:lnTo>
                        <a:lnTo>
                          <a:pt x="399" y="173"/>
                        </a:lnTo>
                        <a:lnTo>
                          <a:pt x="399" y="171"/>
                        </a:lnTo>
                        <a:lnTo>
                          <a:pt x="401" y="170"/>
                        </a:lnTo>
                        <a:lnTo>
                          <a:pt x="399" y="170"/>
                        </a:lnTo>
                        <a:lnTo>
                          <a:pt x="399" y="168"/>
                        </a:lnTo>
                        <a:lnTo>
                          <a:pt x="399" y="166"/>
                        </a:lnTo>
                        <a:lnTo>
                          <a:pt x="399" y="165"/>
                        </a:lnTo>
                        <a:lnTo>
                          <a:pt x="399" y="163"/>
                        </a:lnTo>
                        <a:lnTo>
                          <a:pt x="399" y="162"/>
                        </a:lnTo>
                        <a:lnTo>
                          <a:pt x="397" y="162"/>
                        </a:lnTo>
                        <a:lnTo>
                          <a:pt x="397" y="160"/>
                        </a:lnTo>
                        <a:lnTo>
                          <a:pt x="396" y="160"/>
                        </a:lnTo>
                        <a:lnTo>
                          <a:pt x="394" y="159"/>
                        </a:lnTo>
                        <a:lnTo>
                          <a:pt x="393" y="159"/>
                        </a:lnTo>
                        <a:lnTo>
                          <a:pt x="391" y="157"/>
                        </a:lnTo>
                        <a:lnTo>
                          <a:pt x="390" y="155"/>
                        </a:lnTo>
                        <a:lnTo>
                          <a:pt x="390" y="154"/>
                        </a:lnTo>
                        <a:lnTo>
                          <a:pt x="388" y="152"/>
                        </a:lnTo>
                        <a:lnTo>
                          <a:pt x="386" y="151"/>
                        </a:lnTo>
                        <a:lnTo>
                          <a:pt x="385" y="149"/>
                        </a:lnTo>
                        <a:lnTo>
                          <a:pt x="385" y="147"/>
                        </a:lnTo>
                        <a:lnTo>
                          <a:pt x="386" y="146"/>
                        </a:lnTo>
                        <a:lnTo>
                          <a:pt x="386" y="144"/>
                        </a:lnTo>
                        <a:lnTo>
                          <a:pt x="386" y="143"/>
                        </a:lnTo>
                        <a:lnTo>
                          <a:pt x="386" y="141"/>
                        </a:lnTo>
                        <a:lnTo>
                          <a:pt x="386" y="140"/>
                        </a:lnTo>
                        <a:lnTo>
                          <a:pt x="385" y="138"/>
                        </a:lnTo>
                        <a:lnTo>
                          <a:pt x="385" y="136"/>
                        </a:lnTo>
                        <a:lnTo>
                          <a:pt x="385" y="135"/>
                        </a:lnTo>
                        <a:lnTo>
                          <a:pt x="385" y="133"/>
                        </a:lnTo>
                        <a:lnTo>
                          <a:pt x="383" y="133"/>
                        </a:lnTo>
                        <a:lnTo>
                          <a:pt x="383" y="132"/>
                        </a:lnTo>
                        <a:lnTo>
                          <a:pt x="382" y="132"/>
                        </a:lnTo>
                        <a:lnTo>
                          <a:pt x="380" y="132"/>
                        </a:lnTo>
                        <a:lnTo>
                          <a:pt x="378" y="130"/>
                        </a:lnTo>
                        <a:lnTo>
                          <a:pt x="377" y="130"/>
                        </a:lnTo>
                        <a:lnTo>
                          <a:pt x="375" y="130"/>
                        </a:lnTo>
                        <a:lnTo>
                          <a:pt x="374" y="128"/>
                        </a:lnTo>
                        <a:lnTo>
                          <a:pt x="372" y="128"/>
                        </a:lnTo>
                        <a:lnTo>
                          <a:pt x="371" y="128"/>
                        </a:lnTo>
                        <a:lnTo>
                          <a:pt x="369" y="128"/>
                        </a:lnTo>
                        <a:lnTo>
                          <a:pt x="367" y="128"/>
                        </a:lnTo>
                        <a:lnTo>
                          <a:pt x="366" y="128"/>
                        </a:lnTo>
                        <a:lnTo>
                          <a:pt x="364" y="128"/>
                        </a:lnTo>
                        <a:lnTo>
                          <a:pt x="363" y="127"/>
                        </a:lnTo>
                        <a:lnTo>
                          <a:pt x="361" y="127"/>
                        </a:lnTo>
                        <a:lnTo>
                          <a:pt x="361" y="125"/>
                        </a:lnTo>
                        <a:lnTo>
                          <a:pt x="359" y="125"/>
                        </a:lnTo>
                        <a:lnTo>
                          <a:pt x="358" y="125"/>
                        </a:lnTo>
                        <a:lnTo>
                          <a:pt x="356" y="125"/>
                        </a:lnTo>
                        <a:lnTo>
                          <a:pt x="356" y="124"/>
                        </a:lnTo>
                        <a:lnTo>
                          <a:pt x="355" y="124"/>
                        </a:lnTo>
                        <a:lnTo>
                          <a:pt x="355" y="122"/>
                        </a:lnTo>
                        <a:lnTo>
                          <a:pt x="356" y="120"/>
                        </a:lnTo>
                        <a:lnTo>
                          <a:pt x="358" y="119"/>
                        </a:lnTo>
                        <a:lnTo>
                          <a:pt x="358" y="117"/>
                        </a:lnTo>
                        <a:lnTo>
                          <a:pt x="358" y="116"/>
                        </a:lnTo>
                        <a:lnTo>
                          <a:pt x="359" y="116"/>
                        </a:lnTo>
                        <a:lnTo>
                          <a:pt x="359" y="114"/>
                        </a:lnTo>
                        <a:lnTo>
                          <a:pt x="359" y="113"/>
                        </a:lnTo>
                        <a:lnTo>
                          <a:pt x="359" y="111"/>
                        </a:lnTo>
                        <a:lnTo>
                          <a:pt x="359" y="109"/>
                        </a:lnTo>
                        <a:lnTo>
                          <a:pt x="359" y="108"/>
                        </a:lnTo>
                        <a:lnTo>
                          <a:pt x="358" y="108"/>
                        </a:lnTo>
                        <a:lnTo>
                          <a:pt x="358" y="106"/>
                        </a:lnTo>
                        <a:lnTo>
                          <a:pt x="358" y="105"/>
                        </a:lnTo>
                        <a:lnTo>
                          <a:pt x="356" y="105"/>
                        </a:lnTo>
                        <a:lnTo>
                          <a:pt x="355" y="105"/>
                        </a:lnTo>
                        <a:lnTo>
                          <a:pt x="353" y="105"/>
                        </a:lnTo>
                        <a:lnTo>
                          <a:pt x="353" y="103"/>
                        </a:lnTo>
                        <a:lnTo>
                          <a:pt x="352" y="103"/>
                        </a:lnTo>
                        <a:lnTo>
                          <a:pt x="350" y="103"/>
                        </a:lnTo>
                        <a:lnTo>
                          <a:pt x="348" y="103"/>
                        </a:lnTo>
                        <a:lnTo>
                          <a:pt x="347" y="103"/>
                        </a:lnTo>
                        <a:lnTo>
                          <a:pt x="345" y="103"/>
                        </a:lnTo>
                        <a:lnTo>
                          <a:pt x="344" y="103"/>
                        </a:lnTo>
                        <a:lnTo>
                          <a:pt x="344" y="105"/>
                        </a:lnTo>
                        <a:lnTo>
                          <a:pt x="342" y="105"/>
                        </a:lnTo>
                        <a:lnTo>
                          <a:pt x="340" y="106"/>
                        </a:lnTo>
                        <a:lnTo>
                          <a:pt x="339" y="106"/>
                        </a:lnTo>
                        <a:lnTo>
                          <a:pt x="339" y="108"/>
                        </a:lnTo>
                        <a:lnTo>
                          <a:pt x="337" y="108"/>
                        </a:lnTo>
                        <a:lnTo>
                          <a:pt x="337" y="109"/>
                        </a:lnTo>
                        <a:lnTo>
                          <a:pt x="336" y="109"/>
                        </a:lnTo>
                        <a:lnTo>
                          <a:pt x="334" y="109"/>
                        </a:lnTo>
                        <a:lnTo>
                          <a:pt x="333" y="109"/>
                        </a:lnTo>
                        <a:lnTo>
                          <a:pt x="331" y="108"/>
                        </a:lnTo>
                        <a:lnTo>
                          <a:pt x="331" y="106"/>
                        </a:lnTo>
                        <a:lnTo>
                          <a:pt x="331" y="105"/>
                        </a:lnTo>
                        <a:lnTo>
                          <a:pt x="329" y="103"/>
                        </a:lnTo>
                        <a:lnTo>
                          <a:pt x="329" y="101"/>
                        </a:lnTo>
                        <a:lnTo>
                          <a:pt x="329" y="100"/>
                        </a:lnTo>
                        <a:lnTo>
                          <a:pt x="329" y="98"/>
                        </a:lnTo>
                        <a:lnTo>
                          <a:pt x="328" y="97"/>
                        </a:lnTo>
                        <a:lnTo>
                          <a:pt x="326" y="97"/>
                        </a:lnTo>
                        <a:lnTo>
                          <a:pt x="325" y="95"/>
                        </a:lnTo>
                        <a:lnTo>
                          <a:pt x="325" y="94"/>
                        </a:lnTo>
                        <a:lnTo>
                          <a:pt x="323" y="94"/>
                        </a:lnTo>
                        <a:lnTo>
                          <a:pt x="323" y="92"/>
                        </a:lnTo>
                        <a:lnTo>
                          <a:pt x="323" y="90"/>
                        </a:lnTo>
                        <a:lnTo>
                          <a:pt x="323" y="89"/>
                        </a:lnTo>
                        <a:lnTo>
                          <a:pt x="323" y="87"/>
                        </a:lnTo>
                        <a:lnTo>
                          <a:pt x="321" y="87"/>
                        </a:lnTo>
                        <a:lnTo>
                          <a:pt x="321" y="86"/>
                        </a:lnTo>
                        <a:lnTo>
                          <a:pt x="321" y="84"/>
                        </a:lnTo>
                        <a:lnTo>
                          <a:pt x="321" y="82"/>
                        </a:lnTo>
                        <a:lnTo>
                          <a:pt x="320" y="82"/>
                        </a:lnTo>
                        <a:lnTo>
                          <a:pt x="320" y="81"/>
                        </a:lnTo>
                        <a:lnTo>
                          <a:pt x="318" y="81"/>
                        </a:lnTo>
                        <a:lnTo>
                          <a:pt x="318" y="79"/>
                        </a:lnTo>
                        <a:lnTo>
                          <a:pt x="317" y="79"/>
                        </a:lnTo>
                        <a:lnTo>
                          <a:pt x="317" y="78"/>
                        </a:lnTo>
                        <a:lnTo>
                          <a:pt x="315" y="78"/>
                        </a:lnTo>
                        <a:lnTo>
                          <a:pt x="315" y="76"/>
                        </a:lnTo>
                        <a:lnTo>
                          <a:pt x="315" y="75"/>
                        </a:lnTo>
                        <a:lnTo>
                          <a:pt x="315" y="73"/>
                        </a:lnTo>
                        <a:lnTo>
                          <a:pt x="315" y="71"/>
                        </a:lnTo>
                        <a:lnTo>
                          <a:pt x="315" y="70"/>
                        </a:lnTo>
                        <a:lnTo>
                          <a:pt x="317" y="68"/>
                        </a:lnTo>
                        <a:lnTo>
                          <a:pt x="317" y="67"/>
                        </a:lnTo>
                        <a:lnTo>
                          <a:pt x="317" y="65"/>
                        </a:lnTo>
                        <a:lnTo>
                          <a:pt x="318" y="63"/>
                        </a:lnTo>
                        <a:lnTo>
                          <a:pt x="318" y="62"/>
                        </a:lnTo>
                        <a:lnTo>
                          <a:pt x="317" y="62"/>
                        </a:lnTo>
                        <a:lnTo>
                          <a:pt x="315" y="62"/>
                        </a:lnTo>
                        <a:lnTo>
                          <a:pt x="313" y="62"/>
                        </a:lnTo>
                        <a:lnTo>
                          <a:pt x="312" y="62"/>
                        </a:lnTo>
                        <a:lnTo>
                          <a:pt x="310" y="62"/>
                        </a:lnTo>
                        <a:lnTo>
                          <a:pt x="309" y="62"/>
                        </a:lnTo>
                        <a:lnTo>
                          <a:pt x="307" y="62"/>
                        </a:lnTo>
                        <a:lnTo>
                          <a:pt x="306" y="62"/>
                        </a:lnTo>
                        <a:lnTo>
                          <a:pt x="302" y="62"/>
                        </a:lnTo>
                        <a:lnTo>
                          <a:pt x="299" y="59"/>
                        </a:lnTo>
                        <a:lnTo>
                          <a:pt x="296" y="59"/>
                        </a:lnTo>
                        <a:lnTo>
                          <a:pt x="293" y="57"/>
                        </a:lnTo>
                        <a:lnTo>
                          <a:pt x="291" y="56"/>
                        </a:lnTo>
                        <a:lnTo>
                          <a:pt x="288" y="56"/>
                        </a:lnTo>
                        <a:lnTo>
                          <a:pt x="287" y="54"/>
                        </a:lnTo>
                        <a:lnTo>
                          <a:pt x="279" y="52"/>
                        </a:lnTo>
                        <a:lnTo>
                          <a:pt x="272" y="51"/>
                        </a:lnTo>
                        <a:lnTo>
                          <a:pt x="269" y="49"/>
                        </a:lnTo>
                        <a:lnTo>
                          <a:pt x="264" y="49"/>
                        </a:lnTo>
                        <a:lnTo>
                          <a:pt x="260" y="49"/>
                        </a:lnTo>
                        <a:lnTo>
                          <a:pt x="253" y="49"/>
                        </a:lnTo>
                        <a:lnTo>
                          <a:pt x="247" y="49"/>
                        </a:lnTo>
                        <a:lnTo>
                          <a:pt x="245" y="51"/>
                        </a:lnTo>
                        <a:lnTo>
                          <a:pt x="239" y="54"/>
                        </a:lnTo>
                        <a:lnTo>
                          <a:pt x="237" y="57"/>
                        </a:lnTo>
                        <a:lnTo>
                          <a:pt x="234" y="60"/>
                        </a:lnTo>
                        <a:lnTo>
                          <a:pt x="233" y="60"/>
                        </a:lnTo>
                        <a:lnTo>
                          <a:pt x="233" y="62"/>
                        </a:lnTo>
                        <a:lnTo>
                          <a:pt x="231" y="62"/>
                        </a:lnTo>
                        <a:lnTo>
                          <a:pt x="225" y="62"/>
                        </a:lnTo>
                        <a:lnTo>
                          <a:pt x="218" y="62"/>
                        </a:lnTo>
                        <a:lnTo>
                          <a:pt x="209" y="63"/>
                        </a:lnTo>
                        <a:lnTo>
                          <a:pt x="199" y="65"/>
                        </a:lnTo>
                        <a:lnTo>
                          <a:pt x="190" y="65"/>
                        </a:lnTo>
                        <a:lnTo>
                          <a:pt x="179" y="65"/>
                        </a:lnTo>
                        <a:lnTo>
                          <a:pt x="171" y="67"/>
                        </a:lnTo>
                        <a:lnTo>
                          <a:pt x="165" y="68"/>
                        </a:lnTo>
                        <a:lnTo>
                          <a:pt x="158" y="68"/>
                        </a:lnTo>
                        <a:lnTo>
                          <a:pt x="157" y="68"/>
                        </a:lnTo>
                        <a:lnTo>
                          <a:pt x="157" y="70"/>
                        </a:lnTo>
                        <a:lnTo>
                          <a:pt x="157" y="71"/>
                        </a:lnTo>
                        <a:lnTo>
                          <a:pt x="155" y="75"/>
                        </a:lnTo>
                        <a:lnTo>
                          <a:pt x="155" y="78"/>
                        </a:lnTo>
                        <a:lnTo>
                          <a:pt x="155" y="81"/>
                        </a:lnTo>
                        <a:lnTo>
                          <a:pt x="154" y="82"/>
                        </a:lnTo>
                        <a:lnTo>
                          <a:pt x="154" y="87"/>
                        </a:lnTo>
                        <a:lnTo>
                          <a:pt x="152" y="92"/>
                        </a:lnTo>
                        <a:lnTo>
                          <a:pt x="152" y="97"/>
                        </a:lnTo>
                        <a:lnTo>
                          <a:pt x="152" y="100"/>
                        </a:lnTo>
                        <a:lnTo>
                          <a:pt x="150" y="103"/>
                        </a:lnTo>
                        <a:lnTo>
                          <a:pt x="150" y="106"/>
                        </a:lnTo>
                        <a:lnTo>
                          <a:pt x="147" y="111"/>
                        </a:lnTo>
                        <a:lnTo>
                          <a:pt x="147" y="114"/>
                        </a:lnTo>
                        <a:lnTo>
                          <a:pt x="146" y="116"/>
                        </a:lnTo>
                        <a:lnTo>
                          <a:pt x="144" y="117"/>
                        </a:lnTo>
                        <a:lnTo>
                          <a:pt x="142" y="119"/>
                        </a:lnTo>
                        <a:lnTo>
                          <a:pt x="141" y="120"/>
                        </a:lnTo>
                        <a:lnTo>
                          <a:pt x="141" y="122"/>
                        </a:lnTo>
                        <a:lnTo>
                          <a:pt x="141" y="124"/>
                        </a:lnTo>
                        <a:lnTo>
                          <a:pt x="141" y="127"/>
                        </a:lnTo>
                        <a:lnTo>
                          <a:pt x="141" y="130"/>
                        </a:lnTo>
                        <a:lnTo>
                          <a:pt x="139" y="135"/>
                        </a:lnTo>
                        <a:lnTo>
                          <a:pt x="139" y="138"/>
                        </a:lnTo>
                        <a:lnTo>
                          <a:pt x="139" y="140"/>
                        </a:lnTo>
                        <a:lnTo>
                          <a:pt x="141" y="141"/>
                        </a:lnTo>
                        <a:lnTo>
                          <a:pt x="141" y="143"/>
                        </a:lnTo>
                        <a:lnTo>
                          <a:pt x="141" y="144"/>
                        </a:lnTo>
                        <a:lnTo>
                          <a:pt x="139" y="144"/>
                        </a:lnTo>
                        <a:lnTo>
                          <a:pt x="138" y="144"/>
                        </a:lnTo>
                        <a:lnTo>
                          <a:pt x="138" y="146"/>
                        </a:lnTo>
                        <a:lnTo>
                          <a:pt x="138" y="147"/>
                        </a:lnTo>
                        <a:lnTo>
                          <a:pt x="138" y="149"/>
                        </a:lnTo>
                        <a:lnTo>
                          <a:pt x="136" y="149"/>
                        </a:lnTo>
                        <a:lnTo>
                          <a:pt x="136" y="151"/>
                        </a:lnTo>
                        <a:lnTo>
                          <a:pt x="134" y="152"/>
                        </a:lnTo>
                        <a:lnTo>
                          <a:pt x="134" y="154"/>
                        </a:lnTo>
                        <a:lnTo>
                          <a:pt x="133" y="155"/>
                        </a:lnTo>
                        <a:lnTo>
                          <a:pt x="131" y="155"/>
                        </a:lnTo>
                        <a:lnTo>
                          <a:pt x="133" y="155"/>
                        </a:lnTo>
                        <a:lnTo>
                          <a:pt x="131" y="157"/>
                        </a:lnTo>
                        <a:lnTo>
                          <a:pt x="130" y="157"/>
                        </a:lnTo>
                        <a:lnTo>
                          <a:pt x="130" y="159"/>
                        </a:lnTo>
                        <a:lnTo>
                          <a:pt x="130" y="162"/>
                        </a:lnTo>
                        <a:lnTo>
                          <a:pt x="128" y="162"/>
                        </a:lnTo>
                        <a:lnTo>
                          <a:pt x="127" y="162"/>
                        </a:lnTo>
                        <a:lnTo>
                          <a:pt x="125" y="162"/>
                        </a:lnTo>
                        <a:lnTo>
                          <a:pt x="125" y="165"/>
                        </a:lnTo>
                        <a:lnTo>
                          <a:pt x="123" y="166"/>
                        </a:lnTo>
                        <a:lnTo>
                          <a:pt x="123" y="168"/>
                        </a:lnTo>
                        <a:lnTo>
                          <a:pt x="125" y="171"/>
                        </a:lnTo>
                        <a:lnTo>
                          <a:pt x="125" y="173"/>
                        </a:lnTo>
                        <a:lnTo>
                          <a:pt x="123" y="176"/>
                        </a:lnTo>
                        <a:lnTo>
                          <a:pt x="122" y="178"/>
                        </a:lnTo>
                        <a:lnTo>
                          <a:pt x="122" y="179"/>
                        </a:lnTo>
                        <a:lnTo>
                          <a:pt x="120" y="181"/>
                        </a:lnTo>
                        <a:lnTo>
                          <a:pt x="119" y="182"/>
                        </a:lnTo>
                        <a:lnTo>
                          <a:pt x="115" y="182"/>
                        </a:lnTo>
                        <a:lnTo>
                          <a:pt x="114" y="184"/>
                        </a:lnTo>
                        <a:lnTo>
                          <a:pt x="112" y="184"/>
                        </a:lnTo>
                        <a:lnTo>
                          <a:pt x="111" y="184"/>
                        </a:lnTo>
                        <a:lnTo>
                          <a:pt x="111" y="185"/>
                        </a:lnTo>
                        <a:lnTo>
                          <a:pt x="109" y="185"/>
                        </a:lnTo>
                        <a:lnTo>
                          <a:pt x="108" y="187"/>
                        </a:lnTo>
                        <a:lnTo>
                          <a:pt x="104" y="189"/>
                        </a:lnTo>
                        <a:lnTo>
                          <a:pt x="104" y="190"/>
                        </a:lnTo>
                        <a:lnTo>
                          <a:pt x="103" y="192"/>
                        </a:lnTo>
                        <a:lnTo>
                          <a:pt x="101" y="192"/>
                        </a:lnTo>
                        <a:lnTo>
                          <a:pt x="100" y="190"/>
                        </a:lnTo>
                        <a:lnTo>
                          <a:pt x="98" y="190"/>
                        </a:lnTo>
                        <a:lnTo>
                          <a:pt x="98" y="192"/>
                        </a:lnTo>
                        <a:lnTo>
                          <a:pt x="96" y="193"/>
                        </a:lnTo>
                        <a:lnTo>
                          <a:pt x="95" y="193"/>
                        </a:lnTo>
                        <a:lnTo>
                          <a:pt x="93" y="195"/>
                        </a:lnTo>
                        <a:lnTo>
                          <a:pt x="92" y="195"/>
                        </a:lnTo>
                        <a:lnTo>
                          <a:pt x="90" y="195"/>
                        </a:lnTo>
                        <a:lnTo>
                          <a:pt x="89" y="195"/>
                        </a:lnTo>
                        <a:lnTo>
                          <a:pt x="89" y="193"/>
                        </a:lnTo>
                        <a:lnTo>
                          <a:pt x="87" y="192"/>
                        </a:lnTo>
                        <a:lnTo>
                          <a:pt x="87" y="189"/>
                        </a:lnTo>
                        <a:lnTo>
                          <a:pt x="85" y="185"/>
                        </a:lnTo>
                        <a:lnTo>
                          <a:pt x="82" y="184"/>
                        </a:lnTo>
                        <a:lnTo>
                          <a:pt x="82" y="182"/>
                        </a:lnTo>
                        <a:lnTo>
                          <a:pt x="82" y="181"/>
                        </a:lnTo>
                        <a:lnTo>
                          <a:pt x="81" y="181"/>
                        </a:lnTo>
                        <a:lnTo>
                          <a:pt x="79" y="181"/>
                        </a:lnTo>
                        <a:lnTo>
                          <a:pt x="77" y="181"/>
                        </a:lnTo>
                        <a:lnTo>
                          <a:pt x="76" y="181"/>
                        </a:lnTo>
                        <a:lnTo>
                          <a:pt x="74" y="181"/>
                        </a:lnTo>
                        <a:lnTo>
                          <a:pt x="73" y="179"/>
                        </a:lnTo>
                        <a:lnTo>
                          <a:pt x="71" y="178"/>
                        </a:lnTo>
                        <a:lnTo>
                          <a:pt x="70" y="178"/>
                        </a:lnTo>
                        <a:lnTo>
                          <a:pt x="68" y="179"/>
                        </a:lnTo>
                        <a:lnTo>
                          <a:pt x="65" y="179"/>
                        </a:lnTo>
                        <a:lnTo>
                          <a:pt x="63" y="179"/>
                        </a:lnTo>
                        <a:lnTo>
                          <a:pt x="63" y="178"/>
                        </a:lnTo>
                        <a:lnTo>
                          <a:pt x="62" y="176"/>
                        </a:lnTo>
                        <a:lnTo>
                          <a:pt x="60" y="176"/>
                        </a:lnTo>
                        <a:lnTo>
                          <a:pt x="58" y="176"/>
                        </a:lnTo>
                        <a:lnTo>
                          <a:pt x="55" y="176"/>
                        </a:lnTo>
                        <a:lnTo>
                          <a:pt x="52" y="176"/>
                        </a:lnTo>
                        <a:lnTo>
                          <a:pt x="51" y="178"/>
                        </a:lnTo>
                        <a:lnTo>
                          <a:pt x="49" y="179"/>
                        </a:lnTo>
                        <a:lnTo>
                          <a:pt x="47" y="182"/>
                        </a:lnTo>
                        <a:lnTo>
                          <a:pt x="46" y="185"/>
                        </a:lnTo>
                        <a:lnTo>
                          <a:pt x="44" y="189"/>
                        </a:lnTo>
                        <a:lnTo>
                          <a:pt x="43" y="189"/>
                        </a:lnTo>
                        <a:lnTo>
                          <a:pt x="41" y="190"/>
                        </a:lnTo>
                        <a:lnTo>
                          <a:pt x="39" y="192"/>
                        </a:lnTo>
                        <a:lnTo>
                          <a:pt x="36" y="195"/>
                        </a:lnTo>
                        <a:lnTo>
                          <a:pt x="35" y="198"/>
                        </a:lnTo>
                        <a:lnTo>
                          <a:pt x="35" y="200"/>
                        </a:lnTo>
                        <a:lnTo>
                          <a:pt x="33" y="201"/>
                        </a:lnTo>
                        <a:lnTo>
                          <a:pt x="33" y="203"/>
                        </a:lnTo>
                        <a:lnTo>
                          <a:pt x="32" y="204"/>
                        </a:lnTo>
                        <a:lnTo>
                          <a:pt x="30" y="204"/>
                        </a:lnTo>
                        <a:lnTo>
                          <a:pt x="28" y="203"/>
                        </a:lnTo>
                        <a:lnTo>
                          <a:pt x="27" y="200"/>
                        </a:lnTo>
                        <a:lnTo>
                          <a:pt x="25" y="200"/>
                        </a:lnTo>
                        <a:lnTo>
                          <a:pt x="22" y="198"/>
                        </a:lnTo>
                        <a:lnTo>
                          <a:pt x="20" y="197"/>
                        </a:lnTo>
                        <a:lnTo>
                          <a:pt x="17" y="193"/>
                        </a:lnTo>
                        <a:lnTo>
                          <a:pt x="16" y="193"/>
                        </a:lnTo>
                        <a:lnTo>
                          <a:pt x="14" y="190"/>
                        </a:lnTo>
                        <a:lnTo>
                          <a:pt x="9" y="187"/>
                        </a:lnTo>
                        <a:lnTo>
                          <a:pt x="8" y="187"/>
                        </a:lnTo>
                        <a:lnTo>
                          <a:pt x="6" y="184"/>
                        </a:lnTo>
                        <a:lnTo>
                          <a:pt x="5" y="182"/>
                        </a:lnTo>
                        <a:lnTo>
                          <a:pt x="5" y="179"/>
                        </a:lnTo>
                        <a:lnTo>
                          <a:pt x="5" y="178"/>
                        </a:lnTo>
                        <a:lnTo>
                          <a:pt x="5" y="174"/>
                        </a:lnTo>
                        <a:lnTo>
                          <a:pt x="3" y="171"/>
                        </a:lnTo>
                        <a:lnTo>
                          <a:pt x="3" y="168"/>
                        </a:lnTo>
                        <a:lnTo>
                          <a:pt x="1" y="166"/>
                        </a:lnTo>
                        <a:lnTo>
                          <a:pt x="1" y="163"/>
                        </a:lnTo>
                        <a:lnTo>
                          <a:pt x="1" y="162"/>
                        </a:lnTo>
                        <a:lnTo>
                          <a:pt x="1" y="160"/>
                        </a:lnTo>
                        <a:lnTo>
                          <a:pt x="1" y="157"/>
                        </a:lnTo>
                        <a:lnTo>
                          <a:pt x="0" y="154"/>
                        </a:lnTo>
                        <a:lnTo>
                          <a:pt x="1" y="152"/>
                        </a:lnTo>
                        <a:lnTo>
                          <a:pt x="0" y="151"/>
                        </a:lnTo>
                        <a:lnTo>
                          <a:pt x="3" y="149"/>
                        </a:lnTo>
                        <a:lnTo>
                          <a:pt x="5" y="147"/>
                        </a:lnTo>
                        <a:lnTo>
                          <a:pt x="6" y="147"/>
                        </a:lnTo>
                        <a:lnTo>
                          <a:pt x="8" y="146"/>
                        </a:lnTo>
                        <a:lnTo>
                          <a:pt x="13" y="141"/>
                        </a:lnTo>
                        <a:lnTo>
                          <a:pt x="14" y="140"/>
                        </a:lnTo>
                        <a:lnTo>
                          <a:pt x="16" y="140"/>
                        </a:lnTo>
                        <a:lnTo>
                          <a:pt x="17" y="138"/>
                        </a:lnTo>
                        <a:lnTo>
                          <a:pt x="19" y="138"/>
                        </a:lnTo>
                        <a:lnTo>
                          <a:pt x="20" y="138"/>
                        </a:lnTo>
                        <a:lnTo>
                          <a:pt x="20" y="136"/>
                        </a:lnTo>
                        <a:lnTo>
                          <a:pt x="20" y="135"/>
                        </a:lnTo>
                        <a:lnTo>
                          <a:pt x="22" y="132"/>
                        </a:lnTo>
                        <a:lnTo>
                          <a:pt x="22" y="128"/>
                        </a:lnTo>
                        <a:lnTo>
                          <a:pt x="22" y="125"/>
                        </a:lnTo>
                        <a:lnTo>
                          <a:pt x="24" y="122"/>
                        </a:lnTo>
                        <a:lnTo>
                          <a:pt x="25" y="119"/>
                        </a:lnTo>
                        <a:lnTo>
                          <a:pt x="25" y="116"/>
                        </a:lnTo>
                        <a:lnTo>
                          <a:pt x="25" y="111"/>
                        </a:lnTo>
                        <a:lnTo>
                          <a:pt x="25" y="108"/>
                        </a:lnTo>
                        <a:lnTo>
                          <a:pt x="25" y="103"/>
                        </a:lnTo>
                        <a:lnTo>
                          <a:pt x="27" y="100"/>
                        </a:lnTo>
                        <a:lnTo>
                          <a:pt x="27" y="95"/>
                        </a:lnTo>
                        <a:lnTo>
                          <a:pt x="27" y="90"/>
                        </a:lnTo>
                        <a:lnTo>
                          <a:pt x="27" y="84"/>
                        </a:lnTo>
                        <a:lnTo>
                          <a:pt x="27" y="81"/>
                        </a:lnTo>
                        <a:lnTo>
                          <a:pt x="28" y="79"/>
                        </a:lnTo>
                        <a:lnTo>
                          <a:pt x="28" y="78"/>
                        </a:lnTo>
                        <a:lnTo>
                          <a:pt x="30" y="76"/>
                        </a:lnTo>
                        <a:lnTo>
                          <a:pt x="32" y="75"/>
                        </a:lnTo>
                        <a:lnTo>
                          <a:pt x="32" y="71"/>
                        </a:lnTo>
                        <a:lnTo>
                          <a:pt x="32" y="70"/>
                        </a:lnTo>
                        <a:lnTo>
                          <a:pt x="30" y="70"/>
                        </a:lnTo>
                        <a:lnTo>
                          <a:pt x="27" y="68"/>
                        </a:lnTo>
                        <a:lnTo>
                          <a:pt x="25" y="68"/>
                        </a:lnTo>
                        <a:lnTo>
                          <a:pt x="25" y="67"/>
                        </a:lnTo>
                        <a:lnTo>
                          <a:pt x="25" y="65"/>
                        </a:lnTo>
                        <a:lnTo>
                          <a:pt x="27" y="62"/>
                        </a:lnTo>
                        <a:lnTo>
                          <a:pt x="28" y="60"/>
                        </a:lnTo>
                        <a:lnTo>
                          <a:pt x="30" y="59"/>
                        </a:lnTo>
                        <a:lnTo>
                          <a:pt x="30" y="56"/>
                        </a:lnTo>
                        <a:lnTo>
                          <a:pt x="30" y="54"/>
                        </a:lnTo>
                        <a:lnTo>
                          <a:pt x="30" y="51"/>
                        </a:lnTo>
                        <a:lnTo>
                          <a:pt x="30" y="48"/>
                        </a:lnTo>
                        <a:lnTo>
                          <a:pt x="27" y="48"/>
                        </a:lnTo>
                        <a:lnTo>
                          <a:pt x="27" y="46"/>
                        </a:lnTo>
                        <a:lnTo>
                          <a:pt x="25" y="44"/>
                        </a:lnTo>
                        <a:lnTo>
                          <a:pt x="25" y="43"/>
                        </a:lnTo>
                        <a:lnTo>
                          <a:pt x="27" y="43"/>
                        </a:lnTo>
                        <a:lnTo>
                          <a:pt x="28" y="43"/>
                        </a:lnTo>
                        <a:lnTo>
                          <a:pt x="32" y="41"/>
                        </a:lnTo>
                        <a:lnTo>
                          <a:pt x="33" y="41"/>
                        </a:lnTo>
                        <a:lnTo>
                          <a:pt x="35" y="40"/>
                        </a:lnTo>
                        <a:lnTo>
                          <a:pt x="35" y="38"/>
                        </a:lnTo>
                        <a:lnTo>
                          <a:pt x="36" y="37"/>
                        </a:lnTo>
                        <a:lnTo>
                          <a:pt x="36" y="35"/>
                        </a:lnTo>
                        <a:lnTo>
                          <a:pt x="38" y="32"/>
                        </a:lnTo>
                        <a:lnTo>
                          <a:pt x="39" y="30"/>
                        </a:lnTo>
                        <a:lnTo>
                          <a:pt x="39" y="29"/>
                        </a:lnTo>
                        <a:lnTo>
                          <a:pt x="39" y="27"/>
                        </a:lnTo>
                        <a:lnTo>
                          <a:pt x="39" y="24"/>
                        </a:lnTo>
                        <a:lnTo>
                          <a:pt x="36" y="24"/>
                        </a:lnTo>
                        <a:lnTo>
                          <a:pt x="33" y="24"/>
                        </a:lnTo>
                        <a:lnTo>
                          <a:pt x="32" y="24"/>
                        </a:lnTo>
                        <a:lnTo>
                          <a:pt x="28" y="24"/>
                        </a:lnTo>
                        <a:lnTo>
                          <a:pt x="27" y="22"/>
                        </a:lnTo>
                        <a:lnTo>
                          <a:pt x="24" y="22"/>
                        </a:lnTo>
                        <a:lnTo>
                          <a:pt x="22" y="22"/>
                        </a:lnTo>
                        <a:lnTo>
                          <a:pt x="20" y="22"/>
                        </a:lnTo>
                        <a:lnTo>
                          <a:pt x="19" y="22"/>
                        </a:lnTo>
                        <a:lnTo>
                          <a:pt x="17" y="24"/>
                        </a:lnTo>
                        <a:lnTo>
                          <a:pt x="16" y="24"/>
                        </a:lnTo>
                        <a:lnTo>
                          <a:pt x="11" y="22"/>
                        </a:lnTo>
                        <a:lnTo>
                          <a:pt x="9" y="22"/>
                        </a:lnTo>
                        <a:lnTo>
                          <a:pt x="8" y="21"/>
                        </a:lnTo>
                        <a:lnTo>
                          <a:pt x="8" y="19"/>
                        </a:lnTo>
                        <a:lnTo>
                          <a:pt x="8" y="14"/>
                        </a:lnTo>
                        <a:lnTo>
                          <a:pt x="9" y="13"/>
                        </a:lnTo>
                        <a:lnTo>
                          <a:pt x="9" y="11"/>
                        </a:lnTo>
                        <a:lnTo>
                          <a:pt x="11" y="8"/>
                        </a:lnTo>
                        <a:lnTo>
                          <a:pt x="9" y="5"/>
                        </a:lnTo>
                        <a:lnTo>
                          <a:pt x="9" y="2"/>
                        </a:lnTo>
                        <a:lnTo>
                          <a:pt x="11" y="0"/>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40" name="Freeform 39"/>
                  <p:cNvSpPr>
                    <a:spLocks/>
                  </p:cNvSpPr>
                  <p:nvPr/>
                </p:nvSpPr>
                <p:spPr bwMode="auto">
                  <a:xfrm>
                    <a:off x="2171" y="1476"/>
                    <a:ext cx="888" cy="1034"/>
                  </a:xfrm>
                  <a:custGeom>
                    <a:avLst/>
                    <a:gdLst>
                      <a:gd name="T0" fmla="*/ 117 w 888"/>
                      <a:gd name="T1" fmla="*/ 1015 h 1034"/>
                      <a:gd name="T2" fmla="*/ 106 w 888"/>
                      <a:gd name="T3" fmla="*/ 1002 h 1034"/>
                      <a:gd name="T4" fmla="*/ 87 w 888"/>
                      <a:gd name="T5" fmla="*/ 995 h 1034"/>
                      <a:gd name="T6" fmla="*/ 76 w 888"/>
                      <a:gd name="T7" fmla="*/ 1009 h 1034"/>
                      <a:gd name="T8" fmla="*/ 46 w 888"/>
                      <a:gd name="T9" fmla="*/ 1014 h 1034"/>
                      <a:gd name="T10" fmla="*/ 8 w 888"/>
                      <a:gd name="T11" fmla="*/ 1025 h 1034"/>
                      <a:gd name="T12" fmla="*/ 4 w 888"/>
                      <a:gd name="T13" fmla="*/ 1015 h 1034"/>
                      <a:gd name="T14" fmla="*/ 23 w 888"/>
                      <a:gd name="T15" fmla="*/ 983 h 1034"/>
                      <a:gd name="T16" fmla="*/ 50 w 888"/>
                      <a:gd name="T17" fmla="*/ 976 h 1034"/>
                      <a:gd name="T18" fmla="*/ 41 w 888"/>
                      <a:gd name="T19" fmla="*/ 955 h 1034"/>
                      <a:gd name="T20" fmla="*/ 68 w 888"/>
                      <a:gd name="T21" fmla="*/ 915 h 1034"/>
                      <a:gd name="T22" fmla="*/ 95 w 888"/>
                      <a:gd name="T23" fmla="*/ 887 h 1034"/>
                      <a:gd name="T24" fmla="*/ 133 w 888"/>
                      <a:gd name="T25" fmla="*/ 865 h 1034"/>
                      <a:gd name="T26" fmla="*/ 136 w 888"/>
                      <a:gd name="T27" fmla="*/ 855 h 1034"/>
                      <a:gd name="T28" fmla="*/ 122 w 888"/>
                      <a:gd name="T29" fmla="*/ 803 h 1034"/>
                      <a:gd name="T30" fmla="*/ 147 w 888"/>
                      <a:gd name="T31" fmla="*/ 749 h 1034"/>
                      <a:gd name="T32" fmla="*/ 144 w 888"/>
                      <a:gd name="T33" fmla="*/ 698 h 1034"/>
                      <a:gd name="T34" fmla="*/ 125 w 888"/>
                      <a:gd name="T35" fmla="*/ 678 h 1034"/>
                      <a:gd name="T36" fmla="*/ 99 w 888"/>
                      <a:gd name="T37" fmla="*/ 652 h 1034"/>
                      <a:gd name="T38" fmla="*/ 107 w 888"/>
                      <a:gd name="T39" fmla="*/ 614 h 1034"/>
                      <a:gd name="T40" fmla="*/ 149 w 888"/>
                      <a:gd name="T41" fmla="*/ 611 h 1034"/>
                      <a:gd name="T42" fmla="*/ 180 w 888"/>
                      <a:gd name="T43" fmla="*/ 611 h 1034"/>
                      <a:gd name="T44" fmla="*/ 231 w 888"/>
                      <a:gd name="T45" fmla="*/ 622 h 1034"/>
                      <a:gd name="T46" fmla="*/ 253 w 888"/>
                      <a:gd name="T47" fmla="*/ 603 h 1034"/>
                      <a:gd name="T48" fmla="*/ 255 w 888"/>
                      <a:gd name="T49" fmla="*/ 524 h 1034"/>
                      <a:gd name="T50" fmla="*/ 259 w 888"/>
                      <a:gd name="T51" fmla="*/ 481 h 1034"/>
                      <a:gd name="T52" fmla="*/ 232 w 888"/>
                      <a:gd name="T53" fmla="*/ 443 h 1034"/>
                      <a:gd name="T54" fmla="*/ 209 w 888"/>
                      <a:gd name="T55" fmla="*/ 394 h 1034"/>
                      <a:gd name="T56" fmla="*/ 185 w 888"/>
                      <a:gd name="T57" fmla="*/ 356 h 1034"/>
                      <a:gd name="T58" fmla="*/ 225 w 888"/>
                      <a:gd name="T59" fmla="*/ 331 h 1034"/>
                      <a:gd name="T60" fmla="*/ 252 w 888"/>
                      <a:gd name="T61" fmla="*/ 326 h 1034"/>
                      <a:gd name="T62" fmla="*/ 242 w 888"/>
                      <a:gd name="T63" fmla="*/ 301 h 1034"/>
                      <a:gd name="T64" fmla="*/ 266 w 888"/>
                      <a:gd name="T65" fmla="*/ 283 h 1034"/>
                      <a:gd name="T66" fmla="*/ 291 w 888"/>
                      <a:gd name="T67" fmla="*/ 272 h 1034"/>
                      <a:gd name="T68" fmla="*/ 318 w 888"/>
                      <a:gd name="T69" fmla="*/ 250 h 1034"/>
                      <a:gd name="T70" fmla="*/ 347 w 888"/>
                      <a:gd name="T71" fmla="*/ 198 h 1034"/>
                      <a:gd name="T72" fmla="*/ 388 w 888"/>
                      <a:gd name="T73" fmla="*/ 177 h 1034"/>
                      <a:gd name="T74" fmla="*/ 411 w 888"/>
                      <a:gd name="T75" fmla="*/ 150 h 1034"/>
                      <a:gd name="T76" fmla="*/ 427 w 888"/>
                      <a:gd name="T77" fmla="*/ 136 h 1034"/>
                      <a:gd name="T78" fmla="*/ 450 w 888"/>
                      <a:gd name="T79" fmla="*/ 166 h 1034"/>
                      <a:gd name="T80" fmla="*/ 434 w 888"/>
                      <a:gd name="T81" fmla="*/ 182 h 1034"/>
                      <a:gd name="T82" fmla="*/ 418 w 888"/>
                      <a:gd name="T83" fmla="*/ 199 h 1034"/>
                      <a:gd name="T84" fmla="*/ 454 w 888"/>
                      <a:gd name="T85" fmla="*/ 209 h 1034"/>
                      <a:gd name="T86" fmla="*/ 489 w 888"/>
                      <a:gd name="T87" fmla="*/ 218 h 1034"/>
                      <a:gd name="T88" fmla="*/ 526 w 888"/>
                      <a:gd name="T89" fmla="*/ 221 h 1034"/>
                      <a:gd name="T90" fmla="*/ 594 w 888"/>
                      <a:gd name="T91" fmla="*/ 275 h 1034"/>
                      <a:gd name="T92" fmla="*/ 659 w 888"/>
                      <a:gd name="T93" fmla="*/ 321 h 1034"/>
                      <a:gd name="T94" fmla="*/ 722 w 888"/>
                      <a:gd name="T95" fmla="*/ 343 h 1034"/>
                      <a:gd name="T96" fmla="*/ 754 w 888"/>
                      <a:gd name="T97" fmla="*/ 337 h 1034"/>
                      <a:gd name="T98" fmla="*/ 749 w 888"/>
                      <a:gd name="T99" fmla="*/ 285 h 1034"/>
                      <a:gd name="T100" fmla="*/ 790 w 888"/>
                      <a:gd name="T101" fmla="*/ 274 h 1034"/>
                      <a:gd name="T102" fmla="*/ 860 w 888"/>
                      <a:gd name="T103" fmla="*/ 267 h 1034"/>
                      <a:gd name="T104" fmla="*/ 866 w 888"/>
                      <a:gd name="T105" fmla="*/ 234 h 1034"/>
                      <a:gd name="T106" fmla="*/ 852 w 888"/>
                      <a:gd name="T107" fmla="*/ 155 h 1034"/>
                      <a:gd name="T108" fmla="*/ 857 w 888"/>
                      <a:gd name="T109" fmla="*/ 88 h 1034"/>
                      <a:gd name="T110" fmla="*/ 855 w 888"/>
                      <a:gd name="T111" fmla="*/ 25 h 1034"/>
                      <a:gd name="T112" fmla="*/ 850 w 888"/>
                      <a:gd name="T113" fmla="*/ 0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88" h="1034">
                        <a:moveTo>
                          <a:pt x="109" y="1034"/>
                        </a:moveTo>
                        <a:lnTo>
                          <a:pt x="109" y="1033"/>
                        </a:lnTo>
                        <a:lnTo>
                          <a:pt x="112" y="1031"/>
                        </a:lnTo>
                        <a:lnTo>
                          <a:pt x="114" y="1029"/>
                        </a:lnTo>
                        <a:lnTo>
                          <a:pt x="115" y="1026"/>
                        </a:lnTo>
                        <a:lnTo>
                          <a:pt x="115" y="1021"/>
                        </a:lnTo>
                        <a:lnTo>
                          <a:pt x="117" y="1018"/>
                        </a:lnTo>
                        <a:lnTo>
                          <a:pt x="117" y="1017"/>
                        </a:lnTo>
                        <a:lnTo>
                          <a:pt x="117" y="1015"/>
                        </a:lnTo>
                        <a:lnTo>
                          <a:pt x="117" y="1014"/>
                        </a:lnTo>
                        <a:lnTo>
                          <a:pt x="115" y="1010"/>
                        </a:lnTo>
                        <a:lnTo>
                          <a:pt x="114" y="1010"/>
                        </a:lnTo>
                        <a:lnTo>
                          <a:pt x="112" y="1006"/>
                        </a:lnTo>
                        <a:lnTo>
                          <a:pt x="111" y="1004"/>
                        </a:lnTo>
                        <a:lnTo>
                          <a:pt x="109" y="1002"/>
                        </a:lnTo>
                        <a:lnTo>
                          <a:pt x="107" y="1001"/>
                        </a:lnTo>
                        <a:lnTo>
                          <a:pt x="106" y="1001"/>
                        </a:lnTo>
                        <a:lnTo>
                          <a:pt x="106" y="1002"/>
                        </a:lnTo>
                        <a:lnTo>
                          <a:pt x="103" y="999"/>
                        </a:lnTo>
                        <a:lnTo>
                          <a:pt x="101" y="998"/>
                        </a:lnTo>
                        <a:lnTo>
                          <a:pt x="99" y="996"/>
                        </a:lnTo>
                        <a:lnTo>
                          <a:pt x="98" y="996"/>
                        </a:lnTo>
                        <a:lnTo>
                          <a:pt x="96" y="993"/>
                        </a:lnTo>
                        <a:lnTo>
                          <a:pt x="95" y="993"/>
                        </a:lnTo>
                        <a:lnTo>
                          <a:pt x="93" y="993"/>
                        </a:lnTo>
                        <a:lnTo>
                          <a:pt x="92" y="993"/>
                        </a:lnTo>
                        <a:lnTo>
                          <a:pt x="87" y="995"/>
                        </a:lnTo>
                        <a:lnTo>
                          <a:pt x="85" y="996"/>
                        </a:lnTo>
                        <a:lnTo>
                          <a:pt x="84" y="996"/>
                        </a:lnTo>
                        <a:lnTo>
                          <a:pt x="82" y="999"/>
                        </a:lnTo>
                        <a:lnTo>
                          <a:pt x="82" y="1001"/>
                        </a:lnTo>
                        <a:lnTo>
                          <a:pt x="80" y="1002"/>
                        </a:lnTo>
                        <a:lnTo>
                          <a:pt x="80" y="1004"/>
                        </a:lnTo>
                        <a:lnTo>
                          <a:pt x="79" y="1006"/>
                        </a:lnTo>
                        <a:lnTo>
                          <a:pt x="77" y="1007"/>
                        </a:lnTo>
                        <a:lnTo>
                          <a:pt x="76" y="1009"/>
                        </a:lnTo>
                        <a:lnTo>
                          <a:pt x="73" y="1012"/>
                        </a:lnTo>
                        <a:lnTo>
                          <a:pt x="71" y="1012"/>
                        </a:lnTo>
                        <a:lnTo>
                          <a:pt x="69" y="1014"/>
                        </a:lnTo>
                        <a:lnTo>
                          <a:pt x="68" y="1014"/>
                        </a:lnTo>
                        <a:lnTo>
                          <a:pt x="66" y="1014"/>
                        </a:lnTo>
                        <a:lnTo>
                          <a:pt x="61" y="1012"/>
                        </a:lnTo>
                        <a:lnTo>
                          <a:pt x="55" y="1012"/>
                        </a:lnTo>
                        <a:lnTo>
                          <a:pt x="50" y="1014"/>
                        </a:lnTo>
                        <a:lnTo>
                          <a:pt x="46" y="1014"/>
                        </a:lnTo>
                        <a:lnTo>
                          <a:pt x="41" y="1015"/>
                        </a:lnTo>
                        <a:lnTo>
                          <a:pt x="34" y="1020"/>
                        </a:lnTo>
                        <a:lnTo>
                          <a:pt x="31" y="1021"/>
                        </a:lnTo>
                        <a:lnTo>
                          <a:pt x="28" y="1023"/>
                        </a:lnTo>
                        <a:lnTo>
                          <a:pt x="27" y="1025"/>
                        </a:lnTo>
                        <a:lnTo>
                          <a:pt x="25" y="1025"/>
                        </a:lnTo>
                        <a:lnTo>
                          <a:pt x="22" y="1023"/>
                        </a:lnTo>
                        <a:lnTo>
                          <a:pt x="12" y="1023"/>
                        </a:lnTo>
                        <a:lnTo>
                          <a:pt x="8" y="1025"/>
                        </a:lnTo>
                        <a:lnTo>
                          <a:pt x="4" y="1023"/>
                        </a:lnTo>
                        <a:lnTo>
                          <a:pt x="3" y="1023"/>
                        </a:lnTo>
                        <a:lnTo>
                          <a:pt x="1" y="1023"/>
                        </a:lnTo>
                        <a:lnTo>
                          <a:pt x="1" y="1020"/>
                        </a:lnTo>
                        <a:lnTo>
                          <a:pt x="0" y="1020"/>
                        </a:lnTo>
                        <a:lnTo>
                          <a:pt x="3" y="1018"/>
                        </a:lnTo>
                        <a:lnTo>
                          <a:pt x="3" y="1017"/>
                        </a:lnTo>
                        <a:lnTo>
                          <a:pt x="4" y="1017"/>
                        </a:lnTo>
                        <a:lnTo>
                          <a:pt x="4" y="1015"/>
                        </a:lnTo>
                        <a:lnTo>
                          <a:pt x="6" y="1014"/>
                        </a:lnTo>
                        <a:lnTo>
                          <a:pt x="6" y="1010"/>
                        </a:lnTo>
                        <a:lnTo>
                          <a:pt x="6" y="1009"/>
                        </a:lnTo>
                        <a:lnTo>
                          <a:pt x="8" y="999"/>
                        </a:lnTo>
                        <a:lnTo>
                          <a:pt x="11" y="995"/>
                        </a:lnTo>
                        <a:lnTo>
                          <a:pt x="14" y="991"/>
                        </a:lnTo>
                        <a:lnTo>
                          <a:pt x="15" y="988"/>
                        </a:lnTo>
                        <a:lnTo>
                          <a:pt x="22" y="983"/>
                        </a:lnTo>
                        <a:lnTo>
                          <a:pt x="23" y="983"/>
                        </a:lnTo>
                        <a:lnTo>
                          <a:pt x="25" y="983"/>
                        </a:lnTo>
                        <a:lnTo>
                          <a:pt x="27" y="982"/>
                        </a:lnTo>
                        <a:lnTo>
                          <a:pt x="31" y="982"/>
                        </a:lnTo>
                        <a:lnTo>
                          <a:pt x="36" y="980"/>
                        </a:lnTo>
                        <a:lnTo>
                          <a:pt x="38" y="979"/>
                        </a:lnTo>
                        <a:lnTo>
                          <a:pt x="41" y="979"/>
                        </a:lnTo>
                        <a:lnTo>
                          <a:pt x="42" y="979"/>
                        </a:lnTo>
                        <a:lnTo>
                          <a:pt x="47" y="977"/>
                        </a:lnTo>
                        <a:lnTo>
                          <a:pt x="50" y="976"/>
                        </a:lnTo>
                        <a:lnTo>
                          <a:pt x="55" y="966"/>
                        </a:lnTo>
                        <a:lnTo>
                          <a:pt x="55" y="964"/>
                        </a:lnTo>
                        <a:lnTo>
                          <a:pt x="54" y="963"/>
                        </a:lnTo>
                        <a:lnTo>
                          <a:pt x="52" y="963"/>
                        </a:lnTo>
                        <a:lnTo>
                          <a:pt x="49" y="960"/>
                        </a:lnTo>
                        <a:lnTo>
                          <a:pt x="46" y="958"/>
                        </a:lnTo>
                        <a:lnTo>
                          <a:pt x="44" y="956"/>
                        </a:lnTo>
                        <a:lnTo>
                          <a:pt x="42" y="956"/>
                        </a:lnTo>
                        <a:lnTo>
                          <a:pt x="41" y="955"/>
                        </a:lnTo>
                        <a:lnTo>
                          <a:pt x="39" y="953"/>
                        </a:lnTo>
                        <a:lnTo>
                          <a:pt x="38" y="947"/>
                        </a:lnTo>
                        <a:lnTo>
                          <a:pt x="38" y="945"/>
                        </a:lnTo>
                        <a:lnTo>
                          <a:pt x="38" y="942"/>
                        </a:lnTo>
                        <a:lnTo>
                          <a:pt x="39" y="937"/>
                        </a:lnTo>
                        <a:lnTo>
                          <a:pt x="49" y="931"/>
                        </a:lnTo>
                        <a:lnTo>
                          <a:pt x="65" y="918"/>
                        </a:lnTo>
                        <a:lnTo>
                          <a:pt x="66" y="917"/>
                        </a:lnTo>
                        <a:lnTo>
                          <a:pt x="68" y="915"/>
                        </a:lnTo>
                        <a:lnTo>
                          <a:pt x="69" y="914"/>
                        </a:lnTo>
                        <a:lnTo>
                          <a:pt x="79" y="906"/>
                        </a:lnTo>
                        <a:lnTo>
                          <a:pt x="82" y="903"/>
                        </a:lnTo>
                        <a:lnTo>
                          <a:pt x="84" y="903"/>
                        </a:lnTo>
                        <a:lnTo>
                          <a:pt x="84" y="901"/>
                        </a:lnTo>
                        <a:lnTo>
                          <a:pt x="88" y="896"/>
                        </a:lnTo>
                        <a:lnTo>
                          <a:pt x="92" y="893"/>
                        </a:lnTo>
                        <a:lnTo>
                          <a:pt x="95" y="888"/>
                        </a:lnTo>
                        <a:lnTo>
                          <a:pt x="95" y="887"/>
                        </a:lnTo>
                        <a:lnTo>
                          <a:pt x="96" y="887"/>
                        </a:lnTo>
                        <a:lnTo>
                          <a:pt x="101" y="877"/>
                        </a:lnTo>
                        <a:lnTo>
                          <a:pt x="101" y="873"/>
                        </a:lnTo>
                        <a:lnTo>
                          <a:pt x="101" y="863"/>
                        </a:lnTo>
                        <a:lnTo>
                          <a:pt x="103" y="860"/>
                        </a:lnTo>
                        <a:lnTo>
                          <a:pt x="107" y="857"/>
                        </a:lnTo>
                        <a:lnTo>
                          <a:pt x="114" y="858"/>
                        </a:lnTo>
                        <a:lnTo>
                          <a:pt x="125" y="861"/>
                        </a:lnTo>
                        <a:lnTo>
                          <a:pt x="133" y="865"/>
                        </a:lnTo>
                        <a:lnTo>
                          <a:pt x="136" y="868"/>
                        </a:lnTo>
                        <a:lnTo>
                          <a:pt x="137" y="868"/>
                        </a:lnTo>
                        <a:lnTo>
                          <a:pt x="139" y="868"/>
                        </a:lnTo>
                        <a:lnTo>
                          <a:pt x="141" y="868"/>
                        </a:lnTo>
                        <a:lnTo>
                          <a:pt x="142" y="865"/>
                        </a:lnTo>
                        <a:lnTo>
                          <a:pt x="141" y="860"/>
                        </a:lnTo>
                        <a:lnTo>
                          <a:pt x="137" y="858"/>
                        </a:lnTo>
                        <a:lnTo>
                          <a:pt x="137" y="857"/>
                        </a:lnTo>
                        <a:lnTo>
                          <a:pt x="136" y="855"/>
                        </a:lnTo>
                        <a:lnTo>
                          <a:pt x="131" y="849"/>
                        </a:lnTo>
                        <a:lnTo>
                          <a:pt x="131" y="846"/>
                        </a:lnTo>
                        <a:lnTo>
                          <a:pt x="130" y="844"/>
                        </a:lnTo>
                        <a:lnTo>
                          <a:pt x="130" y="841"/>
                        </a:lnTo>
                        <a:lnTo>
                          <a:pt x="123" y="827"/>
                        </a:lnTo>
                        <a:lnTo>
                          <a:pt x="123" y="819"/>
                        </a:lnTo>
                        <a:lnTo>
                          <a:pt x="123" y="812"/>
                        </a:lnTo>
                        <a:lnTo>
                          <a:pt x="122" y="808"/>
                        </a:lnTo>
                        <a:lnTo>
                          <a:pt x="122" y="803"/>
                        </a:lnTo>
                        <a:lnTo>
                          <a:pt x="123" y="797"/>
                        </a:lnTo>
                        <a:lnTo>
                          <a:pt x="125" y="792"/>
                        </a:lnTo>
                        <a:lnTo>
                          <a:pt x="128" y="787"/>
                        </a:lnTo>
                        <a:lnTo>
                          <a:pt x="128" y="785"/>
                        </a:lnTo>
                        <a:lnTo>
                          <a:pt x="131" y="779"/>
                        </a:lnTo>
                        <a:lnTo>
                          <a:pt x="136" y="760"/>
                        </a:lnTo>
                        <a:lnTo>
                          <a:pt x="139" y="757"/>
                        </a:lnTo>
                        <a:lnTo>
                          <a:pt x="141" y="755"/>
                        </a:lnTo>
                        <a:lnTo>
                          <a:pt x="147" y="749"/>
                        </a:lnTo>
                        <a:lnTo>
                          <a:pt x="150" y="744"/>
                        </a:lnTo>
                        <a:lnTo>
                          <a:pt x="155" y="739"/>
                        </a:lnTo>
                        <a:lnTo>
                          <a:pt x="158" y="732"/>
                        </a:lnTo>
                        <a:lnTo>
                          <a:pt x="156" y="725"/>
                        </a:lnTo>
                        <a:lnTo>
                          <a:pt x="150" y="717"/>
                        </a:lnTo>
                        <a:lnTo>
                          <a:pt x="149" y="713"/>
                        </a:lnTo>
                        <a:lnTo>
                          <a:pt x="147" y="705"/>
                        </a:lnTo>
                        <a:lnTo>
                          <a:pt x="145" y="703"/>
                        </a:lnTo>
                        <a:lnTo>
                          <a:pt x="144" y="698"/>
                        </a:lnTo>
                        <a:lnTo>
                          <a:pt x="142" y="695"/>
                        </a:lnTo>
                        <a:lnTo>
                          <a:pt x="139" y="690"/>
                        </a:lnTo>
                        <a:lnTo>
                          <a:pt x="137" y="687"/>
                        </a:lnTo>
                        <a:lnTo>
                          <a:pt x="136" y="687"/>
                        </a:lnTo>
                        <a:lnTo>
                          <a:pt x="134" y="684"/>
                        </a:lnTo>
                        <a:lnTo>
                          <a:pt x="131" y="682"/>
                        </a:lnTo>
                        <a:lnTo>
                          <a:pt x="130" y="681"/>
                        </a:lnTo>
                        <a:lnTo>
                          <a:pt x="126" y="679"/>
                        </a:lnTo>
                        <a:lnTo>
                          <a:pt x="125" y="678"/>
                        </a:lnTo>
                        <a:lnTo>
                          <a:pt x="115" y="675"/>
                        </a:lnTo>
                        <a:lnTo>
                          <a:pt x="114" y="673"/>
                        </a:lnTo>
                        <a:lnTo>
                          <a:pt x="114" y="671"/>
                        </a:lnTo>
                        <a:lnTo>
                          <a:pt x="111" y="670"/>
                        </a:lnTo>
                        <a:lnTo>
                          <a:pt x="109" y="670"/>
                        </a:lnTo>
                        <a:lnTo>
                          <a:pt x="107" y="668"/>
                        </a:lnTo>
                        <a:lnTo>
                          <a:pt x="106" y="668"/>
                        </a:lnTo>
                        <a:lnTo>
                          <a:pt x="101" y="657"/>
                        </a:lnTo>
                        <a:lnTo>
                          <a:pt x="99" y="652"/>
                        </a:lnTo>
                        <a:lnTo>
                          <a:pt x="98" y="649"/>
                        </a:lnTo>
                        <a:lnTo>
                          <a:pt x="99" y="643"/>
                        </a:lnTo>
                        <a:lnTo>
                          <a:pt x="101" y="637"/>
                        </a:lnTo>
                        <a:lnTo>
                          <a:pt x="99" y="621"/>
                        </a:lnTo>
                        <a:lnTo>
                          <a:pt x="101" y="619"/>
                        </a:lnTo>
                        <a:lnTo>
                          <a:pt x="103" y="616"/>
                        </a:lnTo>
                        <a:lnTo>
                          <a:pt x="104" y="614"/>
                        </a:lnTo>
                        <a:lnTo>
                          <a:pt x="106" y="614"/>
                        </a:lnTo>
                        <a:lnTo>
                          <a:pt x="107" y="614"/>
                        </a:lnTo>
                        <a:lnTo>
                          <a:pt x="109" y="614"/>
                        </a:lnTo>
                        <a:lnTo>
                          <a:pt x="111" y="614"/>
                        </a:lnTo>
                        <a:lnTo>
                          <a:pt x="112" y="614"/>
                        </a:lnTo>
                        <a:lnTo>
                          <a:pt x="118" y="614"/>
                        </a:lnTo>
                        <a:lnTo>
                          <a:pt x="125" y="614"/>
                        </a:lnTo>
                        <a:lnTo>
                          <a:pt x="130" y="613"/>
                        </a:lnTo>
                        <a:lnTo>
                          <a:pt x="137" y="613"/>
                        </a:lnTo>
                        <a:lnTo>
                          <a:pt x="145" y="613"/>
                        </a:lnTo>
                        <a:lnTo>
                          <a:pt x="149" y="611"/>
                        </a:lnTo>
                        <a:lnTo>
                          <a:pt x="155" y="611"/>
                        </a:lnTo>
                        <a:lnTo>
                          <a:pt x="158" y="610"/>
                        </a:lnTo>
                        <a:lnTo>
                          <a:pt x="163" y="610"/>
                        </a:lnTo>
                        <a:lnTo>
                          <a:pt x="164" y="608"/>
                        </a:lnTo>
                        <a:lnTo>
                          <a:pt x="166" y="608"/>
                        </a:lnTo>
                        <a:lnTo>
                          <a:pt x="168" y="608"/>
                        </a:lnTo>
                        <a:lnTo>
                          <a:pt x="174" y="608"/>
                        </a:lnTo>
                        <a:lnTo>
                          <a:pt x="175" y="610"/>
                        </a:lnTo>
                        <a:lnTo>
                          <a:pt x="180" y="611"/>
                        </a:lnTo>
                        <a:lnTo>
                          <a:pt x="183" y="613"/>
                        </a:lnTo>
                        <a:lnTo>
                          <a:pt x="194" y="624"/>
                        </a:lnTo>
                        <a:lnTo>
                          <a:pt x="199" y="625"/>
                        </a:lnTo>
                        <a:lnTo>
                          <a:pt x="202" y="627"/>
                        </a:lnTo>
                        <a:lnTo>
                          <a:pt x="206" y="629"/>
                        </a:lnTo>
                        <a:lnTo>
                          <a:pt x="209" y="629"/>
                        </a:lnTo>
                        <a:lnTo>
                          <a:pt x="220" y="629"/>
                        </a:lnTo>
                        <a:lnTo>
                          <a:pt x="223" y="625"/>
                        </a:lnTo>
                        <a:lnTo>
                          <a:pt x="231" y="622"/>
                        </a:lnTo>
                        <a:lnTo>
                          <a:pt x="234" y="621"/>
                        </a:lnTo>
                        <a:lnTo>
                          <a:pt x="236" y="619"/>
                        </a:lnTo>
                        <a:lnTo>
                          <a:pt x="237" y="618"/>
                        </a:lnTo>
                        <a:lnTo>
                          <a:pt x="242" y="614"/>
                        </a:lnTo>
                        <a:lnTo>
                          <a:pt x="247" y="611"/>
                        </a:lnTo>
                        <a:lnTo>
                          <a:pt x="248" y="611"/>
                        </a:lnTo>
                        <a:lnTo>
                          <a:pt x="250" y="610"/>
                        </a:lnTo>
                        <a:lnTo>
                          <a:pt x="253" y="605"/>
                        </a:lnTo>
                        <a:lnTo>
                          <a:pt x="253" y="603"/>
                        </a:lnTo>
                        <a:lnTo>
                          <a:pt x="258" y="594"/>
                        </a:lnTo>
                        <a:lnTo>
                          <a:pt x="261" y="579"/>
                        </a:lnTo>
                        <a:lnTo>
                          <a:pt x="261" y="575"/>
                        </a:lnTo>
                        <a:lnTo>
                          <a:pt x="261" y="565"/>
                        </a:lnTo>
                        <a:lnTo>
                          <a:pt x="261" y="562"/>
                        </a:lnTo>
                        <a:lnTo>
                          <a:pt x="258" y="551"/>
                        </a:lnTo>
                        <a:lnTo>
                          <a:pt x="255" y="538"/>
                        </a:lnTo>
                        <a:lnTo>
                          <a:pt x="255" y="530"/>
                        </a:lnTo>
                        <a:lnTo>
                          <a:pt x="255" y="524"/>
                        </a:lnTo>
                        <a:lnTo>
                          <a:pt x="255" y="519"/>
                        </a:lnTo>
                        <a:lnTo>
                          <a:pt x="255" y="518"/>
                        </a:lnTo>
                        <a:lnTo>
                          <a:pt x="256" y="507"/>
                        </a:lnTo>
                        <a:lnTo>
                          <a:pt x="258" y="502"/>
                        </a:lnTo>
                        <a:lnTo>
                          <a:pt x="258" y="497"/>
                        </a:lnTo>
                        <a:lnTo>
                          <a:pt x="258" y="496"/>
                        </a:lnTo>
                        <a:lnTo>
                          <a:pt x="258" y="492"/>
                        </a:lnTo>
                        <a:lnTo>
                          <a:pt x="259" y="483"/>
                        </a:lnTo>
                        <a:lnTo>
                          <a:pt x="259" y="481"/>
                        </a:lnTo>
                        <a:lnTo>
                          <a:pt x="259" y="478"/>
                        </a:lnTo>
                        <a:lnTo>
                          <a:pt x="258" y="477"/>
                        </a:lnTo>
                        <a:lnTo>
                          <a:pt x="258" y="473"/>
                        </a:lnTo>
                        <a:lnTo>
                          <a:pt x="256" y="470"/>
                        </a:lnTo>
                        <a:lnTo>
                          <a:pt x="255" y="467"/>
                        </a:lnTo>
                        <a:lnTo>
                          <a:pt x="255" y="465"/>
                        </a:lnTo>
                        <a:lnTo>
                          <a:pt x="252" y="464"/>
                        </a:lnTo>
                        <a:lnTo>
                          <a:pt x="244" y="456"/>
                        </a:lnTo>
                        <a:lnTo>
                          <a:pt x="232" y="443"/>
                        </a:lnTo>
                        <a:lnTo>
                          <a:pt x="232" y="442"/>
                        </a:lnTo>
                        <a:lnTo>
                          <a:pt x="228" y="437"/>
                        </a:lnTo>
                        <a:lnTo>
                          <a:pt x="223" y="424"/>
                        </a:lnTo>
                        <a:lnTo>
                          <a:pt x="223" y="423"/>
                        </a:lnTo>
                        <a:lnTo>
                          <a:pt x="221" y="420"/>
                        </a:lnTo>
                        <a:lnTo>
                          <a:pt x="218" y="412"/>
                        </a:lnTo>
                        <a:lnTo>
                          <a:pt x="215" y="405"/>
                        </a:lnTo>
                        <a:lnTo>
                          <a:pt x="212" y="402"/>
                        </a:lnTo>
                        <a:lnTo>
                          <a:pt x="209" y="394"/>
                        </a:lnTo>
                        <a:lnTo>
                          <a:pt x="202" y="386"/>
                        </a:lnTo>
                        <a:lnTo>
                          <a:pt x="196" y="380"/>
                        </a:lnTo>
                        <a:lnTo>
                          <a:pt x="185" y="372"/>
                        </a:lnTo>
                        <a:lnTo>
                          <a:pt x="183" y="370"/>
                        </a:lnTo>
                        <a:lnTo>
                          <a:pt x="182" y="367"/>
                        </a:lnTo>
                        <a:lnTo>
                          <a:pt x="182" y="364"/>
                        </a:lnTo>
                        <a:lnTo>
                          <a:pt x="182" y="362"/>
                        </a:lnTo>
                        <a:lnTo>
                          <a:pt x="182" y="359"/>
                        </a:lnTo>
                        <a:lnTo>
                          <a:pt x="185" y="356"/>
                        </a:lnTo>
                        <a:lnTo>
                          <a:pt x="188" y="353"/>
                        </a:lnTo>
                        <a:lnTo>
                          <a:pt x="190" y="351"/>
                        </a:lnTo>
                        <a:lnTo>
                          <a:pt x="193" y="350"/>
                        </a:lnTo>
                        <a:lnTo>
                          <a:pt x="196" y="348"/>
                        </a:lnTo>
                        <a:lnTo>
                          <a:pt x="202" y="343"/>
                        </a:lnTo>
                        <a:lnTo>
                          <a:pt x="204" y="343"/>
                        </a:lnTo>
                        <a:lnTo>
                          <a:pt x="213" y="336"/>
                        </a:lnTo>
                        <a:lnTo>
                          <a:pt x="218" y="334"/>
                        </a:lnTo>
                        <a:lnTo>
                          <a:pt x="225" y="331"/>
                        </a:lnTo>
                        <a:lnTo>
                          <a:pt x="229" y="331"/>
                        </a:lnTo>
                        <a:lnTo>
                          <a:pt x="231" y="331"/>
                        </a:lnTo>
                        <a:lnTo>
                          <a:pt x="232" y="331"/>
                        </a:lnTo>
                        <a:lnTo>
                          <a:pt x="239" y="332"/>
                        </a:lnTo>
                        <a:lnTo>
                          <a:pt x="245" y="332"/>
                        </a:lnTo>
                        <a:lnTo>
                          <a:pt x="247" y="331"/>
                        </a:lnTo>
                        <a:lnTo>
                          <a:pt x="250" y="331"/>
                        </a:lnTo>
                        <a:lnTo>
                          <a:pt x="252" y="328"/>
                        </a:lnTo>
                        <a:lnTo>
                          <a:pt x="252" y="326"/>
                        </a:lnTo>
                        <a:lnTo>
                          <a:pt x="252" y="321"/>
                        </a:lnTo>
                        <a:lnTo>
                          <a:pt x="250" y="318"/>
                        </a:lnTo>
                        <a:lnTo>
                          <a:pt x="248" y="318"/>
                        </a:lnTo>
                        <a:lnTo>
                          <a:pt x="247" y="317"/>
                        </a:lnTo>
                        <a:lnTo>
                          <a:pt x="244" y="313"/>
                        </a:lnTo>
                        <a:lnTo>
                          <a:pt x="242" y="310"/>
                        </a:lnTo>
                        <a:lnTo>
                          <a:pt x="240" y="307"/>
                        </a:lnTo>
                        <a:lnTo>
                          <a:pt x="240" y="304"/>
                        </a:lnTo>
                        <a:lnTo>
                          <a:pt x="242" y="301"/>
                        </a:lnTo>
                        <a:lnTo>
                          <a:pt x="245" y="299"/>
                        </a:lnTo>
                        <a:lnTo>
                          <a:pt x="245" y="298"/>
                        </a:lnTo>
                        <a:lnTo>
                          <a:pt x="247" y="298"/>
                        </a:lnTo>
                        <a:lnTo>
                          <a:pt x="250" y="294"/>
                        </a:lnTo>
                        <a:lnTo>
                          <a:pt x="252" y="293"/>
                        </a:lnTo>
                        <a:lnTo>
                          <a:pt x="253" y="291"/>
                        </a:lnTo>
                        <a:lnTo>
                          <a:pt x="255" y="291"/>
                        </a:lnTo>
                        <a:lnTo>
                          <a:pt x="264" y="283"/>
                        </a:lnTo>
                        <a:lnTo>
                          <a:pt x="266" y="283"/>
                        </a:lnTo>
                        <a:lnTo>
                          <a:pt x="267" y="282"/>
                        </a:lnTo>
                        <a:lnTo>
                          <a:pt x="269" y="280"/>
                        </a:lnTo>
                        <a:lnTo>
                          <a:pt x="274" y="279"/>
                        </a:lnTo>
                        <a:lnTo>
                          <a:pt x="275" y="277"/>
                        </a:lnTo>
                        <a:lnTo>
                          <a:pt x="278" y="275"/>
                        </a:lnTo>
                        <a:lnTo>
                          <a:pt x="280" y="275"/>
                        </a:lnTo>
                        <a:lnTo>
                          <a:pt x="283" y="275"/>
                        </a:lnTo>
                        <a:lnTo>
                          <a:pt x="283" y="274"/>
                        </a:lnTo>
                        <a:lnTo>
                          <a:pt x="291" y="272"/>
                        </a:lnTo>
                        <a:lnTo>
                          <a:pt x="301" y="266"/>
                        </a:lnTo>
                        <a:lnTo>
                          <a:pt x="302" y="266"/>
                        </a:lnTo>
                        <a:lnTo>
                          <a:pt x="305" y="264"/>
                        </a:lnTo>
                        <a:lnTo>
                          <a:pt x="307" y="263"/>
                        </a:lnTo>
                        <a:lnTo>
                          <a:pt x="310" y="258"/>
                        </a:lnTo>
                        <a:lnTo>
                          <a:pt x="312" y="256"/>
                        </a:lnTo>
                        <a:lnTo>
                          <a:pt x="315" y="253"/>
                        </a:lnTo>
                        <a:lnTo>
                          <a:pt x="316" y="252"/>
                        </a:lnTo>
                        <a:lnTo>
                          <a:pt x="318" y="250"/>
                        </a:lnTo>
                        <a:lnTo>
                          <a:pt x="326" y="242"/>
                        </a:lnTo>
                        <a:lnTo>
                          <a:pt x="329" y="231"/>
                        </a:lnTo>
                        <a:lnTo>
                          <a:pt x="332" y="225"/>
                        </a:lnTo>
                        <a:lnTo>
                          <a:pt x="332" y="221"/>
                        </a:lnTo>
                        <a:lnTo>
                          <a:pt x="334" y="212"/>
                        </a:lnTo>
                        <a:lnTo>
                          <a:pt x="337" y="206"/>
                        </a:lnTo>
                        <a:lnTo>
                          <a:pt x="337" y="204"/>
                        </a:lnTo>
                        <a:lnTo>
                          <a:pt x="343" y="199"/>
                        </a:lnTo>
                        <a:lnTo>
                          <a:pt x="347" y="198"/>
                        </a:lnTo>
                        <a:lnTo>
                          <a:pt x="348" y="198"/>
                        </a:lnTo>
                        <a:lnTo>
                          <a:pt x="353" y="196"/>
                        </a:lnTo>
                        <a:lnTo>
                          <a:pt x="359" y="195"/>
                        </a:lnTo>
                        <a:lnTo>
                          <a:pt x="364" y="190"/>
                        </a:lnTo>
                        <a:lnTo>
                          <a:pt x="366" y="188"/>
                        </a:lnTo>
                        <a:lnTo>
                          <a:pt x="369" y="185"/>
                        </a:lnTo>
                        <a:lnTo>
                          <a:pt x="370" y="183"/>
                        </a:lnTo>
                        <a:lnTo>
                          <a:pt x="378" y="180"/>
                        </a:lnTo>
                        <a:lnTo>
                          <a:pt x="388" y="177"/>
                        </a:lnTo>
                        <a:lnTo>
                          <a:pt x="389" y="177"/>
                        </a:lnTo>
                        <a:lnTo>
                          <a:pt x="391" y="177"/>
                        </a:lnTo>
                        <a:lnTo>
                          <a:pt x="397" y="176"/>
                        </a:lnTo>
                        <a:lnTo>
                          <a:pt x="402" y="172"/>
                        </a:lnTo>
                        <a:lnTo>
                          <a:pt x="402" y="171"/>
                        </a:lnTo>
                        <a:lnTo>
                          <a:pt x="410" y="160"/>
                        </a:lnTo>
                        <a:lnTo>
                          <a:pt x="410" y="158"/>
                        </a:lnTo>
                        <a:lnTo>
                          <a:pt x="411" y="157"/>
                        </a:lnTo>
                        <a:lnTo>
                          <a:pt x="411" y="150"/>
                        </a:lnTo>
                        <a:lnTo>
                          <a:pt x="410" y="145"/>
                        </a:lnTo>
                        <a:lnTo>
                          <a:pt x="410" y="139"/>
                        </a:lnTo>
                        <a:lnTo>
                          <a:pt x="410" y="138"/>
                        </a:lnTo>
                        <a:lnTo>
                          <a:pt x="413" y="136"/>
                        </a:lnTo>
                        <a:lnTo>
                          <a:pt x="418" y="134"/>
                        </a:lnTo>
                        <a:lnTo>
                          <a:pt x="421" y="134"/>
                        </a:lnTo>
                        <a:lnTo>
                          <a:pt x="424" y="134"/>
                        </a:lnTo>
                        <a:lnTo>
                          <a:pt x="426" y="136"/>
                        </a:lnTo>
                        <a:lnTo>
                          <a:pt x="427" y="136"/>
                        </a:lnTo>
                        <a:lnTo>
                          <a:pt x="427" y="138"/>
                        </a:lnTo>
                        <a:lnTo>
                          <a:pt x="431" y="147"/>
                        </a:lnTo>
                        <a:lnTo>
                          <a:pt x="431" y="149"/>
                        </a:lnTo>
                        <a:lnTo>
                          <a:pt x="432" y="152"/>
                        </a:lnTo>
                        <a:lnTo>
                          <a:pt x="432" y="155"/>
                        </a:lnTo>
                        <a:lnTo>
                          <a:pt x="434" y="160"/>
                        </a:lnTo>
                        <a:lnTo>
                          <a:pt x="438" y="163"/>
                        </a:lnTo>
                        <a:lnTo>
                          <a:pt x="442" y="163"/>
                        </a:lnTo>
                        <a:lnTo>
                          <a:pt x="450" y="166"/>
                        </a:lnTo>
                        <a:lnTo>
                          <a:pt x="453" y="169"/>
                        </a:lnTo>
                        <a:lnTo>
                          <a:pt x="453" y="171"/>
                        </a:lnTo>
                        <a:lnTo>
                          <a:pt x="453" y="172"/>
                        </a:lnTo>
                        <a:lnTo>
                          <a:pt x="453" y="174"/>
                        </a:lnTo>
                        <a:lnTo>
                          <a:pt x="451" y="177"/>
                        </a:lnTo>
                        <a:lnTo>
                          <a:pt x="446" y="177"/>
                        </a:lnTo>
                        <a:lnTo>
                          <a:pt x="443" y="179"/>
                        </a:lnTo>
                        <a:lnTo>
                          <a:pt x="440" y="179"/>
                        </a:lnTo>
                        <a:lnTo>
                          <a:pt x="434" y="182"/>
                        </a:lnTo>
                        <a:lnTo>
                          <a:pt x="427" y="183"/>
                        </a:lnTo>
                        <a:lnTo>
                          <a:pt x="423" y="185"/>
                        </a:lnTo>
                        <a:lnTo>
                          <a:pt x="419" y="188"/>
                        </a:lnTo>
                        <a:lnTo>
                          <a:pt x="418" y="190"/>
                        </a:lnTo>
                        <a:lnTo>
                          <a:pt x="416" y="191"/>
                        </a:lnTo>
                        <a:lnTo>
                          <a:pt x="416" y="193"/>
                        </a:lnTo>
                        <a:lnTo>
                          <a:pt x="416" y="196"/>
                        </a:lnTo>
                        <a:lnTo>
                          <a:pt x="416" y="198"/>
                        </a:lnTo>
                        <a:lnTo>
                          <a:pt x="418" y="199"/>
                        </a:lnTo>
                        <a:lnTo>
                          <a:pt x="418" y="201"/>
                        </a:lnTo>
                        <a:lnTo>
                          <a:pt x="421" y="204"/>
                        </a:lnTo>
                        <a:lnTo>
                          <a:pt x="423" y="204"/>
                        </a:lnTo>
                        <a:lnTo>
                          <a:pt x="426" y="207"/>
                        </a:lnTo>
                        <a:lnTo>
                          <a:pt x="432" y="209"/>
                        </a:lnTo>
                        <a:lnTo>
                          <a:pt x="434" y="210"/>
                        </a:lnTo>
                        <a:lnTo>
                          <a:pt x="440" y="209"/>
                        </a:lnTo>
                        <a:lnTo>
                          <a:pt x="443" y="209"/>
                        </a:lnTo>
                        <a:lnTo>
                          <a:pt x="454" y="209"/>
                        </a:lnTo>
                        <a:lnTo>
                          <a:pt x="457" y="209"/>
                        </a:lnTo>
                        <a:lnTo>
                          <a:pt x="459" y="210"/>
                        </a:lnTo>
                        <a:lnTo>
                          <a:pt x="465" y="212"/>
                        </a:lnTo>
                        <a:lnTo>
                          <a:pt x="467" y="212"/>
                        </a:lnTo>
                        <a:lnTo>
                          <a:pt x="473" y="214"/>
                        </a:lnTo>
                        <a:lnTo>
                          <a:pt x="476" y="214"/>
                        </a:lnTo>
                        <a:lnTo>
                          <a:pt x="483" y="217"/>
                        </a:lnTo>
                        <a:lnTo>
                          <a:pt x="484" y="217"/>
                        </a:lnTo>
                        <a:lnTo>
                          <a:pt x="489" y="218"/>
                        </a:lnTo>
                        <a:lnTo>
                          <a:pt x="492" y="220"/>
                        </a:lnTo>
                        <a:lnTo>
                          <a:pt x="502" y="220"/>
                        </a:lnTo>
                        <a:lnTo>
                          <a:pt x="503" y="220"/>
                        </a:lnTo>
                        <a:lnTo>
                          <a:pt x="508" y="220"/>
                        </a:lnTo>
                        <a:lnTo>
                          <a:pt x="511" y="220"/>
                        </a:lnTo>
                        <a:lnTo>
                          <a:pt x="513" y="220"/>
                        </a:lnTo>
                        <a:lnTo>
                          <a:pt x="513" y="218"/>
                        </a:lnTo>
                        <a:lnTo>
                          <a:pt x="516" y="218"/>
                        </a:lnTo>
                        <a:lnTo>
                          <a:pt x="526" y="221"/>
                        </a:lnTo>
                        <a:lnTo>
                          <a:pt x="533" y="226"/>
                        </a:lnTo>
                        <a:lnTo>
                          <a:pt x="538" y="229"/>
                        </a:lnTo>
                        <a:lnTo>
                          <a:pt x="541" y="233"/>
                        </a:lnTo>
                        <a:lnTo>
                          <a:pt x="546" y="237"/>
                        </a:lnTo>
                        <a:lnTo>
                          <a:pt x="564" y="261"/>
                        </a:lnTo>
                        <a:lnTo>
                          <a:pt x="571" y="267"/>
                        </a:lnTo>
                        <a:lnTo>
                          <a:pt x="581" y="271"/>
                        </a:lnTo>
                        <a:lnTo>
                          <a:pt x="583" y="271"/>
                        </a:lnTo>
                        <a:lnTo>
                          <a:pt x="594" y="275"/>
                        </a:lnTo>
                        <a:lnTo>
                          <a:pt x="603" y="280"/>
                        </a:lnTo>
                        <a:lnTo>
                          <a:pt x="609" y="286"/>
                        </a:lnTo>
                        <a:lnTo>
                          <a:pt x="617" y="293"/>
                        </a:lnTo>
                        <a:lnTo>
                          <a:pt x="632" y="307"/>
                        </a:lnTo>
                        <a:lnTo>
                          <a:pt x="643" y="315"/>
                        </a:lnTo>
                        <a:lnTo>
                          <a:pt x="648" y="318"/>
                        </a:lnTo>
                        <a:lnTo>
                          <a:pt x="654" y="320"/>
                        </a:lnTo>
                        <a:lnTo>
                          <a:pt x="655" y="321"/>
                        </a:lnTo>
                        <a:lnTo>
                          <a:pt x="659" y="321"/>
                        </a:lnTo>
                        <a:lnTo>
                          <a:pt x="660" y="323"/>
                        </a:lnTo>
                        <a:lnTo>
                          <a:pt x="678" y="331"/>
                        </a:lnTo>
                        <a:lnTo>
                          <a:pt x="679" y="331"/>
                        </a:lnTo>
                        <a:lnTo>
                          <a:pt x="689" y="337"/>
                        </a:lnTo>
                        <a:lnTo>
                          <a:pt x="706" y="340"/>
                        </a:lnTo>
                        <a:lnTo>
                          <a:pt x="709" y="340"/>
                        </a:lnTo>
                        <a:lnTo>
                          <a:pt x="717" y="342"/>
                        </a:lnTo>
                        <a:lnTo>
                          <a:pt x="720" y="343"/>
                        </a:lnTo>
                        <a:lnTo>
                          <a:pt x="722" y="343"/>
                        </a:lnTo>
                        <a:lnTo>
                          <a:pt x="728" y="343"/>
                        </a:lnTo>
                        <a:lnTo>
                          <a:pt x="731" y="345"/>
                        </a:lnTo>
                        <a:lnTo>
                          <a:pt x="741" y="345"/>
                        </a:lnTo>
                        <a:lnTo>
                          <a:pt x="747" y="343"/>
                        </a:lnTo>
                        <a:lnTo>
                          <a:pt x="749" y="342"/>
                        </a:lnTo>
                        <a:lnTo>
                          <a:pt x="750" y="342"/>
                        </a:lnTo>
                        <a:lnTo>
                          <a:pt x="752" y="340"/>
                        </a:lnTo>
                        <a:lnTo>
                          <a:pt x="754" y="339"/>
                        </a:lnTo>
                        <a:lnTo>
                          <a:pt x="754" y="337"/>
                        </a:lnTo>
                        <a:lnTo>
                          <a:pt x="757" y="334"/>
                        </a:lnTo>
                        <a:lnTo>
                          <a:pt x="757" y="332"/>
                        </a:lnTo>
                        <a:lnTo>
                          <a:pt x="758" y="323"/>
                        </a:lnTo>
                        <a:lnTo>
                          <a:pt x="758" y="321"/>
                        </a:lnTo>
                        <a:lnTo>
                          <a:pt x="758" y="317"/>
                        </a:lnTo>
                        <a:lnTo>
                          <a:pt x="757" y="305"/>
                        </a:lnTo>
                        <a:lnTo>
                          <a:pt x="755" y="301"/>
                        </a:lnTo>
                        <a:lnTo>
                          <a:pt x="749" y="290"/>
                        </a:lnTo>
                        <a:lnTo>
                          <a:pt x="749" y="285"/>
                        </a:lnTo>
                        <a:lnTo>
                          <a:pt x="750" y="282"/>
                        </a:lnTo>
                        <a:lnTo>
                          <a:pt x="752" y="280"/>
                        </a:lnTo>
                        <a:lnTo>
                          <a:pt x="755" y="279"/>
                        </a:lnTo>
                        <a:lnTo>
                          <a:pt x="763" y="277"/>
                        </a:lnTo>
                        <a:lnTo>
                          <a:pt x="768" y="275"/>
                        </a:lnTo>
                        <a:lnTo>
                          <a:pt x="773" y="275"/>
                        </a:lnTo>
                        <a:lnTo>
                          <a:pt x="779" y="274"/>
                        </a:lnTo>
                        <a:lnTo>
                          <a:pt x="788" y="274"/>
                        </a:lnTo>
                        <a:lnTo>
                          <a:pt x="790" y="274"/>
                        </a:lnTo>
                        <a:lnTo>
                          <a:pt x="800" y="274"/>
                        </a:lnTo>
                        <a:lnTo>
                          <a:pt x="808" y="272"/>
                        </a:lnTo>
                        <a:lnTo>
                          <a:pt x="819" y="271"/>
                        </a:lnTo>
                        <a:lnTo>
                          <a:pt x="828" y="271"/>
                        </a:lnTo>
                        <a:lnTo>
                          <a:pt x="830" y="271"/>
                        </a:lnTo>
                        <a:lnTo>
                          <a:pt x="831" y="271"/>
                        </a:lnTo>
                        <a:lnTo>
                          <a:pt x="849" y="269"/>
                        </a:lnTo>
                        <a:lnTo>
                          <a:pt x="850" y="269"/>
                        </a:lnTo>
                        <a:lnTo>
                          <a:pt x="860" y="267"/>
                        </a:lnTo>
                        <a:lnTo>
                          <a:pt x="866" y="264"/>
                        </a:lnTo>
                        <a:lnTo>
                          <a:pt x="868" y="263"/>
                        </a:lnTo>
                        <a:lnTo>
                          <a:pt x="871" y="255"/>
                        </a:lnTo>
                        <a:lnTo>
                          <a:pt x="871" y="252"/>
                        </a:lnTo>
                        <a:lnTo>
                          <a:pt x="871" y="250"/>
                        </a:lnTo>
                        <a:lnTo>
                          <a:pt x="871" y="247"/>
                        </a:lnTo>
                        <a:lnTo>
                          <a:pt x="868" y="242"/>
                        </a:lnTo>
                        <a:lnTo>
                          <a:pt x="868" y="241"/>
                        </a:lnTo>
                        <a:lnTo>
                          <a:pt x="866" y="234"/>
                        </a:lnTo>
                        <a:lnTo>
                          <a:pt x="857" y="221"/>
                        </a:lnTo>
                        <a:lnTo>
                          <a:pt x="857" y="220"/>
                        </a:lnTo>
                        <a:lnTo>
                          <a:pt x="857" y="215"/>
                        </a:lnTo>
                        <a:lnTo>
                          <a:pt x="857" y="199"/>
                        </a:lnTo>
                        <a:lnTo>
                          <a:pt x="857" y="195"/>
                        </a:lnTo>
                        <a:lnTo>
                          <a:pt x="857" y="193"/>
                        </a:lnTo>
                        <a:lnTo>
                          <a:pt x="855" y="182"/>
                        </a:lnTo>
                        <a:lnTo>
                          <a:pt x="853" y="166"/>
                        </a:lnTo>
                        <a:lnTo>
                          <a:pt x="852" y="155"/>
                        </a:lnTo>
                        <a:lnTo>
                          <a:pt x="850" y="149"/>
                        </a:lnTo>
                        <a:lnTo>
                          <a:pt x="849" y="138"/>
                        </a:lnTo>
                        <a:lnTo>
                          <a:pt x="847" y="128"/>
                        </a:lnTo>
                        <a:lnTo>
                          <a:pt x="844" y="114"/>
                        </a:lnTo>
                        <a:lnTo>
                          <a:pt x="846" y="106"/>
                        </a:lnTo>
                        <a:lnTo>
                          <a:pt x="850" y="98"/>
                        </a:lnTo>
                        <a:lnTo>
                          <a:pt x="852" y="98"/>
                        </a:lnTo>
                        <a:lnTo>
                          <a:pt x="852" y="96"/>
                        </a:lnTo>
                        <a:lnTo>
                          <a:pt x="857" y="88"/>
                        </a:lnTo>
                        <a:lnTo>
                          <a:pt x="858" y="79"/>
                        </a:lnTo>
                        <a:lnTo>
                          <a:pt x="858" y="73"/>
                        </a:lnTo>
                        <a:lnTo>
                          <a:pt x="858" y="69"/>
                        </a:lnTo>
                        <a:lnTo>
                          <a:pt x="860" y="58"/>
                        </a:lnTo>
                        <a:lnTo>
                          <a:pt x="860" y="57"/>
                        </a:lnTo>
                        <a:lnTo>
                          <a:pt x="858" y="54"/>
                        </a:lnTo>
                        <a:lnTo>
                          <a:pt x="860" y="43"/>
                        </a:lnTo>
                        <a:lnTo>
                          <a:pt x="860" y="30"/>
                        </a:lnTo>
                        <a:lnTo>
                          <a:pt x="855" y="25"/>
                        </a:lnTo>
                        <a:lnTo>
                          <a:pt x="852" y="20"/>
                        </a:lnTo>
                        <a:lnTo>
                          <a:pt x="847" y="17"/>
                        </a:lnTo>
                        <a:lnTo>
                          <a:pt x="844" y="14"/>
                        </a:lnTo>
                        <a:lnTo>
                          <a:pt x="842" y="11"/>
                        </a:lnTo>
                        <a:lnTo>
                          <a:pt x="842" y="9"/>
                        </a:lnTo>
                        <a:lnTo>
                          <a:pt x="842" y="8"/>
                        </a:lnTo>
                        <a:lnTo>
                          <a:pt x="846" y="1"/>
                        </a:lnTo>
                        <a:lnTo>
                          <a:pt x="849" y="0"/>
                        </a:lnTo>
                        <a:lnTo>
                          <a:pt x="850" y="0"/>
                        </a:lnTo>
                        <a:lnTo>
                          <a:pt x="857" y="0"/>
                        </a:lnTo>
                        <a:lnTo>
                          <a:pt x="858" y="0"/>
                        </a:lnTo>
                        <a:lnTo>
                          <a:pt x="860" y="1"/>
                        </a:lnTo>
                        <a:lnTo>
                          <a:pt x="869" y="3"/>
                        </a:lnTo>
                        <a:lnTo>
                          <a:pt x="876" y="6"/>
                        </a:lnTo>
                        <a:lnTo>
                          <a:pt x="888" y="14"/>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41" name="Freeform 40"/>
                  <p:cNvSpPr>
                    <a:spLocks/>
                  </p:cNvSpPr>
                  <p:nvPr/>
                </p:nvSpPr>
                <p:spPr bwMode="auto">
                  <a:xfrm>
                    <a:off x="1637" y="3137"/>
                    <a:ext cx="1137" cy="880"/>
                  </a:xfrm>
                  <a:custGeom>
                    <a:avLst/>
                    <a:gdLst>
                      <a:gd name="T0" fmla="*/ 185 w 1137"/>
                      <a:gd name="T1" fmla="*/ 122 h 880"/>
                      <a:gd name="T2" fmla="*/ 223 w 1137"/>
                      <a:gd name="T3" fmla="*/ 135 h 880"/>
                      <a:gd name="T4" fmla="*/ 268 w 1137"/>
                      <a:gd name="T5" fmla="*/ 121 h 880"/>
                      <a:gd name="T6" fmla="*/ 315 w 1137"/>
                      <a:gd name="T7" fmla="*/ 116 h 880"/>
                      <a:gd name="T8" fmla="*/ 339 w 1137"/>
                      <a:gd name="T9" fmla="*/ 83 h 880"/>
                      <a:gd name="T10" fmla="*/ 380 w 1137"/>
                      <a:gd name="T11" fmla="*/ 88 h 880"/>
                      <a:gd name="T12" fmla="*/ 423 w 1137"/>
                      <a:gd name="T13" fmla="*/ 88 h 880"/>
                      <a:gd name="T14" fmla="*/ 466 w 1137"/>
                      <a:gd name="T15" fmla="*/ 99 h 880"/>
                      <a:gd name="T16" fmla="*/ 486 w 1137"/>
                      <a:gd name="T17" fmla="*/ 137 h 880"/>
                      <a:gd name="T18" fmla="*/ 530 w 1137"/>
                      <a:gd name="T19" fmla="*/ 149 h 880"/>
                      <a:gd name="T20" fmla="*/ 575 w 1137"/>
                      <a:gd name="T21" fmla="*/ 118 h 880"/>
                      <a:gd name="T22" fmla="*/ 607 w 1137"/>
                      <a:gd name="T23" fmla="*/ 94 h 880"/>
                      <a:gd name="T24" fmla="*/ 643 w 1137"/>
                      <a:gd name="T25" fmla="*/ 89 h 880"/>
                      <a:gd name="T26" fmla="*/ 671 w 1137"/>
                      <a:gd name="T27" fmla="*/ 121 h 880"/>
                      <a:gd name="T28" fmla="*/ 690 w 1137"/>
                      <a:gd name="T29" fmla="*/ 162 h 880"/>
                      <a:gd name="T30" fmla="*/ 725 w 1137"/>
                      <a:gd name="T31" fmla="*/ 173 h 880"/>
                      <a:gd name="T32" fmla="*/ 762 w 1137"/>
                      <a:gd name="T33" fmla="*/ 187 h 880"/>
                      <a:gd name="T34" fmla="*/ 793 w 1137"/>
                      <a:gd name="T35" fmla="*/ 190 h 880"/>
                      <a:gd name="T36" fmla="*/ 836 w 1137"/>
                      <a:gd name="T37" fmla="*/ 168 h 880"/>
                      <a:gd name="T38" fmla="*/ 877 w 1137"/>
                      <a:gd name="T39" fmla="*/ 146 h 880"/>
                      <a:gd name="T40" fmla="*/ 901 w 1137"/>
                      <a:gd name="T41" fmla="*/ 165 h 880"/>
                      <a:gd name="T42" fmla="*/ 930 w 1137"/>
                      <a:gd name="T43" fmla="*/ 181 h 880"/>
                      <a:gd name="T44" fmla="*/ 971 w 1137"/>
                      <a:gd name="T45" fmla="*/ 195 h 880"/>
                      <a:gd name="T46" fmla="*/ 999 w 1137"/>
                      <a:gd name="T47" fmla="*/ 202 h 880"/>
                      <a:gd name="T48" fmla="*/ 1026 w 1137"/>
                      <a:gd name="T49" fmla="*/ 179 h 880"/>
                      <a:gd name="T50" fmla="*/ 1045 w 1137"/>
                      <a:gd name="T51" fmla="*/ 154 h 880"/>
                      <a:gd name="T52" fmla="*/ 1071 w 1137"/>
                      <a:gd name="T53" fmla="*/ 107 h 880"/>
                      <a:gd name="T54" fmla="*/ 1113 w 1137"/>
                      <a:gd name="T55" fmla="*/ 116 h 880"/>
                      <a:gd name="T56" fmla="*/ 1136 w 1137"/>
                      <a:gd name="T57" fmla="*/ 157 h 880"/>
                      <a:gd name="T58" fmla="*/ 1074 w 1137"/>
                      <a:gd name="T59" fmla="*/ 167 h 880"/>
                      <a:gd name="T60" fmla="*/ 1113 w 1137"/>
                      <a:gd name="T61" fmla="*/ 213 h 880"/>
                      <a:gd name="T62" fmla="*/ 1113 w 1137"/>
                      <a:gd name="T63" fmla="*/ 276 h 880"/>
                      <a:gd name="T64" fmla="*/ 1124 w 1137"/>
                      <a:gd name="T65" fmla="*/ 330 h 880"/>
                      <a:gd name="T66" fmla="*/ 1074 w 1137"/>
                      <a:gd name="T67" fmla="*/ 420 h 880"/>
                      <a:gd name="T68" fmla="*/ 1096 w 1137"/>
                      <a:gd name="T69" fmla="*/ 480 h 880"/>
                      <a:gd name="T70" fmla="*/ 1056 w 1137"/>
                      <a:gd name="T71" fmla="*/ 550 h 880"/>
                      <a:gd name="T72" fmla="*/ 979 w 1137"/>
                      <a:gd name="T73" fmla="*/ 563 h 880"/>
                      <a:gd name="T74" fmla="*/ 944 w 1137"/>
                      <a:gd name="T75" fmla="*/ 612 h 880"/>
                      <a:gd name="T76" fmla="*/ 993 w 1137"/>
                      <a:gd name="T77" fmla="*/ 655 h 880"/>
                      <a:gd name="T78" fmla="*/ 961 w 1137"/>
                      <a:gd name="T79" fmla="*/ 710 h 880"/>
                      <a:gd name="T80" fmla="*/ 887 w 1137"/>
                      <a:gd name="T81" fmla="*/ 751 h 880"/>
                      <a:gd name="T82" fmla="*/ 773 w 1137"/>
                      <a:gd name="T83" fmla="*/ 781 h 880"/>
                      <a:gd name="T84" fmla="*/ 751 w 1137"/>
                      <a:gd name="T85" fmla="*/ 862 h 880"/>
                      <a:gd name="T86" fmla="*/ 667 w 1137"/>
                      <a:gd name="T87" fmla="*/ 838 h 880"/>
                      <a:gd name="T88" fmla="*/ 594 w 1137"/>
                      <a:gd name="T89" fmla="*/ 786 h 880"/>
                      <a:gd name="T90" fmla="*/ 554 w 1137"/>
                      <a:gd name="T91" fmla="*/ 807 h 880"/>
                      <a:gd name="T92" fmla="*/ 486 w 1137"/>
                      <a:gd name="T93" fmla="*/ 797 h 880"/>
                      <a:gd name="T94" fmla="*/ 450 w 1137"/>
                      <a:gd name="T95" fmla="*/ 762 h 880"/>
                      <a:gd name="T96" fmla="*/ 377 w 1137"/>
                      <a:gd name="T97" fmla="*/ 699 h 880"/>
                      <a:gd name="T98" fmla="*/ 350 w 1137"/>
                      <a:gd name="T99" fmla="*/ 658 h 880"/>
                      <a:gd name="T100" fmla="*/ 321 w 1137"/>
                      <a:gd name="T101" fmla="*/ 591 h 880"/>
                      <a:gd name="T102" fmla="*/ 288 w 1137"/>
                      <a:gd name="T103" fmla="*/ 567 h 880"/>
                      <a:gd name="T104" fmla="*/ 274 w 1137"/>
                      <a:gd name="T105" fmla="*/ 520 h 880"/>
                      <a:gd name="T106" fmla="*/ 256 w 1137"/>
                      <a:gd name="T107" fmla="*/ 465 h 880"/>
                      <a:gd name="T108" fmla="*/ 176 w 1137"/>
                      <a:gd name="T109" fmla="*/ 436 h 880"/>
                      <a:gd name="T110" fmla="*/ 103 w 1137"/>
                      <a:gd name="T111" fmla="*/ 444 h 880"/>
                      <a:gd name="T112" fmla="*/ 28 w 1137"/>
                      <a:gd name="T113" fmla="*/ 412 h 880"/>
                      <a:gd name="T114" fmla="*/ 5 w 1137"/>
                      <a:gd name="T115" fmla="*/ 343 h 880"/>
                      <a:gd name="T116" fmla="*/ 24 w 1137"/>
                      <a:gd name="T117" fmla="*/ 243 h 880"/>
                      <a:gd name="T118" fmla="*/ 51 w 1137"/>
                      <a:gd name="T119" fmla="*/ 95 h 880"/>
                      <a:gd name="T120" fmla="*/ 74 w 1137"/>
                      <a:gd name="T121" fmla="*/ 15 h 880"/>
                      <a:gd name="T122" fmla="*/ 125 w 1137"/>
                      <a:gd name="T123" fmla="*/ 48 h 880"/>
                      <a:gd name="T124" fmla="*/ 157 w 1137"/>
                      <a:gd name="T125" fmla="*/ 88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37" h="880">
                        <a:moveTo>
                          <a:pt x="158" y="103"/>
                        </a:moveTo>
                        <a:lnTo>
                          <a:pt x="160" y="103"/>
                        </a:lnTo>
                        <a:lnTo>
                          <a:pt x="161" y="103"/>
                        </a:lnTo>
                        <a:lnTo>
                          <a:pt x="163" y="103"/>
                        </a:lnTo>
                        <a:lnTo>
                          <a:pt x="165" y="102"/>
                        </a:lnTo>
                        <a:lnTo>
                          <a:pt x="166" y="102"/>
                        </a:lnTo>
                        <a:lnTo>
                          <a:pt x="168" y="100"/>
                        </a:lnTo>
                        <a:lnTo>
                          <a:pt x="169" y="99"/>
                        </a:lnTo>
                        <a:lnTo>
                          <a:pt x="171" y="99"/>
                        </a:lnTo>
                        <a:lnTo>
                          <a:pt x="172" y="99"/>
                        </a:lnTo>
                        <a:lnTo>
                          <a:pt x="174" y="99"/>
                        </a:lnTo>
                        <a:lnTo>
                          <a:pt x="176" y="97"/>
                        </a:lnTo>
                        <a:lnTo>
                          <a:pt x="177" y="99"/>
                        </a:lnTo>
                        <a:lnTo>
                          <a:pt x="177" y="97"/>
                        </a:lnTo>
                        <a:lnTo>
                          <a:pt x="179" y="99"/>
                        </a:lnTo>
                        <a:lnTo>
                          <a:pt x="180" y="99"/>
                        </a:lnTo>
                        <a:lnTo>
                          <a:pt x="180" y="100"/>
                        </a:lnTo>
                        <a:lnTo>
                          <a:pt x="182" y="100"/>
                        </a:lnTo>
                        <a:lnTo>
                          <a:pt x="182" y="102"/>
                        </a:lnTo>
                        <a:lnTo>
                          <a:pt x="184" y="103"/>
                        </a:lnTo>
                        <a:lnTo>
                          <a:pt x="184" y="105"/>
                        </a:lnTo>
                        <a:lnTo>
                          <a:pt x="185" y="107"/>
                        </a:lnTo>
                        <a:lnTo>
                          <a:pt x="185" y="108"/>
                        </a:lnTo>
                        <a:lnTo>
                          <a:pt x="185" y="110"/>
                        </a:lnTo>
                        <a:lnTo>
                          <a:pt x="185" y="111"/>
                        </a:lnTo>
                        <a:lnTo>
                          <a:pt x="185" y="113"/>
                        </a:lnTo>
                        <a:lnTo>
                          <a:pt x="185" y="114"/>
                        </a:lnTo>
                        <a:lnTo>
                          <a:pt x="185" y="116"/>
                        </a:lnTo>
                        <a:lnTo>
                          <a:pt x="185" y="118"/>
                        </a:lnTo>
                        <a:lnTo>
                          <a:pt x="185" y="119"/>
                        </a:lnTo>
                        <a:lnTo>
                          <a:pt x="185" y="121"/>
                        </a:lnTo>
                        <a:lnTo>
                          <a:pt x="185" y="122"/>
                        </a:lnTo>
                        <a:lnTo>
                          <a:pt x="187" y="122"/>
                        </a:lnTo>
                        <a:lnTo>
                          <a:pt x="187" y="124"/>
                        </a:lnTo>
                        <a:lnTo>
                          <a:pt x="188" y="126"/>
                        </a:lnTo>
                        <a:lnTo>
                          <a:pt x="188" y="127"/>
                        </a:lnTo>
                        <a:lnTo>
                          <a:pt x="188" y="129"/>
                        </a:lnTo>
                        <a:lnTo>
                          <a:pt x="188" y="130"/>
                        </a:lnTo>
                        <a:lnTo>
                          <a:pt x="190" y="132"/>
                        </a:lnTo>
                        <a:lnTo>
                          <a:pt x="191" y="133"/>
                        </a:lnTo>
                        <a:lnTo>
                          <a:pt x="193" y="135"/>
                        </a:lnTo>
                        <a:lnTo>
                          <a:pt x="195" y="137"/>
                        </a:lnTo>
                        <a:lnTo>
                          <a:pt x="196" y="138"/>
                        </a:lnTo>
                        <a:lnTo>
                          <a:pt x="196" y="140"/>
                        </a:lnTo>
                        <a:lnTo>
                          <a:pt x="198" y="140"/>
                        </a:lnTo>
                        <a:lnTo>
                          <a:pt x="198" y="141"/>
                        </a:lnTo>
                        <a:lnTo>
                          <a:pt x="199" y="143"/>
                        </a:lnTo>
                        <a:lnTo>
                          <a:pt x="199" y="145"/>
                        </a:lnTo>
                        <a:lnTo>
                          <a:pt x="201" y="143"/>
                        </a:lnTo>
                        <a:lnTo>
                          <a:pt x="203" y="143"/>
                        </a:lnTo>
                        <a:lnTo>
                          <a:pt x="204" y="143"/>
                        </a:lnTo>
                        <a:lnTo>
                          <a:pt x="206" y="141"/>
                        </a:lnTo>
                        <a:lnTo>
                          <a:pt x="207" y="141"/>
                        </a:lnTo>
                        <a:lnTo>
                          <a:pt x="209" y="140"/>
                        </a:lnTo>
                        <a:lnTo>
                          <a:pt x="211" y="140"/>
                        </a:lnTo>
                        <a:lnTo>
                          <a:pt x="212" y="138"/>
                        </a:lnTo>
                        <a:lnTo>
                          <a:pt x="214" y="138"/>
                        </a:lnTo>
                        <a:lnTo>
                          <a:pt x="215" y="138"/>
                        </a:lnTo>
                        <a:lnTo>
                          <a:pt x="217" y="137"/>
                        </a:lnTo>
                        <a:lnTo>
                          <a:pt x="218" y="137"/>
                        </a:lnTo>
                        <a:lnTo>
                          <a:pt x="220" y="137"/>
                        </a:lnTo>
                        <a:lnTo>
                          <a:pt x="220" y="135"/>
                        </a:lnTo>
                        <a:lnTo>
                          <a:pt x="222" y="135"/>
                        </a:lnTo>
                        <a:lnTo>
                          <a:pt x="223" y="135"/>
                        </a:lnTo>
                        <a:lnTo>
                          <a:pt x="223" y="133"/>
                        </a:lnTo>
                        <a:lnTo>
                          <a:pt x="225" y="133"/>
                        </a:lnTo>
                        <a:lnTo>
                          <a:pt x="226" y="132"/>
                        </a:lnTo>
                        <a:lnTo>
                          <a:pt x="228" y="132"/>
                        </a:lnTo>
                        <a:lnTo>
                          <a:pt x="230" y="132"/>
                        </a:lnTo>
                        <a:lnTo>
                          <a:pt x="231" y="130"/>
                        </a:lnTo>
                        <a:lnTo>
                          <a:pt x="233" y="130"/>
                        </a:lnTo>
                        <a:lnTo>
                          <a:pt x="233" y="129"/>
                        </a:lnTo>
                        <a:lnTo>
                          <a:pt x="234" y="129"/>
                        </a:lnTo>
                        <a:lnTo>
                          <a:pt x="236" y="127"/>
                        </a:lnTo>
                        <a:lnTo>
                          <a:pt x="237" y="127"/>
                        </a:lnTo>
                        <a:lnTo>
                          <a:pt x="239" y="127"/>
                        </a:lnTo>
                        <a:lnTo>
                          <a:pt x="241" y="126"/>
                        </a:lnTo>
                        <a:lnTo>
                          <a:pt x="242" y="126"/>
                        </a:lnTo>
                        <a:lnTo>
                          <a:pt x="244" y="126"/>
                        </a:lnTo>
                        <a:lnTo>
                          <a:pt x="245" y="126"/>
                        </a:lnTo>
                        <a:lnTo>
                          <a:pt x="247" y="124"/>
                        </a:lnTo>
                        <a:lnTo>
                          <a:pt x="249" y="124"/>
                        </a:lnTo>
                        <a:lnTo>
                          <a:pt x="250" y="124"/>
                        </a:lnTo>
                        <a:lnTo>
                          <a:pt x="250" y="122"/>
                        </a:lnTo>
                        <a:lnTo>
                          <a:pt x="252" y="122"/>
                        </a:lnTo>
                        <a:lnTo>
                          <a:pt x="253" y="122"/>
                        </a:lnTo>
                        <a:lnTo>
                          <a:pt x="255" y="122"/>
                        </a:lnTo>
                        <a:lnTo>
                          <a:pt x="256" y="122"/>
                        </a:lnTo>
                        <a:lnTo>
                          <a:pt x="258" y="122"/>
                        </a:lnTo>
                        <a:lnTo>
                          <a:pt x="258" y="121"/>
                        </a:lnTo>
                        <a:lnTo>
                          <a:pt x="260" y="121"/>
                        </a:lnTo>
                        <a:lnTo>
                          <a:pt x="261" y="121"/>
                        </a:lnTo>
                        <a:lnTo>
                          <a:pt x="263" y="121"/>
                        </a:lnTo>
                        <a:lnTo>
                          <a:pt x="264" y="121"/>
                        </a:lnTo>
                        <a:lnTo>
                          <a:pt x="266" y="121"/>
                        </a:lnTo>
                        <a:lnTo>
                          <a:pt x="268" y="121"/>
                        </a:lnTo>
                        <a:lnTo>
                          <a:pt x="269" y="121"/>
                        </a:lnTo>
                        <a:lnTo>
                          <a:pt x="271" y="121"/>
                        </a:lnTo>
                        <a:lnTo>
                          <a:pt x="272" y="121"/>
                        </a:lnTo>
                        <a:lnTo>
                          <a:pt x="274" y="121"/>
                        </a:lnTo>
                        <a:lnTo>
                          <a:pt x="275" y="122"/>
                        </a:lnTo>
                        <a:lnTo>
                          <a:pt x="277" y="122"/>
                        </a:lnTo>
                        <a:lnTo>
                          <a:pt x="279" y="122"/>
                        </a:lnTo>
                        <a:lnTo>
                          <a:pt x="280" y="122"/>
                        </a:lnTo>
                        <a:lnTo>
                          <a:pt x="282" y="122"/>
                        </a:lnTo>
                        <a:lnTo>
                          <a:pt x="283" y="122"/>
                        </a:lnTo>
                        <a:lnTo>
                          <a:pt x="285" y="121"/>
                        </a:lnTo>
                        <a:lnTo>
                          <a:pt x="287" y="121"/>
                        </a:lnTo>
                        <a:lnTo>
                          <a:pt x="288" y="119"/>
                        </a:lnTo>
                        <a:lnTo>
                          <a:pt x="290" y="119"/>
                        </a:lnTo>
                        <a:lnTo>
                          <a:pt x="291" y="119"/>
                        </a:lnTo>
                        <a:lnTo>
                          <a:pt x="293" y="119"/>
                        </a:lnTo>
                        <a:lnTo>
                          <a:pt x="294" y="119"/>
                        </a:lnTo>
                        <a:lnTo>
                          <a:pt x="296" y="118"/>
                        </a:lnTo>
                        <a:lnTo>
                          <a:pt x="298" y="118"/>
                        </a:lnTo>
                        <a:lnTo>
                          <a:pt x="298" y="116"/>
                        </a:lnTo>
                        <a:lnTo>
                          <a:pt x="299" y="116"/>
                        </a:lnTo>
                        <a:lnTo>
                          <a:pt x="301" y="114"/>
                        </a:lnTo>
                        <a:lnTo>
                          <a:pt x="302" y="114"/>
                        </a:lnTo>
                        <a:lnTo>
                          <a:pt x="304" y="114"/>
                        </a:lnTo>
                        <a:lnTo>
                          <a:pt x="306" y="114"/>
                        </a:lnTo>
                        <a:lnTo>
                          <a:pt x="307" y="114"/>
                        </a:lnTo>
                        <a:lnTo>
                          <a:pt x="309" y="114"/>
                        </a:lnTo>
                        <a:lnTo>
                          <a:pt x="310" y="114"/>
                        </a:lnTo>
                        <a:lnTo>
                          <a:pt x="312" y="114"/>
                        </a:lnTo>
                        <a:lnTo>
                          <a:pt x="313" y="114"/>
                        </a:lnTo>
                        <a:lnTo>
                          <a:pt x="313" y="116"/>
                        </a:lnTo>
                        <a:lnTo>
                          <a:pt x="315" y="116"/>
                        </a:lnTo>
                        <a:lnTo>
                          <a:pt x="317" y="116"/>
                        </a:lnTo>
                        <a:lnTo>
                          <a:pt x="318" y="116"/>
                        </a:lnTo>
                        <a:lnTo>
                          <a:pt x="318" y="114"/>
                        </a:lnTo>
                        <a:lnTo>
                          <a:pt x="320" y="114"/>
                        </a:lnTo>
                        <a:lnTo>
                          <a:pt x="321" y="113"/>
                        </a:lnTo>
                        <a:lnTo>
                          <a:pt x="323" y="111"/>
                        </a:lnTo>
                        <a:lnTo>
                          <a:pt x="323" y="110"/>
                        </a:lnTo>
                        <a:lnTo>
                          <a:pt x="323" y="108"/>
                        </a:lnTo>
                        <a:lnTo>
                          <a:pt x="325" y="107"/>
                        </a:lnTo>
                        <a:lnTo>
                          <a:pt x="325" y="105"/>
                        </a:lnTo>
                        <a:lnTo>
                          <a:pt x="325" y="103"/>
                        </a:lnTo>
                        <a:lnTo>
                          <a:pt x="326" y="103"/>
                        </a:lnTo>
                        <a:lnTo>
                          <a:pt x="326" y="102"/>
                        </a:lnTo>
                        <a:lnTo>
                          <a:pt x="328" y="102"/>
                        </a:lnTo>
                        <a:lnTo>
                          <a:pt x="328" y="100"/>
                        </a:lnTo>
                        <a:lnTo>
                          <a:pt x="328" y="99"/>
                        </a:lnTo>
                        <a:lnTo>
                          <a:pt x="329" y="99"/>
                        </a:lnTo>
                        <a:lnTo>
                          <a:pt x="329" y="97"/>
                        </a:lnTo>
                        <a:lnTo>
                          <a:pt x="329" y="95"/>
                        </a:lnTo>
                        <a:lnTo>
                          <a:pt x="331" y="95"/>
                        </a:lnTo>
                        <a:lnTo>
                          <a:pt x="331" y="94"/>
                        </a:lnTo>
                        <a:lnTo>
                          <a:pt x="331" y="92"/>
                        </a:lnTo>
                        <a:lnTo>
                          <a:pt x="332" y="92"/>
                        </a:lnTo>
                        <a:lnTo>
                          <a:pt x="332" y="91"/>
                        </a:lnTo>
                        <a:lnTo>
                          <a:pt x="332" y="89"/>
                        </a:lnTo>
                        <a:lnTo>
                          <a:pt x="334" y="89"/>
                        </a:lnTo>
                        <a:lnTo>
                          <a:pt x="334" y="88"/>
                        </a:lnTo>
                        <a:lnTo>
                          <a:pt x="336" y="88"/>
                        </a:lnTo>
                        <a:lnTo>
                          <a:pt x="337" y="86"/>
                        </a:lnTo>
                        <a:lnTo>
                          <a:pt x="337" y="84"/>
                        </a:lnTo>
                        <a:lnTo>
                          <a:pt x="339" y="84"/>
                        </a:lnTo>
                        <a:lnTo>
                          <a:pt x="339" y="83"/>
                        </a:lnTo>
                        <a:lnTo>
                          <a:pt x="340" y="81"/>
                        </a:lnTo>
                        <a:lnTo>
                          <a:pt x="342" y="81"/>
                        </a:lnTo>
                        <a:lnTo>
                          <a:pt x="344" y="81"/>
                        </a:lnTo>
                        <a:lnTo>
                          <a:pt x="345" y="81"/>
                        </a:lnTo>
                        <a:lnTo>
                          <a:pt x="347" y="81"/>
                        </a:lnTo>
                        <a:lnTo>
                          <a:pt x="348" y="83"/>
                        </a:lnTo>
                        <a:lnTo>
                          <a:pt x="350" y="83"/>
                        </a:lnTo>
                        <a:lnTo>
                          <a:pt x="351" y="83"/>
                        </a:lnTo>
                        <a:lnTo>
                          <a:pt x="353" y="83"/>
                        </a:lnTo>
                        <a:lnTo>
                          <a:pt x="355" y="84"/>
                        </a:lnTo>
                        <a:lnTo>
                          <a:pt x="356" y="84"/>
                        </a:lnTo>
                        <a:lnTo>
                          <a:pt x="356" y="86"/>
                        </a:lnTo>
                        <a:lnTo>
                          <a:pt x="358" y="86"/>
                        </a:lnTo>
                        <a:lnTo>
                          <a:pt x="359" y="86"/>
                        </a:lnTo>
                        <a:lnTo>
                          <a:pt x="359" y="88"/>
                        </a:lnTo>
                        <a:lnTo>
                          <a:pt x="361" y="88"/>
                        </a:lnTo>
                        <a:lnTo>
                          <a:pt x="361" y="89"/>
                        </a:lnTo>
                        <a:lnTo>
                          <a:pt x="363" y="89"/>
                        </a:lnTo>
                        <a:lnTo>
                          <a:pt x="364" y="91"/>
                        </a:lnTo>
                        <a:lnTo>
                          <a:pt x="364" y="89"/>
                        </a:lnTo>
                        <a:lnTo>
                          <a:pt x="366" y="89"/>
                        </a:lnTo>
                        <a:lnTo>
                          <a:pt x="366" y="91"/>
                        </a:lnTo>
                        <a:lnTo>
                          <a:pt x="367" y="91"/>
                        </a:lnTo>
                        <a:lnTo>
                          <a:pt x="367" y="89"/>
                        </a:lnTo>
                        <a:lnTo>
                          <a:pt x="369" y="89"/>
                        </a:lnTo>
                        <a:lnTo>
                          <a:pt x="370" y="89"/>
                        </a:lnTo>
                        <a:lnTo>
                          <a:pt x="372" y="89"/>
                        </a:lnTo>
                        <a:lnTo>
                          <a:pt x="374" y="89"/>
                        </a:lnTo>
                        <a:lnTo>
                          <a:pt x="375" y="89"/>
                        </a:lnTo>
                        <a:lnTo>
                          <a:pt x="377" y="88"/>
                        </a:lnTo>
                        <a:lnTo>
                          <a:pt x="378" y="88"/>
                        </a:lnTo>
                        <a:lnTo>
                          <a:pt x="380" y="88"/>
                        </a:lnTo>
                        <a:lnTo>
                          <a:pt x="382" y="88"/>
                        </a:lnTo>
                        <a:lnTo>
                          <a:pt x="383" y="88"/>
                        </a:lnTo>
                        <a:lnTo>
                          <a:pt x="383" y="89"/>
                        </a:lnTo>
                        <a:lnTo>
                          <a:pt x="385" y="89"/>
                        </a:lnTo>
                        <a:lnTo>
                          <a:pt x="386" y="88"/>
                        </a:lnTo>
                        <a:lnTo>
                          <a:pt x="388" y="88"/>
                        </a:lnTo>
                        <a:lnTo>
                          <a:pt x="389" y="88"/>
                        </a:lnTo>
                        <a:lnTo>
                          <a:pt x="391" y="88"/>
                        </a:lnTo>
                        <a:lnTo>
                          <a:pt x="393" y="88"/>
                        </a:lnTo>
                        <a:lnTo>
                          <a:pt x="394" y="88"/>
                        </a:lnTo>
                        <a:lnTo>
                          <a:pt x="396" y="88"/>
                        </a:lnTo>
                        <a:lnTo>
                          <a:pt x="397" y="88"/>
                        </a:lnTo>
                        <a:lnTo>
                          <a:pt x="397" y="89"/>
                        </a:lnTo>
                        <a:lnTo>
                          <a:pt x="397" y="91"/>
                        </a:lnTo>
                        <a:lnTo>
                          <a:pt x="399" y="91"/>
                        </a:lnTo>
                        <a:lnTo>
                          <a:pt x="399" y="92"/>
                        </a:lnTo>
                        <a:lnTo>
                          <a:pt x="401" y="92"/>
                        </a:lnTo>
                        <a:lnTo>
                          <a:pt x="402" y="92"/>
                        </a:lnTo>
                        <a:lnTo>
                          <a:pt x="402" y="91"/>
                        </a:lnTo>
                        <a:lnTo>
                          <a:pt x="404" y="91"/>
                        </a:lnTo>
                        <a:lnTo>
                          <a:pt x="405" y="89"/>
                        </a:lnTo>
                        <a:lnTo>
                          <a:pt x="407" y="89"/>
                        </a:lnTo>
                        <a:lnTo>
                          <a:pt x="407" y="88"/>
                        </a:lnTo>
                        <a:lnTo>
                          <a:pt x="410" y="88"/>
                        </a:lnTo>
                        <a:lnTo>
                          <a:pt x="412" y="88"/>
                        </a:lnTo>
                        <a:lnTo>
                          <a:pt x="413" y="88"/>
                        </a:lnTo>
                        <a:lnTo>
                          <a:pt x="415" y="88"/>
                        </a:lnTo>
                        <a:lnTo>
                          <a:pt x="416" y="88"/>
                        </a:lnTo>
                        <a:lnTo>
                          <a:pt x="418" y="88"/>
                        </a:lnTo>
                        <a:lnTo>
                          <a:pt x="420" y="88"/>
                        </a:lnTo>
                        <a:lnTo>
                          <a:pt x="421" y="88"/>
                        </a:lnTo>
                        <a:lnTo>
                          <a:pt x="423" y="88"/>
                        </a:lnTo>
                        <a:lnTo>
                          <a:pt x="424" y="88"/>
                        </a:lnTo>
                        <a:lnTo>
                          <a:pt x="426" y="88"/>
                        </a:lnTo>
                        <a:lnTo>
                          <a:pt x="428" y="88"/>
                        </a:lnTo>
                        <a:lnTo>
                          <a:pt x="429" y="88"/>
                        </a:lnTo>
                        <a:lnTo>
                          <a:pt x="431" y="88"/>
                        </a:lnTo>
                        <a:lnTo>
                          <a:pt x="432" y="89"/>
                        </a:lnTo>
                        <a:lnTo>
                          <a:pt x="434" y="89"/>
                        </a:lnTo>
                        <a:lnTo>
                          <a:pt x="435" y="89"/>
                        </a:lnTo>
                        <a:lnTo>
                          <a:pt x="437" y="89"/>
                        </a:lnTo>
                        <a:lnTo>
                          <a:pt x="439" y="89"/>
                        </a:lnTo>
                        <a:lnTo>
                          <a:pt x="440" y="89"/>
                        </a:lnTo>
                        <a:lnTo>
                          <a:pt x="442" y="89"/>
                        </a:lnTo>
                        <a:lnTo>
                          <a:pt x="443" y="89"/>
                        </a:lnTo>
                        <a:lnTo>
                          <a:pt x="447" y="89"/>
                        </a:lnTo>
                        <a:lnTo>
                          <a:pt x="448" y="89"/>
                        </a:lnTo>
                        <a:lnTo>
                          <a:pt x="450" y="89"/>
                        </a:lnTo>
                        <a:lnTo>
                          <a:pt x="451" y="89"/>
                        </a:lnTo>
                        <a:lnTo>
                          <a:pt x="451" y="91"/>
                        </a:lnTo>
                        <a:lnTo>
                          <a:pt x="453" y="91"/>
                        </a:lnTo>
                        <a:lnTo>
                          <a:pt x="454" y="91"/>
                        </a:lnTo>
                        <a:lnTo>
                          <a:pt x="456" y="91"/>
                        </a:lnTo>
                        <a:lnTo>
                          <a:pt x="458" y="91"/>
                        </a:lnTo>
                        <a:lnTo>
                          <a:pt x="459" y="91"/>
                        </a:lnTo>
                        <a:lnTo>
                          <a:pt x="461" y="91"/>
                        </a:lnTo>
                        <a:lnTo>
                          <a:pt x="462" y="91"/>
                        </a:lnTo>
                        <a:lnTo>
                          <a:pt x="462" y="92"/>
                        </a:lnTo>
                        <a:lnTo>
                          <a:pt x="464" y="92"/>
                        </a:lnTo>
                        <a:lnTo>
                          <a:pt x="464" y="94"/>
                        </a:lnTo>
                        <a:lnTo>
                          <a:pt x="464" y="95"/>
                        </a:lnTo>
                        <a:lnTo>
                          <a:pt x="464" y="97"/>
                        </a:lnTo>
                        <a:lnTo>
                          <a:pt x="466" y="97"/>
                        </a:lnTo>
                        <a:lnTo>
                          <a:pt x="466" y="99"/>
                        </a:lnTo>
                        <a:lnTo>
                          <a:pt x="467" y="99"/>
                        </a:lnTo>
                        <a:lnTo>
                          <a:pt x="469" y="99"/>
                        </a:lnTo>
                        <a:lnTo>
                          <a:pt x="469" y="100"/>
                        </a:lnTo>
                        <a:lnTo>
                          <a:pt x="470" y="102"/>
                        </a:lnTo>
                        <a:lnTo>
                          <a:pt x="470" y="103"/>
                        </a:lnTo>
                        <a:lnTo>
                          <a:pt x="470" y="105"/>
                        </a:lnTo>
                        <a:lnTo>
                          <a:pt x="470" y="107"/>
                        </a:lnTo>
                        <a:lnTo>
                          <a:pt x="470" y="108"/>
                        </a:lnTo>
                        <a:lnTo>
                          <a:pt x="470" y="110"/>
                        </a:lnTo>
                        <a:lnTo>
                          <a:pt x="470" y="111"/>
                        </a:lnTo>
                        <a:lnTo>
                          <a:pt x="472" y="111"/>
                        </a:lnTo>
                        <a:lnTo>
                          <a:pt x="472" y="113"/>
                        </a:lnTo>
                        <a:lnTo>
                          <a:pt x="473" y="114"/>
                        </a:lnTo>
                        <a:lnTo>
                          <a:pt x="473" y="116"/>
                        </a:lnTo>
                        <a:lnTo>
                          <a:pt x="475" y="116"/>
                        </a:lnTo>
                        <a:lnTo>
                          <a:pt x="477" y="118"/>
                        </a:lnTo>
                        <a:lnTo>
                          <a:pt x="478" y="118"/>
                        </a:lnTo>
                        <a:lnTo>
                          <a:pt x="478" y="119"/>
                        </a:lnTo>
                        <a:lnTo>
                          <a:pt x="480" y="121"/>
                        </a:lnTo>
                        <a:lnTo>
                          <a:pt x="480" y="122"/>
                        </a:lnTo>
                        <a:lnTo>
                          <a:pt x="480" y="124"/>
                        </a:lnTo>
                        <a:lnTo>
                          <a:pt x="481" y="124"/>
                        </a:lnTo>
                        <a:lnTo>
                          <a:pt x="481" y="126"/>
                        </a:lnTo>
                        <a:lnTo>
                          <a:pt x="481" y="127"/>
                        </a:lnTo>
                        <a:lnTo>
                          <a:pt x="481" y="129"/>
                        </a:lnTo>
                        <a:lnTo>
                          <a:pt x="480" y="130"/>
                        </a:lnTo>
                        <a:lnTo>
                          <a:pt x="481" y="132"/>
                        </a:lnTo>
                        <a:lnTo>
                          <a:pt x="481" y="133"/>
                        </a:lnTo>
                        <a:lnTo>
                          <a:pt x="483" y="133"/>
                        </a:lnTo>
                        <a:lnTo>
                          <a:pt x="485" y="135"/>
                        </a:lnTo>
                        <a:lnTo>
                          <a:pt x="486" y="135"/>
                        </a:lnTo>
                        <a:lnTo>
                          <a:pt x="486" y="137"/>
                        </a:lnTo>
                        <a:lnTo>
                          <a:pt x="488" y="137"/>
                        </a:lnTo>
                        <a:lnTo>
                          <a:pt x="489" y="138"/>
                        </a:lnTo>
                        <a:lnTo>
                          <a:pt x="491" y="138"/>
                        </a:lnTo>
                        <a:lnTo>
                          <a:pt x="492" y="138"/>
                        </a:lnTo>
                        <a:lnTo>
                          <a:pt x="494" y="138"/>
                        </a:lnTo>
                        <a:lnTo>
                          <a:pt x="496" y="138"/>
                        </a:lnTo>
                        <a:lnTo>
                          <a:pt x="497" y="138"/>
                        </a:lnTo>
                        <a:lnTo>
                          <a:pt x="499" y="140"/>
                        </a:lnTo>
                        <a:lnTo>
                          <a:pt x="500" y="140"/>
                        </a:lnTo>
                        <a:lnTo>
                          <a:pt x="502" y="141"/>
                        </a:lnTo>
                        <a:lnTo>
                          <a:pt x="502" y="143"/>
                        </a:lnTo>
                        <a:lnTo>
                          <a:pt x="504" y="143"/>
                        </a:lnTo>
                        <a:lnTo>
                          <a:pt x="505" y="143"/>
                        </a:lnTo>
                        <a:lnTo>
                          <a:pt x="507" y="145"/>
                        </a:lnTo>
                        <a:lnTo>
                          <a:pt x="507" y="146"/>
                        </a:lnTo>
                        <a:lnTo>
                          <a:pt x="508" y="146"/>
                        </a:lnTo>
                        <a:lnTo>
                          <a:pt x="508" y="148"/>
                        </a:lnTo>
                        <a:lnTo>
                          <a:pt x="510" y="149"/>
                        </a:lnTo>
                        <a:lnTo>
                          <a:pt x="511" y="151"/>
                        </a:lnTo>
                        <a:lnTo>
                          <a:pt x="513" y="151"/>
                        </a:lnTo>
                        <a:lnTo>
                          <a:pt x="515" y="151"/>
                        </a:lnTo>
                        <a:lnTo>
                          <a:pt x="516" y="151"/>
                        </a:lnTo>
                        <a:lnTo>
                          <a:pt x="518" y="151"/>
                        </a:lnTo>
                        <a:lnTo>
                          <a:pt x="519" y="151"/>
                        </a:lnTo>
                        <a:lnTo>
                          <a:pt x="521" y="151"/>
                        </a:lnTo>
                        <a:lnTo>
                          <a:pt x="523" y="151"/>
                        </a:lnTo>
                        <a:lnTo>
                          <a:pt x="524" y="151"/>
                        </a:lnTo>
                        <a:lnTo>
                          <a:pt x="526" y="151"/>
                        </a:lnTo>
                        <a:lnTo>
                          <a:pt x="527" y="151"/>
                        </a:lnTo>
                        <a:lnTo>
                          <a:pt x="529" y="151"/>
                        </a:lnTo>
                        <a:lnTo>
                          <a:pt x="530" y="151"/>
                        </a:lnTo>
                        <a:lnTo>
                          <a:pt x="530" y="149"/>
                        </a:lnTo>
                        <a:lnTo>
                          <a:pt x="532" y="149"/>
                        </a:lnTo>
                        <a:lnTo>
                          <a:pt x="534" y="148"/>
                        </a:lnTo>
                        <a:lnTo>
                          <a:pt x="535" y="148"/>
                        </a:lnTo>
                        <a:lnTo>
                          <a:pt x="537" y="146"/>
                        </a:lnTo>
                        <a:lnTo>
                          <a:pt x="537" y="145"/>
                        </a:lnTo>
                        <a:lnTo>
                          <a:pt x="538" y="145"/>
                        </a:lnTo>
                        <a:lnTo>
                          <a:pt x="538" y="143"/>
                        </a:lnTo>
                        <a:lnTo>
                          <a:pt x="540" y="143"/>
                        </a:lnTo>
                        <a:lnTo>
                          <a:pt x="542" y="141"/>
                        </a:lnTo>
                        <a:lnTo>
                          <a:pt x="545" y="138"/>
                        </a:lnTo>
                        <a:lnTo>
                          <a:pt x="546" y="138"/>
                        </a:lnTo>
                        <a:lnTo>
                          <a:pt x="548" y="137"/>
                        </a:lnTo>
                        <a:lnTo>
                          <a:pt x="549" y="137"/>
                        </a:lnTo>
                        <a:lnTo>
                          <a:pt x="549" y="135"/>
                        </a:lnTo>
                        <a:lnTo>
                          <a:pt x="551" y="133"/>
                        </a:lnTo>
                        <a:lnTo>
                          <a:pt x="553" y="133"/>
                        </a:lnTo>
                        <a:lnTo>
                          <a:pt x="553" y="132"/>
                        </a:lnTo>
                        <a:lnTo>
                          <a:pt x="554" y="130"/>
                        </a:lnTo>
                        <a:lnTo>
                          <a:pt x="557" y="129"/>
                        </a:lnTo>
                        <a:lnTo>
                          <a:pt x="559" y="127"/>
                        </a:lnTo>
                        <a:lnTo>
                          <a:pt x="561" y="126"/>
                        </a:lnTo>
                        <a:lnTo>
                          <a:pt x="562" y="126"/>
                        </a:lnTo>
                        <a:lnTo>
                          <a:pt x="564" y="126"/>
                        </a:lnTo>
                        <a:lnTo>
                          <a:pt x="565" y="124"/>
                        </a:lnTo>
                        <a:lnTo>
                          <a:pt x="567" y="124"/>
                        </a:lnTo>
                        <a:lnTo>
                          <a:pt x="568" y="122"/>
                        </a:lnTo>
                        <a:lnTo>
                          <a:pt x="570" y="122"/>
                        </a:lnTo>
                        <a:lnTo>
                          <a:pt x="572" y="122"/>
                        </a:lnTo>
                        <a:lnTo>
                          <a:pt x="572" y="121"/>
                        </a:lnTo>
                        <a:lnTo>
                          <a:pt x="573" y="121"/>
                        </a:lnTo>
                        <a:lnTo>
                          <a:pt x="575" y="119"/>
                        </a:lnTo>
                        <a:lnTo>
                          <a:pt x="575" y="118"/>
                        </a:lnTo>
                        <a:lnTo>
                          <a:pt x="575" y="116"/>
                        </a:lnTo>
                        <a:lnTo>
                          <a:pt x="573" y="114"/>
                        </a:lnTo>
                        <a:lnTo>
                          <a:pt x="573" y="113"/>
                        </a:lnTo>
                        <a:lnTo>
                          <a:pt x="573" y="111"/>
                        </a:lnTo>
                        <a:lnTo>
                          <a:pt x="575" y="110"/>
                        </a:lnTo>
                        <a:lnTo>
                          <a:pt x="576" y="110"/>
                        </a:lnTo>
                        <a:lnTo>
                          <a:pt x="576" y="108"/>
                        </a:lnTo>
                        <a:lnTo>
                          <a:pt x="578" y="108"/>
                        </a:lnTo>
                        <a:lnTo>
                          <a:pt x="578" y="107"/>
                        </a:lnTo>
                        <a:lnTo>
                          <a:pt x="580" y="107"/>
                        </a:lnTo>
                        <a:lnTo>
                          <a:pt x="580" y="105"/>
                        </a:lnTo>
                        <a:lnTo>
                          <a:pt x="581" y="105"/>
                        </a:lnTo>
                        <a:lnTo>
                          <a:pt x="583" y="105"/>
                        </a:lnTo>
                        <a:lnTo>
                          <a:pt x="583" y="103"/>
                        </a:lnTo>
                        <a:lnTo>
                          <a:pt x="584" y="103"/>
                        </a:lnTo>
                        <a:lnTo>
                          <a:pt x="586" y="103"/>
                        </a:lnTo>
                        <a:lnTo>
                          <a:pt x="588" y="102"/>
                        </a:lnTo>
                        <a:lnTo>
                          <a:pt x="589" y="102"/>
                        </a:lnTo>
                        <a:lnTo>
                          <a:pt x="591" y="102"/>
                        </a:lnTo>
                        <a:lnTo>
                          <a:pt x="591" y="100"/>
                        </a:lnTo>
                        <a:lnTo>
                          <a:pt x="592" y="100"/>
                        </a:lnTo>
                        <a:lnTo>
                          <a:pt x="594" y="100"/>
                        </a:lnTo>
                        <a:lnTo>
                          <a:pt x="594" y="99"/>
                        </a:lnTo>
                        <a:lnTo>
                          <a:pt x="595" y="99"/>
                        </a:lnTo>
                        <a:lnTo>
                          <a:pt x="597" y="97"/>
                        </a:lnTo>
                        <a:lnTo>
                          <a:pt x="599" y="97"/>
                        </a:lnTo>
                        <a:lnTo>
                          <a:pt x="599" y="95"/>
                        </a:lnTo>
                        <a:lnTo>
                          <a:pt x="600" y="95"/>
                        </a:lnTo>
                        <a:lnTo>
                          <a:pt x="602" y="94"/>
                        </a:lnTo>
                        <a:lnTo>
                          <a:pt x="603" y="94"/>
                        </a:lnTo>
                        <a:lnTo>
                          <a:pt x="605" y="94"/>
                        </a:lnTo>
                        <a:lnTo>
                          <a:pt x="607" y="94"/>
                        </a:lnTo>
                        <a:lnTo>
                          <a:pt x="608" y="94"/>
                        </a:lnTo>
                        <a:lnTo>
                          <a:pt x="611" y="94"/>
                        </a:lnTo>
                        <a:lnTo>
                          <a:pt x="611" y="95"/>
                        </a:lnTo>
                        <a:lnTo>
                          <a:pt x="613" y="95"/>
                        </a:lnTo>
                        <a:lnTo>
                          <a:pt x="614" y="95"/>
                        </a:lnTo>
                        <a:lnTo>
                          <a:pt x="616" y="97"/>
                        </a:lnTo>
                        <a:lnTo>
                          <a:pt x="618" y="97"/>
                        </a:lnTo>
                        <a:lnTo>
                          <a:pt x="619" y="97"/>
                        </a:lnTo>
                        <a:lnTo>
                          <a:pt x="621" y="97"/>
                        </a:lnTo>
                        <a:lnTo>
                          <a:pt x="622" y="97"/>
                        </a:lnTo>
                        <a:lnTo>
                          <a:pt x="622" y="95"/>
                        </a:lnTo>
                        <a:lnTo>
                          <a:pt x="624" y="95"/>
                        </a:lnTo>
                        <a:lnTo>
                          <a:pt x="626" y="95"/>
                        </a:lnTo>
                        <a:lnTo>
                          <a:pt x="626" y="94"/>
                        </a:lnTo>
                        <a:lnTo>
                          <a:pt x="627" y="94"/>
                        </a:lnTo>
                        <a:lnTo>
                          <a:pt x="629" y="94"/>
                        </a:lnTo>
                        <a:lnTo>
                          <a:pt x="632" y="92"/>
                        </a:lnTo>
                        <a:lnTo>
                          <a:pt x="632" y="94"/>
                        </a:lnTo>
                        <a:lnTo>
                          <a:pt x="633" y="94"/>
                        </a:lnTo>
                        <a:lnTo>
                          <a:pt x="635" y="94"/>
                        </a:lnTo>
                        <a:lnTo>
                          <a:pt x="635" y="95"/>
                        </a:lnTo>
                        <a:lnTo>
                          <a:pt x="637" y="95"/>
                        </a:lnTo>
                        <a:lnTo>
                          <a:pt x="638" y="95"/>
                        </a:lnTo>
                        <a:lnTo>
                          <a:pt x="637" y="95"/>
                        </a:lnTo>
                        <a:lnTo>
                          <a:pt x="638" y="95"/>
                        </a:lnTo>
                        <a:lnTo>
                          <a:pt x="638" y="94"/>
                        </a:lnTo>
                        <a:lnTo>
                          <a:pt x="640" y="94"/>
                        </a:lnTo>
                        <a:lnTo>
                          <a:pt x="640" y="92"/>
                        </a:lnTo>
                        <a:lnTo>
                          <a:pt x="640" y="91"/>
                        </a:lnTo>
                        <a:lnTo>
                          <a:pt x="641" y="91"/>
                        </a:lnTo>
                        <a:lnTo>
                          <a:pt x="643" y="91"/>
                        </a:lnTo>
                        <a:lnTo>
                          <a:pt x="643" y="89"/>
                        </a:lnTo>
                        <a:lnTo>
                          <a:pt x="645" y="89"/>
                        </a:lnTo>
                        <a:lnTo>
                          <a:pt x="646" y="89"/>
                        </a:lnTo>
                        <a:lnTo>
                          <a:pt x="648" y="89"/>
                        </a:lnTo>
                        <a:lnTo>
                          <a:pt x="649" y="89"/>
                        </a:lnTo>
                        <a:lnTo>
                          <a:pt x="651" y="91"/>
                        </a:lnTo>
                        <a:lnTo>
                          <a:pt x="652" y="91"/>
                        </a:lnTo>
                        <a:lnTo>
                          <a:pt x="652" y="92"/>
                        </a:lnTo>
                        <a:lnTo>
                          <a:pt x="654" y="92"/>
                        </a:lnTo>
                        <a:lnTo>
                          <a:pt x="656" y="92"/>
                        </a:lnTo>
                        <a:lnTo>
                          <a:pt x="657" y="92"/>
                        </a:lnTo>
                        <a:lnTo>
                          <a:pt x="659" y="92"/>
                        </a:lnTo>
                        <a:lnTo>
                          <a:pt x="659" y="94"/>
                        </a:lnTo>
                        <a:lnTo>
                          <a:pt x="659" y="95"/>
                        </a:lnTo>
                        <a:lnTo>
                          <a:pt x="660" y="95"/>
                        </a:lnTo>
                        <a:lnTo>
                          <a:pt x="660" y="97"/>
                        </a:lnTo>
                        <a:lnTo>
                          <a:pt x="660" y="99"/>
                        </a:lnTo>
                        <a:lnTo>
                          <a:pt x="662" y="99"/>
                        </a:lnTo>
                        <a:lnTo>
                          <a:pt x="662" y="100"/>
                        </a:lnTo>
                        <a:lnTo>
                          <a:pt x="662" y="102"/>
                        </a:lnTo>
                        <a:lnTo>
                          <a:pt x="664" y="103"/>
                        </a:lnTo>
                        <a:lnTo>
                          <a:pt x="664" y="105"/>
                        </a:lnTo>
                        <a:lnTo>
                          <a:pt x="665" y="107"/>
                        </a:lnTo>
                        <a:lnTo>
                          <a:pt x="665" y="108"/>
                        </a:lnTo>
                        <a:lnTo>
                          <a:pt x="665" y="110"/>
                        </a:lnTo>
                        <a:lnTo>
                          <a:pt x="667" y="111"/>
                        </a:lnTo>
                        <a:lnTo>
                          <a:pt x="667" y="113"/>
                        </a:lnTo>
                        <a:lnTo>
                          <a:pt x="668" y="114"/>
                        </a:lnTo>
                        <a:lnTo>
                          <a:pt x="668" y="116"/>
                        </a:lnTo>
                        <a:lnTo>
                          <a:pt x="670" y="118"/>
                        </a:lnTo>
                        <a:lnTo>
                          <a:pt x="670" y="119"/>
                        </a:lnTo>
                        <a:lnTo>
                          <a:pt x="671" y="119"/>
                        </a:lnTo>
                        <a:lnTo>
                          <a:pt x="671" y="121"/>
                        </a:lnTo>
                        <a:lnTo>
                          <a:pt x="671" y="122"/>
                        </a:lnTo>
                        <a:lnTo>
                          <a:pt x="671" y="124"/>
                        </a:lnTo>
                        <a:lnTo>
                          <a:pt x="673" y="124"/>
                        </a:lnTo>
                        <a:lnTo>
                          <a:pt x="673" y="126"/>
                        </a:lnTo>
                        <a:lnTo>
                          <a:pt x="673" y="127"/>
                        </a:lnTo>
                        <a:lnTo>
                          <a:pt x="675" y="127"/>
                        </a:lnTo>
                        <a:lnTo>
                          <a:pt x="675" y="129"/>
                        </a:lnTo>
                        <a:lnTo>
                          <a:pt x="675" y="130"/>
                        </a:lnTo>
                        <a:lnTo>
                          <a:pt x="676" y="130"/>
                        </a:lnTo>
                        <a:lnTo>
                          <a:pt x="676" y="132"/>
                        </a:lnTo>
                        <a:lnTo>
                          <a:pt x="678" y="133"/>
                        </a:lnTo>
                        <a:lnTo>
                          <a:pt x="678" y="135"/>
                        </a:lnTo>
                        <a:lnTo>
                          <a:pt x="678" y="137"/>
                        </a:lnTo>
                        <a:lnTo>
                          <a:pt x="679" y="138"/>
                        </a:lnTo>
                        <a:lnTo>
                          <a:pt x="679" y="140"/>
                        </a:lnTo>
                        <a:lnTo>
                          <a:pt x="681" y="141"/>
                        </a:lnTo>
                        <a:lnTo>
                          <a:pt x="681" y="143"/>
                        </a:lnTo>
                        <a:lnTo>
                          <a:pt x="683" y="143"/>
                        </a:lnTo>
                        <a:lnTo>
                          <a:pt x="683" y="145"/>
                        </a:lnTo>
                        <a:lnTo>
                          <a:pt x="683" y="146"/>
                        </a:lnTo>
                        <a:lnTo>
                          <a:pt x="683" y="148"/>
                        </a:lnTo>
                        <a:lnTo>
                          <a:pt x="684" y="149"/>
                        </a:lnTo>
                        <a:lnTo>
                          <a:pt x="684" y="151"/>
                        </a:lnTo>
                        <a:lnTo>
                          <a:pt x="686" y="151"/>
                        </a:lnTo>
                        <a:lnTo>
                          <a:pt x="686" y="152"/>
                        </a:lnTo>
                        <a:lnTo>
                          <a:pt x="686" y="154"/>
                        </a:lnTo>
                        <a:lnTo>
                          <a:pt x="687" y="154"/>
                        </a:lnTo>
                        <a:lnTo>
                          <a:pt x="687" y="156"/>
                        </a:lnTo>
                        <a:lnTo>
                          <a:pt x="687" y="157"/>
                        </a:lnTo>
                        <a:lnTo>
                          <a:pt x="689" y="159"/>
                        </a:lnTo>
                        <a:lnTo>
                          <a:pt x="689" y="160"/>
                        </a:lnTo>
                        <a:lnTo>
                          <a:pt x="690" y="162"/>
                        </a:lnTo>
                        <a:lnTo>
                          <a:pt x="690" y="164"/>
                        </a:lnTo>
                        <a:lnTo>
                          <a:pt x="692" y="165"/>
                        </a:lnTo>
                        <a:lnTo>
                          <a:pt x="692" y="167"/>
                        </a:lnTo>
                        <a:lnTo>
                          <a:pt x="694" y="168"/>
                        </a:lnTo>
                        <a:lnTo>
                          <a:pt x="694" y="170"/>
                        </a:lnTo>
                        <a:lnTo>
                          <a:pt x="694" y="171"/>
                        </a:lnTo>
                        <a:lnTo>
                          <a:pt x="695" y="171"/>
                        </a:lnTo>
                        <a:lnTo>
                          <a:pt x="695" y="173"/>
                        </a:lnTo>
                        <a:lnTo>
                          <a:pt x="695" y="175"/>
                        </a:lnTo>
                        <a:lnTo>
                          <a:pt x="695" y="176"/>
                        </a:lnTo>
                        <a:lnTo>
                          <a:pt x="697" y="176"/>
                        </a:lnTo>
                        <a:lnTo>
                          <a:pt x="698" y="176"/>
                        </a:lnTo>
                        <a:lnTo>
                          <a:pt x="700" y="178"/>
                        </a:lnTo>
                        <a:lnTo>
                          <a:pt x="702" y="176"/>
                        </a:lnTo>
                        <a:lnTo>
                          <a:pt x="703" y="176"/>
                        </a:lnTo>
                        <a:lnTo>
                          <a:pt x="705" y="176"/>
                        </a:lnTo>
                        <a:lnTo>
                          <a:pt x="706" y="176"/>
                        </a:lnTo>
                        <a:lnTo>
                          <a:pt x="706" y="175"/>
                        </a:lnTo>
                        <a:lnTo>
                          <a:pt x="708" y="175"/>
                        </a:lnTo>
                        <a:lnTo>
                          <a:pt x="709" y="173"/>
                        </a:lnTo>
                        <a:lnTo>
                          <a:pt x="711" y="173"/>
                        </a:lnTo>
                        <a:lnTo>
                          <a:pt x="711" y="171"/>
                        </a:lnTo>
                        <a:lnTo>
                          <a:pt x="713" y="171"/>
                        </a:lnTo>
                        <a:lnTo>
                          <a:pt x="714" y="170"/>
                        </a:lnTo>
                        <a:lnTo>
                          <a:pt x="716" y="170"/>
                        </a:lnTo>
                        <a:lnTo>
                          <a:pt x="717" y="170"/>
                        </a:lnTo>
                        <a:lnTo>
                          <a:pt x="719" y="170"/>
                        </a:lnTo>
                        <a:lnTo>
                          <a:pt x="719" y="171"/>
                        </a:lnTo>
                        <a:lnTo>
                          <a:pt x="721" y="171"/>
                        </a:lnTo>
                        <a:lnTo>
                          <a:pt x="722" y="171"/>
                        </a:lnTo>
                        <a:lnTo>
                          <a:pt x="724" y="173"/>
                        </a:lnTo>
                        <a:lnTo>
                          <a:pt x="725" y="173"/>
                        </a:lnTo>
                        <a:lnTo>
                          <a:pt x="727" y="173"/>
                        </a:lnTo>
                        <a:lnTo>
                          <a:pt x="728" y="173"/>
                        </a:lnTo>
                        <a:lnTo>
                          <a:pt x="728" y="175"/>
                        </a:lnTo>
                        <a:lnTo>
                          <a:pt x="732" y="175"/>
                        </a:lnTo>
                        <a:lnTo>
                          <a:pt x="733" y="175"/>
                        </a:lnTo>
                        <a:lnTo>
                          <a:pt x="735" y="175"/>
                        </a:lnTo>
                        <a:lnTo>
                          <a:pt x="736" y="175"/>
                        </a:lnTo>
                        <a:lnTo>
                          <a:pt x="738" y="175"/>
                        </a:lnTo>
                        <a:lnTo>
                          <a:pt x="738" y="173"/>
                        </a:lnTo>
                        <a:lnTo>
                          <a:pt x="740" y="173"/>
                        </a:lnTo>
                        <a:lnTo>
                          <a:pt x="741" y="173"/>
                        </a:lnTo>
                        <a:lnTo>
                          <a:pt x="743" y="175"/>
                        </a:lnTo>
                        <a:lnTo>
                          <a:pt x="744" y="175"/>
                        </a:lnTo>
                        <a:lnTo>
                          <a:pt x="746" y="175"/>
                        </a:lnTo>
                        <a:lnTo>
                          <a:pt x="747" y="175"/>
                        </a:lnTo>
                        <a:lnTo>
                          <a:pt x="749" y="175"/>
                        </a:lnTo>
                        <a:lnTo>
                          <a:pt x="751" y="175"/>
                        </a:lnTo>
                        <a:lnTo>
                          <a:pt x="752" y="175"/>
                        </a:lnTo>
                        <a:lnTo>
                          <a:pt x="752" y="176"/>
                        </a:lnTo>
                        <a:lnTo>
                          <a:pt x="754" y="176"/>
                        </a:lnTo>
                        <a:lnTo>
                          <a:pt x="755" y="176"/>
                        </a:lnTo>
                        <a:lnTo>
                          <a:pt x="755" y="175"/>
                        </a:lnTo>
                        <a:lnTo>
                          <a:pt x="757" y="175"/>
                        </a:lnTo>
                        <a:lnTo>
                          <a:pt x="759" y="176"/>
                        </a:lnTo>
                        <a:lnTo>
                          <a:pt x="759" y="178"/>
                        </a:lnTo>
                        <a:lnTo>
                          <a:pt x="759" y="179"/>
                        </a:lnTo>
                        <a:lnTo>
                          <a:pt x="759" y="181"/>
                        </a:lnTo>
                        <a:lnTo>
                          <a:pt x="760" y="183"/>
                        </a:lnTo>
                        <a:lnTo>
                          <a:pt x="760" y="184"/>
                        </a:lnTo>
                        <a:lnTo>
                          <a:pt x="760" y="186"/>
                        </a:lnTo>
                        <a:lnTo>
                          <a:pt x="762" y="186"/>
                        </a:lnTo>
                        <a:lnTo>
                          <a:pt x="762" y="187"/>
                        </a:lnTo>
                        <a:lnTo>
                          <a:pt x="762" y="189"/>
                        </a:lnTo>
                        <a:lnTo>
                          <a:pt x="763" y="190"/>
                        </a:lnTo>
                        <a:lnTo>
                          <a:pt x="763" y="192"/>
                        </a:lnTo>
                        <a:lnTo>
                          <a:pt x="765" y="192"/>
                        </a:lnTo>
                        <a:lnTo>
                          <a:pt x="765" y="194"/>
                        </a:lnTo>
                        <a:lnTo>
                          <a:pt x="766" y="194"/>
                        </a:lnTo>
                        <a:lnTo>
                          <a:pt x="766" y="195"/>
                        </a:lnTo>
                        <a:lnTo>
                          <a:pt x="768" y="195"/>
                        </a:lnTo>
                        <a:lnTo>
                          <a:pt x="768" y="197"/>
                        </a:lnTo>
                        <a:lnTo>
                          <a:pt x="770" y="197"/>
                        </a:lnTo>
                        <a:lnTo>
                          <a:pt x="771" y="197"/>
                        </a:lnTo>
                        <a:lnTo>
                          <a:pt x="771" y="198"/>
                        </a:lnTo>
                        <a:lnTo>
                          <a:pt x="773" y="198"/>
                        </a:lnTo>
                        <a:lnTo>
                          <a:pt x="774" y="200"/>
                        </a:lnTo>
                        <a:lnTo>
                          <a:pt x="774" y="198"/>
                        </a:lnTo>
                        <a:lnTo>
                          <a:pt x="776" y="198"/>
                        </a:lnTo>
                        <a:lnTo>
                          <a:pt x="778" y="198"/>
                        </a:lnTo>
                        <a:lnTo>
                          <a:pt x="779" y="198"/>
                        </a:lnTo>
                        <a:lnTo>
                          <a:pt x="781" y="198"/>
                        </a:lnTo>
                        <a:lnTo>
                          <a:pt x="781" y="200"/>
                        </a:lnTo>
                        <a:lnTo>
                          <a:pt x="782" y="200"/>
                        </a:lnTo>
                        <a:lnTo>
                          <a:pt x="784" y="198"/>
                        </a:lnTo>
                        <a:lnTo>
                          <a:pt x="786" y="197"/>
                        </a:lnTo>
                        <a:lnTo>
                          <a:pt x="786" y="195"/>
                        </a:lnTo>
                        <a:lnTo>
                          <a:pt x="787" y="195"/>
                        </a:lnTo>
                        <a:lnTo>
                          <a:pt x="787" y="194"/>
                        </a:lnTo>
                        <a:lnTo>
                          <a:pt x="787" y="192"/>
                        </a:lnTo>
                        <a:lnTo>
                          <a:pt x="789" y="192"/>
                        </a:lnTo>
                        <a:lnTo>
                          <a:pt x="790" y="192"/>
                        </a:lnTo>
                        <a:lnTo>
                          <a:pt x="790" y="190"/>
                        </a:lnTo>
                        <a:lnTo>
                          <a:pt x="792" y="190"/>
                        </a:lnTo>
                        <a:lnTo>
                          <a:pt x="793" y="190"/>
                        </a:lnTo>
                        <a:lnTo>
                          <a:pt x="795" y="190"/>
                        </a:lnTo>
                        <a:lnTo>
                          <a:pt x="797" y="190"/>
                        </a:lnTo>
                        <a:lnTo>
                          <a:pt x="798" y="189"/>
                        </a:lnTo>
                        <a:lnTo>
                          <a:pt x="798" y="187"/>
                        </a:lnTo>
                        <a:lnTo>
                          <a:pt x="800" y="187"/>
                        </a:lnTo>
                        <a:lnTo>
                          <a:pt x="801" y="186"/>
                        </a:lnTo>
                        <a:lnTo>
                          <a:pt x="801" y="184"/>
                        </a:lnTo>
                        <a:lnTo>
                          <a:pt x="803" y="183"/>
                        </a:lnTo>
                        <a:lnTo>
                          <a:pt x="803" y="181"/>
                        </a:lnTo>
                        <a:lnTo>
                          <a:pt x="805" y="179"/>
                        </a:lnTo>
                        <a:lnTo>
                          <a:pt x="805" y="178"/>
                        </a:lnTo>
                        <a:lnTo>
                          <a:pt x="805" y="176"/>
                        </a:lnTo>
                        <a:lnTo>
                          <a:pt x="806" y="175"/>
                        </a:lnTo>
                        <a:lnTo>
                          <a:pt x="806" y="173"/>
                        </a:lnTo>
                        <a:lnTo>
                          <a:pt x="808" y="171"/>
                        </a:lnTo>
                        <a:lnTo>
                          <a:pt x="809" y="171"/>
                        </a:lnTo>
                        <a:lnTo>
                          <a:pt x="811" y="171"/>
                        </a:lnTo>
                        <a:lnTo>
                          <a:pt x="812" y="170"/>
                        </a:lnTo>
                        <a:lnTo>
                          <a:pt x="814" y="170"/>
                        </a:lnTo>
                        <a:lnTo>
                          <a:pt x="816" y="170"/>
                        </a:lnTo>
                        <a:lnTo>
                          <a:pt x="817" y="170"/>
                        </a:lnTo>
                        <a:lnTo>
                          <a:pt x="819" y="170"/>
                        </a:lnTo>
                        <a:lnTo>
                          <a:pt x="820" y="170"/>
                        </a:lnTo>
                        <a:lnTo>
                          <a:pt x="822" y="170"/>
                        </a:lnTo>
                        <a:lnTo>
                          <a:pt x="824" y="168"/>
                        </a:lnTo>
                        <a:lnTo>
                          <a:pt x="825" y="168"/>
                        </a:lnTo>
                        <a:lnTo>
                          <a:pt x="827" y="168"/>
                        </a:lnTo>
                        <a:lnTo>
                          <a:pt x="828" y="168"/>
                        </a:lnTo>
                        <a:lnTo>
                          <a:pt x="831" y="168"/>
                        </a:lnTo>
                        <a:lnTo>
                          <a:pt x="833" y="168"/>
                        </a:lnTo>
                        <a:lnTo>
                          <a:pt x="835" y="168"/>
                        </a:lnTo>
                        <a:lnTo>
                          <a:pt x="836" y="168"/>
                        </a:lnTo>
                        <a:lnTo>
                          <a:pt x="838" y="167"/>
                        </a:lnTo>
                        <a:lnTo>
                          <a:pt x="839" y="167"/>
                        </a:lnTo>
                        <a:lnTo>
                          <a:pt x="839" y="165"/>
                        </a:lnTo>
                        <a:lnTo>
                          <a:pt x="841" y="165"/>
                        </a:lnTo>
                        <a:lnTo>
                          <a:pt x="843" y="165"/>
                        </a:lnTo>
                        <a:lnTo>
                          <a:pt x="844" y="165"/>
                        </a:lnTo>
                        <a:lnTo>
                          <a:pt x="846" y="165"/>
                        </a:lnTo>
                        <a:lnTo>
                          <a:pt x="847" y="165"/>
                        </a:lnTo>
                        <a:lnTo>
                          <a:pt x="849" y="165"/>
                        </a:lnTo>
                        <a:lnTo>
                          <a:pt x="850" y="165"/>
                        </a:lnTo>
                        <a:lnTo>
                          <a:pt x="852" y="164"/>
                        </a:lnTo>
                        <a:lnTo>
                          <a:pt x="852" y="162"/>
                        </a:lnTo>
                        <a:lnTo>
                          <a:pt x="854" y="162"/>
                        </a:lnTo>
                        <a:lnTo>
                          <a:pt x="855" y="160"/>
                        </a:lnTo>
                        <a:lnTo>
                          <a:pt x="857" y="159"/>
                        </a:lnTo>
                        <a:lnTo>
                          <a:pt x="858" y="159"/>
                        </a:lnTo>
                        <a:lnTo>
                          <a:pt x="860" y="159"/>
                        </a:lnTo>
                        <a:lnTo>
                          <a:pt x="862" y="159"/>
                        </a:lnTo>
                        <a:lnTo>
                          <a:pt x="862" y="157"/>
                        </a:lnTo>
                        <a:lnTo>
                          <a:pt x="863" y="157"/>
                        </a:lnTo>
                        <a:lnTo>
                          <a:pt x="865" y="156"/>
                        </a:lnTo>
                        <a:lnTo>
                          <a:pt x="866" y="156"/>
                        </a:lnTo>
                        <a:lnTo>
                          <a:pt x="866" y="154"/>
                        </a:lnTo>
                        <a:lnTo>
                          <a:pt x="868" y="152"/>
                        </a:lnTo>
                        <a:lnTo>
                          <a:pt x="868" y="151"/>
                        </a:lnTo>
                        <a:lnTo>
                          <a:pt x="869" y="151"/>
                        </a:lnTo>
                        <a:lnTo>
                          <a:pt x="869" y="149"/>
                        </a:lnTo>
                        <a:lnTo>
                          <a:pt x="871" y="149"/>
                        </a:lnTo>
                        <a:lnTo>
                          <a:pt x="873" y="149"/>
                        </a:lnTo>
                        <a:lnTo>
                          <a:pt x="874" y="148"/>
                        </a:lnTo>
                        <a:lnTo>
                          <a:pt x="876" y="148"/>
                        </a:lnTo>
                        <a:lnTo>
                          <a:pt x="877" y="146"/>
                        </a:lnTo>
                        <a:lnTo>
                          <a:pt x="879" y="146"/>
                        </a:lnTo>
                        <a:lnTo>
                          <a:pt x="879" y="145"/>
                        </a:lnTo>
                        <a:lnTo>
                          <a:pt x="879" y="143"/>
                        </a:lnTo>
                        <a:lnTo>
                          <a:pt x="881" y="143"/>
                        </a:lnTo>
                        <a:lnTo>
                          <a:pt x="881" y="141"/>
                        </a:lnTo>
                        <a:lnTo>
                          <a:pt x="882" y="140"/>
                        </a:lnTo>
                        <a:lnTo>
                          <a:pt x="882" y="141"/>
                        </a:lnTo>
                        <a:lnTo>
                          <a:pt x="884" y="140"/>
                        </a:lnTo>
                        <a:lnTo>
                          <a:pt x="885" y="140"/>
                        </a:lnTo>
                        <a:lnTo>
                          <a:pt x="885" y="141"/>
                        </a:lnTo>
                        <a:lnTo>
                          <a:pt x="887" y="141"/>
                        </a:lnTo>
                        <a:lnTo>
                          <a:pt x="887" y="143"/>
                        </a:lnTo>
                        <a:lnTo>
                          <a:pt x="887" y="145"/>
                        </a:lnTo>
                        <a:lnTo>
                          <a:pt x="888" y="145"/>
                        </a:lnTo>
                        <a:lnTo>
                          <a:pt x="888" y="146"/>
                        </a:lnTo>
                        <a:lnTo>
                          <a:pt x="888" y="148"/>
                        </a:lnTo>
                        <a:lnTo>
                          <a:pt x="890" y="148"/>
                        </a:lnTo>
                        <a:lnTo>
                          <a:pt x="890" y="149"/>
                        </a:lnTo>
                        <a:lnTo>
                          <a:pt x="892" y="151"/>
                        </a:lnTo>
                        <a:lnTo>
                          <a:pt x="892" y="152"/>
                        </a:lnTo>
                        <a:lnTo>
                          <a:pt x="892" y="154"/>
                        </a:lnTo>
                        <a:lnTo>
                          <a:pt x="893" y="154"/>
                        </a:lnTo>
                        <a:lnTo>
                          <a:pt x="893" y="156"/>
                        </a:lnTo>
                        <a:lnTo>
                          <a:pt x="895" y="157"/>
                        </a:lnTo>
                        <a:lnTo>
                          <a:pt x="896" y="159"/>
                        </a:lnTo>
                        <a:lnTo>
                          <a:pt x="896" y="160"/>
                        </a:lnTo>
                        <a:lnTo>
                          <a:pt x="898" y="160"/>
                        </a:lnTo>
                        <a:lnTo>
                          <a:pt x="898" y="162"/>
                        </a:lnTo>
                        <a:lnTo>
                          <a:pt x="898" y="164"/>
                        </a:lnTo>
                        <a:lnTo>
                          <a:pt x="900" y="164"/>
                        </a:lnTo>
                        <a:lnTo>
                          <a:pt x="900" y="165"/>
                        </a:lnTo>
                        <a:lnTo>
                          <a:pt x="901" y="165"/>
                        </a:lnTo>
                        <a:lnTo>
                          <a:pt x="901" y="167"/>
                        </a:lnTo>
                        <a:lnTo>
                          <a:pt x="903" y="168"/>
                        </a:lnTo>
                        <a:lnTo>
                          <a:pt x="903" y="170"/>
                        </a:lnTo>
                        <a:lnTo>
                          <a:pt x="904" y="170"/>
                        </a:lnTo>
                        <a:lnTo>
                          <a:pt x="906" y="171"/>
                        </a:lnTo>
                        <a:lnTo>
                          <a:pt x="907" y="171"/>
                        </a:lnTo>
                        <a:lnTo>
                          <a:pt x="907" y="173"/>
                        </a:lnTo>
                        <a:lnTo>
                          <a:pt x="909" y="173"/>
                        </a:lnTo>
                        <a:lnTo>
                          <a:pt x="911" y="175"/>
                        </a:lnTo>
                        <a:lnTo>
                          <a:pt x="912" y="175"/>
                        </a:lnTo>
                        <a:lnTo>
                          <a:pt x="912" y="176"/>
                        </a:lnTo>
                        <a:lnTo>
                          <a:pt x="914" y="176"/>
                        </a:lnTo>
                        <a:lnTo>
                          <a:pt x="914" y="175"/>
                        </a:lnTo>
                        <a:lnTo>
                          <a:pt x="915" y="175"/>
                        </a:lnTo>
                        <a:lnTo>
                          <a:pt x="915" y="176"/>
                        </a:lnTo>
                        <a:lnTo>
                          <a:pt x="915" y="178"/>
                        </a:lnTo>
                        <a:lnTo>
                          <a:pt x="917" y="178"/>
                        </a:lnTo>
                        <a:lnTo>
                          <a:pt x="917" y="176"/>
                        </a:lnTo>
                        <a:lnTo>
                          <a:pt x="919" y="176"/>
                        </a:lnTo>
                        <a:lnTo>
                          <a:pt x="920" y="176"/>
                        </a:lnTo>
                        <a:lnTo>
                          <a:pt x="920" y="178"/>
                        </a:lnTo>
                        <a:lnTo>
                          <a:pt x="922" y="176"/>
                        </a:lnTo>
                        <a:lnTo>
                          <a:pt x="922" y="175"/>
                        </a:lnTo>
                        <a:lnTo>
                          <a:pt x="922" y="173"/>
                        </a:lnTo>
                        <a:lnTo>
                          <a:pt x="923" y="173"/>
                        </a:lnTo>
                        <a:lnTo>
                          <a:pt x="925" y="175"/>
                        </a:lnTo>
                        <a:lnTo>
                          <a:pt x="925" y="176"/>
                        </a:lnTo>
                        <a:lnTo>
                          <a:pt x="925" y="178"/>
                        </a:lnTo>
                        <a:lnTo>
                          <a:pt x="925" y="179"/>
                        </a:lnTo>
                        <a:lnTo>
                          <a:pt x="926" y="179"/>
                        </a:lnTo>
                        <a:lnTo>
                          <a:pt x="928" y="181"/>
                        </a:lnTo>
                        <a:lnTo>
                          <a:pt x="930" y="181"/>
                        </a:lnTo>
                        <a:lnTo>
                          <a:pt x="930" y="183"/>
                        </a:lnTo>
                        <a:lnTo>
                          <a:pt x="931" y="183"/>
                        </a:lnTo>
                        <a:lnTo>
                          <a:pt x="933" y="183"/>
                        </a:lnTo>
                        <a:lnTo>
                          <a:pt x="933" y="181"/>
                        </a:lnTo>
                        <a:lnTo>
                          <a:pt x="934" y="181"/>
                        </a:lnTo>
                        <a:lnTo>
                          <a:pt x="938" y="183"/>
                        </a:lnTo>
                        <a:lnTo>
                          <a:pt x="938" y="181"/>
                        </a:lnTo>
                        <a:lnTo>
                          <a:pt x="939" y="181"/>
                        </a:lnTo>
                        <a:lnTo>
                          <a:pt x="941" y="183"/>
                        </a:lnTo>
                        <a:lnTo>
                          <a:pt x="941" y="186"/>
                        </a:lnTo>
                        <a:lnTo>
                          <a:pt x="941" y="187"/>
                        </a:lnTo>
                        <a:lnTo>
                          <a:pt x="942" y="189"/>
                        </a:lnTo>
                        <a:lnTo>
                          <a:pt x="944" y="190"/>
                        </a:lnTo>
                        <a:lnTo>
                          <a:pt x="945" y="190"/>
                        </a:lnTo>
                        <a:lnTo>
                          <a:pt x="949" y="190"/>
                        </a:lnTo>
                        <a:lnTo>
                          <a:pt x="949" y="192"/>
                        </a:lnTo>
                        <a:lnTo>
                          <a:pt x="950" y="192"/>
                        </a:lnTo>
                        <a:lnTo>
                          <a:pt x="953" y="192"/>
                        </a:lnTo>
                        <a:lnTo>
                          <a:pt x="953" y="190"/>
                        </a:lnTo>
                        <a:lnTo>
                          <a:pt x="955" y="190"/>
                        </a:lnTo>
                        <a:lnTo>
                          <a:pt x="957" y="190"/>
                        </a:lnTo>
                        <a:lnTo>
                          <a:pt x="958" y="190"/>
                        </a:lnTo>
                        <a:lnTo>
                          <a:pt x="960" y="190"/>
                        </a:lnTo>
                        <a:lnTo>
                          <a:pt x="961" y="190"/>
                        </a:lnTo>
                        <a:lnTo>
                          <a:pt x="963" y="190"/>
                        </a:lnTo>
                        <a:lnTo>
                          <a:pt x="965" y="190"/>
                        </a:lnTo>
                        <a:lnTo>
                          <a:pt x="966" y="190"/>
                        </a:lnTo>
                        <a:lnTo>
                          <a:pt x="968" y="190"/>
                        </a:lnTo>
                        <a:lnTo>
                          <a:pt x="968" y="192"/>
                        </a:lnTo>
                        <a:lnTo>
                          <a:pt x="968" y="194"/>
                        </a:lnTo>
                        <a:lnTo>
                          <a:pt x="969" y="195"/>
                        </a:lnTo>
                        <a:lnTo>
                          <a:pt x="971" y="195"/>
                        </a:lnTo>
                        <a:lnTo>
                          <a:pt x="972" y="197"/>
                        </a:lnTo>
                        <a:lnTo>
                          <a:pt x="972" y="198"/>
                        </a:lnTo>
                        <a:lnTo>
                          <a:pt x="974" y="200"/>
                        </a:lnTo>
                        <a:lnTo>
                          <a:pt x="976" y="202"/>
                        </a:lnTo>
                        <a:lnTo>
                          <a:pt x="977" y="202"/>
                        </a:lnTo>
                        <a:lnTo>
                          <a:pt x="979" y="202"/>
                        </a:lnTo>
                        <a:lnTo>
                          <a:pt x="980" y="202"/>
                        </a:lnTo>
                        <a:lnTo>
                          <a:pt x="980" y="203"/>
                        </a:lnTo>
                        <a:lnTo>
                          <a:pt x="984" y="206"/>
                        </a:lnTo>
                        <a:lnTo>
                          <a:pt x="984" y="208"/>
                        </a:lnTo>
                        <a:lnTo>
                          <a:pt x="982" y="211"/>
                        </a:lnTo>
                        <a:lnTo>
                          <a:pt x="982" y="213"/>
                        </a:lnTo>
                        <a:lnTo>
                          <a:pt x="980" y="214"/>
                        </a:lnTo>
                        <a:lnTo>
                          <a:pt x="982" y="216"/>
                        </a:lnTo>
                        <a:lnTo>
                          <a:pt x="982" y="217"/>
                        </a:lnTo>
                        <a:lnTo>
                          <a:pt x="984" y="217"/>
                        </a:lnTo>
                        <a:lnTo>
                          <a:pt x="985" y="217"/>
                        </a:lnTo>
                        <a:lnTo>
                          <a:pt x="987" y="216"/>
                        </a:lnTo>
                        <a:lnTo>
                          <a:pt x="987" y="213"/>
                        </a:lnTo>
                        <a:lnTo>
                          <a:pt x="988" y="211"/>
                        </a:lnTo>
                        <a:lnTo>
                          <a:pt x="990" y="209"/>
                        </a:lnTo>
                        <a:lnTo>
                          <a:pt x="990" y="208"/>
                        </a:lnTo>
                        <a:lnTo>
                          <a:pt x="988" y="206"/>
                        </a:lnTo>
                        <a:lnTo>
                          <a:pt x="990" y="206"/>
                        </a:lnTo>
                        <a:lnTo>
                          <a:pt x="991" y="206"/>
                        </a:lnTo>
                        <a:lnTo>
                          <a:pt x="993" y="206"/>
                        </a:lnTo>
                        <a:lnTo>
                          <a:pt x="995" y="206"/>
                        </a:lnTo>
                        <a:lnTo>
                          <a:pt x="996" y="206"/>
                        </a:lnTo>
                        <a:lnTo>
                          <a:pt x="996" y="205"/>
                        </a:lnTo>
                        <a:lnTo>
                          <a:pt x="996" y="203"/>
                        </a:lnTo>
                        <a:lnTo>
                          <a:pt x="996" y="202"/>
                        </a:lnTo>
                        <a:lnTo>
                          <a:pt x="999" y="202"/>
                        </a:lnTo>
                        <a:lnTo>
                          <a:pt x="1001" y="200"/>
                        </a:lnTo>
                        <a:lnTo>
                          <a:pt x="1003" y="200"/>
                        </a:lnTo>
                        <a:lnTo>
                          <a:pt x="1004" y="200"/>
                        </a:lnTo>
                        <a:lnTo>
                          <a:pt x="1006" y="200"/>
                        </a:lnTo>
                        <a:lnTo>
                          <a:pt x="1007" y="202"/>
                        </a:lnTo>
                        <a:lnTo>
                          <a:pt x="1009" y="200"/>
                        </a:lnTo>
                        <a:lnTo>
                          <a:pt x="1010" y="200"/>
                        </a:lnTo>
                        <a:lnTo>
                          <a:pt x="1010" y="198"/>
                        </a:lnTo>
                        <a:lnTo>
                          <a:pt x="1012" y="198"/>
                        </a:lnTo>
                        <a:lnTo>
                          <a:pt x="1014" y="198"/>
                        </a:lnTo>
                        <a:lnTo>
                          <a:pt x="1015" y="200"/>
                        </a:lnTo>
                        <a:lnTo>
                          <a:pt x="1017" y="200"/>
                        </a:lnTo>
                        <a:lnTo>
                          <a:pt x="1018" y="200"/>
                        </a:lnTo>
                        <a:lnTo>
                          <a:pt x="1020" y="200"/>
                        </a:lnTo>
                        <a:lnTo>
                          <a:pt x="1020" y="198"/>
                        </a:lnTo>
                        <a:lnTo>
                          <a:pt x="1020" y="197"/>
                        </a:lnTo>
                        <a:lnTo>
                          <a:pt x="1022" y="197"/>
                        </a:lnTo>
                        <a:lnTo>
                          <a:pt x="1022" y="195"/>
                        </a:lnTo>
                        <a:lnTo>
                          <a:pt x="1023" y="195"/>
                        </a:lnTo>
                        <a:lnTo>
                          <a:pt x="1025" y="197"/>
                        </a:lnTo>
                        <a:lnTo>
                          <a:pt x="1028" y="194"/>
                        </a:lnTo>
                        <a:lnTo>
                          <a:pt x="1029" y="192"/>
                        </a:lnTo>
                        <a:lnTo>
                          <a:pt x="1029" y="190"/>
                        </a:lnTo>
                        <a:lnTo>
                          <a:pt x="1028" y="189"/>
                        </a:lnTo>
                        <a:lnTo>
                          <a:pt x="1028" y="187"/>
                        </a:lnTo>
                        <a:lnTo>
                          <a:pt x="1028" y="186"/>
                        </a:lnTo>
                        <a:lnTo>
                          <a:pt x="1026" y="186"/>
                        </a:lnTo>
                        <a:lnTo>
                          <a:pt x="1026" y="184"/>
                        </a:lnTo>
                        <a:lnTo>
                          <a:pt x="1025" y="184"/>
                        </a:lnTo>
                        <a:lnTo>
                          <a:pt x="1025" y="183"/>
                        </a:lnTo>
                        <a:lnTo>
                          <a:pt x="1026" y="181"/>
                        </a:lnTo>
                        <a:lnTo>
                          <a:pt x="1026" y="179"/>
                        </a:lnTo>
                        <a:lnTo>
                          <a:pt x="1028" y="179"/>
                        </a:lnTo>
                        <a:lnTo>
                          <a:pt x="1028" y="181"/>
                        </a:lnTo>
                        <a:lnTo>
                          <a:pt x="1029" y="179"/>
                        </a:lnTo>
                        <a:lnTo>
                          <a:pt x="1031" y="179"/>
                        </a:lnTo>
                        <a:lnTo>
                          <a:pt x="1033" y="179"/>
                        </a:lnTo>
                        <a:lnTo>
                          <a:pt x="1034" y="181"/>
                        </a:lnTo>
                        <a:lnTo>
                          <a:pt x="1036" y="181"/>
                        </a:lnTo>
                        <a:lnTo>
                          <a:pt x="1037" y="181"/>
                        </a:lnTo>
                        <a:lnTo>
                          <a:pt x="1039" y="179"/>
                        </a:lnTo>
                        <a:lnTo>
                          <a:pt x="1037" y="176"/>
                        </a:lnTo>
                        <a:lnTo>
                          <a:pt x="1036" y="176"/>
                        </a:lnTo>
                        <a:lnTo>
                          <a:pt x="1034" y="178"/>
                        </a:lnTo>
                        <a:lnTo>
                          <a:pt x="1033" y="178"/>
                        </a:lnTo>
                        <a:lnTo>
                          <a:pt x="1033" y="176"/>
                        </a:lnTo>
                        <a:lnTo>
                          <a:pt x="1029" y="173"/>
                        </a:lnTo>
                        <a:lnTo>
                          <a:pt x="1031" y="171"/>
                        </a:lnTo>
                        <a:lnTo>
                          <a:pt x="1033" y="171"/>
                        </a:lnTo>
                        <a:lnTo>
                          <a:pt x="1034" y="170"/>
                        </a:lnTo>
                        <a:lnTo>
                          <a:pt x="1036" y="168"/>
                        </a:lnTo>
                        <a:lnTo>
                          <a:pt x="1034" y="167"/>
                        </a:lnTo>
                        <a:lnTo>
                          <a:pt x="1033" y="165"/>
                        </a:lnTo>
                        <a:lnTo>
                          <a:pt x="1031" y="165"/>
                        </a:lnTo>
                        <a:lnTo>
                          <a:pt x="1031" y="164"/>
                        </a:lnTo>
                        <a:lnTo>
                          <a:pt x="1031" y="162"/>
                        </a:lnTo>
                        <a:lnTo>
                          <a:pt x="1033" y="162"/>
                        </a:lnTo>
                        <a:lnTo>
                          <a:pt x="1034" y="162"/>
                        </a:lnTo>
                        <a:lnTo>
                          <a:pt x="1036" y="162"/>
                        </a:lnTo>
                        <a:lnTo>
                          <a:pt x="1037" y="160"/>
                        </a:lnTo>
                        <a:lnTo>
                          <a:pt x="1037" y="159"/>
                        </a:lnTo>
                        <a:lnTo>
                          <a:pt x="1041" y="159"/>
                        </a:lnTo>
                        <a:lnTo>
                          <a:pt x="1044" y="156"/>
                        </a:lnTo>
                        <a:lnTo>
                          <a:pt x="1045" y="154"/>
                        </a:lnTo>
                        <a:lnTo>
                          <a:pt x="1045" y="152"/>
                        </a:lnTo>
                        <a:lnTo>
                          <a:pt x="1044" y="152"/>
                        </a:lnTo>
                        <a:lnTo>
                          <a:pt x="1042" y="151"/>
                        </a:lnTo>
                        <a:lnTo>
                          <a:pt x="1042" y="149"/>
                        </a:lnTo>
                        <a:lnTo>
                          <a:pt x="1042" y="148"/>
                        </a:lnTo>
                        <a:lnTo>
                          <a:pt x="1044" y="145"/>
                        </a:lnTo>
                        <a:lnTo>
                          <a:pt x="1047" y="141"/>
                        </a:lnTo>
                        <a:lnTo>
                          <a:pt x="1048" y="141"/>
                        </a:lnTo>
                        <a:lnTo>
                          <a:pt x="1048" y="140"/>
                        </a:lnTo>
                        <a:lnTo>
                          <a:pt x="1050" y="138"/>
                        </a:lnTo>
                        <a:lnTo>
                          <a:pt x="1050" y="135"/>
                        </a:lnTo>
                        <a:lnTo>
                          <a:pt x="1052" y="132"/>
                        </a:lnTo>
                        <a:lnTo>
                          <a:pt x="1053" y="130"/>
                        </a:lnTo>
                        <a:lnTo>
                          <a:pt x="1055" y="130"/>
                        </a:lnTo>
                        <a:lnTo>
                          <a:pt x="1055" y="129"/>
                        </a:lnTo>
                        <a:lnTo>
                          <a:pt x="1058" y="126"/>
                        </a:lnTo>
                        <a:lnTo>
                          <a:pt x="1061" y="124"/>
                        </a:lnTo>
                        <a:lnTo>
                          <a:pt x="1061" y="122"/>
                        </a:lnTo>
                        <a:lnTo>
                          <a:pt x="1061" y="119"/>
                        </a:lnTo>
                        <a:lnTo>
                          <a:pt x="1061" y="118"/>
                        </a:lnTo>
                        <a:lnTo>
                          <a:pt x="1060" y="118"/>
                        </a:lnTo>
                        <a:lnTo>
                          <a:pt x="1061" y="114"/>
                        </a:lnTo>
                        <a:lnTo>
                          <a:pt x="1061" y="113"/>
                        </a:lnTo>
                        <a:lnTo>
                          <a:pt x="1063" y="113"/>
                        </a:lnTo>
                        <a:lnTo>
                          <a:pt x="1063" y="111"/>
                        </a:lnTo>
                        <a:lnTo>
                          <a:pt x="1064" y="111"/>
                        </a:lnTo>
                        <a:lnTo>
                          <a:pt x="1064" y="113"/>
                        </a:lnTo>
                        <a:lnTo>
                          <a:pt x="1066" y="113"/>
                        </a:lnTo>
                        <a:lnTo>
                          <a:pt x="1066" y="111"/>
                        </a:lnTo>
                        <a:lnTo>
                          <a:pt x="1067" y="110"/>
                        </a:lnTo>
                        <a:lnTo>
                          <a:pt x="1069" y="108"/>
                        </a:lnTo>
                        <a:lnTo>
                          <a:pt x="1071" y="107"/>
                        </a:lnTo>
                        <a:lnTo>
                          <a:pt x="1072" y="105"/>
                        </a:lnTo>
                        <a:lnTo>
                          <a:pt x="1074" y="107"/>
                        </a:lnTo>
                        <a:lnTo>
                          <a:pt x="1075" y="108"/>
                        </a:lnTo>
                        <a:lnTo>
                          <a:pt x="1075" y="110"/>
                        </a:lnTo>
                        <a:lnTo>
                          <a:pt x="1077" y="110"/>
                        </a:lnTo>
                        <a:lnTo>
                          <a:pt x="1079" y="108"/>
                        </a:lnTo>
                        <a:lnTo>
                          <a:pt x="1080" y="108"/>
                        </a:lnTo>
                        <a:lnTo>
                          <a:pt x="1085" y="107"/>
                        </a:lnTo>
                        <a:lnTo>
                          <a:pt x="1086" y="107"/>
                        </a:lnTo>
                        <a:lnTo>
                          <a:pt x="1088" y="107"/>
                        </a:lnTo>
                        <a:lnTo>
                          <a:pt x="1088" y="110"/>
                        </a:lnTo>
                        <a:lnTo>
                          <a:pt x="1088" y="113"/>
                        </a:lnTo>
                        <a:lnTo>
                          <a:pt x="1088" y="114"/>
                        </a:lnTo>
                        <a:lnTo>
                          <a:pt x="1088" y="116"/>
                        </a:lnTo>
                        <a:lnTo>
                          <a:pt x="1090" y="118"/>
                        </a:lnTo>
                        <a:lnTo>
                          <a:pt x="1091" y="118"/>
                        </a:lnTo>
                        <a:lnTo>
                          <a:pt x="1093" y="118"/>
                        </a:lnTo>
                        <a:lnTo>
                          <a:pt x="1094" y="118"/>
                        </a:lnTo>
                        <a:lnTo>
                          <a:pt x="1096" y="118"/>
                        </a:lnTo>
                        <a:lnTo>
                          <a:pt x="1098" y="118"/>
                        </a:lnTo>
                        <a:lnTo>
                          <a:pt x="1099" y="118"/>
                        </a:lnTo>
                        <a:lnTo>
                          <a:pt x="1101" y="116"/>
                        </a:lnTo>
                        <a:lnTo>
                          <a:pt x="1102" y="116"/>
                        </a:lnTo>
                        <a:lnTo>
                          <a:pt x="1104" y="116"/>
                        </a:lnTo>
                        <a:lnTo>
                          <a:pt x="1104" y="114"/>
                        </a:lnTo>
                        <a:lnTo>
                          <a:pt x="1107" y="114"/>
                        </a:lnTo>
                        <a:lnTo>
                          <a:pt x="1109" y="114"/>
                        </a:lnTo>
                        <a:lnTo>
                          <a:pt x="1109" y="113"/>
                        </a:lnTo>
                        <a:lnTo>
                          <a:pt x="1110" y="113"/>
                        </a:lnTo>
                        <a:lnTo>
                          <a:pt x="1112" y="113"/>
                        </a:lnTo>
                        <a:lnTo>
                          <a:pt x="1113" y="114"/>
                        </a:lnTo>
                        <a:lnTo>
                          <a:pt x="1113" y="116"/>
                        </a:lnTo>
                        <a:lnTo>
                          <a:pt x="1113" y="118"/>
                        </a:lnTo>
                        <a:lnTo>
                          <a:pt x="1113" y="119"/>
                        </a:lnTo>
                        <a:lnTo>
                          <a:pt x="1113" y="122"/>
                        </a:lnTo>
                        <a:lnTo>
                          <a:pt x="1113" y="124"/>
                        </a:lnTo>
                        <a:lnTo>
                          <a:pt x="1115" y="124"/>
                        </a:lnTo>
                        <a:lnTo>
                          <a:pt x="1117" y="126"/>
                        </a:lnTo>
                        <a:lnTo>
                          <a:pt x="1118" y="127"/>
                        </a:lnTo>
                        <a:lnTo>
                          <a:pt x="1117" y="127"/>
                        </a:lnTo>
                        <a:lnTo>
                          <a:pt x="1115" y="127"/>
                        </a:lnTo>
                        <a:lnTo>
                          <a:pt x="1117" y="127"/>
                        </a:lnTo>
                        <a:lnTo>
                          <a:pt x="1118" y="127"/>
                        </a:lnTo>
                        <a:lnTo>
                          <a:pt x="1118" y="129"/>
                        </a:lnTo>
                        <a:lnTo>
                          <a:pt x="1120" y="130"/>
                        </a:lnTo>
                        <a:lnTo>
                          <a:pt x="1121" y="132"/>
                        </a:lnTo>
                        <a:lnTo>
                          <a:pt x="1123" y="133"/>
                        </a:lnTo>
                        <a:lnTo>
                          <a:pt x="1124" y="135"/>
                        </a:lnTo>
                        <a:lnTo>
                          <a:pt x="1124" y="137"/>
                        </a:lnTo>
                        <a:lnTo>
                          <a:pt x="1126" y="137"/>
                        </a:lnTo>
                        <a:lnTo>
                          <a:pt x="1128" y="137"/>
                        </a:lnTo>
                        <a:lnTo>
                          <a:pt x="1129" y="137"/>
                        </a:lnTo>
                        <a:lnTo>
                          <a:pt x="1129" y="138"/>
                        </a:lnTo>
                        <a:lnTo>
                          <a:pt x="1129" y="140"/>
                        </a:lnTo>
                        <a:lnTo>
                          <a:pt x="1128" y="141"/>
                        </a:lnTo>
                        <a:lnTo>
                          <a:pt x="1128" y="143"/>
                        </a:lnTo>
                        <a:lnTo>
                          <a:pt x="1129" y="143"/>
                        </a:lnTo>
                        <a:lnTo>
                          <a:pt x="1129" y="145"/>
                        </a:lnTo>
                        <a:lnTo>
                          <a:pt x="1131" y="146"/>
                        </a:lnTo>
                        <a:lnTo>
                          <a:pt x="1132" y="149"/>
                        </a:lnTo>
                        <a:lnTo>
                          <a:pt x="1134" y="151"/>
                        </a:lnTo>
                        <a:lnTo>
                          <a:pt x="1134" y="152"/>
                        </a:lnTo>
                        <a:lnTo>
                          <a:pt x="1134" y="154"/>
                        </a:lnTo>
                        <a:lnTo>
                          <a:pt x="1136" y="157"/>
                        </a:lnTo>
                        <a:lnTo>
                          <a:pt x="1137" y="157"/>
                        </a:lnTo>
                        <a:lnTo>
                          <a:pt x="1136" y="159"/>
                        </a:lnTo>
                        <a:lnTo>
                          <a:pt x="1134" y="159"/>
                        </a:lnTo>
                        <a:lnTo>
                          <a:pt x="1132" y="160"/>
                        </a:lnTo>
                        <a:lnTo>
                          <a:pt x="1131" y="162"/>
                        </a:lnTo>
                        <a:lnTo>
                          <a:pt x="1129" y="162"/>
                        </a:lnTo>
                        <a:lnTo>
                          <a:pt x="1128" y="162"/>
                        </a:lnTo>
                        <a:lnTo>
                          <a:pt x="1124" y="162"/>
                        </a:lnTo>
                        <a:lnTo>
                          <a:pt x="1123" y="162"/>
                        </a:lnTo>
                        <a:lnTo>
                          <a:pt x="1121" y="162"/>
                        </a:lnTo>
                        <a:lnTo>
                          <a:pt x="1118" y="164"/>
                        </a:lnTo>
                        <a:lnTo>
                          <a:pt x="1117" y="165"/>
                        </a:lnTo>
                        <a:lnTo>
                          <a:pt x="1113" y="167"/>
                        </a:lnTo>
                        <a:lnTo>
                          <a:pt x="1112" y="167"/>
                        </a:lnTo>
                        <a:lnTo>
                          <a:pt x="1110" y="168"/>
                        </a:lnTo>
                        <a:lnTo>
                          <a:pt x="1109" y="170"/>
                        </a:lnTo>
                        <a:lnTo>
                          <a:pt x="1104" y="168"/>
                        </a:lnTo>
                        <a:lnTo>
                          <a:pt x="1102" y="168"/>
                        </a:lnTo>
                        <a:lnTo>
                          <a:pt x="1099" y="167"/>
                        </a:lnTo>
                        <a:lnTo>
                          <a:pt x="1098" y="167"/>
                        </a:lnTo>
                        <a:lnTo>
                          <a:pt x="1096" y="167"/>
                        </a:lnTo>
                        <a:lnTo>
                          <a:pt x="1094" y="167"/>
                        </a:lnTo>
                        <a:lnTo>
                          <a:pt x="1093" y="167"/>
                        </a:lnTo>
                        <a:lnTo>
                          <a:pt x="1091" y="168"/>
                        </a:lnTo>
                        <a:lnTo>
                          <a:pt x="1090" y="168"/>
                        </a:lnTo>
                        <a:lnTo>
                          <a:pt x="1086" y="168"/>
                        </a:lnTo>
                        <a:lnTo>
                          <a:pt x="1082" y="168"/>
                        </a:lnTo>
                        <a:lnTo>
                          <a:pt x="1080" y="168"/>
                        </a:lnTo>
                        <a:lnTo>
                          <a:pt x="1079" y="167"/>
                        </a:lnTo>
                        <a:lnTo>
                          <a:pt x="1077" y="167"/>
                        </a:lnTo>
                        <a:lnTo>
                          <a:pt x="1075" y="167"/>
                        </a:lnTo>
                        <a:lnTo>
                          <a:pt x="1074" y="167"/>
                        </a:lnTo>
                        <a:lnTo>
                          <a:pt x="1072" y="167"/>
                        </a:lnTo>
                        <a:lnTo>
                          <a:pt x="1071" y="168"/>
                        </a:lnTo>
                        <a:lnTo>
                          <a:pt x="1069" y="171"/>
                        </a:lnTo>
                        <a:lnTo>
                          <a:pt x="1067" y="175"/>
                        </a:lnTo>
                        <a:lnTo>
                          <a:pt x="1066" y="176"/>
                        </a:lnTo>
                        <a:lnTo>
                          <a:pt x="1064" y="179"/>
                        </a:lnTo>
                        <a:lnTo>
                          <a:pt x="1064" y="181"/>
                        </a:lnTo>
                        <a:lnTo>
                          <a:pt x="1063" y="183"/>
                        </a:lnTo>
                        <a:lnTo>
                          <a:pt x="1064" y="184"/>
                        </a:lnTo>
                        <a:lnTo>
                          <a:pt x="1064" y="187"/>
                        </a:lnTo>
                        <a:lnTo>
                          <a:pt x="1066" y="189"/>
                        </a:lnTo>
                        <a:lnTo>
                          <a:pt x="1067" y="192"/>
                        </a:lnTo>
                        <a:lnTo>
                          <a:pt x="1069" y="195"/>
                        </a:lnTo>
                        <a:lnTo>
                          <a:pt x="1072" y="197"/>
                        </a:lnTo>
                        <a:lnTo>
                          <a:pt x="1074" y="198"/>
                        </a:lnTo>
                        <a:lnTo>
                          <a:pt x="1077" y="200"/>
                        </a:lnTo>
                        <a:lnTo>
                          <a:pt x="1083" y="202"/>
                        </a:lnTo>
                        <a:lnTo>
                          <a:pt x="1088" y="203"/>
                        </a:lnTo>
                        <a:lnTo>
                          <a:pt x="1091" y="202"/>
                        </a:lnTo>
                        <a:lnTo>
                          <a:pt x="1094" y="202"/>
                        </a:lnTo>
                        <a:lnTo>
                          <a:pt x="1098" y="200"/>
                        </a:lnTo>
                        <a:lnTo>
                          <a:pt x="1099" y="200"/>
                        </a:lnTo>
                        <a:lnTo>
                          <a:pt x="1102" y="200"/>
                        </a:lnTo>
                        <a:lnTo>
                          <a:pt x="1104" y="200"/>
                        </a:lnTo>
                        <a:lnTo>
                          <a:pt x="1107" y="202"/>
                        </a:lnTo>
                        <a:lnTo>
                          <a:pt x="1109" y="203"/>
                        </a:lnTo>
                        <a:lnTo>
                          <a:pt x="1110" y="203"/>
                        </a:lnTo>
                        <a:lnTo>
                          <a:pt x="1112" y="205"/>
                        </a:lnTo>
                        <a:lnTo>
                          <a:pt x="1112" y="206"/>
                        </a:lnTo>
                        <a:lnTo>
                          <a:pt x="1113" y="209"/>
                        </a:lnTo>
                        <a:lnTo>
                          <a:pt x="1113" y="211"/>
                        </a:lnTo>
                        <a:lnTo>
                          <a:pt x="1113" y="213"/>
                        </a:lnTo>
                        <a:lnTo>
                          <a:pt x="1112" y="214"/>
                        </a:lnTo>
                        <a:lnTo>
                          <a:pt x="1112" y="216"/>
                        </a:lnTo>
                        <a:lnTo>
                          <a:pt x="1112" y="217"/>
                        </a:lnTo>
                        <a:lnTo>
                          <a:pt x="1112" y="219"/>
                        </a:lnTo>
                        <a:lnTo>
                          <a:pt x="1112" y="221"/>
                        </a:lnTo>
                        <a:lnTo>
                          <a:pt x="1113" y="222"/>
                        </a:lnTo>
                        <a:lnTo>
                          <a:pt x="1115" y="225"/>
                        </a:lnTo>
                        <a:lnTo>
                          <a:pt x="1117" y="227"/>
                        </a:lnTo>
                        <a:lnTo>
                          <a:pt x="1118" y="228"/>
                        </a:lnTo>
                        <a:lnTo>
                          <a:pt x="1118" y="233"/>
                        </a:lnTo>
                        <a:lnTo>
                          <a:pt x="1118" y="236"/>
                        </a:lnTo>
                        <a:lnTo>
                          <a:pt x="1118" y="238"/>
                        </a:lnTo>
                        <a:lnTo>
                          <a:pt x="1117" y="240"/>
                        </a:lnTo>
                        <a:lnTo>
                          <a:pt x="1115" y="243"/>
                        </a:lnTo>
                        <a:lnTo>
                          <a:pt x="1113" y="246"/>
                        </a:lnTo>
                        <a:lnTo>
                          <a:pt x="1113" y="252"/>
                        </a:lnTo>
                        <a:lnTo>
                          <a:pt x="1113" y="254"/>
                        </a:lnTo>
                        <a:lnTo>
                          <a:pt x="1113" y="255"/>
                        </a:lnTo>
                        <a:lnTo>
                          <a:pt x="1115" y="255"/>
                        </a:lnTo>
                        <a:lnTo>
                          <a:pt x="1115" y="257"/>
                        </a:lnTo>
                        <a:lnTo>
                          <a:pt x="1117" y="259"/>
                        </a:lnTo>
                        <a:lnTo>
                          <a:pt x="1118" y="260"/>
                        </a:lnTo>
                        <a:lnTo>
                          <a:pt x="1118" y="262"/>
                        </a:lnTo>
                        <a:lnTo>
                          <a:pt x="1118" y="263"/>
                        </a:lnTo>
                        <a:lnTo>
                          <a:pt x="1118" y="265"/>
                        </a:lnTo>
                        <a:lnTo>
                          <a:pt x="1118" y="267"/>
                        </a:lnTo>
                        <a:lnTo>
                          <a:pt x="1117" y="268"/>
                        </a:lnTo>
                        <a:lnTo>
                          <a:pt x="1115" y="270"/>
                        </a:lnTo>
                        <a:lnTo>
                          <a:pt x="1115" y="271"/>
                        </a:lnTo>
                        <a:lnTo>
                          <a:pt x="1113" y="273"/>
                        </a:lnTo>
                        <a:lnTo>
                          <a:pt x="1113" y="274"/>
                        </a:lnTo>
                        <a:lnTo>
                          <a:pt x="1113" y="276"/>
                        </a:lnTo>
                        <a:lnTo>
                          <a:pt x="1115" y="278"/>
                        </a:lnTo>
                        <a:lnTo>
                          <a:pt x="1117" y="279"/>
                        </a:lnTo>
                        <a:lnTo>
                          <a:pt x="1118" y="282"/>
                        </a:lnTo>
                        <a:lnTo>
                          <a:pt x="1120" y="284"/>
                        </a:lnTo>
                        <a:lnTo>
                          <a:pt x="1120" y="287"/>
                        </a:lnTo>
                        <a:lnTo>
                          <a:pt x="1120" y="289"/>
                        </a:lnTo>
                        <a:lnTo>
                          <a:pt x="1118" y="290"/>
                        </a:lnTo>
                        <a:lnTo>
                          <a:pt x="1118" y="292"/>
                        </a:lnTo>
                        <a:lnTo>
                          <a:pt x="1118" y="293"/>
                        </a:lnTo>
                        <a:lnTo>
                          <a:pt x="1118" y="295"/>
                        </a:lnTo>
                        <a:lnTo>
                          <a:pt x="1118" y="297"/>
                        </a:lnTo>
                        <a:lnTo>
                          <a:pt x="1118" y="298"/>
                        </a:lnTo>
                        <a:lnTo>
                          <a:pt x="1118" y="300"/>
                        </a:lnTo>
                        <a:lnTo>
                          <a:pt x="1117" y="300"/>
                        </a:lnTo>
                        <a:lnTo>
                          <a:pt x="1117" y="301"/>
                        </a:lnTo>
                        <a:lnTo>
                          <a:pt x="1115" y="303"/>
                        </a:lnTo>
                        <a:lnTo>
                          <a:pt x="1115" y="305"/>
                        </a:lnTo>
                        <a:lnTo>
                          <a:pt x="1117" y="306"/>
                        </a:lnTo>
                        <a:lnTo>
                          <a:pt x="1120" y="308"/>
                        </a:lnTo>
                        <a:lnTo>
                          <a:pt x="1123" y="309"/>
                        </a:lnTo>
                        <a:lnTo>
                          <a:pt x="1124" y="311"/>
                        </a:lnTo>
                        <a:lnTo>
                          <a:pt x="1126" y="312"/>
                        </a:lnTo>
                        <a:lnTo>
                          <a:pt x="1126" y="314"/>
                        </a:lnTo>
                        <a:lnTo>
                          <a:pt x="1128" y="316"/>
                        </a:lnTo>
                        <a:lnTo>
                          <a:pt x="1126" y="317"/>
                        </a:lnTo>
                        <a:lnTo>
                          <a:pt x="1126" y="319"/>
                        </a:lnTo>
                        <a:lnTo>
                          <a:pt x="1124" y="320"/>
                        </a:lnTo>
                        <a:lnTo>
                          <a:pt x="1124" y="322"/>
                        </a:lnTo>
                        <a:lnTo>
                          <a:pt x="1123" y="324"/>
                        </a:lnTo>
                        <a:lnTo>
                          <a:pt x="1123" y="325"/>
                        </a:lnTo>
                        <a:lnTo>
                          <a:pt x="1124" y="327"/>
                        </a:lnTo>
                        <a:lnTo>
                          <a:pt x="1124" y="330"/>
                        </a:lnTo>
                        <a:lnTo>
                          <a:pt x="1124" y="333"/>
                        </a:lnTo>
                        <a:lnTo>
                          <a:pt x="1124" y="336"/>
                        </a:lnTo>
                        <a:lnTo>
                          <a:pt x="1124" y="338"/>
                        </a:lnTo>
                        <a:lnTo>
                          <a:pt x="1123" y="339"/>
                        </a:lnTo>
                        <a:lnTo>
                          <a:pt x="1118" y="344"/>
                        </a:lnTo>
                        <a:lnTo>
                          <a:pt x="1115" y="349"/>
                        </a:lnTo>
                        <a:lnTo>
                          <a:pt x="1113" y="352"/>
                        </a:lnTo>
                        <a:lnTo>
                          <a:pt x="1112" y="355"/>
                        </a:lnTo>
                        <a:lnTo>
                          <a:pt x="1112" y="358"/>
                        </a:lnTo>
                        <a:lnTo>
                          <a:pt x="1112" y="363"/>
                        </a:lnTo>
                        <a:lnTo>
                          <a:pt x="1112" y="365"/>
                        </a:lnTo>
                        <a:lnTo>
                          <a:pt x="1112" y="368"/>
                        </a:lnTo>
                        <a:lnTo>
                          <a:pt x="1112" y="369"/>
                        </a:lnTo>
                        <a:lnTo>
                          <a:pt x="1112" y="373"/>
                        </a:lnTo>
                        <a:lnTo>
                          <a:pt x="1112" y="376"/>
                        </a:lnTo>
                        <a:lnTo>
                          <a:pt x="1110" y="377"/>
                        </a:lnTo>
                        <a:lnTo>
                          <a:pt x="1109" y="381"/>
                        </a:lnTo>
                        <a:lnTo>
                          <a:pt x="1107" y="384"/>
                        </a:lnTo>
                        <a:lnTo>
                          <a:pt x="1105" y="385"/>
                        </a:lnTo>
                        <a:lnTo>
                          <a:pt x="1098" y="393"/>
                        </a:lnTo>
                        <a:lnTo>
                          <a:pt x="1090" y="400"/>
                        </a:lnTo>
                        <a:lnTo>
                          <a:pt x="1085" y="403"/>
                        </a:lnTo>
                        <a:lnTo>
                          <a:pt x="1079" y="409"/>
                        </a:lnTo>
                        <a:lnTo>
                          <a:pt x="1075" y="411"/>
                        </a:lnTo>
                        <a:lnTo>
                          <a:pt x="1072" y="412"/>
                        </a:lnTo>
                        <a:lnTo>
                          <a:pt x="1071" y="414"/>
                        </a:lnTo>
                        <a:lnTo>
                          <a:pt x="1071" y="415"/>
                        </a:lnTo>
                        <a:lnTo>
                          <a:pt x="1069" y="417"/>
                        </a:lnTo>
                        <a:lnTo>
                          <a:pt x="1071" y="419"/>
                        </a:lnTo>
                        <a:lnTo>
                          <a:pt x="1071" y="420"/>
                        </a:lnTo>
                        <a:lnTo>
                          <a:pt x="1072" y="420"/>
                        </a:lnTo>
                        <a:lnTo>
                          <a:pt x="1074" y="420"/>
                        </a:lnTo>
                        <a:lnTo>
                          <a:pt x="1074" y="422"/>
                        </a:lnTo>
                        <a:lnTo>
                          <a:pt x="1079" y="423"/>
                        </a:lnTo>
                        <a:lnTo>
                          <a:pt x="1080" y="423"/>
                        </a:lnTo>
                        <a:lnTo>
                          <a:pt x="1083" y="428"/>
                        </a:lnTo>
                        <a:lnTo>
                          <a:pt x="1086" y="430"/>
                        </a:lnTo>
                        <a:lnTo>
                          <a:pt x="1085" y="430"/>
                        </a:lnTo>
                        <a:lnTo>
                          <a:pt x="1085" y="431"/>
                        </a:lnTo>
                        <a:lnTo>
                          <a:pt x="1085" y="433"/>
                        </a:lnTo>
                        <a:lnTo>
                          <a:pt x="1083" y="439"/>
                        </a:lnTo>
                        <a:lnTo>
                          <a:pt x="1083" y="441"/>
                        </a:lnTo>
                        <a:lnTo>
                          <a:pt x="1083" y="442"/>
                        </a:lnTo>
                        <a:lnTo>
                          <a:pt x="1083" y="444"/>
                        </a:lnTo>
                        <a:lnTo>
                          <a:pt x="1086" y="446"/>
                        </a:lnTo>
                        <a:lnTo>
                          <a:pt x="1086" y="449"/>
                        </a:lnTo>
                        <a:lnTo>
                          <a:pt x="1086" y="450"/>
                        </a:lnTo>
                        <a:lnTo>
                          <a:pt x="1086" y="452"/>
                        </a:lnTo>
                        <a:lnTo>
                          <a:pt x="1088" y="452"/>
                        </a:lnTo>
                        <a:lnTo>
                          <a:pt x="1088" y="455"/>
                        </a:lnTo>
                        <a:lnTo>
                          <a:pt x="1090" y="457"/>
                        </a:lnTo>
                        <a:lnTo>
                          <a:pt x="1091" y="458"/>
                        </a:lnTo>
                        <a:lnTo>
                          <a:pt x="1093" y="460"/>
                        </a:lnTo>
                        <a:lnTo>
                          <a:pt x="1094" y="461"/>
                        </a:lnTo>
                        <a:lnTo>
                          <a:pt x="1094" y="463"/>
                        </a:lnTo>
                        <a:lnTo>
                          <a:pt x="1096" y="463"/>
                        </a:lnTo>
                        <a:lnTo>
                          <a:pt x="1096" y="469"/>
                        </a:lnTo>
                        <a:lnTo>
                          <a:pt x="1094" y="469"/>
                        </a:lnTo>
                        <a:lnTo>
                          <a:pt x="1094" y="471"/>
                        </a:lnTo>
                        <a:lnTo>
                          <a:pt x="1094" y="472"/>
                        </a:lnTo>
                        <a:lnTo>
                          <a:pt x="1094" y="474"/>
                        </a:lnTo>
                        <a:lnTo>
                          <a:pt x="1096" y="476"/>
                        </a:lnTo>
                        <a:lnTo>
                          <a:pt x="1098" y="477"/>
                        </a:lnTo>
                        <a:lnTo>
                          <a:pt x="1096" y="480"/>
                        </a:lnTo>
                        <a:lnTo>
                          <a:pt x="1098" y="482"/>
                        </a:lnTo>
                        <a:lnTo>
                          <a:pt x="1096" y="485"/>
                        </a:lnTo>
                        <a:lnTo>
                          <a:pt x="1094" y="487"/>
                        </a:lnTo>
                        <a:lnTo>
                          <a:pt x="1091" y="488"/>
                        </a:lnTo>
                        <a:lnTo>
                          <a:pt x="1090" y="488"/>
                        </a:lnTo>
                        <a:lnTo>
                          <a:pt x="1090" y="490"/>
                        </a:lnTo>
                        <a:lnTo>
                          <a:pt x="1088" y="490"/>
                        </a:lnTo>
                        <a:lnTo>
                          <a:pt x="1086" y="491"/>
                        </a:lnTo>
                        <a:lnTo>
                          <a:pt x="1085" y="491"/>
                        </a:lnTo>
                        <a:lnTo>
                          <a:pt x="1085" y="495"/>
                        </a:lnTo>
                        <a:lnTo>
                          <a:pt x="1083" y="495"/>
                        </a:lnTo>
                        <a:lnTo>
                          <a:pt x="1083" y="499"/>
                        </a:lnTo>
                        <a:lnTo>
                          <a:pt x="1083" y="501"/>
                        </a:lnTo>
                        <a:lnTo>
                          <a:pt x="1082" y="501"/>
                        </a:lnTo>
                        <a:lnTo>
                          <a:pt x="1082" y="503"/>
                        </a:lnTo>
                        <a:lnTo>
                          <a:pt x="1082" y="504"/>
                        </a:lnTo>
                        <a:lnTo>
                          <a:pt x="1080" y="507"/>
                        </a:lnTo>
                        <a:lnTo>
                          <a:pt x="1074" y="514"/>
                        </a:lnTo>
                        <a:lnTo>
                          <a:pt x="1071" y="517"/>
                        </a:lnTo>
                        <a:lnTo>
                          <a:pt x="1069" y="518"/>
                        </a:lnTo>
                        <a:lnTo>
                          <a:pt x="1069" y="520"/>
                        </a:lnTo>
                        <a:lnTo>
                          <a:pt x="1067" y="520"/>
                        </a:lnTo>
                        <a:lnTo>
                          <a:pt x="1064" y="523"/>
                        </a:lnTo>
                        <a:lnTo>
                          <a:pt x="1063" y="528"/>
                        </a:lnTo>
                        <a:lnTo>
                          <a:pt x="1061" y="531"/>
                        </a:lnTo>
                        <a:lnTo>
                          <a:pt x="1061" y="536"/>
                        </a:lnTo>
                        <a:lnTo>
                          <a:pt x="1061" y="541"/>
                        </a:lnTo>
                        <a:lnTo>
                          <a:pt x="1061" y="544"/>
                        </a:lnTo>
                        <a:lnTo>
                          <a:pt x="1060" y="547"/>
                        </a:lnTo>
                        <a:lnTo>
                          <a:pt x="1060" y="548"/>
                        </a:lnTo>
                        <a:lnTo>
                          <a:pt x="1058" y="550"/>
                        </a:lnTo>
                        <a:lnTo>
                          <a:pt x="1056" y="550"/>
                        </a:lnTo>
                        <a:lnTo>
                          <a:pt x="1055" y="550"/>
                        </a:lnTo>
                        <a:lnTo>
                          <a:pt x="1050" y="550"/>
                        </a:lnTo>
                        <a:lnTo>
                          <a:pt x="1047" y="548"/>
                        </a:lnTo>
                        <a:lnTo>
                          <a:pt x="1045" y="548"/>
                        </a:lnTo>
                        <a:lnTo>
                          <a:pt x="1044" y="548"/>
                        </a:lnTo>
                        <a:lnTo>
                          <a:pt x="1042" y="550"/>
                        </a:lnTo>
                        <a:lnTo>
                          <a:pt x="1034" y="555"/>
                        </a:lnTo>
                        <a:lnTo>
                          <a:pt x="1029" y="558"/>
                        </a:lnTo>
                        <a:lnTo>
                          <a:pt x="1026" y="560"/>
                        </a:lnTo>
                        <a:lnTo>
                          <a:pt x="1025" y="561"/>
                        </a:lnTo>
                        <a:lnTo>
                          <a:pt x="1023" y="561"/>
                        </a:lnTo>
                        <a:lnTo>
                          <a:pt x="1020" y="561"/>
                        </a:lnTo>
                        <a:lnTo>
                          <a:pt x="1015" y="566"/>
                        </a:lnTo>
                        <a:lnTo>
                          <a:pt x="1014" y="566"/>
                        </a:lnTo>
                        <a:lnTo>
                          <a:pt x="1012" y="566"/>
                        </a:lnTo>
                        <a:lnTo>
                          <a:pt x="1007" y="566"/>
                        </a:lnTo>
                        <a:lnTo>
                          <a:pt x="1006" y="566"/>
                        </a:lnTo>
                        <a:lnTo>
                          <a:pt x="1004" y="567"/>
                        </a:lnTo>
                        <a:lnTo>
                          <a:pt x="1003" y="567"/>
                        </a:lnTo>
                        <a:lnTo>
                          <a:pt x="1001" y="567"/>
                        </a:lnTo>
                        <a:lnTo>
                          <a:pt x="998" y="569"/>
                        </a:lnTo>
                        <a:lnTo>
                          <a:pt x="995" y="571"/>
                        </a:lnTo>
                        <a:lnTo>
                          <a:pt x="995" y="569"/>
                        </a:lnTo>
                        <a:lnTo>
                          <a:pt x="991" y="569"/>
                        </a:lnTo>
                        <a:lnTo>
                          <a:pt x="990" y="567"/>
                        </a:lnTo>
                        <a:lnTo>
                          <a:pt x="987" y="566"/>
                        </a:lnTo>
                        <a:lnTo>
                          <a:pt x="985" y="564"/>
                        </a:lnTo>
                        <a:lnTo>
                          <a:pt x="984" y="564"/>
                        </a:lnTo>
                        <a:lnTo>
                          <a:pt x="984" y="563"/>
                        </a:lnTo>
                        <a:lnTo>
                          <a:pt x="982" y="563"/>
                        </a:lnTo>
                        <a:lnTo>
                          <a:pt x="980" y="563"/>
                        </a:lnTo>
                        <a:lnTo>
                          <a:pt x="979" y="563"/>
                        </a:lnTo>
                        <a:lnTo>
                          <a:pt x="977" y="564"/>
                        </a:lnTo>
                        <a:lnTo>
                          <a:pt x="974" y="564"/>
                        </a:lnTo>
                        <a:lnTo>
                          <a:pt x="972" y="564"/>
                        </a:lnTo>
                        <a:lnTo>
                          <a:pt x="971" y="564"/>
                        </a:lnTo>
                        <a:lnTo>
                          <a:pt x="969" y="564"/>
                        </a:lnTo>
                        <a:lnTo>
                          <a:pt x="968" y="563"/>
                        </a:lnTo>
                        <a:lnTo>
                          <a:pt x="968" y="561"/>
                        </a:lnTo>
                        <a:lnTo>
                          <a:pt x="966" y="561"/>
                        </a:lnTo>
                        <a:lnTo>
                          <a:pt x="963" y="561"/>
                        </a:lnTo>
                        <a:lnTo>
                          <a:pt x="961" y="561"/>
                        </a:lnTo>
                        <a:lnTo>
                          <a:pt x="958" y="561"/>
                        </a:lnTo>
                        <a:lnTo>
                          <a:pt x="955" y="561"/>
                        </a:lnTo>
                        <a:lnTo>
                          <a:pt x="953" y="561"/>
                        </a:lnTo>
                        <a:lnTo>
                          <a:pt x="952" y="563"/>
                        </a:lnTo>
                        <a:lnTo>
                          <a:pt x="950" y="564"/>
                        </a:lnTo>
                        <a:lnTo>
                          <a:pt x="949" y="566"/>
                        </a:lnTo>
                        <a:lnTo>
                          <a:pt x="947" y="571"/>
                        </a:lnTo>
                        <a:lnTo>
                          <a:pt x="945" y="574"/>
                        </a:lnTo>
                        <a:lnTo>
                          <a:pt x="944" y="577"/>
                        </a:lnTo>
                        <a:lnTo>
                          <a:pt x="942" y="580"/>
                        </a:lnTo>
                        <a:lnTo>
                          <a:pt x="941" y="586"/>
                        </a:lnTo>
                        <a:lnTo>
                          <a:pt x="938" y="590"/>
                        </a:lnTo>
                        <a:lnTo>
                          <a:pt x="938" y="593"/>
                        </a:lnTo>
                        <a:lnTo>
                          <a:pt x="936" y="598"/>
                        </a:lnTo>
                        <a:lnTo>
                          <a:pt x="936" y="601"/>
                        </a:lnTo>
                        <a:lnTo>
                          <a:pt x="936" y="604"/>
                        </a:lnTo>
                        <a:lnTo>
                          <a:pt x="934" y="605"/>
                        </a:lnTo>
                        <a:lnTo>
                          <a:pt x="938" y="609"/>
                        </a:lnTo>
                        <a:lnTo>
                          <a:pt x="939" y="609"/>
                        </a:lnTo>
                        <a:lnTo>
                          <a:pt x="941" y="609"/>
                        </a:lnTo>
                        <a:lnTo>
                          <a:pt x="942" y="610"/>
                        </a:lnTo>
                        <a:lnTo>
                          <a:pt x="944" y="612"/>
                        </a:lnTo>
                        <a:lnTo>
                          <a:pt x="944" y="613"/>
                        </a:lnTo>
                        <a:lnTo>
                          <a:pt x="945" y="615"/>
                        </a:lnTo>
                        <a:lnTo>
                          <a:pt x="947" y="615"/>
                        </a:lnTo>
                        <a:lnTo>
                          <a:pt x="950" y="617"/>
                        </a:lnTo>
                        <a:lnTo>
                          <a:pt x="952" y="618"/>
                        </a:lnTo>
                        <a:lnTo>
                          <a:pt x="953" y="620"/>
                        </a:lnTo>
                        <a:lnTo>
                          <a:pt x="957" y="620"/>
                        </a:lnTo>
                        <a:lnTo>
                          <a:pt x="958" y="623"/>
                        </a:lnTo>
                        <a:lnTo>
                          <a:pt x="960" y="624"/>
                        </a:lnTo>
                        <a:lnTo>
                          <a:pt x="958" y="629"/>
                        </a:lnTo>
                        <a:lnTo>
                          <a:pt x="960" y="629"/>
                        </a:lnTo>
                        <a:lnTo>
                          <a:pt x="958" y="629"/>
                        </a:lnTo>
                        <a:lnTo>
                          <a:pt x="961" y="634"/>
                        </a:lnTo>
                        <a:lnTo>
                          <a:pt x="963" y="636"/>
                        </a:lnTo>
                        <a:lnTo>
                          <a:pt x="963" y="637"/>
                        </a:lnTo>
                        <a:lnTo>
                          <a:pt x="965" y="637"/>
                        </a:lnTo>
                        <a:lnTo>
                          <a:pt x="968" y="637"/>
                        </a:lnTo>
                        <a:lnTo>
                          <a:pt x="969" y="639"/>
                        </a:lnTo>
                        <a:lnTo>
                          <a:pt x="971" y="640"/>
                        </a:lnTo>
                        <a:lnTo>
                          <a:pt x="974" y="640"/>
                        </a:lnTo>
                        <a:lnTo>
                          <a:pt x="977" y="640"/>
                        </a:lnTo>
                        <a:lnTo>
                          <a:pt x="979" y="642"/>
                        </a:lnTo>
                        <a:lnTo>
                          <a:pt x="982" y="642"/>
                        </a:lnTo>
                        <a:lnTo>
                          <a:pt x="984" y="644"/>
                        </a:lnTo>
                        <a:lnTo>
                          <a:pt x="985" y="648"/>
                        </a:lnTo>
                        <a:lnTo>
                          <a:pt x="987" y="648"/>
                        </a:lnTo>
                        <a:lnTo>
                          <a:pt x="988" y="648"/>
                        </a:lnTo>
                        <a:lnTo>
                          <a:pt x="990" y="650"/>
                        </a:lnTo>
                        <a:lnTo>
                          <a:pt x="990" y="651"/>
                        </a:lnTo>
                        <a:lnTo>
                          <a:pt x="990" y="653"/>
                        </a:lnTo>
                        <a:lnTo>
                          <a:pt x="991" y="655"/>
                        </a:lnTo>
                        <a:lnTo>
                          <a:pt x="993" y="655"/>
                        </a:lnTo>
                        <a:lnTo>
                          <a:pt x="995" y="656"/>
                        </a:lnTo>
                        <a:lnTo>
                          <a:pt x="995" y="658"/>
                        </a:lnTo>
                        <a:lnTo>
                          <a:pt x="996" y="659"/>
                        </a:lnTo>
                        <a:lnTo>
                          <a:pt x="998" y="659"/>
                        </a:lnTo>
                        <a:lnTo>
                          <a:pt x="999" y="661"/>
                        </a:lnTo>
                        <a:lnTo>
                          <a:pt x="1001" y="663"/>
                        </a:lnTo>
                        <a:lnTo>
                          <a:pt x="1001" y="664"/>
                        </a:lnTo>
                        <a:lnTo>
                          <a:pt x="1004" y="664"/>
                        </a:lnTo>
                        <a:lnTo>
                          <a:pt x="1003" y="666"/>
                        </a:lnTo>
                        <a:lnTo>
                          <a:pt x="1003" y="667"/>
                        </a:lnTo>
                        <a:lnTo>
                          <a:pt x="1003" y="669"/>
                        </a:lnTo>
                        <a:lnTo>
                          <a:pt x="1003" y="670"/>
                        </a:lnTo>
                        <a:lnTo>
                          <a:pt x="1001" y="672"/>
                        </a:lnTo>
                        <a:lnTo>
                          <a:pt x="1001" y="674"/>
                        </a:lnTo>
                        <a:lnTo>
                          <a:pt x="999" y="675"/>
                        </a:lnTo>
                        <a:lnTo>
                          <a:pt x="999" y="680"/>
                        </a:lnTo>
                        <a:lnTo>
                          <a:pt x="999" y="682"/>
                        </a:lnTo>
                        <a:lnTo>
                          <a:pt x="999" y="683"/>
                        </a:lnTo>
                        <a:lnTo>
                          <a:pt x="999" y="686"/>
                        </a:lnTo>
                        <a:lnTo>
                          <a:pt x="999" y="688"/>
                        </a:lnTo>
                        <a:lnTo>
                          <a:pt x="999" y="689"/>
                        </a:lnTo>
                        <a:lnTo>
                          <a:pt x="996" y="691"/>
                        </a:lnTo>
                        <a:lnTo>
                          <a:pt x="993" y="696"/>
                        </a:lnTo>
                        <a:lnTo>
                          <a:pt x="987" y="704"/>
                        </a:lnTo>
                        <a:lnTo>
                          <a:pt x="985" y="705"/>
                        </a:lnTo>
                        <a:lnTo>
                          <a:pt x="980" y="704"/>
                        </a:lnTo>
                        <a:lnTo>
                          <a:pt x="979" y="704"/>
                        </a:lnTo>
                        <a:lnTo>
                          <a:pt x="974" y="710"/>
                        </a:lnTo>
                        <a:lnTo>
                          <a:pt x="969" y="708"/>
                        </a:lnTo>
                        <a:lnTo>
                          <a:pt x="965" y="710"/>
                        </a:lnTo>
                        <a:lnTo>
                          <a:pt x="963" y="710"/>
                        </a:lnTo>
                        <a:lnTo>
                          <a:pt x="961" y="710"/>
                        </a:lnTo>
                        <a:lnTo>
                          <a:pt x="958" y="708"/>
                        </a:lnTo>
                        <a:lnTo>
                          <a:pt x="957" y="708"/>
                        </a:lnTo>
                        <a:lnTo>
                          <a:pt x="953" y="710"/>
                        </a:lnTo>
                        <a:lnTo>
                          <a:pt x="952" y="710"/>
                        </a:lnTo>
                        <a:lnTo>
                          <a:pt x="950" y="712"/>
                        </a:lnTo>
                        <a:lnTo>
                          <a:pt x="950" y="713"/>
                        </a:lnTo>
                        <a:lnTo>
                          <a:pt x="952" y="715"/>
                        </a:lnTo>
                        <a:lnTo>
                          <a:pt x="950" y="715"/>
                        </a:lnTo>
                        <a:lnTo>
                          <a:pt x="949" y="721"/>
                        </a:lnTo>
                        <a:lnTo>
                          <a:pt x="949" y="723"/>
                        </a:lnTo>
                        <a:lnTo>
                          <a:pt x="952" y="726"/>
                        </a:lnTo>
                        <a:lnTo>
                          <a:pt x="950" y="727"/>
                        </a:lnTo>
                        <a:lnTo>
                          <a:pt x="950" y="729"/>
                        </a:lnTo>
                        <a:lnTo>
                          <a:pt x="949" y="732"/>
                        </a:lnTo>
                        <a:lnTo>
                          <a:pt x="947" y="732"/>
                        </a:lnTo>
                        <a:lnTo>
                          <a:pt x="942" y="735"/>
                        </a:lnTo>
                        <a:lnTo>
                          <a:pt x="939" y="735"/>
                        </a:lnTo>
                        <a:lnTo>
                          <a:pt x="936" y="734"/>
                        </a:lnTo>
                        <a:lnTo>
                          <a:pt x="934" y="734"/>
                        </a:lnTo>
                        <a:lnTo>
                          <a:pt x="930" y="731"/>
                        </a:lnTo>
                        <a:lnTo>
                          <a:pt x="926" y="732"/>
                        </a:lnTo>
                        <a:lnTo>
                          <a:pt x="925" y="732"/>
                        </a:lnTo>
                        <a:lnTo>
                          <a:pt x="915" y="732"/>
                        </a:lnTo>
                        <a:lnTo>
                          <a:pt x="915" y="734"/>
                        </a:lnTo>
                        <a:lnTo>
                          <a:pt x="914" y="734"/>
                        </a:lnTo>
                        <a:lnTo>
                          <a:pt x="907" y="742"/>
                        </a:lnTo>
                        <a:lnTo>
                          <a:pt x="909" y="753"/>
                        </a:lnTo>
                        <a:lnTo>
                          <a:pt x="904" y="753"/>
                        </a:lnTo>
                        <a:lnTo>
                          <a:pt x="901" y="753"/>
                        </a:lnTo>
                        <a:lnTo>
                          <a:pt x="896" y="754"/>
                        </a:lnTo>
                        <a:lnTo>
                          <a:pt x="895" y="753"/>
                        </a:lnTo>
                        <a:lnTo>
                          <a:pt x="887" y="751"/>
                        </a:lnTo>
                        <a:lnTo>
                          <a:pt x="884" y="748"/>
                        </a:lnTo>
                        <a:lnTo>
                          <a:pt x="879" y="745"/>
                        </a:lnTo>
                        <a:lnTo>
                          <a:pt x="869" y="742"/>
                        </a:lnTo>
                        <a:lnTo>
                          <a:pt x="868" y="740"/>
                        </a:lnTo>
                        <a:lnTo>
                          <a:pt x="858" y="734"/>
                        </a:lnTo>
                        <a:lnTo>
                          <a:pt x="855" y="734"/>
                        </a:lnTo>
                        <a:lnTo>
                          <a:pt x="854" y="734"/>
                        </a:lnTo>
                        <a:lnTo>
                          <a:pt x="852" y="735"/>
                        </a:lnTo>
                        <a:lnTo>
                          <a:pt x="849" y="737"/>
                        </a:lnTo>
                        <a:lnTo>
                          <a:pt x="849" y="739"/>
                        </a:lnTo>
                        <a:lnTo>
                          <a:pt x="846" y="746"/>
                        </a:lnTo>
                        <a:lnTo>
                          <a:pt x="839" y="750"/>
                        </a:lnTo>
                        <a:lnTo>
                          <a:pt x="836" y="753"/>
                        </a:lnTo>
                        <a:lnTo>
                          <a:pt x="833" y="754"/>
                        </a:lnTo>
                        <a:lnTo>
                          <a:pt x="831" y="754"/>
                        </a:lnTo>
                        <a:lnTo>
                          <a:pt x="831" y="758"/>
                        </a:lnTo>
                        <a:lnTo>
                          <a:pt x="830" y="761"/>
                        </a:lnTo>
                        <a:lnTo>
                          <a:pt x="828" y="764"/>
                        </a:lnTo>
                        <a:lnTo>
                          <a:pt x="825" y="767"/>
                        </a:lnTo>
                        <a:lnTo>
                          <a:pt x="824" y="769"/>
                        </a:lnTo>
                        <a:lnTo>
                          <a:pt x="820" y="770"/>
                        </a:lnTo>
                        <a:lnTo>
                          <a:pt x="806" y="777"/>
                        </a:lnTo>
                        <a:lnTo>
                          <a:pt x="800" y="777"/>
                        </a:lnTo>
                        <a:lnTo>
                          <a:pt x="795" y="777"/>
                        </a:lnTo>
                        <a:lnTo>
                          <a:pt x="792" y="778"/>
                        </a:lnTo>
                        <a:lnTo>
                          <a:pt x="790" y="781"/>
                        </a:lnTo>
                        <a:lnTo>
                          <a:pt x="784" y="781"/>
                        </a:lnTo>
                        <a:lnTo>
                          <a:pt x="782" y="781"/>
                        </a:lnTo>
                        <a:lnTo>
                          <a:pt x="779" y="781"/>
                        </a:lnTo>
                        <a:lnTo>
                          <a:pt x="778" y="781"/>
                        </a:lnTo>
                        <a:lnTo>
                          <a:pt x="776" y="780"/>
                        </a:lnTo>
                        <a:lnTo>
                          <a:pt x="773" y="781"/>
                        </a:lnTo>
                        <a:lnTo>
                          <a:pt x="771" y="781"/>
                        </a:lnTo>
                        <a:lnTo>
                          <a:pt x="770" y="780"/>
                        </a:lnTo>
                        <a:lnTo>
                          <a:pt x="768" y="780"/>
                        </a:lnTo>
                        <a:lnTo>
                          <a:pt x="765" y="788"/>
                        </a:lnTo>
                        <a:lnTo>
                          <a:pt x="763" y="791"/>
                        </a:lnTo>
                        <a:lnTo>
                          <a:pt x="765" y="792"/>
                        </a:lnTo>
                        <a:lnTo>
                          <a:pt x="770" y="792"/>
                        </a:lnTo>
                        <a:lnTo>
                          <a:pt x="771" y="792"/>
                        </a:lnTo>
                        <a:lnTo>
                          <a:pt x="771" y="794"/>
                        </a:lnTo>
                        <a:lnTo>
                          <a:pt x="770" y="796"/>
                        </a:lnTo>
                        <a:lnTo>
                          <a:pt x="768" y="799"/>
                        </a:lnTo>
                        <a:lnTo>
                          <a:pt x="768" y="802"/>
                        </a:lnTo>
                        <a:lnTo>
                          <a:pt x="768" y="807"/>
                        </a:lnTo>
                        <a:lnTo>
                          <a:pt x="766" y="808"/>
                        </a:lnTo>
                        <a:lnTo>
                          <a:pt x="765" y="810"/>
                        </a:lnTo>
                        <a:lnTo>
                          <a:pt x="765" y="813"/>
                        </a:lnTo>
                        <a:lnTo>
                          <a:pt x="765" y="815"/>
                        </a:lnTo>
                        <a:lnTo>
                          <a:pt x="763" y="816"/>
                        </a:lnTo>
                        <a:lnTo>
                          <a:pt x="760" y="819"/>
                        </a:lnTo>
                        <a:lnTo>
                          <a:pt x="760" y="821"/>
                        </a:lnTo>
                        <a:lnTo>
                          <a:pt x="762" y="824"/>
                        </a:lnTo>
                        <a:lnTo>
                          <a:pt x="760" y="830"/>
                        </a:lnTo>
                        <a:lnTo>
                          <a:pt x="759" y="832"/>
                        </a:lnTo>
                        <a:lnTo>
                          <a:pt x="757" y="834"/>
                        </a:lnTo>
                        <a:lnTo>
                          <a:pt x="757" y="837"/>
                        </a:lnTo>
                        <a:lnTo>
                          <a:pt x="759" y="838"/>
                        </a:lnTo>
                        <a:lnTo>
                          <a:pt x="757" y="843"/>
                        </a:lnTo>
                        <a:lnTo>
                          <a:pt x="757" y="846"/>
                        </a:lnTo>
                        <a:lnTo>
                          <a:pt x="757" y="848"/>
                        </a:lnTo>
                        <a:lnTo>
                          <a:pt x="755" y="853"/>
                        </a:lnTo>
                        <a:lnTo>
                          <a:pt x="754" y="857"/>
                        </a:lnTo>
                        <a:lnTo>
                          <a:pt x="751" y="862"/>
                        </a:lnTo>
                        <a:lnTo>
                          <a:pt x="747" y="865"/>
                        </a:lnTo>
                        <a:lnTo>
                          <a:pt x="747" y="867"/>
                        </a:lnTo>
                        <a:lnTo>
                          <a:pt x="743" y="872"/>
                        </a:lnTo>
                        <a:lnTo>
                          <a:pt x="738" y="876"/>
                        </a:lnTo>
                        <a:lnTo>
                          <a:pt x="727" y="868"/>
                        </a:lnTo>
                        <a:lnTo>
                          <a:pt x="721" y="862"/>
                        </a:lnTo>
                        <a:lnTo>
                          <a:pt x="719" y="861"/>
                        </a:lnTo>
                        <a:lnTo>
                          <a:pt x="713" y="861"/>
                        </a:lnTo>
                        <a:lnTo>
                          <a:pt x="711" y="861"/>
                        </a:lnTo>
                        <a:lnTo>
                          <a:pt x="708" y="862"/>
                        </a:lnTo>
                        <a:lnTo>
                          <a:pt x="706" y="864"/>
                        </a:lnTo>
                        <a:lnTo>
                          <a:pt x="706" y="865"/>
                        </a:lnTo>
                        <a:lnTo>
                          <a:pt x="705" y="868"/>
                        </a:lnTo>
                        <a:lnTo>
                          <a:pt x="705" y="870"/>
                        </a:lnTo>
                        <a:lnTo>
                          <a:pt x="706" y="873"/>
                        </a:lnTo>
                        <a:lnTo>
                          <a:pt x="706" y="875"/>
                        </a:lnTo>
                        <a:lnTo>
                          <a:pt x="705" y="878"/>
                        </a:lnTo>
                        <a:lnTo>
                          <a:pt x="703" y="880"/>
                        </a:lnTo>
                        <a:lnTo>
                          <a:pt x="700" y="880"/>
                        </a:lnTo>
                        <a:lnTo>
                          <a:pt x="695" y="880"/>
                        </a:lnTo>
                        <a:lnTo>
                          <a:pt x="694" y="880"/>
                        </a:lnTo>
                        <a:lnTo>
                          <a:pt x="692" y="878"/>
                        </a:lnTo>
                        <a:lnTo>
                          <a:pt x="686" y="873"/>
                        </a:lnTo>
                        <a:lnTo>
                          <a:pt x="684" y="868"/>
                        </a:lnTo>
                        <a:lnTo>
                          <a:pt x="683" y="864"/>
                        </a:lnTo>
                        <a:lnTo>
                          <a:pt x="678" y="848"/>
                        </a:lnTo>
                        <a:lnTo>
                          <a:pt x="676" y="845"/>
                        </a:lnTo>
                        <a:lnTo>
                          <a:pt x="675" y="843"/>
                        </a:lnTo>
                        <a:lnTo>
                          <a:pt x="673" y="842"/>
                        </a:lnTo>
                        <a:lnTo>
                          <a:pt x="671" y="840"/>
                        </a:lnTo>
                        <a:lnTo>
                          <a:pt x="668" y="838"/>
                        </a:lnTo>
                        <a:lnTo>
                          <a:pt x="667" y="838"/>
                        </a:lnTo>
                        <a:lnTo>
                          <a:pt x="665" y="838"/>
                        </a:lnTo>
                        <a:lnTo>
                          <a:pt x="664" y="838"/>
                        </a:lnTo>
                        <a:lnTo>
                          <a:pt x="657" y="842"/>
                        </a:lnTo>
                        <a:lnTo>
                          <a:pt x="652" y="843"/>
                        </a:lnTo>
                        <a:lnTo>
                          <a:pt x="648" y="843"/>
                        </a:lnTo>
                        <a:lnTo>
                          <a:pt x="643" y="845"/>
                        </a:lnTo>
                        <a:lnTo>
                          <a:pt x="641" y="845"/>
                        </a:lnTo>
                        <a:lnTo>
                          <a:pt x="630" y="845"/>
                        </a:lnTo>
                        <a:lnTo>
                          <a:pt x="627" y="846"/>
                        </a:lnTo>
                        <a:lnTo>
                          <a:pt x="626" y="848"/>
                        </a:lnTo>
                        <a:lnTo>
                          <a:pt x="622" y="848"/>
                        </a:lnTo>
                        <a:lnTo>
                          <a:pt x="621" y="846"/>
                        </a:lnTo>
                        <a:lnTo>
                          <a:pt x="618" y="842"/>
                        </a:lnTo>
                        <a:lnTo>
                          <a:pt x="616" y="840"/>
                        </a:lnTo>
                        <a:lnTo>
                          <a:pt x="614" y="834"/>
                        </a:lnTo>
                        <a:lnTo>
                          <a:pt x="614" y="832"/>
                        </a:lnTo>
                        <a:lnTo>
                          <a:pt x="613" y="830"/>
                        </a:lnTo>
                        <a:lnTo>
                          <a:pt x="614" y="827"/>
                        </a:lnTo>
                        <a:lnTo>
                          <a:pt x="613" y="824"/>
                        </a:lnTo>
                        <a:lnTo>
                          <a:pt x="613" y="823"/>
                        </a:lnTo>
                        <a:lnTo>
                          <a:pt x="613" y="816"/>
                        </a:lnTo>
                        <a:lnTo>
                          <a:pt x="613" y="811"/>
                        </a:lnTo>
                        <a:lnTo>
                          <a:pt x="621" y="805"/>
                        </a:lnTo>
                        <a:lnTo>
                          <a:pt x="622" y="802"/>
                        </a:lnTo>
                        <a:lnTo>
                          <a:pt x="622" y="799"/>
                        </a:lnTo>
                        <a:lnTo>
                          <a:pt x="624" y="794"/>
                        </a:lnTo>
                        <a:lnTo>
                          <a:pt x="622" y="791"/>
                        </a:lnTo>
                        <a:lnTo>
                          <a:pt x="621" y="789"/>
                        </a:lnTo>
                        <a:lnTo>
                          <a:pt x="614" y="786"/>
                        </a:lnTo>
                        <a:lnTo>
                          <a:pt x="613" y="786"/>
                        </a:lnTo>
                        <a:lnTo>
                          <a:pt x="611" y="786"/>
                        </a:lnTo>
                        <a:lnTo>
                          <a:pt x="594" y="786"/>
                        </a:lnTo>
                        <a:lnTo>
                          <a:pt x="591" y="789"/>
                        </a:lnTo>
                        <a:lnTo>
                          <a:pt x="589" y="791"/>
                        </a:lnTo>
                        <a:lnTo>
                          <a:pt x="589" y="792"/>
                        </a:lnTo>
                        <a:lnTo>
                          <a:pt x="591" y="794"/>
                        </a:lnTo>
                        <a:lnTo>
                          <a:pt x="594" y="799"/>
                        </a:lnTo>
                        <a:lnTo>
                          <a:pt x="599" y="800"/>
                        </a:lnTo>
                        <a:lnTo>
                          <a:pt x="599" y="802"/>
                        </a:lnTo>
                        <a:lnTo>
                          <a:pt x="599" y="803"/>
                        </a:lnTo>
                        <a:lnTo>
                          <a:pt x="599" y="805"/>
                        </a:lnTo>
                        <a:lnTo>
                          <a:pt x="597" y="807"/>
                        </a:lnTo>
                        <a:lnTo>
                          <a:pt x="592" y="815"/>
                        </a:lnTo>
                        <a:lnTo>
                          <a:pt x="588" y="821"/>
                        </a:lnTo>
                        <a:lnTo>
                          <a:pt x="583" y="823"/>
                        </a:lnTo>
                        <a:lnTo>
                          <a:pt x="578" y="823"/>
                        </a:lnTo>
                        <a:lnTo>
                          <a:pt x="576" y="821"/>
                        </a:lnTo>
                        <a:lnTo>
                          <a:pt x="575" y="821"/>
                        </a:lnTo>
                        <a:lnTo>
                          <a:pt x="572" y="819"/>
                        </a:lnTo>
                        <a:lnTo>
                          <a:pt x="572" y="818"/>
                        </a:lnTo>
                        <a:lnTo>
                          <a:pt x="572" y="816"/>
                        </a:lnTo>
                        <a:lnTo>
                          <a:pt x="570" y="815"/>
                        </a:lnTo>
                        <a:lnTo>
                          <a:pt x="570" y="813"/>
                        </a:lnTo>
                        <a:lnTo>
                          <a:pt x="568" y="811"/>
                        </a:lnTo>
                        <a:lnTo>
                          <a:pt x="567" y="810"/>
                        </a:lnTo>
                        <a:lnTo>
                          <a:pt x="565" y="810"/>
                        </a:lnTo>
                        <a:lnTo>
                          <a:pt x="565" y="808"/>
                        </a:lnTo>
                        <a:lnTo>
                          <a:pt x="564" y="805"/>
                        </a:lnTo>
                        <a:lnTo>
                          <a:pt x="559" y="805"/>
                        </a:lnTo>
                        <a:lnTo>
                          <a:pt x="557" y="803"/>
                        </a:lnTo>
                        <a:lnTo>
                          <a:pt x="556" y="802"/>
                        </a:lnTo>
                        <a:lnTo>
                          <a:pt x="554" y="800"/>
                        </a:lnTo>
                        <a:lnTo>
                          <a:pt x="553" y="802"/>
                        </a:lnTo>
                        <a:lnTo>
                          <a:pt x="554" y="807"/>
                        </a:lnTo>
                        <a:lnTo>
                          <a:pt x="551" y="808"/>
                        </a:lnTo>
                        <a:lnTo>
                          <a:pt x="549" y="813"/>
                        </a:lnTo>
                        <a:lnTo>
                          <a:pt x="548" y="813"/>
                        </a:lnTo>
                        <a:lnTo>
                          <a:pt x="548" y="815"/>
                        </a:lnTo>
                        <a:lnTo>
                          <a:pt x="546" y="813"/>
                        </a:lnTo>
                        <a:lnTo>
                          <a:pt x="543" y="811"/>
                        </a:lnTo>
                        <a:lnTo>
                          <a:pt x="538" y="810"/>
                        </a:lnTo>
                        <a:lnTo>
                          <a:pt x="535" y="807"/>
                        </a:lnTo>
                        <a:lnTo>
                          <a:pt x="532" y="807"/>
                        </a:lnTo>
                        <a:lnTo>
                          <a:pt x="530" y="808"/>
                        </a:lnTo>
                        <a:lnTo>
                          <a:pt x="529" y="810"/>
                        </a:lnTo>
                        <a:lnTo>
                          <a:pt x="529" y="811"/>
                        </a:lnTo>
                        <a:lnTo>
                          <a:pt x="529" y="815"/>
                        </a:lnTo>
                        <a:lnTo>
                          <a:pt x="529" y="816"/>
                        </a:lnTo>
                        <a:lnTo>
                          <a:pt x="524" y="823"/>
                        </a:lnTo>
                        <a:lnTo>
                          <a:pt x="523" y="823"/>
                        </a:lnTo>
                        <a:lnTo>
                          <a:pt x="519" y="821"/>
                        </a:lnTo>
                        <a:lnTo>
                          <a:pt x="518" y="823"/>
                        </a:lnTo>
                        <a:lnTo>
                          <a:pt x="518" y="826"/>
                        </a:lnTo>
                        <a:lnTo>
                          <a:pt x="515" y="827"/>
                        </a:lnTo>
                        <a:lnTo>
                          <a:pt x="513" y="829"/>
                        </a:lnTo>
                        <a:lnTo>
                          <a:pt x="508" y="829"/>
                        </a:lnTo>
                        <a:lnTo>
                          <a:pt x="507" y="829"/>
                        </a:lnTo>
                        <a:lnTo>
                          <a:pt x="507" y="827"/>
                        </a:lnTo>
                        <a:lnTo>
                          <a:pt x="507" y="823"/>
                        </a:lnTo>
                        <a:lnTo>
                          <a:pt x="504" y="823"/>
                        </a:lnTo>
                        <a:lnTo>
                          <a:pt x="502" y="823"/>
                        </a:lnTo>
                        <a:lnTo>
                          <a:pt x="499" y="823"/>
                        </a:lnTo>
                        <a:lnTo>
                          <a:pt x="496" y="818"/>
                        </a:lnTo>
                        <a:lnTo>
                          <a:pt x="491" y="805"/>
                        </a:lnTo>
                        <a:lnTo>
                          <a:pt x="488" y="802"/>
                        </a:lnTo>
                        <a:lnTo>
                          <a:pt x="486" y="797"/>
                        </a:lnTo>
                        <a:lnTo>
                          <a:pt x="481" y="794"/>
                        </a:lnTo>
                        <a:lnTo>
                          <a:pt x="481" y="792"/>
                        </a:lnTo>
                        <a:lnTo>
                          <a:pt x="480" y="789"/>
                        </a:lnTo>
                        <a:lnTo>
                          <a:pt x="480" y="786"/>
                        </a:lnTo>
                        <a:lnTo>
                          <a:pt x="478" y="784"/>
                        </a:lnTo>
                        <a:lnTo>
                          <a:pt x="475" y="783"/>
                        </a:lnTo>
                        <a:lnTo>
                          <a:pt x="473" y="783"/>
                        </a:lnTo>
                        <a:lnTo>
                          <a:pt x="467" y="781"/>
                        </a:lnTo>
                        <a:lnTo>
                          <a:pt x="459" y="781"/>
                        </a:lnTo>
                        <a:lnTo>
                          <a:pt x="459" y="784"/>
                        </a:lnTo>
                        <a:lnTo>
                          <a:pt x="459" y="789"/>
                        </a:lnTo>
                        <a:lnTo>
                          <a:pt x="459" y="792"/>
                        </a:lnTo>
                        <a:lnTo>
                          <a:pt x="456" y="792"/>
                        </a:lnTo>
                        <a:lnTo>
                          <a:pt x="453" y="791"/>
                        </a:lnTo>
                        <a:lnTo>
                          <a:pt x="451" y="789"/>
                        </a:lnTo>
                        <a:lnTo>
                          <a:pt x="451" y="781"/>
                        </a:lnTo>
                        <a:lnTo>
                          <a:pt x="448" y="780"/>
                        </a:lnTo>
                        <a:lnTo>
                          <a:pt x="445" y="780"/>
                        </a:lnTo>
                        <a:lnTo>
                          <a:pt x="442" y="781"/>
                        </a:lnTo>
                        <a:lnTo>
                          <a:pt x="442" y="780"/>
                        </a:lnTo>
                        <a:lnTo>
                          <a:pt x="443" y="775"/>
                        </a:lnTo>
                        <a:lnTo>
                          <a:pt x="442" y="772"/>
                        </a:lnTo>
                        <a:lnTo>
                          <a:pt x="440" y="772"/>
                        </a:lnTo>
                        <a:lnTo>
                          <a:pt x="439" y="773"/>
                        </a:lnTo>
                        <a:lnTo>
                          <a:pt x="437" y="773"/>
                        </a:lnTo>
                        <a:lnTo>
                          <a:pt x="435" y="773"/>
                        </a:lnTo>
                        <a:lnTo>
                          <a:pt x="431" y="762"/>
                        </a:lnTo>
                        <a:lnTo>
                          <a:pt x="432" y="762"/>
                        </a:lnTo>
                        <a:lnTo>
                          <a:pt x="437" y="762"/>
                        </a:lnTo>
                        <a:lnTo>
                          <a:pt x="443" y="764"/>
                        </a:lnTo>
                        <a:lnTo>
                          <a:pt x="448" y="764"/>
                        </a:lnTo>
                        <a:lnTo>
                          <a:pt x="450" y="762"/>
                        </a:lnTo>
                        <a:lnTo>
                          <a:pt x="450" y="761"/>
                        </a:lnTo>
                        <a:lnTo>
                          <a:pt x="447" y="758"/>
                        </a:lnTo>
                        <a:lnTo>
                          <a:pt x="445" y="753"/>
                        </a:lnTo>
                        <a:lnTo>
                          <a:pt x="447" y="746"/>
                        </a:lnTo>
                        <a:lnTo>
                          <a:pt x="447" y="745"/>
                        </a:lnTo>
                        <a:lnTo>
                          <a:pt x="445" y="742"/>
                        </a:lnTo>
                        <a:lnTo>
                          <a:pt x="447" y="739"/>
                        </a:lnTo>
                        <a:lnTo>
                          <a:pt x="450" y="735"/>
                        </a:lnTo>
                        <a:lnTo>
                          <a:pt x="450" y="734"/>
                        </a:lnTo>
                        <a:lnTo>
                          <a:pt x="450" y="732"/>
                        </a:lnTo>
                        <a:lnTo>
                          <a:pt x="448" y="732"/>
                        </a:lnTo>
                        <a:lnTo>
                          <a:pt x="445" y="731"/>
                        </a:lnTo>
                        <a:lnTo>
                          <a:pt x="440" y="726"/>
                        </a:lnTo>
                        <a:lnTo>
                          <a:pt x="437" y="726"/>
                        </a:lnTo>
                        <a:lnTo>
                          <a:pt x="434" y="727"/>
                        </a:lnTo>
                        <a:lnTo>
                          <a:pt x="431" y="727"/>
                        </a:lnTo>
                        <a:lnTo>
                          <a:pt x="429" y="727"/>
                        </a:lnTo>
                        <a:lnTo>
                          <a:pt x="428" y="724"/>
                        </a:lnTo>
                        <a:lnTo>
                          <a:pt x="424" y="721"/>
                        </a:lnTo>
                        <a:lnTo>
                          <a:pt x="424" y="718"/>
                        </a:lnTo>
                        <a:lnTo>
                          <a:pt x="424" y="715"/>
                        </a:lnTo>
                        <a:lnTo>
                          <a:pt x="423" y="715"/>
                        </a:lnTo>
                        <a:lnTo>
                          <a:pt x="423" y="713"/>
                        </a:lnTo>
                        <a:lnTo>
                          <a:pt x="413" y="712"/>
                        </a:lnTo>
                        <a:lnTo>
                          <a:pt x="410" y="713"/>
                        </a:lnTo>
                        <a:lnTo>
                          <a:pt x="407" y="713"/>
                        </a:lnTo>
                        <a:lnTo>
                          <a:pt x="402" y="708"/>
                        </a:lnTo>
                        <a:lnTo>
                          <a:pt x="393" y="710"/>
                        </a:lnTo>
                        <a:lnTo>
                          <a:pt x="391" y="707"/>
                        </a:lnTo>
                        <a:lnTo>
                          <a:pt x="389" y="705"/>
                        </a:lnTo>
                        <a:lnTo>
                          <a:pt x="385" y="705"/>
                        </a:lnTo>
                        <a:lnTo>
                          <a:pt x="377" y="699"/>
                        </a:lnTo>
                        <a:lnTo>
                          <a:pt x="372" y="696"/>
                        </a:lnTo>
                        <a:lnTo>
                          <a:pt x="369" y="696"/>
                        </a:lnTo>
                        <a:lnTo>
                          <a:pt x="366" y="699"/>
                        </a:lnTo>
                        <a:lnTo>
                          <a:pt x="363" y="701"/>
                        </a:lnTo>
                        <a:lnTo>
                          <a:pt x="361" y="702"/>
                        </a:lnTo>
                        <a:lnTo>
                          <a:pt x="361" y="705"/>
                        </a:lnTo>
                        <a:lnTo>
                          <a:pt x="361" y="707"/>
                        </a:lnTo>
                        <a:lnTo>
                          <a:pt x="359" y="708"/>
                        </a:lnTo>
                        <a:lnTo>
                          <a:pt x="358" y="708"/>
                        </a:lnTo>
                        <a:lnTo>
                          <a:pt x="356" y="707"/>
                        </a:lnTo>
                        <a:lnTo>
                          <a:pt x="355" y="704"/>
                        </a:lnTo>
                        <a:lnTo>
                          <a:pt x="347" y="702"/>
                        </a:lnTo>
                        <a:lnTo>
                          <a:pt x="344" y="701"/>
                        </a:lnTo>
                        <a:lnTo>
                          <a:pt x="339" y="696"/>
                        </a:lnTo>
                        <a:lnTo>
                          <a:pt x="339" y="694"/>
                        </a:lnTo>
                        <a:lnTo>
                          <a:pt x="336" y="689"/>
                        </a:lnTo>
                        <a:lnTo>
                          <a:pt x="336" y="688"/>
                        </a:lnTo>
                        <a:lnTo>
                          <a:pt x="336" y="686"/>
                        </a:lnTo>
                        <a:lnTo>
                          <a:pt x="336" y="685"/>
                        </a:lnTo>
                        <a:lnTo>
                          <a:pt x="340" y="683"/>
                        </a:lnTo>
                        <a:lnTo>
                          <a:pt x="342" y="678"/>
                        </a:lnTo>
                        <a:lnTo>
                          <a:pt x="344" y="677"/>
                        </a:lnTo>
                        <a:lnTo>
                          <a:pt x="344" y="674"/>
                        </a:lnTo>
                        <a:lnTo>
                          <a:pt x="342" y="672"/>
                        </a:lnTo>
                        <a:lnTo>
                          <a:pt x="340" y="667"/>
                        </a:lnTo>
                        <a:lnTo>
                          <a:pt x="342" y="666"/>
                        </a:lnTo>
                        <a:lnTo>
                          <a:pt x="342" y="664"/>
                        </a:lnTo>
                        <a:lnTo>
                          <a:pt x="345" y="664"/>
                        </a:lnTo>
                        <a:lnTo>
                          <a:pt x="350" y="663"/>
                        </a:lnTo>
                        <a:lnTo>
                          <a:pt x="351" y="661"/>
                        </a:lnTo>
                        <a:lnTo>
                          <a:pt x="351" y="659"/>
                        </a:lnTo>
                        <a:lnTo>
                          <a:pt x="350" y="658"/>
                        </a:lnTo>
                        <a:lnTo>
                          <a:pt x="344" y="655"/>
                        </a:lnTo>
                        <a:lnTo>
                          <a:pt x="342" y="655"/>
                        </a:lnTo>
                        <a:lnTo>
                          <a:pt x="342" y="653"/>
                        </a:lnTo>
                        <a:lnTo>
                          <a:pt x="342" y="651"/>
                        </a:lnTo>
                        <a:lnTo>
                          <a:pt x="342" y="648"/>
                        </a:lnTo>
                        <a:lnTo>
                          <a:pt x="340" y="647"/>
                        </a:lnTo>
                        <a:lnTo>
                          <a:pt x="339" y="647"/>
                        </a:lnTo>
                        <a:lnTo>
                          <a:pt x="336" y="645"/>
                        </a:lnTo>
                        <a:lnTo>
                          <a:pt x="329" y="642"/>
                        </a:lnTo>
                        <a:lnTo>
                          <a:pt x="326" y="640"/>
                        </a:lnTo>
                        <a:lnTo>
                          <a:pt x="326" y="632"/>
                        </a:lnTo>
                        <a:lnTo>
                          <a:pt x="326" y="629"/>
                        </a:lnTo>
                        <a:lnTo>
                          <a:pt x="325" y="626"/>
                        </a:lnTo>
                        <a:lnTo>
                          <a:pt x="326" y="623"/>
                        </a:lnTo>
                        <a:lnTo>
                          <a:pt x="328" y="623"/>
                        </a:lnTo>
                        <a:lnTo>
                          <a:pt x="334" y="624"/>
                        </a:lnTo>
                        <a:lnTo>
                          <a:pt x="340" y="628"/>
                        </a:lnTo>
                        <a:lnTo>
                          <a:pt x="340" y="624"/>
                        </a:lnTo>
                        <a:lnTo>
                          <a:pt x="339" y="621"/>
                        </a:lnTo>
                        <a:lnTo>
                          <a:pt x="342" y="617"/>
                        </a:lnTo>
                        <a:lnTo>
                          <a:pt x="342" y="615"/>
                        </a:lnTo>
                        <a:lnTo>
                          <a:pt x="337" y="612"/>
                        </a:lnTo>
                        <a:lnTo>
                          <a:pt x="337" y="609"/>
                        </a:lnTo>
                        <a:lnTo>
                          <a:pt x="337" y="605"/>
                        </a:lnTo>
                        <a:lnTo>
                          <a:pt x="336" y="604"/>
                        </a:lnTo>
                        <a:lnTo>
                          <a:pt x="331" y="602"/>
                        </a:lnTo>
                        <a:lnTo>
                          <a:pt x="329" y="602"/>
                        </a:lnTo>
                        <a:lnTo>
                          <a:pt x="328" y="601"/>
                        </a:lnTo>
                        <a:lnTo>
                          <a:pt x="325" y="598"/>
                        </a:lnTo>
                        <a:lnTo>
                          <a:pt x="323" y="594"/>
                        </a:lnTo>
                        <a:lnTo>
                          <a:pt x="323" y="593"/>
                        </a:lnTo>
                        <a:lnTo>
                          <a:pt x="321" y="591"/>
                        </a:lnTo>
                        <a:lnTo>
                          <a:pt x="318" y="591"/>
                        </a:lnTo>
                        <a:lnTo>
                          <a:pt x="317" y="590"/>
                        </a:lnTo>
                        <a:lnTo>
                          <a:pt x="315" y="590"/>
                        </a:lnTo>
                        <a:lnTo>
                          <a:pt x="312" y="591"/>
                        </a:lnTo>
                        <a:lnTo>
                          <a:pt x="309" y="590"/>
                        </a:lnTo>
                        <a:lnTo>
                          <a:pt x="307" y="588"/>
                        </a:lnTo>
                        <a:lnTo>
                          <a:pt x="306" y="586"/>
                        </a:lnTo>
                        <a:lnTo>
                          <a:pt x="306" y="585"/>
                        </a:lnTo>
                        <a:lnTo>
                          <a:pt x="306" y="583"/>
                        </a:lnTo>
                        <a:lnTo>
                          <a:pt x="307" y="582"/>
                        </a:lnTo>
                        <a:lnTo>
                          <a:pt x="310" y="579"/>
                        </a:lnTo>
                        <a:lnTo>
                          <a:pt x="313" y="571"/>
                        </a:lnTo>
                        <a:lnTo>
                          <a:pt x="317" y="566"/>
                        </a:lnTo>
                        <a:lnTo>
                          <a:pt x="312" y="566"/>
                        </a:lnTo>
                        <a:lnTo>
                          <a:pt x="310" y="566"/>
                        </a:lnTo>
                        <a:lnTo>
                          <a:pt x="309" y="567"/>
                        </a:lnTo>
                        <a:lnTo>
                          <a:pt x="304" y="567"/>
                        </a:lnTo>
                        <a:lnTo>
                          <a:pt x="302" y="569"/>
                        </a:lnTo>
                        <a:lnTo>
                          <a:pt x="299" y="572"/>
                        </a:lnTo>
                        <a:lnTo>
                          <a:pt x="296" y="572"/>
                        </a:lnTo>
                        <a:lnTo>
                          <a:pt x="293" y="575"/>
                        </a:lnTo>
                        <a:lnTo>
                          <a:pt x="293" y="577"/>
                        </a:lnTo>
                        <a:lnTo>
                          <a:pt x="291" y="580"/>
                        </a:lnTo>
                        <a:lnTo>
                          <a:pt x="290" y="580"/>
                        </a:lnTo>
                        <a:lnTo>
                          <a:pt x="288" y="580"/>
                        </a:lnTo>
                        <a:lnTo>
                          <a:pt x="287" y="579"/>
                        </a:lnTo>
                        <a:lnTo>
                          <a:pt x="282" y="580"/>
                        </a:lnTo>
                        <a:lnTo>
                          <a:pt x="280" y="580"/>
                        </a:lnTo>
                        <a:lnTo>
                          <a:pt x="280" y="579"/>
                        </a:lnTo>
                        <a:lnTo>
                          <a:pt x="279" y="577"/>
                        </a:lnTo>
                        <a:lnTo>
                          <a:pt x="280" y="575"/>
                        </a:lnTo>
                        <a:lnTo>
                          <a:pt x="288" y="567"/>
                        </a:lnTo>
                        <a:lnTo>
                          <a:pt x="290" y="566"/>
                        </a:lnTo>
                        <a:lnTo>
                          <a:pt x="290" y="564"/>
                        </a:lnTo>
                        <a:lnTo>
                          <a:pt x="287" y="564"/>
                        </a:lnTo>
                        <a:lnTo>
                          <a:pt x="282" y="566"/>
                        </a:lnTo>
                        <a:lnTo>
                          <a:pt x="279" y="563"/>
                        </a:lnTo>
                        <a:lnTo>
                          <a:pt x="277" y="564"/>
                        </a:lnTo>
                        <a:lnTo>
                          <a:pt x="275" y="564"/>
                        </a:lnTo>
                        <a:lnTo>
                          <a:pt x="272" y="564"/>
                        </a:lnTo>
                        <a:lnTo>
                          <a:pt x="269" y="563"/>
                        </a:lnTo>
                        <a:lnTo>
                          <a:pt x="269" y="558"/>
                        </a:lnTo>
                        <a:lnTo>
                          <a:pt x="271" y="553"/>
                        </a:lnTo>
                        <a:lnTo>
                          <a:pt x="274" y="555"/>
                        </a:lnTo>
                        <a:lnTo>
                          <a:pt x="279" y="553"/>
                        </a:lnTo>
                        <a:lnTo>
                          <a:pt x="280" y="555"/>
                        </a:lnTo>
                        <a:lnTo>
                          <a:pt x="282" y="556"/>
                        </a:lnTo>
                        <a:lnTo>
                          <a:pt x="283" y="558"/>
                        </a:lnTo>
                        <a:lnTo>
                          <a:pt x="285" y="556"/>
                        </a:lnTo>
                        <a:lnTo>
                          <a:pt x="287" y="556"/>
                        </a:lnTo>
                        <a:lnTo>
                          <a:pt x="290" y="556"/>
                        </a:lnTo>
                        <a:lnTo>
                          <a:pt x="291" y="553"/>
                        </a:lnTo>
                        <a:lnTo>
                          <a:pt x="288" y="548"/>
                        </a:lnTo>
                        <a:lnTo>
                          <a:pt x="277" y="547"/>
                        </a:lnTo>
                        <a:lnTo>
                          <a:pt x="272" y="544"/>
                        </a:lnTo>
                        <a:lnTo>
                          <a:pt x="269" y="542"/>
                        </a:lnTo>
                        <a:lnTo>
                          <a:pt x="269" y="539"/>
                        </a:lnTo>
                        <a:lnTo>
                          <a:pt x="269" y="536"/>
                        </a:lnTo>
                        <a:lnTo>
                          <a:pt x="269" y="534"/>
                        </a:lnTo>
                        <a:lnTo>
                          <a:pt x="269" y="533"/>
                        </a:lnTo>
                        <a:lnTo>
                          <a:pt x="271" y="529"/>
                        </a:lnTo>
                        <a:lnTo>
                          <a:pt x="272" y="525"/>
                        </a:lnTo>
                        <a:lnTo>
                          <a:pt x="272" y="523"/>
                        </a:lnTo>
                        <a:lnTo>
                          <a:pt x="274" y="520"/>
                        </a:lnTo>
                        <a:lnTo>
                          <a:pt x="274" y="518"/>
                        </a:lnTo>
                        <a:lnTo>
                          <a:pt x="272" y="517"/>
                        </a:lnTo>
                        <a:lnTo>
                          <a:pt x="260" y="520"/>
                        </a:lnTo>
                        <a:lnTo>
                          <a:pt x="258" y="520"/>
                        </a:lnTo>
                        <a:lnTo>
                          <a:pt x="255" y="522"/>
                        </a:lnTo>
                        <a:lnTo>
                          <a:pt x="250" y="522"/>
                        </a:lnTo>
                        <a:lnTo>
                          <a:pt x="249" y="520"/>
                        </a:lnTo>
                        <a:lnTo>
                          <a:pt x="249" y="518"/>
                        </a:lnTo>
                        <a:lnTo>
                          <a:pt x="249" y="517"/>
                        </a:lnTo>
                        <a:lnTo>
                          <a:pt x="250" y="517"/>
                        </a:lnTo>
                        <a:lnTo>
                          <a:pt x="258" y="514"/>
                        </a:lnTo>
                        <a:lnTo>
                          <a:pt x="261" y="507"/>
                        </a:lnTo>
                        <a:lnTo>
                          <a:pt x="263" y="506"/>
                        </a:lnTo>
                        <a:lnTo>
                          <a:pt x="263" y="504"/>
                        </a:lnTo>
                        <a:lnTo>
                          <a:pt x="264" y="501"/>
                        </a:lnTo>
                        <a:lnTo>
                          <a:pt x="264" y="499"/>
                        </a:lnTo>
                        <a:lnTo>
                          <a:pt x="264" y="495"/>
                        </a:lnTo>
                        <a:lnTo>
                          <a:pt x="261" y="490"/>
                        </a:lnTo>
                        <a:lnTo>
                          <a:pt x="260" y="491"/>
                        </a:lnTo>
                        <a:lnTo>
                          <a:pt x="256" y="496"/>
                        </a:lnTo>
                        <a:lnTo>
                          <a:pt x="255" y="496"/>
                        </a:lnTo>
                        <a:lnTo>
                          <a:pt x="244" y="501"/>
                        </a:lnTo>
                        <a:lnTo>
                          <a:pt x="247" y="493"/>
                        </a:lnTo>
                        <a:lnTo>
                          <a:pt x="252" y="488"/>
                        </a:lnTo>
                        <a:lnTo>
                          <a:pt x="253" y="484"/>
                        </a:lnTo>
                        <a:lnTo>
                          <a:pt x="249" y="484"/>
                        </a:lnTo>
                        <a:lnTo>
                          <a:pt x="245" y="480"/>
                        </a:lnTo>
                        <a:lnTo>
                          <a:pt x="244" y="476"/>
                        </a:lnTo>
                        <a:lnTo>
                          <a:pt x="245" y="472"/>
                        </a:lnTo>
                        <a:lnTo>
                          <a:pt x="249" y="471"/>
                        </a:lnTo>
                        <a:lnTo>
                          <a:pt x="253" y="469"/>
                        </a:lnTo>
                        <a:lnTo>
                          <a:pt x="256" y="465"/>
                        </a:lnTo>
                        <a:lnTo>
                          <a:pt x="258" y="463"/>
                        </a:lnTo>
                        <a:lnTo>
                          <a:pt x="255" y="460"/>
                        </a:lnTo>
                        <a:lnTo>
                          <a:pt x="245" y="458"/>
                        </a:lnTo>
                        <a:lnTo>
                          <a:pt x="244" y="457"/>
                        </a:lnTo>
                        <a:lnTo>
                          <a:pt x="245" y="455"/>
                        </a:lnTo>
                        <a:lnTo>
                          <a:pt x="247" y="453"/>
                        </a:lnTo>
                        <a:lnTo>
                          <a:pt x="249" y="450"/>
                        </a:lnTo>
                        <a:lnTo>
                          <a:pt x="250" y="442"/>
                        </a:lnTo>
                        <a:lnTo>
                          <a:pt x="249" y="442"/>
                        </a:lnTo>
                        <a:lnTo>
                          <a:pt x="242" y="446"/>
                        </a:lnTo>
                        <a:lnTo>
                          <a:pt x="239" y="441"/>
                        </a:lnTo>
                        <a:lnTo>
                          <a:pt x="237" y="441"/>
                        </a:lnTo>
                        <a:lnTo>
                          <a:pt x="237" y="444"/>
                        </a:lnTo>
                        <a:lnTo>
                          <a:pt x="234" y="446"/>
                        </a:lnTo>
                        <a:lnTo>
                          <a:pt x="230" y="450"/>
                        </a:lnTo>
                        <a:lnTo>
                          <a:pt x="228" y="452"/>
                        </a:lnTo>
                        <a:lnTo>
                          <a:pt x="222" y="455"/>
                        </a:lnTo>
                        <a:lnTo>
                          <a:pt x="218" y="455"/>
                        </a:lnTo>
                        <a:lnTo>
                          <a:pt x="214" y="453"/>
                        </a:lnTo>
                        <a:lnTo>
                          <a:pt x="211" y="450"/>
                        </a:lnTo>
                        <a:lnTo>
                          <a:pt x="203" y="455"/>
                        </a:lnTo>
                        <a:lnTo>
                          <a:pt x="201" y="450"/>
                        </a:lnTo>
                        <a:lnTo>
                          <a:pt x="204" y="446"/>
                        </a:lnTo>
                        <a:lnTo>
                          <a:pt x="201" y="444"/>
                        </a:lnTo>
                        <a:lnTo>
                          <a:pt x="198" y="442"/>
                        </a:lnTo>
                        <a:lnTo>
                          <a:pt x="191" y="439"/>
                        </a:lnTo>
                        <a:lnTo>
                          <a:pt x="190" y="438"/>
                        </a:lnTo>
                        <a:lnTo>
                          <a:pt x="191" y="436"/>
                        </a:lnTo>
                        <a:lnTo>
                          <a:pt x="191" y="431"/>
                        </a:lnTo>
                        <a:lnTo>
                          <a:pt x="190" y="431"/>
                        </a:lnTo>
                        <a:lnTo>
                          <a:pt x="182" y="439"/>
                        </a:lnTo>
                        <a:lnTo>
                          <a:pt x="176" y="436"/>
                        </a:lnTo>
                        <a:lnTo>
                          <a:pt x="171" y="436"/>
                        </a:lnTo>
                        <a:lnTo>
                          <a:pt x="168" y="436"/>
                        </a:lnTo>
                        <a:lnTo>
                          <a:pt x="165" y="436"/>
                        </a:lnTo>
                        <a:lnTo>
                          <a:pt x="160" y="438"/>
                        </a:lnTo>
                        <a:lnTo>
                          <a:pt x="155" y="439"/>
                        </a:lnTo>
                        <a:lnTo>
                          <a:pt x="153" y="438"/>
                        </a:lnTo>
                        <a:lnTo>
                          <a:pt x="152" y="436"/>
                        </a:lnTo>
                        <a:lnTo>
                          <a:pt x="149" y="436"/>
                        </a:lnTo>
                        <a:lnTo>
                          <a:pt x="147" y="436"/>
                        </a:lnTo>
                        <a:lnTo>
                          <a:pt x="146" y="436"/>
                        </a:lnTo>
                        <a:lnTo>
                          <a:pt x="146" y="439"/>
                        </a:lnTo>
                        <a:lnTo>
                          <a:pt x="142" y="439"/>
                        </a:lnTo>
                        <a:lnTo>
                          <a:pt x="141" y="438"/>
                        </a:lnTo>
                        <a:lnTo>
                          <a:pt x="136" y="433"/>
                        </a:lnTo>
                        <a:lnTo>
                          <a:pt x="134" y="433"/>
                        </a:lnTo>
                        <a:lnTo>
                          <a:pt x="131" y="434"/>
                        </a:lnTo>
                        <a:lnTo>
                          <a:pt x="130" y="434"/>
                        </a:lnTo>
                        <a:lnTo>
                          <a:pt x="130" y="436"/>
                        </a:lnTo>
                        <a:lnTo>
                          <a:pt x="131" y="438"/>
                        </a:lnTo>
                        <a:lnTo>
                          <a:pt x="133" y="438"/>
                        </a:lnTo>
                        <a:lnTo>
                          <a:pt x="133" y="441"/>
                        </a:lnTo>
                        <a:lnTo>
                          <a:pt x="131" y="442"/>
                        </a:lnTo>
                        <a:lnTo>
                          <a:pt x="130" y="442"/>
                        </a:lnTo>
                        <a:lnTo>
                          <a:pt x="130" y="441"/>
                        </a:lnTo>
                        <a:lnTo>
                          <a:pt x="128" y="441"/>
                        </a:lnTo>
                        <a:lnTo>
                          <a:pt x="125" y="444"/>
                        </a:lnTo>
                        <a:lnTo>
                          <a:pt x="122" y="444"/>
                        </a:lnTo>
                        <a:lnTo>
                          <a:pt x="117" y="449"/>
                        </a:lnTo>
                        <a:lnTo>
                          <a:pt x="115" y="449"/>
                        </a:lnTo>
                        <a:lnTo>
                          <a:pt x="112" y="449"/>
                        </a:lnTo>
                        <a:lnTo>
                          <a:pt x="106" y="446"/>
                        </a:lnTo>
                        <a:lnTo>
                          <a:pt x="103" y="444"/>
                        </a:lnTo>
                        <a:lnTo>
                          <a:pt x="101" y="444"/>
                        </a:lnTo>
                        <a:lnTo>
                          <a:pt x="101" y="442"/>
                        </a:lnTo>
                        <a:lnTo>
                          <a:pt x="103" y="441"/>
                        </a:lnTo>
                        <a:lnTo>
                          <a:pt x="101" y="441"/>
                        </a:lnTo>
                        <a:lnTo>
                          <a:pt x="100" y="441"/>
                        </a:lnTo>
                        <a:lnTo>
                          <a:pt x="98" y="442"/>
                        </a:lnTo>
                        <a:lnTo>
                          <a:pt x="93" y="453"/>
                        </a:lnTo>
                        <a:lnTo>
                          <a:pt x="92" y="455"/>
                        </a:lnTo>
                        <a:lnTo>
                          <a:pt x="90" y="453"/>
                        </a:lnTo>
                        <a:lnTo>
                          <a:pt x="89" y="453"/>
                        </a:lnTo>
                        <a:lnTo>
                          <a:pt x="84" y="449"/>
                        </a:lnTo>
                        <a:lnTo>
                          <a:pt x="77" y="450"/>
                        </a:lnTo>
                        <a:lnTo>
                          <a:pt x="74" y="449"/>
                        </a:lnTo>
                        <a:lnTo>
                          <a:pt x="68" y="449"/>
                        </a:lnTo>
                        <a:lnTo>
                          <a:pt x="65" y="444"/>
                        </a:lnTo>
                        <a:lnTo>
                          <a:pt x="62" y="441"/>
                        </a:lnTo>
                        <a:lnTo>
                          <a:pt x="58" y="441"/>
                        </a:lnTo>
                        <a:lnTo>
                          <a:pt x="58" y="434"/>
                        </a:lnTo>
                        <a:lnTo>
                          <a:pt x="57" y="433"/>
                        </a:lnTo>
                        <a:lnTo>
                          <a:pt x="55" y="431"/>
                        </a:lnTo>
                        <a:lnTo>
                          <a:pt x="52" y="431"/>
                        </a:lnTo>
                        <a:lnTo>
                          <a:pt x="49" y="433"/>
                        </a:lnTo>
                        <a:lnTo>
                          <a:pt x="47" y="433"/>
                        </a:lnTo>
                        <a:lnTo>
                          <a:pt x="46" y="430"/>
                        </a:lnTo>
                        <a:lnTo>
                          <a:pt x="44" y="425"/>
                        </a:lnTo>
                        <a:lnTo>
                          <a:pt x="44" y="423"/>
                        </a:lnTo>
                        <a:lnTo>
                          <a:pt x="44" y="422"/>
                        </a:lnTo>
                        <a:lnTo>
                          <a:pt x="41" y="420"/>
                        </a:lnTo>
                        <a:lnTo>
                          <a:pt x="35" y="419"/>
                        </a:lnTo>
                        <a:lnTo>
                          <a:pt x="30" y="417"/>
                        </a:lnTo>
                        <a:lnTo>
                          <a:pt x="28" y="414"/>
                        </a:lnTo>
                        <a:lnTo>
                          <a:pt x="28" y="412"/>
                        </a:lnTo>
                        <a:lnTo>
                          <a:pt x="32" y="411"/>
                        </a:lnTo>
                        <a:lnTo>
                          <a:pt x="32" y="409"/>
                        </a:lnTo>
                        <a:lnTo>
                          <a:pt x="32" y="407"/>
                        </a:lnTo>
                        <a:lnTo>
                          <a:pt x="33" y="407"/>
                        </a:lnTo>
                        <a:lnTo>
                          <a:pt x="32" y="406"/>
                        </a:lnTo>
                        <a:lnTo>
                          <a:pt x="30" y="403"/>
                        </a:lnTo>
                        <a:lnTo>
                          <a:pt x="30" y="400"/>
                        </a:lnTo>
                        <a:lnTo>
                          <a:pt x="28" y="398"/>
                        </a:lnTo>
                        <a:lnTo>
                          <a:pt x="24" y="398"/>
                        </a:lnTo>
                        <a:lnTo>
                          <a:pt x="22" y="400"/>
                        </a:lnTo>
                        <a:lnTo>
                          <a:pt x="19" y="398"/>
                        </a:lnTo>
                        <a:lnTo>
                          <a:pt x="17" y="396"/>
                        </a:lnTo>
                        <a:lnTo>
                          <a:pt x="19" y="393"/>
                        </a:lnTo>
                        <a:lnTo>
                          <a:pt x="11" y="379"/>
                        </a:lnTo>
                        <a:lnTo>
                          <a:pt x="9" y="377"/>
                        </a:lnTo>
                        <a:lnTo>
                          <a:pt x="6" y="374"/>
                        </a:lnTo>
                        <a:lnTo>
                          <a:pt x="5" y="373"/>
                        </a:lnTo>
                        <a:lnTo>
                          <a:pt x="5" y="368"/>
                        </a:lnTo>
                        <a:lnTo>
                          <a:pt x="3" y="369"/>
                        </a:lnTo>
                        <a:lnTo>
                          <a:pt x="0" y="369"/>
                        </a:lnTo>
                        <a:lnTo>
                          <a:pt x="0" y="368"/>
                        </a:lnTo>
                        <a:lnTo>
                          <a:pt x="1" y="366"/>
                        </a:lnTo>
                        <a:lnTo>
                          <a:pt x="0" y="363"/>
                        </a:lnTo>
                        <a:lnTo>
                          <a:pt x="0" y="362"/>
                        </a:lnTo>
                        <a:lnTo>
                          <a:pt x="0" y="360"/>
                        </a:lnTo>
                        <a:lnTo>
                          <a:pt x="0" y="357"/>
                        </a:lnTo>
                        <a:lnTo>
                          <a:pt x="3" y="352"/>
                        </a:lnTo>
                        <a:lnTo>
                          <a:pt x="3" y="350"/>
                        </a:lnTo>
                        <a:lnTo>
                          <a:pt x="1" y="347"/>
                        </a:lnTo>
                        <a:lnTo>
                          <a:pt x="1" y="346"/>
                        </a:lnTo>
                        <a:lnTo>
                          <a:pt x="3" y="344"/>
                        </a:lnTo>
                        <a:lnTo>
                          <a:pt x="5" y="343"/>
                        </a:lnTo>
                        <a:lnTo>
                          <a:pt x="5" y="341"/>
                        </a:lnTo>
                        <a:lnTo>
                          <a:pt x="5" y="339"/>
                        </a:lnTo>
                        <a:lnTo>
                          <a:pt x="6" y="339"/>
                        </a:lnTo>
                        <a:lnTo>
                          <a:pt x="6" y="338"/>
                        </a:lnTo>
                        <a:lnTo>
                          <a:pt x="9" y="335"/>
                        </a:lnTo>
                        <a:lnTo>
                          <a:pt x="11" y="333"/>
                        </a:lnTo>
                        <a:lnTo>
                          <a:pt x="12" y="328"/>
                        </a:lnTo>
                        <a:lnTo>
                          <a:pt x="14" y="327"/>
                        </a:lnTo>
                        <a:lnTo>
                          <a:pt x="14" y="325"/>
                        </a:lnTo>
                        <a:lnTo>
                          <a:pt x="16" y="319"/>
                        </a:lnTo>
                        <a:lnTo>
                          <a:pt x="17" y="317"/>
                        </a:lnTo>
                        <a:lnTo>
                          <a:pt x="20" y="311"/>
                        </a:lnTo>
                        <a:lnTo>
                          <a:pt x="22" y="305"/>
                        </a:lnTo>
                        <a:lnTo>
                          <a:pt x="25" y="293"/>
                        </a:lnTo>
                        <a:lnTo>
                          <a:pt x="27" y="290"/>
                        </a:lnTo>
                        <a:lnTo>
                          <a:pt x="28" y="289"/>
                        </a:lnTo>
                        <a:lnTo>
                          <a:pt x="30" y="287"/>
                        </a:lnTo>
                        <a:lnTo>
                          <a:pt x="32" y="284"/>
                        </a:lnTo>
                        <a:lnTo>
                          <a:pt x="30" y="278"/>
                        </a:lnTo>
                        <a:lnTo>
                          <a:pt x="27" y="273"/>
                        </a:lnTo>
                        <a:lnTo>
                          <a:pt x="32" y="265"/>
                        </a:lnTo>
                        <a:lnTo>
                          <a:pt x="32" y="262"/>
                        </a:lnTo>
                        <a:lnTo>
                          <a:pt x="32" y="260"/>
                        </a:lnTo>
                        <a:lnTo>
                          <a:pt x="32" y="259"/>
                        </a:lnTo>
                        <a:lnTo>
                          <a:pt x="32" y="257"/>
                        </a:lnTo>
                        <a:lnTo>
                          <a:pt x="28" y="255"/>
                        </a:lnTo>
                        <a:lnTo>
                          <a:pt x="25" y="254"/>
                        </a:lnTo>
                        <a:lnTo>
                          <a:pt x="24" y="252"/>
                        </a:lnTo>
                        <a:lnTo>
                          <a:pt x="22" y="251"/>
                        </a:lnTo>
                        <a:lnTo>
                          <a:pt x="22" y="246"/>
                        </a:lnTo>
                        <a:lnTo>
                          <a:pt x="22" y="244"/>
                        </a:lnTo>
                        <a:lnTo>
                          <a:pt x="24" y="243"/>
                        </a:lnTo>
                        <a:lnTo>
                          <a:pt x="24" y="233"/>
                        </a:lnTo>
                        <a:lnTo>
                          <a:pt x="24" y="224"/>
                        </a:lnTo>
                        <a:lnTo>
                          <a:pt x="25" y="187"/>
                        </a:lnTo>
                        <a:lnTo>
                          <a:pt x="25" y="186"/>
                        </a:lnTo>
                        <a:lnTo>
                          <a:pt x="27" y="184"/>
                        </a:lnTo>
                        <a:lnTo>
                          <a:pt x="30" y="176"/>
                        </a:lnTo>
                        <a:lnTo>
                          <a:pt x="27" y="162"/>
                        </a:lnTo>
                        <a:lnTo>
                          <a:pt x="28" y="162"/>
                        </a:lnTo>
                        <a:lnTo>
                          <a:pt x="32" y="160"/>
                        </a:lnTo>
                        <a:lnTo>
                          <a:pt x="36" y="159"/>
                        </a:lnTo>
                        <a:lnTo>
                          <a:pt x="39" y="159"/>
                        </a:lnTo>
                        <a:lnTo>
                          <a:pt x="41" y="156"/>
                        </a:lnTo>
                        <a:lnTo>
                          <a:pt x="43" y="156"/>
                        </a:lnTo>
                        <a:lnTo>
                          <a:pt x="43" y="152"/>
                        </a:lnTo>
                        <a:lnTo>
                          <a:pt x="43" y="148"/>
                        </a:lnTo>
                        <a:lnTo>
                          <a:pt x="44" y="143"/>
                        </a:lnTo>
                        <a:lnTo>
                          <a:pt x="44" y="141"/>
                        </a:lnTo>
                        <a:lnTo>
                          <a:pt x="46" y="140"/>
                        </a:lnTo>
                        <a:lnTo>
                          <a:pt x="46" y="135"/>
                        </a:lnTo>
                        <a:lnTo>
                          <a:pt x="47" y="133"/>
                        </a:lnTo>
                        <a:lnTo>
                          <a:pt x="49" y="130"/>
                        </a:lnTo>
                        <a:lnTo>
                          <a:pt x="51" y="129"/>
                        </a:lnTo>
                        <a:lnTo>
                          <a:pt x="51" y="127"/>
                        </a:lnTo>
                        <a:lnTo>
                          <a:pt x="52" y="126"/>
                        </a:lnTo>
                        <a:lnTo>
                          <a:pt x="55" y="122"/>
                        </a:lnTo>
                        <a:lnTo>
                          <a:pt x="57" y="114"/>
                        </a:lnTo>
                        <a:lnTo>
                          <a:pt x="58" y="105"/>
                        </a:lnTo>
                        <a:lnTo>
                          <a:pt x="57" y="102"/>
                        </a:lnTo>
                        <a:lnTo>
                          <a:pt x="55" y="100"/>
                        </a:lnTo>
                        <a:lnTo>
                          <a:pt x="54" y="97"/>
                        </a:lnTo>
                        <a:lnTo>
                          <a:pt x="52" y="97"/>
                        </a:lnTo>
                        <a:lnTo>
                          <a:pt x="51" y="95"/>
                        </a:lnTo>
                        <a:lnTo>
                          <a:pt x="46" y="94"/>
                        </a:lnTo>
                        <a:lnTo>
                          <a:pt x="44" y="92"/>
                        </a:lnTo>
                        <a:lnTo>
                          <a:pt x="43" y="92"/>
                        </a:lnTo>
                        <a:lnTo>
                          <a:pt x="33" y="72"/>
                        </a:lnTo>
                        <a:lnTo>
                          <a:pt x="33" y="54"/>
                        </a:lnTo>
                        <a:lnTo>
                          <a:pt x="30" y="49"/>
                        </a:lnTo>
                        <a:lnTo>
                          <a:pt x="30" y="37"/>
                        </a:lnTo>
                        <a:lnTo>
                          <a:pt x="28" y="35"/>
                        </a:lnTo>
                        <a:lnTo>
                          <a:pt x="24" y="34"/>
                        </a:lnTo>
                        <a:lnTo>
                          <a:pt x="22" y="34"/>
                        </a:lnTo>
                        <a:lnTo>
                          <a:pt x="19" y="32"/>
                        </a:lnTo>
                        <a:lnTo>
                          <a:pt x="17" y="30"/>
                        </a:lnTo>
                        <a:lnTo>
                          <a:pt x="17" y="29"/>
                        </a:lnTo>
                        <a:lnTo>
                          <a:pt x="17" y="27"/>
                        </a:lnTo>
                        <a:lnTo>
                          <a:pt x="19" y="26"/>
                        </a:lnTo>
                        <a:lnTo>
                          <a:pt x="19" y="21"/>
                        </a:lnTo>
                        <a:lnTo>
                          <a:pt x="19" y="18"/>
                        </a:lnTo>
                        <a:lnTo>
                          <a:pt x="19" y="16"/>
                        </a:lnTo>
                        <a:lnTo>
                          <a:pt x="14" y="2"/>
                        </a:lnTo>
                        <a:lnTo>
                          <a:pt x="27" y="0"/>
                        </a:lnTo>
                        <a:lnTo>
                          <a:pt x="44" y="0"/>
                        </a:lnTo>
                        <a:lnTo>
                          <a:pt x="51" y="0"/>
                        </a:lnTo>
                        <a:lnTo>
                          <a:pt x="55" y="0"/>
                        </a:lnTo>
                        <a:lnTo>
                          <a:pt x="57" y="2"/>
                        </a:lnTo>
                        <a:lnTo>
                          <a:pt x="63" y="2"/>
                        </a:lnTo>
                        <a:lnTo>
                          <a:pt x="66" y="4"/>
                        </a:lnTo>
                        <a:lnTo>
                          <a:pt x="71" y="7"/>
                        </a:lnTo>
                        <a:lnTo>
                          <a:pt x="74" y="8"/>
                        </a:lnTo>
                        <a:lnTo>
                          <a:pt x="77" y="11"/>
                        </a:lnTo>
                        <a:lnTo>
                          <a:pt x="79" y="13"/>
                        </a:lnTo>
                        <a:lnTo>
                          <a:pt x="74" y="13"/>
                        </a:lnTo>
                        <a:lnTo>
                          <a:pt x="74" y="15"/>
                        </a:lnTo>
                        <a:lnTo>
                          <a:pt x="76" y="16"/>
                        </a:lnTo>
                        <a:lnTo>
                          <a:pt x="76" y="18"/>
                        </a:lnTo>
                        <a:lnTo>
                          <a:pt x="77" y="18"/>
                        </a:lnTo>
                        <a:lnTo>
                          <a:pt x="79" y="19"/>
                        </a:lnTo>
                        <a:lnTo>
                          <a:pt x="81" y="21"/>
                        </a:lnTo>
                        <a:lnTo>
                          <a:pt x="81" y="23"/>
                        </a:lnTo>
                        <a:lnTo>
                          <a:pt x="82" y="23"/>
                        </a:lnTo>
                        <a:lnTo>
                          <a:pt x="84" y="24"/>
                        </a:lnTo>
                        <a:lnTo>
                          <a:pt x="85" y="26"/>
                        </a:lnTo>
                        <a:lnTo>
                          <a:pt x="87" y="27"/>
                        </a:lnTo>
                        <a:lnTo>
                          <a:pt x="89" y="29"/>
                        </a:lnTo>
                        <a:lnTo>
                          <a:pt x="90" y="29"/>
                        </a:lnTo>
                        <a:lnTo>
                          <a:pt x="93" y="30"/>
                        </a:lnTo>
                        <a:lnTo>
                          <a:pt x="95" y="32"/>
                        </a:lnTo>
                        <a:lnTo>
                          <a:pt x="96" y="34"/>
                        </a:lnTo>
                        <a:lnTo>
                          <a:pt x="98" y="34"/>
                        </a:lnTo>
                        <a:lnTo>
                          <a:pt x="100" y="34"/>
                        </a:lnTo>
                        <a:lnTo>
                          <a:pt x="101" y="35"/>
                        </a:lnTo>
                        <a:lnTo>
                          <a:pt x="103" y="37"/>
                        </a:lnTo>
                        <a:lnTo>
                          <a:pt x="104" y="38"/>
                        </a:lnTo>
                        <a:lnTo>
                          <a:pt x="106" y="38"/>
                        </a:lnTo>
                        <a:lnTo>
                          <a:pt x="108" y="40"/>
                        </a:lnTo>
                        <a:lnTo>
                          <a:pt x="109" y="40"/>
                        </a:lnTo>
                        <a:lnTo>
                          <a:pt x="112" y="40"/>
                        </a:lnTo>
                        <a:lnTo>
                          <a:pt x="114" y="42"/>
                        </a:lnTo>
                        <a:lnTo>
                          <a:pt x="115" y="42"/>
                        </a:lnTo>
                        <a:lnTo>
                          <a:pt x="117" y="43"/>
                        </a:lnTo>
                        <a:lnTo>
                          <a:pt x="119" y="45"/>
                        </a:lnTo>
                        <a:lnTo>
                          <a:pt x="120" y="45"/>
                        </a:lnTo>
                        <a:lnTo>
                          <a:pt x="122" y="45"/>
                        </a:lnTo>
                        <a:lnTo>
                          <a:pt x="123" y="46"/>
                        </a:lnTo>
                        <a:lnTo>
                          <a:pt x="125" y="48"/>
                        </a:lnTo>
                        <a:lnTo>
                          <a:pt x="128" y="48"/>
                        </a:lnTo>
                        <a:lnTo>
                          <a:pt x="130" y="49"/>
                        </a:lnTo>
                        <a:lnTo>
                          <a:pt x="131" y="49"/>
                        </a:lnTo>
                        <a:lnTo>
                          <a:pt x="133" y="51"/>
                        </a:lnTo>
                        <a:lnTo>
                          <a:pt x="134" y="51"/>
                        </a:lnTo>
                        <a:lnTo>
                          <a:pt x="136" y="53"/>
                        </a:lnTo>
                        <a:lnTo>
                          <a:pt x="138" y="54"/>
                        </a:lnTo>
                        <a:lnTo>
                          <a:pt x="139" y="56"/>
                        </a:lnTo>
                        <a:lnTo>
                          <a:pt x="141" y="56"/>
                        </a:lnTo>
                        <a:lnTo>
                          <a:pt x="142" y="57"/>
                        </a:lnTo>
                        <a:lnTo>
                          <a:pt x="144" y="57"/>
                        </a:lnTo>
                        <a:lnTo>
                          <a:pt x="144" y="59"/>
                        </a:lnTo>
                        <a:lnTo>
                          <a:pt x="146" y="59"/>
                        </a:lnTo>
                        <a:lnTo>
                          <a:pt x="147" y="61"/>
                        </a:lnTo>
                        <a:lnTo>
                          <a:pt x="149" y="62"/>
                        </a:lnTo>
                        <a:lnTo>
                          <a:pt x="150" y="62"/>
                        </a:lnTo>
                        <a:lnTo>
                          <a:pt x="152" y="64"/>
                        </a:lnTo>
                        <a:lnTo>
                          <a:pt x="152" y="65"/>
                        </a:lnTo>
                        <a:lnTo>
                          <a:pt x="153" y="67"/>
                        </a:lnTo>
                        <a:lnTo>
                          <a:pt x="153" y="69"/>
                        </a:lnTo>
                        <a:lnTo>
                          <a:pt x="155" y="70"/>
                        </a:lnTo>
                        <a:lnTo>
                          <a:pt x="155" y="72"/>
                        </a:lnTo>
                        <a:lnTo>
                          <a:pt x="155" y="73"/>
                        </a:lnTo>
                        <a:lnTo>
                          <a:pt x="155" y="75"/>
                        </a:lnTo>
                        <a:lnTo>
                          <a:pt x="157" y="76"/>
                        </a:lnTo>
                        <a:lnTo>
                          <a:pt x="157" y="78"/>
                        </a:lnTo>
                        <a:lnTo>
                          <a:pt x="157" y="80"/>
                        </a:lnTo>
                        <a:lnTo>
                          <a:pt x="157" y="81"/>
                        </a:lnTo>
                        <a:lnTo>
                          <a:pt x="157" y="83"/>
                        </a:lnTo>
                        <a:lnTo>
                          <a:pt x="157" y="84"/>
                        </a:lnTo>
                        <a:lnTo>
                          <a:pt x="157" y="86"/>
                        </a:lnTo>
                        <a:lnTo>
                          <a:pt x="157" y="88"/>
                        </a:lnTo>
                        <a:lnTo>
                          <a:pt x="157" y="89"/>
                        </a:lnTo>
                        <a:lnTo>
                          <a:pt x="157" y="91"/>
                        </a:lnTo>
                        <a:lnTo>
                          <a:pt x="158" y="92"/>
                        </a:lnTo>
                        <a:lnTo>
                          <a:pt x="158" y="94"/>
                        </a:lnTo>
                        <a:lnTo>
                          <a:pt x="158" y="95"/>
                        </a:lnTo>
                        <a:lnTo>
                          <a:pt x="158" y="97"/>
                        </a:lnTo>
                        <a:lnTo>
                          <a:pt x="158" y="100"/>
                        </a:lnTo>
                        <a:lnTo>
                          <a:pt x="158" y="102"/>
                        </a:lnTo>
                        <a:lnTo>
                          <a:pt x="158" y="103"/>
                        </a:lnTo>
                        <a:close/>
                      </a:path>
                    </a:pathLst>
                  </a:custGeom>
                  <a:solidFill>
                    <a:srgbClr val="E1E1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42" name="Freeform 41"/>
                  <p:cNvSpPr>
                    <a:spLocks/>
                  </p:cNvSpPr>
                  <p:nvPr/>
                </p:nvSpPr>
                <p:spPr bwMode="auto">
                  <a:xfrm>
                    <a:off x="1795" y="3218"/>
                    <a:ext cx="979" cy="195"/>
                  </a:xfrm>
                  <a:custGeom>
                    <a:avLst/>
                    <a:gdLst>
                      <a:gd name="T0" fmla="*/ 22 w 979"/>
                      <a:gd name="T1" fmla="*/ 19 h 195"/>
                      <a:gd name="T2" fmla="*/ 29 w 979"/>
                      <a:gd name="T3" fmla="*/ 43 h 195"/>
                      <a:gd name="T4" fmla="*/ 46 w 979"/>
                      <a:gd name="T5" fmla="*/ 62 h 195"/>
                      <a:gd name="T6" fmla="*/ 70 w 979"/>
                      <a:gd name="T7" fmla="*/ 51 h 195"/>
                      <a:gd name="T8" fmla="*/ 94 w 979"/>
                      <a:gd name="T9" fmla="*/ 41 h 195"/>
                      <a:gd name="T10" fmla="*/ 119 w 979"/>
                      <a:gd name="T11" fmla="*/ 41 h 195"/>
                      <a:gd name="T12" fmla="*/ 144 w 979"/>
                      <a:gd name="T13" fmla="*/ 33 h 195"/>
                      <a:gd name="T14" fmla="*/ 165 w 979"/>
                      <a:gd name="T15" fmla="*/ 27 h 195"/>
                      <a:gd name="T16" fmla="*/ 174 w 979"/>
                      <a:gd name="T17" fmla="*/ 8 h 195"/>
                      <a:gd name="T18" fmla="*/ 197 w 979"/>
                      <a:gd name="T19" fmla="*/ 3 h 195"/>
                      <a:gd name="T20" fmla="*/ 214 w 979"/>
                      <a:gd name="T21" fmla="*/ 8 h 195"/>
                      <a:gd name="T22" fmla="*/ 239 w 979"/>
                      <a:gd name="T23" fmla="*/ 7 h 195"/>
                      <a:gd name="T24" fmla="*/ 260 w 979"/>
                      <a:gd name="T25" fmla="*/ 7 h 195"/>
                      <a:gd name="T26" fmla="*/ 289 w 979"/>
                      <a:gd name="T27" fmla="*/ 8 h 195"/>
                      <a:gd name="T28" fmla="*/ 308 w 979"/>
                      <a:gd name="T29" fmla="*/ 16 h 195"/>
                      <a:gd name="T30" fmla="*/ 319 w 979"/>
                      <a:gd name="T31" fmla="*/ 37 h 195"/>
                      <a:gd name="T32" fmla="*/ 330 w 979"/>
                      <a:gd name="T33" fmla="*/ 56 h 195"/>
                      <a:gd name="T34" fmla="*/ 352 w 979"/>
                      <a:gd name="T35" fmla="*/ 68 h 195"/>
                      <a:gd name="T36" fmla="*/ 377 w 979"/>
                      <a:gd name="T37" fmla="*/ 67 h 195"/>
                      <a:gd name="T38" fmla="*/ 401 w 979"/>
                      <a:gd name="T39" fmla="*/ 46 h 195"/>
                      <a:gd name="T40" fmla="*/ 417 w 979"/>
                      <a:gd name="T41" fmla="*/ 29 h 195"/>
                      <a:gd name="T42" fmla="*/ 436 w 979"/>
                      <a:gd name="T43" fmla="*/ 19 h 195"/>
                      <a:gd name="T44" fmla="*/ 460 w 979"/>
                      <a:gd name="T45" fmla="*/ 16 h 195"/>
                      <a:gd name="T46" fmla="*/ 479 w 979"/>
                      <a:gd name="T47" fmla="*/ 14 h 195"/>
                      <a:gd name="T48" fmla="*/ 498 w 979"/>
                      <a:gd name="T49" fmla="*/ 11 h 195"/>
                      <a:gd name="T50" fmla="*/ 509 w 979"/>
                      <a:gd name="T51" fmla="*/ 32 h 195"/>
                      <a:gd name="T52" fmla="*/ 520 w 979"/>
                      <a:gd name="T53" fmla="*/ 52 h 195"/>
                      <a:gd name="T54" fmla="*/ 529 w 979"/>
                      <a:gd name="T55" fmla="*/ 75 h 195"/>
                      <a:gd name="T56" fmla="*/ 542 w 979"/>
                      <a:gd name="T57" fmla="*/ 97 h 195"/>
                      <a:gd name="T58" fmla="*/ 564 w 979"/>
                      <a:gd name="T59" fmla="*/ 90 h 195"/>
                      <a:gd name="T60" fmla="*/ 589 w 979"/>
                      <a:gd name="T61" fmla="*/ 94 h 195"/>
                      <a:gd name="T62" fmla="*/ 604 w 979"/>
                      <a:gd name="T63" fmla="*/ 106 h 195"/>
                      <a:gd name="T64" fmla="*/ 620 w 979"/>
                      <a:gd name="T65" fmla="*/ 117 h 195"/>
                      <a:gd name="T66" fmla="*/ 639 w 979"/>
                      <a:gd name="T67" fmla="*/ 109 h 195"/>
                      <a:gd name="T68" fmla="*/ 656 w 979"/>
                      <a:gd name="T69" fmla="*/ 89 h 195"/>
                      <a:gd name="T70" fmla="*/ 683 w 979"/>
                      <a:gd name="T71" fmla="*/ 84 h 195"/>
                      <a:gd name="T72" fmla="*/ 707 w 979"/>
                      <a:gd name="T73" fmla="*/ 75 h 195"/>
                      <a:gd name="T74" fmla="*/ 724 w 979"/>
                      <a:gd name="T75" fmla="*/ 59 h 195"/>
                      <a:gd name="T76" fmla="*/ 735 w 979"/>
                      <a:gd name="T77" fmla="*/ 75 h 195"/>
                      <a:gd name="T78" fmla="*/ 751 w 979"/>
                      <a:gd name="T79" fmla="*/ 92 h 195"/>
                      <a:gd name="T80" fmla="*/ 765 w 979"/>
                      <a:gd name="T81" fmla="*/ 92 h 195"/>
                      <a:gd name="T82" fmla="*/ 783 w 979"/>
                      <a:gd name="T83" fmla="*/ 105 h 195"/>
                      <a:gd name="T84" fmla="*/ 808 w 979"/>
                      <a:gd name="T85" fmla="*/ 109 h 195"/>
                      <a:gd name="T86" fmla="*/ 824 w 979"/>
                      <a:gd name="T87" fmla="*/ 132 h 195"/>
                      <a:gd name="T88" fmla="*/ 838 w 979"/>
                      <a:gd name="T89" fmla="*/ 124 h 195"/>
                      <a:gd name="T90" fmla="*/ 862 w 979"/>
                      <a:gd name="T91" fmla="*/ 119 h 195"/>
                      <a:gd name="T92" fmla="*/ 868 w 979"/>
                      <a:gd name="T93" fmla="*/ 100 h 195"/>
                      <a:gd name="T94" fmla="*/ 873 w 979"/>
                      <a:gd name="T95" fmla="*/ 90 h 195"/>
                      <a:gd name="T96" fmla="*/ 887 w 979"/>
                      <a:gd name="T97" fmla="*/ 71 h 195"/>
                      <a:gd name="T98" fmla="*/ 903 w 979"/>
                      <a:gd name="T99" fmla="*/ 41 h 195"/>
                      <a:gd name="T100" fmla="*/ 917 w 979"/>
                      <a:gd name="T101" fmla="*/ 27 h 195"/>
                      <a:gd name="T102" fmla="*/ 940 w 979"/>
                      <a:gd name="T103" fmla="*/ 37 h 195"/>
                      <a:gd name="T104" fmla="*/ 957 w 979"/>
                      <a:gd name="T105" fmla="*/ 43 h 195"/>
                      <a:gd name="T106" fmla="*/ 971 w 979"/>
                      <a:gd name="T107" fmla="*/ 59 h 195"/>
                      <a:gd name="T108" fmla="*/ 970 w 979"/>
                      <a:gd name="T109" fmla="*/ 81 h 195"/>
                      <a:gd name="T110" fmla="*/ 933 w 979"/>
                      <a:gd name="T111" fmla="*/ 87 h 195"/>
                      <a:gd name="T112" fmla="*/ 906 w 979"/>
                      <a:gd name="T113" fmla="*/ 103 h 195"/>
                      <a:gd name="T114" fmla="*/ 951 w 979"/>
                      <a:gd name="T115" fmla="*/ 122 h 195"/>
                      <a:gd name="T116" fmla="*/ 960 w 979"/>
                      <a:gd name="T117" fmla="*/ 155 h 195"/>
                      <a:gd name="T118" fmla="*/ 957 w 979"/>
                      <a:gd name="T119" fmla="*/ 189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79" h="195">
                        <a:moveTo>
                          <a:pt x="0" y="22"/>
                        </a:moveTo>
                        <a:lnTo>
                          <a:pt x="2" y="22"/>
                        </a:lnTo>
                        <a:lnTo>
                          <a:pt x="3" y="22"/>
                        </a:lnTo>
                        <a:lnTo>
                          <a:pt x="5" y="22"/>
                        </a:lnTo>
                        <a:lnTo>
                          <a:pt x="7" y="21"/>
                        </a:lnTo>
                        <a:lnTo>
                          <a:pt x="8" y="21"/>
                        </a:lnTo>
                        <a:lnTo>
                          <a:pt x="10" y="19"/>
                        </a:lnTo>
                        <a:lnTo>
                          <a:pt x="11" y="18"/>
                        </a:lnTo>
                        <a:lnTo>
                          <a:pt x="13" y="18"/>
                        </a:lnTo>
                        <a:lnTo>
                          <a:pt x="14" y="18"/>
                        </a:lnTo>
                        <a:lnTo>
                          <a:pt x="16" y="18"/>
                        </a:lnTo>
                        <a:lnTo>
                          <a:pt x="18" y="16"/>
                        </a:lnTo>
                        <a:lnTo>
                          <a:pt x="19" y="18"/>
                        </a:lnTo>
                        <a:lnTo>
                          <a:pt x="19" y="16"/>
                        </a:lnTo>
                        <a:lnTo>
                          <a:pt x="21" y="18"/>
                        </a:lnTo>
                        <a:lnTo>
                          <a:pt x="22" y="18"/>
                        </a:lnTo>
                        <a:lnTo>
                          <a:pt x="22" y="19"/>
                        </a:lnTo>
                        <a:lnTo>
                          <a:pt x="24" y="19"/>
                        </a:lnTo>
                        <a:lnTo>
                          <a:pt x="24" y="21"/>
                        </a:lnTo>
                        <a:lnTo>
                          <a:pt x="26" y="22"/>
                        </a:lnTo>
                        <a:lnTo>
                          <a:pt x="26" y="24"/>
                        </a:lnTo>
                        <a:lnTo>
                          <a:pt x="27" y="26"/>
                        </a:lnTo>
                        <a:lnTo>
                          <a:pt x="27" y="27"/>
                        </a:lnTo>
                        <a:lnTo>
                          <a:pt x="27" y="29"/>
                        </a:lnTo>
                        <a:lnTo>
                          <a:pt x="27" y="30"/>
                        </a:lnTo>
                        <a:lnTo>
                          <a:pt x="27" y="32"/>
                        </a:lnTo>
                        <a:lnTo>
                          <a:pt x="27" y="33"/>
                        </a:lnTo>
                        <a:lnTo>
                          <a:pt x="27" y="35"/>
                        </a:lnTo>
                        <a:lnTo>
                          <a:pt x="27" y="37"/>
                        </a:lnTo>
                        <a:lnTo>
                          <a:pt x="27" y="38"/>
                        </a:lnTo>
                        <a:lnTo>
                          <a:pt x="27" y="40"/>
                        </a:lnTo>
                        <a:lnTo>
                          <a:pt x="27" y="41"/>
                        </a:lnTo>
                        <a:lnTo>
                          <a:pt x="29" y="41"/>
                        </a:lnTo>
                        <a:lnTo>
                          <a:pt x="29" y="43"/>
                        </a:lnTo>
                        <a:lnTo>
                          <a:pt x="30" y="45"/>
                        </a:lnTo>
                        <a:lnTo>
                          <a:pt x="30" y="46"/>
                        </a:lnTo>
                        <a:lnTo>
                          <a:pt x="30" y="48"/>
                        </a:lnTo>
                        <a:lnTo>
                          <a:pt x="30" y="49"/>
                        </a:lnTo>
                        <a:lnTo>
                          <a:pt x="32" y="51"/>
                        </a:lnTo>
                        <a:lnTo>
                          <a:pt x="33" y="52"/>
                        </a:lnTo>
                        <a:lnTo>
                          <a:pt x="35" y="54"/>
                        </a:lnTo>
                        <a:lnTo>
                          <a:pt x="37" y="56"/>
                        </a:lnTo>
                        <a:lnTo>
                          <a:pt x="38" y="57"/>
                        </a:lnTo>
                        <a:lnTo>
                          <a:pt x="38" y="59"/>
                        </a:lnTo>
                        <a:lnTo>
                          <a:pt x="40" y="59"/>
                        </a:lnTo>
                        <a:lnTo>
                          <a:pt x="40" y="60"/>
                        </a:lnTo>
                        <a:lnTo>
                          <a:pt x="41" y="62"/>
                        </a:lnTo>
                        <a:lnTo>
                          <a:pt x="41" y="64"/>
                        </a:lnTo>
                        <a:lnTo>
                          <a:pt x="43" y="62"/>
                        </a:lnTo>
                        <a:lnTo>
                          <a:pt x="45" y="62"/>
                        </a:lnTo>
                        <a:lnTo>
                          <a:pt x="46" y="62"/>
                        </a:lnTo>
                        <a:lnTo>
                          <a:pt x="48" y="60"/>
                        </a:lnTo>
                        <a:lnTo>
                          <a:pt x="49" y="60"/>
                        </a:lnTo>
                        <a:lnTo>
                          <a:pt x="51" y="59"/>
                        </a:lnTo>
                        <a:lnTo>
                          <a:pt x="53" y="59"/>
                        </a:lnTo>
                        <a:lnTo>
                          <a:pt x="54" y="57"/>
                        </a:lnTo>
                        <a:lnTo>
                          <a:pt x="56" y="57"/>
                        </a:lnTo>
                        <a:lnTo>
                          <a:pt x="57" y="57"/>
                        </a:lnTo>
                        <a:lnTo>
                          <a:pt x="59" y="56"/>
                        </a:lnTo>
                        <a:lnTo>
                          <a:pt x="60" y="56"/>
                        </a:lnTo>
                        <a:lnTo>
                          <a:pt x="62" y="56"/>
                        </a:lnTo>
                        <a:lnTo>
                          <a:pt x="62" y="54"/>
                        </a:lnTo>
                        <a:lnTo>
                          <a:pt x="64" y="54"/>
                        </a:lnTo>
                        <a:lnTo>
                          <a:pt x="65" y="54"/>
                        </a:lnTo>
                        <a:lnTo>
                          <a:pt x="65" y="52"/>
                        </a:lnTo>
                        <a:lnTo>
                          <a:pt x="67" y="52"/>
                        </a:lnTo>
                        <a:lnTo>
                          <a:pt x="68" y="51"/>
                        </a:lnTo>
                        <a:lnTo>
                          <a:pt x="70" y="51"/>
                        </a:lnTo>
                        <a:lnTo>
                          <a:pt x="72" y="51"/>
                        </a:lnTo>
                        <a:lnTo>
                          <a:pt x="73" y="49"/>
                        </a:lnTo>
                        <a:lnTo>
                          <a:pt x="75" y="49"/>
                        </a:lnTo>
                        <a:lnTo>
                          <a:pt x="75" y="48"/>
                        </a:lnTo>
                        <a:lnTo>
                          <a:pt x="76" y="48"/>
                        </a:lnTo>
                        <a:lnTo>
                          <a:pt x="78" y="46"/>
                        </a:lnTo>
                        <a:lnTo>
                          <a:pt x="79" y="46"/>
                        </a:lnTo>
                        <a:lnTo>
                          <a:pt x="81" y="46"/>
                        </a:lnTo>
                        <a:lnTo>
                          <a:pt x="83" y="45"/>
                        </a:lnTo>
                        <a:lnTo>
                          <a:pt x="84" y="45"/>
                        </a:lnTo>
                        <a:lnTo>
                          <a:pt x="86" y="45"/>
                        </a:lnTo>
                        <a:lnTo>
                          <a:pt x="87" y="45"/>
                        </a:lnTo>
                        <a:lnTo>
                          <a:pt x="89" y="43"/>
                        </a:lnTo>
                        <a:lnTo>
                          <a:pt x="91" y="43"/>
                        </a:lnTo>
                        <a:lnTo>
                          <a:pt x="92" y="43"/>
                        </a:lnTo>
                        <a:lnTo>
                          <a:pt x="92" y="41"/>
                        </a:lnTo>
                        <a:lnTo>
                          <a:pt x="94" y="41"/>
                        </a:lnTo>
                        <a:lnTo>
                          <a:pt x="95" y="41"/>
                        </a:lnTo>
                        <a:lnTo>
                          <a:pt x="97" y="41"/>
                        </a:lnTo>
                        <a:lnTo>
                          <a:pt x="98" y="41"/>
                        </a:lnTo>
                        <a:lnTo>
                          <a:pt x="100" y="41"/>
                        </a:lnTo>
                        <a:lnTo>
                          <a:pt x="100" y="40"/>
                        </a:lnTo>
                        <a:lnTo>
                          <a:pt x="102" y="40"/>
                        </a:lnTo>
                        <a:lnTo>
                          <a:pt x="103" y="40"/>
                        </a:lnTo>
                        <a:lnTo>
                          <a:pt x="105" y="40"/>
                        </a:lnTo>
                        <a:lnTo>
                          <a:pt x="106" y="40"/>
                        </a:lnTo>
                        <a:lnTo>
                          <a:pt x="108" y="40"/>
                        </a:lnTo>
                        <a:lnTo>
                          <a:pt x="110" y="40"/>
                        </a:lnTo>
                        <a:lnTo>
                          <a:pt x="111" y="40"/>
                        </a:lnTo>
                        <a:lnTo>
                          <a:pt x="113" y="40"/>
                        </a:lnTo>
                        <a:lnTo>
                          <a:pt x="114" y="40"/>
                        </a:lnTo>
                        <a:lnTo>
                          <a:pt x="116" y="40"/>
                        </a:lnTo>
                        <a:lnTo>
                          <a:pt x="117" y="41"/>
                        </a:lnTo>
                        <a:lnTo>
                          <a:pt x="119" y="41"/>
                        </a:lnTo>
                        <a:lnTo>
                          <a:pt x="121" y="41"/>
                        </a:lnTo>
                        <a:lnTo>
                          <a:pt x="122" y="41"/>
                        </a:lnTo>
                        <a:lnTo>
                          <a:pt x="124" y="41"/>
                        </a:lnTo>
                        <a:lnTo>
                          <a:pt x="125" y="41"/>
                        </a:lnTo>
                        <a:lnTo>
                          <a:pt x="127" y="40"/>
                        </a:lnTo>
                        <a:lnTo>
                          <a:pt x="129" y="40"/>
                        </a:lnTo>
                        <a:lnTo>
                          <a:pt x="130" y="38"/>
                        </a:lnTo>
                        <a:lnTo>
                          <a:pt x="132" y="38"/>
                        </a:lnTo>
                        <a:lnTo>
                          <a:pt x="133" y="38"/>
                        </a:lnTo>
                        <a:lnTo>
                          <a:pt x="135" y="38"/>
                        </a:lnTo>
                        <a:lnTo>
                          <a:pt x="136" y="38"/>
                        </a:lnTo>
                        <a:lnTo>
                          <a:pt x="138" y="37"/>
                        </a:lnTo>
                        <a:lnTo>
                          <a:pt x="140" y="37"/>
                        </a:lnTo>
                        <a:lnTo>
                          <a:pt x="140" y="35"/>
                        </a:lnTo>
                        <a:lnTo>
                          <a:pt x="141" y="35"/>
                        </a:lnTo>
                        <a:lnTo>
                          <a:pt x="143" y="33"/>
                        </a:lnTo>
                        <a:lnTo>
                          <a:pt x="144" y="33"/>
                        </a:lnTo>
                        <a:lnTo>
                          <a:pt x="146" y="33"/>
                        </a:lnTo>
                        <a:lnTo>
                          <a:pt x="148" y="33"/>
                        </a:lnTo>
                        <a:lnTo>
                          <a:pt x="149" y="33"/>
                        </a:lnTo>
                        <a:lnTo>
                          <a:pt x="151" y="33"/>
                        </a:lnTo>
                        <a:lnTo>
                          <a:pt x="152" y="33"/>
                        </a:lnTo>
                        <a:lnTo>
                          <a:pt x="154" y="33"/>
                        </a:lnTo>
                        <a:lnTo>
                          <a:pt x="155" y="33"/>
                        </a:lnTo>
                        <a:lnTo>
                          <a:pt x="155" y="35"/>
                        </a:lnTo>
                        <a:lnTo>
                          <a:pt x="157" y="35"/>
                        </a:lnTo>
                        <a:lnTo>
                          <a:pt x="159" y="35"/>
                        </a:lnTo>
                        <a:lnTo>
                          <a:pt x="160" y="35"/>
                        </a:lnTo>
                        <a:lnTo>
                          <a:pt x="160" y="33"/>
                        </a:lnTo>
                        <a:lnTo>
                          <a:pt x="162" y="33"/>
                        </a:lnTo>
                        <a:lnTo>
                          <a:pt x="163" y="32"/>
                        </a:lnTo>
                        <a:lnTo>
                          <a:pt x="165" y="30"/>
                        </a:lnTo>
                        <a:lnTo>
                          <a:pt x="165" y="29"/>
                        </a:lnTo>
                        <a:lnTo>
                          <a:pt x="165" y="27"/>
                        </a:lnTo>
                        <a:lnTo>
                          <a:pt x="167" y="26"/>
                        </a:lnTo>
                        <a:lnTo>
                          <a:pt x="167" y="24"/>
                        </a:lnTo>
                        <a:lnTo>
                          <a:pt x="167" y="22"/>
                        </a:lnTo>
                        <a:lnTo>
                          <a:pt x="168" y="22"/>
                        </a:lnTo>
                        <a:lnTo>
                          <a:pt x="168" y="21"/>
                        </a:lnTo>
                        <a:lnTo>
                          <a:pt x="170" y="21"/>
                        </a:lnTo>
                        <a:lnTo>
                          <a:pt x="170" y="19"/>
                        </a:lnTo>
                        <a:lnTo>
                          <a:pt x="170" y="18"/>
                        </a:lnTo>
                        <a:lnTo>
                          <a:pt x="171" y="18"/>
                        </a:lnTo>
                        <a:lnTo>
                          <a:pt x="171" y="16"/>
                        </a:lnTo>
                        <a:lnTo>
                          <a:pt x="171" y="14"/>
                        </a:lnTo>
                        <a:lnTo>
                          <a:pt x="173" y="14"/>
                        </a:lnTo>
                        <a:lnTo>
                          <a:pt x="173" y="13"/>
                        </a:lnTo>
                        <a:lnTo>
                          <a:pt x="173" y="11"/>
                        </a:lnTo>
                        <a:lnTo>
                          <a:pt x="174" y="11"/>
                        </a:lnTo>
                        <a:lnTo>
                          <a:pt x="174" y="10"/>
                        </a:lnTo>
                        <a:lnTo>
                          <a:pt x="174" y="8"/>
                        </a:lnTo>
                        <a:lnTo>
                          <a:pt x="176" y="8"/>
                        </a:lnTo>
                        <a:lnTo>
                          <a:pt x="176" y="7"/>
                        </a:lnTo>
                        <a:lnTo>
                          <a:pt x="178" y="7"/>
                        </a:lnTo>
                        <a:lnTo>
                          <a:pt x="179" y="5"/>
                        </a:lnTo>
                        <a:lnTo>
                          <a:pt x="179" y="3"/>
                        </a:lnTo>
                        <a:lnTo>
                          <a:pt x="181" y="3"/>
                        </a:lnTo>
                        <a:lnTo>
                          <a:pt x="181" y="2"/>
                        </a:lnTo>
                        <a:lnTo>
                          <a:pt x="182" y="0"/>
                        </a:lnTo>
                        <a:lnTo>
                          <a:pt x="184" y="0"/>
                        </a:lnTo>
                        <a:lnTo>
                          <a:pt x="186" y="0"/>
                        </a:lnTo>
                        <a:lnTo>
                          <a:pt x="187" y="0"/>
                        </a:lnTo>
                        <a:lnTo>
                          <a:pt x="189" y="0"/>
                        </a:lnTo>
                        <a:lnTo>
                          <a:pt x="190" y="2"/>
                        </a:lnTo>
                        <a:lnTo>
                          <a:pt x="192" y="2"/>
                        </a:lnTo>
                        <a:lnTo>
                          <a:pt x="193" y="2"/>
                        </a:lnTo>
                        <a:lnTo>
                          <a:pt x="195" y="2"/>
                        </a:lnTo>
                        <a:lnTo>
                          <a:pt x="197" y="3"/>
                        </a:lnTo>
                        <a:lnTo>
                          <a:pt x="198" y="3"/>
                        </a:lnTo>
                        <a:lnTo>
                          <a:pt x="198" y="5"/>
                        </a:lnTo>
                        <a:lnTo>
                          <a:pt x="200" y="5"/>
                        </a:lnTo>
                        <a:lnTo>
                          <a:pt x="201" y="5"/>
                        </a:lnTo>
                        <a:lnTo>
                          <a:pt x="201" y="7"/>
                        </a:lnTo>
                        <a:lnTo>
                          <a:pt x="203" y="7"/>
                        </a:lnTo>
                        <a:lnTo>
                          <a:pt x="203" y="8"/>
                        </a:lnTo>
                        <a:lnTo>
                          <a:pt x="205" y="8"/>
                        </a:lnTo>
                        <a:lnTo>
                          <a:pt x="206" y="10"/>
                        </a:lnTo>
                        <a:lnTo>
                          <a:pt x="206" y="8"/>
                        </a:lnTo>
                        <a:lnTo>
                          <a:pt x="208" y="8"/>
                        </a:lnTo>
                        <a:lnTo>
                          <a:pt x="208" y="10"/>
                        </a:lnTo>
                        <a:lnTo>
                          <a:pt x="209" y="10"/>
                        </a:lnTo>
                        <a:lnTo>
                          <a:pt x="209" y="8"/>
                        </a:lnTo>
                        <a:lnTo>
                          <a:pt x="211" y="8"/>
                        </a:lnTo>
                        <a:lnTo>
                          <a:pt x="212" y="8"/>
                        </a:lnTo>
                        <a:lnTo>
                          <a:pt x="214" y="8"/>
                        </a:lnTo>
                        <a:lnTo>
                          <a:pt x="216" y="8"/>
                        </a:lnTo>
                        <a:lnTo>
                          <a:pt x="217" y="8"/>
                        </a:lnTo>
                        <a:lnTo>
                          <a:pt x="219" y="7"/>
                        </a:lnTo>
                        <a:lnTo>
                          <a:pt x="220" y="7"/>
                        </a:lnTo>
                        <a:lnTo>
                          <a:pt x="222" y="7"/>
                        </a:lnTo>
                        <a:lnTo>
                          <a:pt x="224" y="7"/>
                        </a:lnTo>
                        <a:lnTo>
                          <a:pt x="225" y="7"/>
                        </a:lnTo>
                        <a:lnTo>
                          <a:pt x="225" y="8"/>
                        </a:lnTo>
                        <a:lnTo>
                          <a:pt x="227" y="8"/>
                        </a:lnTo>
                        <a:lnTo>
                          <a:pt x="228" y="7"/>
                        </a:lnTo>
                        <a:lnTo>
                          <a:pt x="230" y="7"/>
                        </a:lnTo>
                        <a:lnTo>
                          <a:pt x="231" y="7"/>
                        </a:lnTo>
                        <a:lnTo>
                          <a:pt x="233" y="7"/>
                        </a:lnTo>
                        <a:lnTo>
                          <a:pt x="235" y="7"/>
                        </a:lnTo>
                        <a:lnTo>
                          <a:pt x="236" y="7"/>
                        </a:lnTo>
                        <a:lnTo>
                          <a:pt x="238" y="7"/>
                        </a:lnTo>
                        <a:lnTo>
                          <a:pt x="239" y="7"/>
                        </a:lnTo>
                        <a:lnTo>
                          <a:pt x="239" y="8"/>
                        </a:lnTo>
                        <a:lnTo>
                          <a:pt x="239" y="10"/>
                        </a:lnTo>
                        <a:lnTo>
                          <a:pt x="241" y="10"/>
                        </a:lnTo>
                        <a:lnTo>
                          <a:pt x="241" y="11"/>
                        </a:lnTo>
                        <a:lnTo>
                          <a:pt x="243" y="11"/>
                        </a:lnTo>
                        <a:lnTo>
                          <a:pt x="244" y="11"/>
                        </a:lnTo>
                        <a:lnTo>
                          <a:pt x="244" y="10"/>
                        </a:lnTo>
                        <a:lnTo>
                          <a:pt x="246" y="10"/>
                        </a:lnTo>
                        <a:lnTo>
                          <a:pt x="247" y="8"/>
                        </a:lnTo>
                        <a:lnTo>
                          <a:pt x="249" y="8"/>
                        </a:lnTo>
                        <a:lnTo>
                          <a:pt x="249" y="7"/>
                        </a:lnTo>
                        <a:lnTo>
                          <a:pt x="252" y="7"/>
                        </a:lnTo>
                        <a:lnTo>
                          <a:pt x="254" y="7"/>
                        </a:lnTo>
                        <a:lnTo>
                          <a:pt x="255" y="7"/>
                        </a:lnTo>
                        <a:lnTo>
                          <a:pt x="257" y="7"/>
                        </a:lnTo>
                        <a:lnTo>
                          <a:pt x="258" y="7"/>
                        </a:lnTo>
                        <a:lnTo>
                          <a:pt x="260" y="7"/>
                        </a:lnTo>
                        <a:lnTo>
                          <a:pt x="262" y="7"/>
                        </a:lnTo>
                        <a:lnTo>
                          <a:pt x="263" y="7"/>
                        </a:lnTo>
                        <a:lnTo>
                          <a:pt x="265" y="7"/>
                        </a:lnTo>
                        <a:lnTo>
                          <a:pt x="266" y="7"/>
                        </a:lnTo>
                        <a:lnTo>
                          <a:pt x="268" y="7"/>
                        </a:lnTo>
                        <a:lnTo>
                          <a:pt x="270" y="7"/>
                        </a:lnTo>
                        <a:lnTo>
                          <a:pt x="271" y="7"/>
                        </a:lnTo>
                        <a:lnTo>
                          <a:pt x="273" y="7"/>
                        </a:lnTo>
                        <a:lnTo>
                          <a:pt x="274" y="8"/>
                        </a:lnTo>
                        <a:lnTo>
                          <a:pt x="276" y="8"/>
                        </a:lnTo>
                        <a:lnTo>
                          <a:pt x="277" y="8"/>
                        </a:lnTo>
                        <a:lnTo>
                          <a:pt x="279" y="8"/>
                        </a:lnTo>
                        <a:lnTo>
                          <a:pt x="281" y="8"/>
                        </a:lnTo>
                        <a:lnTo>
                          <a:pt x="282" y="8"/>
                        </a:lnTo>
                        <a:lnTo>
                          <a:pt x="284" y="8"/>
                        </a:lnTo>
                        <a:lnTo>
                          <a:pt x="285" y="8"/>
                        </a:lnTo>
                        <a:lnTo>
                          <a:pt x="289" y="8"/>
                        </a:lnTo>
                        <a:lnTo>
                          <a:pt x="290" y="8"/>
                        </a:lnTo>
                        <a:lnTo>
                          <a:pt x="292" y="8"/>
                        </a:lnTo>
                        <a:lnTo>
                          <a:pt x="293" y="8"/>
                        </a:lnTo>
                        <a:lnTo>
                          <a:pt x="293" y="10"/>
                        </a:lnTo>
                        <a:lnTo>
                          <a:pt x="295" y="10"/>
                        </a:lnTo>
                        <a:lnTo>
                          <a:pt x="296" y="10"/>
                        </a:lnTo>
                        <a:lnTo>
                          <a:pt x="298" y="10"/>
                        </a:lnTo>
                        <a:lnTo>
                          <a:pt x="300" y="10"/>
                        </a:lnTo>
                        <a:lnTo>
                          <a:pt x="301" y="10"/>
                        </a:lnTo>
                        <a:lnTo>
                          <a:pt x="303" y="10"/>
                        </a:lnTo>
                        <a:lnTo>
                          <a:pt x="304" y="10"/>
                        </a:lnTo>
                        <a:lnTo>
                          <a:pt x="304" y="11"/>
                        </a:lnTo>
                        <a:lnTo>
                          <a:pt x="306" y="11"/>
                        </a:lnTo>
                        <a:lnTo>
                          <a:pt x="306" y="13"/>
                        </a:lnTo>
                        <a:lnTo>
                          <a:pt x="306" y="14"/>
                        </a:lnTo>
                        <a:lnTo>
                          <a:pt x="306" y="16"/>
                        </a:lnTo>
                        <a:lnTo>
                          <a:pt x="308" y="16"/>
                        </a:lnTo>
                        <a:lnTo>
                          <a:pt x="308" y="18"/>
                        </a:lnTo>
                        <a:lnTo>
                          <a:pt x="309" y="18"/>
                        </a:lnTo>
                        <a:lnTo>
                          <a:pt x="311" y="18"/>
                        </a:lnTo>
                        <a:lnTo>
                          <a:pt x="311" y="19"/>
                        </a:lnTo>
                        <a:lnTo>
                          <a:pt x="312" y="21"/>
                        </a:lnTo>
                        <a:lnTo>
                          <a:pt x="312" y="22"/>
                        </a:lnTo>
                        <a:lnTo>
                          <a:pt x="312" y="24"/>
                        </a:lnTo>
                        <a:lnTo>
                          <a:pt x="312" y="26"/>
                        </a:lnTo>
                        <a:lnTo>
                          <a:pt x="312" y="27"/>
                        </a:lnTo>
                        <a:lnTo>
                          <a:pt x="312" y="29"/>
                        </a:lnTo>
                        <a:lnTo>
                          <a:pt x="312" y="30"/>
                        </a:lnTo>
                        <a:lnTo>
                          <a:pt x="314" y="30"/>
                        </a:lnTo>
                        <a:lnTo>
                          <a:pt x="314" y="32"/>
                        </a:lnTo>
                        <a:lnTo>
                          <a:pt x="315" y="33"/>
                        </a:lnTo>
                        <a:lnTo>
                          <a:pt x="315" y="35"/>
                        </a:lnTo>
                        <a:lnTo>
                          <a:pt x="317" y="35"/>
                        </a:lnTo>
                        <a:lnTo>
                          <a:pt x="319" y="37"/>
                        </a:lnTo>
                        <a:lnTo>
                          <a:pt x="320" y="37"/>
                        </a:lnTo>
                        <a:lnTo>
                          <a:pt x="320" y="38"/>
                        </a:lnTo>
                        <a:lnTo>
                          <a:pt x="322" y="40"/>
                        </a:lnTo>
                        <a:lnTo>
                          <a:pt x="322" y="41"/>
                        </a:lnTo>
                        <a:lnTo>
                          <a:pt x="322" y="43"/>
                        </a:lnTo>
                        <a:lnTo>
                          <a:pt x="323" y="43"/>
                        </a:lnTo>
                        <a:lnTo>
                          <a:pt x="323" y="45"/>
                        </a:lnTo>
                        <a:lnTo>
                          <a:pt x="323" y="46"/>
                        </a:lnTo>
                        <a:lnTo>
                          <a:pt x="323" y="48"/>
                        </a:lnTo>
                        <a:lnTo>
                          <a:pt x="322" y="49"/>
                        </a:lnTo>
                        <a:lnTo>
                          <a:pt x="323" y="51"/>
                        </a:lnTo>
                        <a:lnTo>
                          <a:pt x="323" y="52"/>
                        </a:lnTo>
                        <a:lnTo>
                          <a:pt x="325" y="52"/>
                        </a:lnTo>
                        <a:lnTo>
                          <a:pt x="327" y="54"/>
                        </a:lnTo>
                        <a:lnTo>
                          <a:pt x="328" y="54"/>
                        </a:lnTo>
                        <a:lnTo>
                          <a:pt x="328" y="56"/>
                        </a:lnTo>
                        <a:lnTo>
                          <a:pt x="330" y="56"/>
                        </a:lnTo>
                        <a:lnTo>
                          <a:pt x="331" y="57"/>
                        </a:lnTo>
                        <a:lnTo>
                          <a:pt x="333" y="57"/>
                        </a:lnTo>
                        <a:lnTo>
                          <a:pt x="334" y="57"/>
                        </a:lnTo>
                        <a:lnTo>
                          <a:pt x="336" y="57"/>
                        </a:lnTo>
                        <a:lnTo>
                          <a:pt x="338" y="57"/>
                        </a:lnTo>
                        <a:lnTo>
                          <a:pt x="339" y="57"/>
                        </a:lnTo>
                        <a:lnTo>
                          <a:pt x="341" y="59"/>
                        </a:lnTo>
                        <a:lnTo>
                          <a:pt x="342" y="59"/>
                        </a:lnTo>
                        <a:lnTo>
                          <a:pt x="344" y="60"/>
                        </a:lnTo>
                        <a:lnTo>
                          <a:pt x="344" y="62"/>
                        </a:lnTo>
                        <a:lnTo>
                          <a:pt x="346" y="62"/>
                        </a:lnTo>
                        <a:lnTo>
                          <a:pt x="347" y="62"/>
                        </a:lnTo>
                        <a:lnTo>
                          <a:pt x="349" y="64"/>
                        </a:lnTo>
                        <a:lnTo>
                          <a:pt x="349" y="65"/>
                        </a:lnTo>
                        <a:lnTo>
                          <a:pt x="350" y="65"/>
                        </a:lnTo>
                        <a:lnTo>
                          <a:pt x="350" y="67"/>
                        </a:lnTo>
                        <a:lnTo>
                          <a:pt x="352" y="68"/>
                        </a:lnTo>
                        <a:lnTo>
                          <a:pt x="353" y="70"/>
                        </a:lnTo>
                        <a:lnTo>
                          <a:pt x="355" y="70"/>
                        </a:lnTo>
                        <a:lnTo>
                          <a:pt x="357" y="70"/>
                        </a:lnTo>
                        <a:lnTo>
                          <a:pt x="358" y="70"/>
                        </a:lnTo>
                        <a:lnTo>
                          <a:pt x="360" y="70"/>
                        </a:lnTo>
                        <a:lnTo>
                          <a:pt x="361" y="70"/>
                        </a:lnTo>
                        <a:lnTo>
                          <a:pt x="363" y="70"/>
                        </a:lnTo>
                        <a:lnTo>
                          <a:pt x="365" y="70"/>
                        </a:lnTo>
                        <a:lnTo>
                          <a:pt x="366" y="70"/>
                        </a:lnTo>
                        <a:lnTo>
                          <a:pt x="368" y="70"/>
                        </a:lnTo>
                        <a:lnTo>
                          <a:pt x="369" y="70"/>
                        </a:lnTo>
                        <a:lnTo>
                          <a:pt x="371" y="70"/>
                        </a:lnTo>
                        <a:lnTo>
                          <a:pt x="372" y="70"/>
                        </a:lnTo>
                        <a:lnTo>
                          <a:pt x="372" y="68"/>
                        </a:lnTo>
                        <a:lnTo>
                          <a:pt x="374" y="68"/>
                        </a:lnTo>
                        <a:lnTo>
                          <a:pt x="376" y="67"/>
                        </a:lnTo>
                        <a:lnTo>
                          <a:pt x="377" y="67"/>
                        </a:lnTo>
                        <a:lnTo>
                          <a:pt x="379" y="65"/>
                        </a:lnTo>
                        <a:lnTo>
                          <a:pt x="379" y="64"/>
                        </a:lnTo>
                        <a:lnTo>
                          <a:pt x="380" y="64"/>
                        </a:lnTo>
                        <a:lnTo>
                          <a:pt x="380" y="62"/>
                        </a:lnTo>
                        <a:lnTo>
                          <a:pt x="382" y="62"/>
                        </a:lnTo>
                        <a:lnTo>
                          <a:pt x="384" y="60"/>
                        </a:lnTo>
                        <a:lnTo>
                          <a:pt x="387" y="57"/>
                        </a:lnTo>
                        <a:lnTo>
                          <a:pt x="388" y="57"/>
                        </a:lnTo>
                        <a:lnTo>
                          <a:pt x="390" y="56"/>
                        </a:lnTo>
                        <a:lnTo>
                          <a:pt x="391" y="56"/>
                        </a:lnTo>
                        <a:lnTo>
                          <a:pt x="391" y="54"/>
                        </a:lnTo>
                        <a:lnTo>
                          <a:pt x="393" y="52"/>
                        </a:lnTo>
                        <a:lnTo>
                          <a:pt x="395" y="52"/>
                        </a:lnTo>
                        <a:lnTo>
                          <a:pt x="395" y="51"/>
                        </a:lnTo>
                        <a:lnTo>
                          <a:pt x="396" y="49"/>
                        </a:lnTo>
                        <a:lnTo>
                          <a:pt x="399" y="48"/>
                        </a:lnTo>
                        <a:lnTo>
                          <a:pt x="401" y="46"/>
                        </a:lnTo>
                        <a:lnTo>
                          <a:pt x="403" y="45"/>
                        </a:lnTo>
                        <a:lnTo>
                          <a:pt x="404" y="45"/>
                        </a:lnTo>
                        <a:lnTo>
                          <a:pt x="406" y="45"/>
                        </a:lnTo>
                        <a:lnTo>
                          <a:pt x="407" y="43"/>
                        </a:lnTo>
                        <a:lnTo>
                          <a:pt x="409" y="43"/>
                        </a:lnTo>
                        <a:lnTo>
                          <a:pt x="410" y="41"/>
                        </a:lnTo>
                        <a:lnTo>
                          <a:pt x="412" y="41"/>
                        </a:lnTo>
                        <a:lnTo>
                          <a:pt x="414" y="41"/>
                        </a:lnTo>
                        <a:lnTo>
                          <a:pt x="414" y="40"/>
                        </a:lnTo>
                        <a:lnTo>
                          <a:pt x="415" y="40"/>
                        </a:lnTo>
                        <a:lnTo>
                          <a:pt x="417" y="38"/>
                        </a:lnTo>
                        <a:lnTo>
                          <a:pt x="417" y="37"/>
                        </a:lnTo>
                        <a:lnTo>
                          <a:pt x="417" y="35"/>
                        </a:lnTo>
                        <a:lnTo>
                          <a:pt x="415" y="33"/>
                        </a:lnTo>
                        <a:lnTo>
                          <a:pt x="415" y="32"/>
                        </a:lnTo>
                        <a:lnTo>
                          <a:pt x="415" y="30"/>
                        </a:lnTo>
                        <a:lnTo>
                          <a:pt x="417" y="29"/>
                        </a:lnTo>
                        <a:lnTo>
                          <a:pt x="418" y="29"/>
                        </a:lnTo>
                        <a:lnTo>
                          <a:pt x="418" y="27"/>
                        </a:lnTo>
                        <a:lnTo>
                          <a:pt x="420" y="27"/>
                        </a:lnTo>
                        <a:lnTo>
                          <a:pt x="420" y="26"/>
                        </a:lnTo>
                        <a:lnTo>
                          <a:pt x="422" y="26"/>
                        </a:lnTo>
                        <a:lnTo>
                          <a:pt x="422" y="24"/>
                        </a:lnTo>
                        <a:lnTo>
                          <a:pt x="423" y="24"/>
                        </a:lnTo>
                        <a:lnTo>
                          <a:pt x="425" y="24"/>
                        </a:lnTo>
                        <a:lnTo>
                          <a:pt x="425" y="22"/>
                        </a:lnTo>
                        <a:lnTo>
                          <a:pt x="426" y="22"/>
                        </a:lnTo>
                        <a:lnTo>
                          <a:pt x="428" y="22"/>
                        </a:lnTo>
                        <a:lnTo>
                          <a:pt x="430" y="21"/>
                        </a:lnTo>
                        <a:lnTo>
                          <a:pt x="431" y="21"/>
                        </a:lnTo>
                        <a:lnTo>
                          <a:pt x="433" y="21"/>
                        </a:lnTo>
                        <a:lnTo>
                          <a:pt x="433" y="19"/>
                        </a:lnTo>
                        <a:lnTo>
                          <a:pt x="434" y="19"/>
                        </a:lnTo>
                        <a:lnTo>
                          <a:pt x="436" y="19"/>
                        </a:lnTo>
                        <a:lnTo>
                          <a:pt x="436" y="18"/>
                        </a:lnTo>
                        <a:lnTo>
                          <a:pt x="437" y="18"/>
                        </a:lnTo>
                        <a:lnTo>
                          <a:pt x="439" y="16"/>
                        </a:lnTo>
                        <a:lnTo>
                          <a:pt x="441" y="16"/>
                        </a:lnTo>
                        <a:lnTo>
                          <a:pt x="441" y="14"/>
                        </a:lnTo>
                        <a:lnTo>
                          <a:pt x="442" y="14"/>
                        </a:lnTo>
                        <a:lnTo>
                          <a:pt x="444" y="13"/>
                        </a:lnTo>
                        <a:lnTo>
                          <a:pt x="445" y="13"/>
                        </a:lnTo>
                        <a:lnTo>
                          <a:pt x="447" y="13"/>
                        </a:lnTo>
                        <a:lnTo>
                          <a:pt x="449" y="13"/>
                        </a:lnTo>
                        <a:lnTo>
                          <a:pt x="450" y="13"/>
                        </a:lnTo>
                        <a:lnTo>
                          <a:pt x="453" y="13"/>
                        </a:lnTo>
                        <a:lnTo>
                          <a:pt x="453" y="14"/>
                        </a:lnTo>
                        <a:lnTo>
                          <a:pt x="455" y="14"/>
                        </a:lnTo>
                        <a:lnTo>
                          <a:pt x="456" y="14"/>
                        </a:lnTo>
                        <a:lnTo>
                          <a:pt x="458" y="16"/>
                        </a:lnTo>
                        <a:lnTo>
                          <a:pt x="460" y="16"/>
                        </a:lnTo>
                        <a:lnTo>
                          <a:pt x="461" y="16"/>
                        </a:lnTo>
                        <a:lnTo>
                          <a:pt x="463" y="16"/>
                        </a:lnTo>
                        <a:lnTo>
                          <a:pt x="464" y="16"/>
                        </a:lnTo>
                        <a:lnTo>
                          <a:pt x="464" y="14"/>
                        </a:lnTo>
                        <a:lnTo>
                          <a:pt x="466" y="14"/>
                        </a:lnTo>
                        <a:lnTo>
                          <a:pt x="468" y="14"/>
                        </a:lnTo>
                        <a:lnTo>
                          <a:pt x="468" y="13"/>
                        </a:lnTo>
                        <a:lnTo>
                          <a:pt x="469" y="13"/>
                        </a:lnTo>
                        <a:lnTo>
                          <a:pt x="471" y="13"/>
                        </a:lnTo>
                        <a:lnTo>
                          <a:pt x="474" y="11"/>
                        </a:lnTo>
                        <a:lnTo>
                          <a:pt x="474" y="13"/>
                        </a:lnTo>
                        <a:lnTo>
                          <a:pt x="475" y="13"/>
                        </a:lnTo>
                        <a:lnTo>
                          <a:pt x="477" y="13"/>
                        </a:lnTo>
                        <a:lnTo>
                          <a:pt x="477" y="14"/>
                        </a:lnTo>
                        <a:lnTo>
                          <a:pt x="479" y="14"/>
                        </a:lnTo>
                        <a:lnTo>
                          <a:pt x="480" y="14"/>
                        </a:lnTo>
                        <a:lnTo>
                          <a:pt x="479" y="14"/>
                        </a:lnTo>
                        <a:lnTo>
                          <a:pt x="480" y="14"/>
                        </a:lnTo>
                        <a:lnTo>
                          <a:pt x="480" y="13"/>
                        </a:lnTo>
                        <a:lnTo>
                          <a:pt x="482" y="13"/>
                        </a:lnTo>
                        <a:lnTo>
                          <a:pt x="482" y="11"/>
                        </a:lnTo>
                        <a:lnTo>
                          <a:pt x="482" y="10"/>
                        </a:lnTo>
                        <a:lnTo>
                          <a:pt x="483" y="10"/>
                        </a:lnTo>
                        <a:lnTo>
                          <a:pt x="485" y="10"/>
                        </a:lnTo>
                        <a:lnTo>
                          <a:pt x="485" y="8"/>
                        </a:lnTo>
                        <a:lnTo>
                          <a:pt x="487" y="8"/>
                        </a:lnTo>
                        <a:lnTo>
                          <a:pt x="488" y="8"/>
                        </a:lnTo>
                        <a:lnTo>
                          <a:pt x="490" y="8"/>
                        </a:lnTo>
                        <a:lnTo>
                          <a:pt x="491" y="8"/>
                        </a:lnTo>
                        <a:lnTo>
                          <a:pt x="493" y="10"/>
                        </a:lnTo>
                        <a:lnTo>
                          <a:pt x="494" y="10"/>
                        </a:lnTo>
                        <a:lnTo>
                          <a:pt x="494" y="11"/>
                        </a:lnTo>
                        <a:lnTo>
                          <a:pt x="496" y="11"/>
                        </a:lnTo>
                        <a:lnTo>
                          <a:pt x="498" y="11"/>
                        </a:lnTo>
                        <a:lnTo>
                          <a:pt x="499" y="11"/>
                        </a:lnTo>
                        <a:lnTo>
                          <a:pt x="501" y="11"/>
                        </a:lnTo>
                        <a:lnTo>
                          <a:pt x="501" y="13"/>
                        </a:lnTo>
                        <a:lnTo>
                          <a:pt x="501" y="14"/>
                        </a:lnTo>
                        <a:lnTo>
                          <a:pt x="502" y="14"/>
                        </a:lnTo>
                        <a:lnTo>
                          <a:pt x="502" y="16"/>
                        </a:lnTo>
                        <a:lnTo>
                          <a:pt x="502" y="18"/>
                        </a:lnTo>
                        <a:lnTo>
                          <a:pt x="504" y="18"/>
                        </a:lnTo>
                        <a:lnTo>
                          <a:pt x="504" y="19"/>
                        </a:lnTo>
                        <a:lnTo>
                          <a:pt x="504" y="21"/>
                        </a:lnTo>
                        <a:lnTo>
                          <a:pt x="506" y="22"/>
                        </a:lnTo>
                        <a:lnTo>
                          <a:pt x="506" y="24"/>
                        </a:lnTo>
                        <a:lnTo>
                          <a:pt x="507" y="26"/>
                        </a:lnTo>
                        <a:lnTo>
                          <a:pt x="507" y="27"/>
                        </a:lnTo>
                        <a:lnTo>
                          <a:pt x="507" y="29"/>
                        </a:lnTo>
                        <a:lnTo>
                          <a:pt x="509" y="30"/>
                        </a:lnTo>
                        <a:lnTo>
                          <a:pt x="509" y="32"/>
                        </a:lnTo>
                        <a:lnTo>
                          <a:pt x="510" y="33"/>
                        </a:lnTo>
                        <a:lnTo>
                          <a:pt x="510" y="35"/>
                        </a:lnTo>
                        <a:lnTo>
                          <a:pt x="512" y="37"/>
                        </a:lnTo>
                        <a:lnTo>
                          <a:pt x="512" y="38"/>
                        </a:lnTo>
                        <a:lnTo>
                          <a:pt x="513" y="38"/>
                        </a:lnTo>
                        <a:lnTo>
                          <a:pt x="513" y="40"/>
                        </a:lnTo>
                        <a:lnTo>
                          <a:pt x="513" y="41"/>
                        </a:lnTo>
                        <a:lnTo>
                          <a:pt x="513" y="43"/>
                        </a:lnTo>
                        <a:lnTo>
                          <a:pt x="515" y="43"/>
                        </a:lnTo>
                        <a:lnTo>
                          <a:pt x="515" y="45"/>
                        </a:lnTo>
                        <a:lnTo>
                          <a:pt x="515" y="46"/>
                        </a:lnTo>
                        <a:lnTo>
                          <a:pt x="517" y="46"/>
                        </a:lnTo>
                        <a:lnTo>
                          <a:pt x="517" y="48"/>
                        </a:lnTo>
                        <a:lnTo>
                          <a:pt x="517" y="49"/>
                        </a:lnTo>
                        <a:lnTo>
                          <a:pt x="518" y="49"/>
                        </a:lnTo>
                        <a:lnTo>
                          <a:pt x="518" y="51"/>
                        </a:lnTo>
                        <a:lnTo>
                          <a:pt x="520" y="52"/>
                        </a:lnTo>
                        <a:lnTo>
                          <a:pt x="520" y="54"/>
                        </a:lnTo>
                        <a:lnTo>
                          <a:pt x="520" y="56"/>
                        </a:lnTo>
                        <a:lnTo>
                          <a:pt x="521" y="57"/>
                        </a:lnTo>
                        <a:lnTo>
                          <a:pt x="521" y="59"/>
                        </a:lnTo>
                        <a:lnTo>
                          <a:pt x="523" y="60"/>
                        </a:lnTo>
                        <a:lnTo>
                          <a:pt x="523" y="62"/>
                        </a:lnTo>
                        <a:lnTo>
                          <a:pt x="525" y="62"/>
                        </a:lnTo>
                        <a:lnTo>
                          <a:pt x="525" y="64"/>
                        </a:lnTo>
                        <a:lnTo>
                          <a:pt x="525" y="65"/>
                        </a:lnTo>
                        <a:lnTo>
                          <a:pt x="525" y="67"/>
                        </a:lnTo>
                        <a:lnTo>
                          <a:pt x="526" y="68"/>
                        </a:lnTo>
                        <a:lnTo>
                          <a:pt x="526" y="70"/>
                        </a:lnTo>
                        <a:lnTo>
                          <a:pt x="528" y="70"/>
                        </a:lnTo>
                        <a:lnTo>
                          <a:pt x="528" y="71"/>
                        </a:lnTo>
                        <a:lnTo>
                          <a:pt x="528" y="73"/>
                        </a:lnTo>
                        <a:lnTo>
                          <a:pt x="529" y="73"/>
                        </a:lnTo>
                        <a:lnTo>
                          <a:pt x="529" y="75"/>
                        </a:lnTo>
                        <a:lnTo>
                          <a:pt x="529" y="76"/>
                        </a:lnTo>
                        <a:lnTo>
                          <a:pt x="531" y="78"/>
                        </a:lnTo>
                        <a:lnTo>
                          <a:pt x="531" y="79"/>
                        </a:lnTo>
                        <a:lnTo>
                          <a:pt x="532" y="81"/>
                        </a:lnTo>
                        <a:lnTo>
                          <a:pt x="532" y="83"/>
                        </a:lnTo>
                        <a:lnTo>
                          <a:pt x="534" y="84"/>
                        </a:lnTo>
                        <a:lnTo>
                          <a:pt x="534" y="86"/>
                        </a:lnTo>
                        <a:lnTo>
                          <a:pt x="536" y="87"/>
                        </a:lnTo>
                        <a:lnTo>
                          <a:pt x="536" y="89"/>
                        </a:lnTo>
                        <a:lnTo>
                          <a:pt x="536" y="90"/>
                        </a:lnTo>
                        <a:lnTo>
                          <a:pt x="537" y="90"/>
                        </a:lnTo>
                        <a:lnTo>
                          <a:pt x="537" y="92"/>
                        </a:lnTo>
                        <a:lnTo>
                          <a:pt x="537" y="94"/>
                        </a:lnTo>
                        <a:lnTo>
                          <a:pt x="537" y="95"/>
                        </a:lnTo>
                        <a:lnTo>
                          <a:pt x="539" y="95"/>
                        </a:lnTo>
                        <a:lnTo>
                          <a:pt x="540" y="95"/>
                        </a:lnTo>
                        <a:lnTo>
                          <a:pt x="542" y="97"/>
                        </a:lnTo>
                        <a:lnTo>
                          <a:pt x="544" y="95"/>
                        </a:lnTo>
                        <a:lnTo>
                          <a:pt x="545" y="95"/>
                        </a:lnTo>
                        <a:lnTo>
                          <a:pt x="547" y="95"/>
                        </a:lnTo>
                        <a:lnTo>
                          <a:pt x="548" y="95"/>
                        </a:lnTo>
                        <a:lnTo>
                          <a:pt x="548" y="94"/>
                        </a:lnTo>
                        <a:lnTo>
                          <a:pt x="550" y="94"/>
                        </a:lnTo>
                        <a:lnTo>
                          <a:pt x="551" y="92"/>
                        </a:lnTo>
                        <a:lnTo>
                          <a:pt x="553" y="92"/>
                        </a:lnTo>
                        <a:lnTo>
                          <a:pt x="553" y="90"/>
                        </a:lnTo>
                        <a:lnTo>
                          <a:pt x="555" y="90"/>
                        </a:lnTo>
                        <a:lnTo>
                          <a:pt x="556" y="89"/>
                        </a:lnTo>
                        <a:lnTo>
                          <a:pt x="558" y="89"/>
                        </a:lnTo>
                        <a:lnTo>
                          <a:pt x="559" y="89"/>
                        </a:lnTo>
                        <a:lnTo>
                          <a:pt x="561" y="89"/>
                        </a:lnTo>
                        <a:lnTo>
                          <a:pt x="561" y="90"/>
                        </a:lnTo>
                        <a:lnTo>
                          <a:pt x="563" y="90"/>
                        </a:lnTo>
                        <a:lnTo>
                          <a:pt x="564" y="90"/>
                        </a:lnTo>
                        <a:lnTo>
                          <a:pt x="566" y="92"/>
                        </a:lnTo>
                        <a:lnTo>
                          <a:pt x="567" y="92"/>
                        </a:lnTo>
                        <a:lnTo>
                          <a:pt x="569" y="92"/>
                        </a:lnTo>
                        <a:lnTo>
                          <a:pt x="570" y="92"/>
                        </a:lnTo>
                        <a:lnTo>
                          <a:pt x="570" y="94"/>
                        </a:lnTo>
                        <a:lnTo>
                          <a:pt x="574" y="94"/>
                        </a:lnTo>
                        <a:lnTo>
                          <a:pt x="575" y="94"/>
                        </a:lnTo>
                        <a:lnTo>
                          <a:pt x="577" y="94"/>
                        </a:lnTo>
                        <a:lnTo>
                          <a:pt x="578" y="94"/>
                        </a:lnTo>
                        <a:lnTo>
                          <a:pt x="580" y="94"/>
                        </a:lnTo>
                        <a:lnTo>
                          <a:pt x="580" y="92"/>
                        </a:lnTo>
                        <a:lnTo>
                          <a:pt x="582" y="92"/>
                        </a:lnTo>
                        <a:lnTo>
                          <a:pt x="583" y="92"/>
                        </a:lnTo>
                        <a:lnTo>
                          <a:pt x="585" y="94"/>
                        </a:lnTo>
                        <a:lnTo>
                          <a:pt x="586" y="94"/>
                        </a:lnTo>
                        <a:lnTo>
                          <a:pt x="588" y="94"/>
                        </a:lnTo>
                        <a:lnTo>
                          <a:pt x="589" y="94"/>
                        </a:lnTo>
                        <a:lnTo>
                          <a:pt x="591" y="94"/>
                        </a:lnTo>
                        <a:lnTo>
                          <a:pt x="593" y="94"/>
                        </a:lnTo>
                        <a:lnTo>
                          <a:pt x="594" y="94"/>
                        </a:lnTo>
                        <a:lnTo>
                          <a:pt x="594" y="95"/>
                        </a:lnTo>
                        <a:lnTo>
                          <a:pt x="596" y="95"/>
                        </a:lnTo>
                        <a:lnTo>
                          <a:pt x="597" y="95"/>
                        </a:lnTo>
                        <a:lnTo>
                          <a:pt x="597" y="94"/>
                        </a:lnTo>
                        <a:lnTo>
                          <a:pt x="599" y="94"/>
                        </a:lnTo>
                        <a:lnTo>
                          <a:pt x="601" y="95"/>
                        </a:lnTo>
                        <a:lnTo>
                          <a:pt x="601" y="97"/>
                        </a:lnTo>
                        <a:lnTo>
                          <a:pt x="601" y="98"/>
                        </a:lnTo>
                        <a:lnTo>
                          <a:pt x="601" y="100"/>
                        </a:lnTo>
                        <a:lnTo>
                          <a:pt x="602" y="102"/>
                        </a:lnTo>
                        <a:lnTo>
                          <a:pt x="602" y="103"/>
                        </a:lnTo>
                        <a:lnTo>
                          <a:pt x="602" y="105"/>
                        </a:lnTo>
                        <a:lnTo>
                          <a:pt x="604" y="105"/>
                        </a:lnTo>
                        <a:lnTo>
                          <a:pt x="604" y="106"/>
                        </a:lnTo>
                        <a:lnTo>
                          <a:pt x="604" y="108"/>
                        </a:lnTo>
                        <a:lnTo>
                          <a:pt x="605" y="109"/>
                        </a:lnTo>
                        <a:lnTo>
                          <a:pt x="605" y="111"/>
                        </a:lnTo>
                        <a:lnTo>
                          <a:pt x="607" y="111"/>
                        </a:lnTo>
                        <a:lnTo>
                          <a:pt x="607" y="113"/>
                        </a:lnTo>
                        <a:lnTo>
                          <a:pt x="608" y="113"/>
                        </a:lnTo>
                        <a:lnTo>
                          <a:pt x="608" y="114"/>
                        </a:lnTo>
                        <a:lnTo>
                          <a:pt x="610" y="114"/>
                        </a:lnTo>
                        <a:lnTo>
                          <a:pt x="610" y="116"/>
                        </a:lnTo>
                        <a:lnTo>
                          <a:pt x="612" y="116"/>
                        </a:lnTo>
                        <a:lnTo>
                          <a:pt x="613" y="116"/>
                        </a:lnTo>
                        <a:lnTo>
                          <a:pt x="613" y="117"/>
                        </a:lnTo>
                        <a:lnTo>
                          <a:pt x="615" y="117"/>
                        </a:lnTo>
                        <a:lnTo>
                          <a:pt x="616" y="119"/>
                        </a:lnTo>
                        <a:lnTo>
                          <a:pt x="616" y="117"/>
                        </a:lnTo>
                        <a:lnTo>
                          <a:pt x="618" y="117"/>
                        </a:lnTo>
                        <a:lnTo>
                          <a:pt x="620" y="117"/>
                        </a:lnTo>
                        <a:lnTo>
                          <a:pt x="621" y="117"/>
                        </a:lnTo>
                        <a:lnTo>
                          <a:pt x="623" y="117"/>
                        </a:lnTo>
                        <a:lnTo>
                          <a:pt x="623" y="119"/>
                        </a:lnTo>
                        <a:lnTo>
                          <a:pt x="624" y="119"/>
                        </a:lnTo>
                        <a:lnTo>
                          <a:pt x="626" y="117"/>
                        </a:lnTo>
                        <a:lnTo>
                          <a:pt x="628" y="116"/>
                        </a:lnTo>
                        <a:lnTo>
                          <a:pt x="628" y="114"/>
                        </a:lnTo>
                        <a:lnTo>
                          <a:pt x="629" y="114"/>
                        </a:lnTo>
                        <a:lnTo>
                          <a:pt x="629" y="113"/>
                        </a:lnTo>
                        <a:lnTo>
                          <a:pt x="629" y="111"/>
                        </a:lnTo>
                        <a:lnTo>
                          <a:pt x="631" y="111"/>
                        </a:lnTo>
                        <a:lnTo>
                          <a:pt x="632" y="111"/>
                        </a:lnTo>
                        <a:lnTo>
                          <a:pt x="632" y="109"/>
                        </a:lnTo>
                        <a:lnTo>
                          <a:pt x="634" y="109"/>
                        </a:lnTo>
                        <a:lnTo>
                          <a:pt x="635" y="109"/>
                        </a:lnTo>
                        <a:lnTo>
                          <a:pt x="637" y="109"/>
                        </a:lnTo>
                        <a:lnTo>
                          <a:pt x="639" y="109"/>
                        </a:lnTo>
                        <a:lnTo>
                          <a:pt x="640" y="108"/>
                        </a:lnTo>
                        <a:lnTo>
                          <a:pt x="640" y="106"/>
                        </a:lnTo>
                        <a:lnTo>
                          <a:pt x="642" y="106"/>
                        </a:lnTo>
                        <a:lnTo>
                          <a:pt x="643" y="105"/>
                        </a:lnTo>
                        <a:lnTo>
                          <a:pt x="643" y="103"/>
                        </a:lnTo>
                        <a:lnTo>
                          <a:pt x="645" y="102"/>
                        </a:lnTo>
                        <a:lnTo>
                          <a:pt x="645" y="100"/>
                        </a:lnTo>
                        <a:lnTo>
                          <a:pt x="647" y="98"/>
                        </a:lnTo>
                        <a:lnTo>
                          <a:pt x="647" y="97"/>
                        </a:lnTo>
                        <a:lnTo>
                          <a:pt x="647" y="95"/>
                        </a:lnTo>
                        <a:lnTo>
                          <a:pt x="648" y="94"/>
                        </a:lnTo>
                        <a:lnTo>
                          <a:pt x="648" y="92"/>
                        </a:lnTo>
                        <a:lnTo>
                          <a:pt x="650" y="90"/>
                        </a:lnTo>
                        <a:lnTo>
                          <a:pt x="651" y="90"/>
                        </a:lnTo>
                        <a:lnTo>
                          <a:pt x="653" y="90"/>
                        </a:lnTo>
                        <a:lnTo>
                          <a:pt x="654" y="89"/>
                        </a:lnTo>
                        <a:lnTo>
                          <a:pt x="656" y="89"/>
                        </a:lnTo>
                        <a:lnTo>
                          <a:pt x="658" y="89"/>
                        </a:lnTo>
                        <a:lnTo>
                          <a:pt x="659" y="89"/>
                        </a:lnTo>
                        <a:lnTo>
                          <a:pt x="661" y="89"/>
                        </a:lnTo>
                        <a:lnTo>
                          <a:pt x="662" y="89"/>
                        </a:lnTo>
                        <a:lnTo>
                          <a:pt x="664" y="89"/>
                        </a:lnTo>
                        <a:lnTo>
                          <a:pt x="666" y="87"/>
                        </a:lnTo>
                        <a:lnTo>
                          <a:pt x="667" y="87"/>
                        </a:lnTo>
                        <a:lnTo>
                          <a:pt x="669" y="87"/>
                        </a:lnTo>
                        <a:lnTo>
                          <a:pt x="670" y="87"/>
                        </a:lnTo>
                        <a:lnTo>
                          <a:pt x="673" y="87"/>
                        </a:lnTo>
                        <a:lnTo>
                          <a:pt x="675" y="87"/>
                        </a:lnTo>
                        <a:lnTo>
                          <a:pt x="677" y="87"/>
                        </a:lnTo>
                        <a:lnTo>
                          <a:pt x="678" y="87"/>
                        </a:lnTo>
                        <a:lnTo>
                          <a:pt x="680" y="86"/>
                        </a:lnTo>
                        <a:lnTo>
                          <a:pt x="681" y="86"/>
                        </a:lnTo>
                        <a:lnTo>
                          <a:pt x="681" y="84"/>
                        </a:lnTo>
                        <a:lnTo>
                          <a:pt x="683" y="84"/>
                        </a:lnTo>
                        <a:lnTo>
                          <a:pt x="685" y="84"/>
                        </a:lnTo>
                        <a:lnTo>
                          <a:pt x="686" y="84"/>
                        </a:lnTo>
                        <a:lnTo>
                          <a:pt x="688" y="84"/>
                        </a:lnTo>
                        <a:lnTo>
                          <a:pt x="689" y="84"/>
                        </a:lnTo>
                        <a:lnTo>
                          <a:pt x="691" y="84"/>
                        </a:lnTo>
                        <a:lnTo>
                          <a:pt x="692" y="84"/>
                        </a:lnTo>
                        <a:lnTo>
                          <a:pt x="694" y="83"/>
                        </a:lnTo>
                        <a:lnTo>
                          <a:pt x="694" y="81"/>
                        </a:lnTo>
                        <a:lnTo>
                          <a:pt x="696" y="81"/>
                        </a:lnTo>
                        <a:lnTo>
                          <a:pt x="697" y="79"/>
                        </a:lnTo>
                        <a:lnTo>
                          <a:pt x="699" y="78"/>
                        </a:lnTo>
                        <a:lnTo>
                          <a:pt x="700" y="78"/>
                        </a:lnTo>
                        <a:lnTo>
                          <a:pt x="702" y="78"/>
                        </a:lnTo>
                        <a:lnTo>
                          <a:pt x="704" y="78"/>
                        </a:lnTo>
                        <a:lnTo>
                          <a:pt x="704" y="76"/>
                        </a:lnTo>
                        <a:lnTo>
                          <a:pt x="705" y="76"/>
                        </a:lnTo>
                        <a:lnTo>
                          <a:pt x="707" y="75"/>
                        </a:lnTo>
                        <a:lnTo>
                          <a:pt x="708" y="75"/>
                        </a:lnTo>
                        <a:lnTo>
                          <a:pt x="708" y="73"/>
                        </a:lnTo>
                        <a:lnTo>
                          <a:pt x="710" y="71"/>
                        </a:lnTo>
                        <a:lnTo>
                          <a:pt x="710" y="70"/>
                        </a:lnTo>
                        <a:lnTo>
                          <a:pt x="711" y="70"/>
                        </a:lnTo>
                        <a:lnTo>
                          <a:pt x="711" y="68"/>
                        </a:lnTo>
                        <a:lnTo>
                          <a:pt x="713" y="68"/>
                        </a:lnTo>
                        <a:lnTo>
                          <a:pt x="715" y="68"/>
                        </a:lnTo>
                        <a:lnTo>
                          <a:pt x="716" y="67"/>
                        </a:lnTo>
                        <a:lnTo>
                          <a:pt x="718" y="67"/>
                        </a:lnTo>
                        <a:lnTo>
                          <a:pt x="719" y="65"/>
                        </a:lnTo>
                        <a:lnTo>
                          <a:pt x="721" y="65"/>
                        </a:lnTo>
                        <a:lnTo>
                          <a:pt x="721" y="64"/>
                        </a:lnTo>
                        <a:lnTo>
                          <a:pt x="721" y="62"/>
                        </a:lnTo>
                        <a:lnTo>
                          <a:pt x="723" y="62"/>
                        </a:lnTo>
                        <a:lnTo>
                          <a:pt x="723" y="60"/>
                        </a:lnTo>
                        <a:lnTo>
                          <a:pt x="724" y="59"/>
                        </a:lnTo>
                        <a:lnTo>
                          <a:pt x="724" y="60"/>
                        </a:lnTo>
                        <a:lnTo>
                          <a:pt x="726" y="59"/>
                        </a:lnTo>
                        <a:lnTo>
                          <a:pt x="727" y="59"/>
                        </a:lnTo>
                        <a:lnTo>
                          <a:pt x="727" y="60"/>
                        </a:lnTo>
                        <a:lnTo>
                          <a:pt x="729" y="60"/>
                        </a:lnTo>
                        <a:lnTo>
                          <a:pt x="729" y="62"/>
                        </a:lnTo>
                        <a:lnTo>
                          <a:pt x="729" y="64"/>
                        </a:lnTo>
                        <a:lnTo>
                          <a:pt x="730" y="64"/>
                        </a:lnTo>
                        <a:lnTo>
                          <a:pt x="730" y="65"/>
                        </a:lnTo>
                        <a:lnTo>
                          <a:pt x="730" y="67"/>
                        </a:lnTo>
                        <a:lnTo>
                          <a:pt x="732" y="67"/>
                        </a:lnTo>
                        <a:lnTo>
                          <a:pt x="732" y="68"/>
                        </a:lnTo>
                        <a:lnTo>
                          <a:pt x="734" y="70"/>
                        </a:lnTo>
                        <a:lnTo>
                          <a:pt x="734" y="71"/>
                        </a:lnTo>
                        <a:lnTo>
                          <a:pt x="734" y="73"/>
                        </a:lnTo>
                        <a:lnTo>
                          <a:pt x="735" y="73"/>
                        </a:lnTo>
                        <a:lnTo>
                          <a:pt x="735" y="75"/>
                        </a:lnTo>
                        <a:lnTo>
                          <a:pt x="737" y="76"/>
                        </a:lnTo>
                        <a:lnTo>
                          <a:pt x="738" y="78"/>
                        </a:lnTo>
                        <a:lnTo>
                          <a:pt x="738" y="79"/>
                        </a:lnTo>
                        <a:lnTo>
                          <a:pt x="740" y="79"/>
                        </a:lnTo>
                        <a:lnTo>
                          <a:pt x="740" y="81"/>
                        </a:lnTo>
                        <a:lnTo>
                          <a:pt x="740" y="83"/>
                        </a:lnTo>
                        <a:lnTo>
                          <a:pt x="742" y="83"/>
                        </a:lnTo>
                        <a:lnTo>
                          <a:pt x="742" y="84"/>
                        </a:lnTo>
                        <a:lnTo>
                          <a:pt x="743" y="84"/>
                        </a:lnTo>
                        <a:lnTo>
                          <a:pt x="743" y="86"/>
                        </a:lnTo>
                        <a:lnTo>
                          <a:pt x="745" y="87"/>
                        </a:lnTo>
                        <a:lnTo>
                          <a:pt x="745" y="89"/>
                        </a:lnTo>
                        <a:lnTo>
                          <a:pt x="746" y="89"/>
                        </a:lnTo>
                        <a:lnTo>
                          <a:pt x="748" y="90"/>
                        </a:lnTo>
                        <a:lnTo>
                          <a:pt x="749" y="90"/>
                        </a:lnTo>
                        <a:lnTo>
                          <a:pt x="749" y="92"/>
                        </a:lnTo>
                        <a:lnTo>
                          <a:pt x="751" y="92"/>
                        </a:lnTo>
                        <a:lnTo>
                          <a:pt x="753" y="94"/>
                        </a:lnTo>
                        <a:lnTo>
                          <a:pt x="754" y="94"/>
                        </a:lnTo>
                        <a:lnTo>
                          <a:pt x="754" y="95"/>
                        </a:lnTo>
                        <a:lnTo>
                          <a:pt x="756" y="95"/>
                        </a:lnTo>
                        <a:lnTo>
                          <a:pt x="756" y="94"/>
                        </a:lnTo>
                        <a:lnTo>
                          <a:pt x="757" y="94"/>
                        </a:lnTo>
                        <a:lnTo>
                          <a:pt x="757" y="95"/>
                        </a:lnTo>
                        <a:lnTo>
                          <a:pt x="757" y="97"/>
                        </a:lnTo>
                        <a:lnTo>
                          <a:pt x="759" y="97"/>
                        </a:lnTo>
                        <a:lnTo>
                          <a:pt x="759" y="95"/>
                        </a:lnTo>
                        <a:lnTo>
                          <a:pt x="761" y="95"/>
                        </a:lnTo>
                        <a:lnTo>
                          <a:pt x="762" y="95"/>
                        </a:lnTo>
                        <a:lnTo>
                          <a:pt x="762" y="97"/>
                        </a:lnTo>
                        <a:lnTo>
                          <a:pt x="764" y="95"/>
                        </a:lnTo>
                        <a:lnTo>
                          <a:pt x="764" y="94"/>
                        </a:lnTo>
                        <a:lnTo>
                          <a:pt x="764" y="92"/>
                        </a:lnTo>
                        <a:lnTo>
                          <a:pt x="765" y="92"/>
                        </a:lnTo>
                        <a:lnTo>
                          <a:pt x="767" y="94"/>
                        </a:lnTo>
                        <a:lnTo>
                          <a:pt x="767" y="95"/>
                        </a:lnTo>
                        <a:lnTo>
                          <a:pt x="767" y="97"/>
                        </a:lnTo>
                        <a:lnTo>
                          <a:pt x="767" y="98"/>
                        </a:lnTo>
                        <a:lnTo>
                          <a:pt x="768" y="98"/>
                        </a:lnTo>
                        <a:lnTo>
                          <a:pt x="770" y="100"/>
                        </a:lnTo>
                        <a:lnTo>
                          <a:pt x="772" y="100"/>
                        </a:lnTo>
                        <a:lnTo>
                          <a:pt x="772" y="102"/>
                        </a:lnTo>
                        <a:lnTo>
                          <a:pt x="773" y="102"/>
                        </a:lnTo>
                        <a:lnTo>
                          <a:pt x="775" y="102"/>
                        </a:lnTo>
                        <a:lnTo>
                          <a:pt x="775" y="100"/>
                        </a:lnTo>
                        <a:lnTo>
                          <a:pt x="776" y="100"/>
                        </a:lnTo>
                        <a:lnTo>
                          <a:pt x="780" y="102"/>
                        </a:lnTo>
                        <a:lnTo>
                          <a:pt x="780" y="100"/>
                        </a:lnTo>
                        <a:lnTo>
                          <a:pt x="781" y="100"/>
                        </a:lnTo>
                        <a:lnTo>
                          <a:pt x="783" y="102"/>
                        </a:lnTo>
                        <a:lnTo>
                          <a:pt x="783" y="105"/>
                        </a:lnTo>
                        <a:lnTo>
                          <a:pt x="783" y="106"/>
                        </a:lnTo>
                        <a:lnTo>
                          <a:pt x="784" y="108"/>
                        </a:lnTo>
                        <a:lnTo>
                          <a:pt x="786" y="109"/>
                        </a:lnTo>
                        <a:lnTo>
                          <a:pt x="787" y="109"/>
                        </a:lnTo>
                        <a:lnTo>
                          <a:pt x="791" y="109"/>
                        </a:lnTo>
                        <a:lnTo>
                          <a:pt x="791" y="111"/>
                        </a:lnTo>
                        <a:lnTo>
                          <a:pt x="792" y="111"/>
                        </a:lnTo>
                        <a:lnTo>
                          <a:pt x="795" y="111"/>
                        </a:lnTo>
                        <a:lnTo>
                          <a:pt x="795" y="109"/>
                        </a:lnTo>
                        <a:lnTo>
                          <a:pt x="797" y="109"/>
                        </a:lnTo>
                        <a:lnTo>
                          <a:pt x="799" y="109"/>
                        </a:lnTo>
                        <a:lnTo>
                          <a:pt x="800" y="109"/>
                        </a:lnTo>
                        <a:lnTo>
                          <a:pt x="802" y="109"/>
                        </a:lnTo>
                        <a:lnTo>
                          <a:pt x="803" y="109"/>
                        </a:lnTo>
                        <a:lnTo>
                          <a:pt x="805" y="109"/>
                        </a:lnTo>
                        <a:lnTo>
                          <a:pt x="807" y="109"/>
                        </a:lnTo>
                        <a:lnTo>
                          <a:pt x="808" y="109"/>
                        </a:lnTo>
                        <a:lnTo>
                          <a:pt x="810" y="109"/>
                        </a:lnTo>
                        <a:lnTo>
                          <a:pt x="810" y="111"/>
                        </a:lnTo>
                        <a:lnTo>
                          <a:pt x="810" y="113"/>
                        </a:lnTo>
                        <a:lnTo>
                          <a:pt x="811" y="114"/>
                        </a:lnTo>
                        <a:lnTo>
                          <a:pt x="813" y="114"/>
                        </a:lnTo>
                        <a:lnTo>
                          <a:pt x="814" y="116"/>
                        </a:lnTo>
                        <a:lnTo>
                          <a:pt x="814" y="117"/>
                        </a:lnTo>
                        <a:lnTo>
                          <a:pt x="816" y="119"/>
                        </a:lnTo>
                        <a:lnTo>
                          <a:pt x="818" y="121"/>
                        </a:lnTo>
                        <a:lnTo>
                          <a:pt x="819" y="121"/>
                        </a:lnTo>
                        <a:lnTo>
                          <a:pt x="821" y="121"/>
                        </a:lnTo>
                        <a:lnTo>
                          <a:pt x="822" y="121"/>
                        </a:lnTo>
                        <a:lnTo>
                          <a:pt x="822" y="122"/>
                        </a:lnTo>
                        <a:lnTo>
                          <a:pt x="826" y="125"/>
                        </a:lnTo>
                        <a:lnTo>
                          <a:pt x="826" y="127"/>
                        </a:lnTo>
                        <a:lnTo>
                          <a:pt x="824" y="130"/>
                        </a:lnTo>
                        <a:lnTo>
                          <a:pt x="824" y="132"/>
                        </a:lnTo>
                        <a:lnTo>
                          <a:pt x="822" y="133"/>
                        </a:lnTo>
                        <a:lnTo>
                          <a:pt x="824" y="135"/>
                        </a:lnTo>
                        <a:lnTo>
                          <a:pt x="824" y="136"/>
                        </a:lnTo>
                        <a:lnTo>
                          <a:pt x="826" y="136"/>
                        </a:lnTo>
                        <a:lnTo>
                          <a:pt x="827" y="136"/>
                        </a:lnTo>
                        <a:lnTo>
                          <a:pt x="829" y="135"/>
                        </a:lnTo>
                        <a:lnTo>
                          <a:pt x="829" y="132"/>
                        </a:lnTo>
                        <a:lnTo>
                          <a:pt x="830" y="130"/>
                        </a:lnTo>
                        <a:lnTo>
                          <a:pt x="832" y="128"/>
                        </a:lnTo>
                        <a:lnTo>
                          <a:pt x="832" y="127"/>
                        </a:lnTo>
                        <a:lnTo>
                          <a:pt x="830" y="125"/>
                        </a:lnTo>
                        <a:lnTo>
                          <a:pt x="832" y="125"/>
                        </a:lnTo>
                        <a:lnTo>
                          <a:pt x="833" y="125"/>
                        </a:lnTo>
                        <a:lnTo>
                          <a:pt x="835" y="125"/>
                        </a:lnTo>
                        <a:lnTo>
                          <a:pt x="837" y="125"/>
                        </a:lnTo>
                        <a:lnTo>
                          <a:pt x="838" y="125"/>
                        </a:lnTo>
                        <a:lnTo>
                          <a:pt x="838" y="124"/>
                        </a:lnTo>
                        <a:lnTo>
                          <a:pt x="838" y="122"/>
                        </a:lnTo>
                        <a:lnTo>
                          <a:pt x="838" y="121"/>
                        </a:lnTo>
                        <a:lnTo>
                          <a:pt x="841" y="121"/>
                        </a:lnTo>
                        <a:lnTo>
                          <a:pt x="843" y="119"/>
                        </a:lnTo>
                        <a:lnTo>
                          <a:pt x="845" y="119"/>
                        </a:lnTo>
                        <a:lnTo>
                          <a:pt x="846" y="119"/>
                        </a:lnTo>
                        <a:lnTo>
                          <a:pt x="848" y="119"/>
                        </a:lnTo>
                        <a:lnTo>
                          <a:pt x="849" y="121"/>
                        </a:lnTo>
                        <a:lnTo>
                          <a:pt x="851" y="119"/>
                        </a:lnTo>
                        <a:lnTo>
                          <a:pt x="852" y="119"/>
                        </a:lnTo>
                        <a:lnTo>
                          <a:pt x="852" y="117"/>
                        </a:lnTo>
                        <a:lnTo>
                          <a:pt x="854" y="117"/>
                        </a:lnTo>
                        <a:lnTo>
                          <a:pt x="856" y="117"/>
                        </a:lnTo>
                        <a:lnTo>
                          <a:pt x="857" y="119"/>
                        </a:lnTo>
                        <a:lnTo>
                          <a:pt x="859" y="119"/>
                        </a:lnTo>
                        <a:lnTo>
                          <a:pt x="860" y="119"/>
                        </a:lnTo>
                        <a:lnTo>
                          <a:pt x="862" y="119"/>
                        </a:lnTo>
                        <a:lnTo>
                          <a:pt x="862" y="117"/>
                        </a:lnTo>
                        <a:lnTo>
                          <a:pt x="862" y="116"/>
                        </a:lnTo>
                        <a:lnTo>
                          <a:pt x="864" y="116"/>
                        </a:lnTo>
                        <a:lnTo>
                          <a:pt x="864" y="114"/>
                        </a:lnTo>
                        <a:lnTo>
                          <a:pt x="865" y="114"/>
                        </a:lnTo>
                        <a:lnTo>
                          <a:pt x="867" y="116"/>
                        </a:lnTo>
                        <a:lnTo>
                          <a:pt x="870" y="113"/>
                        </a:lnTo>
                        <a:lnTo>
                          <a:pt x="871" y="111"/>
                        </a:lnTo>
                        <a:lnTo>
                          <a:pt x="871" y="109"/>
                        </a:lnTo>
                        <a:lnTo>
                          <a:pt x="870" y="108"/>
                        </a:lnTo>
                        <a:lnTo>
                          <a:pt x="870" y="106"/>
                        </a:lnTo>
                        <a:lnTo>
                          <a:pt x="870" y="105"/>
                        </a:lnTo>
                        <a:lnTo>
                          <a:pt x="868" y="105"/>
                        </a:lnTo>
                        <a:lnTo>
                          <a:pt x="868" y="103"/>
                        </a:lnTo>
                        <a:lnTo>
                          <a:pt x="867" y="103"/>
                        </a:lnTo>
                        <a:lnTo>
                          <a:pt x="867" y="102"/>
                        </a:lnTo>
                        <a:lnTo>
                          <a:pt x="868" y="100"/>
                        </a:lnTo>
                        <a:lnTo>
                          <a:pt x="868" y="98"/>
                        </a:lnTo>
                        <a:lnTo>
                          <a:pt x="870" y="98"/>
                        </a:lnTo>
                        <a:lnTo>
                          <a:pt x="870" y="100"/>
                        </a:lnTo>
                        <a:lnTo>
                          <a:pt x="871" y="98"/>
                        </a:lnTo>
                        <a:lnTo>
                          <a:pt x="873" y="98"/>
                        </a:lnTo>
                        <a:lnTo>
                          <a:pt x="875" y="98"/>
                        </a:lnTo>
                        <a:lnTo>
                          <a:pt x="876" y="100"/>
                        </a:lnTo>
                        <a:lnTo>
                          <a:pt x="878" y="100"/>
                        </a:lnTo>
                        <a:lnTo>
                          <a:pt x="879" y="100"/>
                        </a:lnTo>
                        <a:lnTo>
                          <a:pt x="881" y="98"/>
                        </a:lnTo>
                        <a:lnTo>
                          <a:pt x="879" y="95"/>
                        </a:lnTo>
                        <a:lnTo>
                          <a:pt x="878" y="95"/>
                        </a:lnTo>
                        <a:lnTo>
                          <a:pt x="876" y="97"/>
                        </a:lnTo>
                        <a:lnTo>
                          <a:pt x="875" y="97"/>
                        </a:lnTo>
                        <a:lnTo>
                          <a:pt x="875" y="95"/>
                        </a:lnTo>
                        <a:lnTo>
                          <a:pt x="871" y="92"/>
                        </a:lnTo>
                        <a:lnTo>
                          <a:pt x="873" y="90"/>
                        </a:lnTo>
                        <a:lnTo>
                          <a:pt x="875" y="90"/>
                        </a:lnTo>
                        <a:lnTo>
                          <a:pt x="876" y="89"/>
                        </a:lnTo>
                        <a:lnTo>
                          <a:pt x="878" y="87"/>
                        </a:lnTo>
                        <a:lnTo>
                          <a:pt x="876" y="86"/>
                        </a:lnTo>
                        <a:lnTo>
                          <a:pt x="875" y="84"/>
                        </a:lnTo>
                        <a:lnTo>
                          <a:pt x="873" y="84"/>
                        </a:lnTo>
                        <a:lnTo>
                          <a:pt x="873" y="83"/>
                        </a:lnTo>
                        <a:lnTo>
                          <a:pt x="873" y="81"/>
                        </a:lnTo>
                        <a:lnTo>
                          <a:pt x="875" y="81"/>
                        </a:lnTo>
                        <a:lnTo>
                          <a:pt x="876" y="81"/>
                        </a:lnTo>
                        <a:lnTo>
                          <a:pt x="878" y="81"/>
                        </a:lnTo>
                        <a:lnTo>
                          <a:pt x="879" y="79"/>
                        </a:lnTo>
                        <a:lnTo>
                          <a:pt x="879" y="78"/>
                        </a:lnTo>
                        <a:lnTo>
                          <a:pt x="883" y="78"/>
                        </a:lnTo>
                        <a:lnTo>
                          <a:pt x="886" y="75"/>
                        </a:lnTo>
                        <a:lnTo>
                          <a:pt x="887" y="73"/>
                        </a:lnTo>
                        <a:lnTo>
                          <a:pt x="887" y="71"/>
                        </a:lnTo>
                        <a:lnTo>
                          <a:pt x="886" y="71"/>
                        </a:lnTo>
                        <a:lnTo>
                          <a:pt x="884" y="70"/>
                        </a:lnTo>
                        <a:lnTo>
                          <a:pt x="884" y="68"/>
                        </a:lnTo>
                        <a:lnTo>
                          <a:pt x="884" y="67"/>
                        </a:lnTo>
                        <a:lnTo>
                          <a:pt x="886" y="64"/>
                        </a:lnTo>
                        <a:lnTo>
                          <a:pt x="889" y="60"/>
                        </a:lnTo>
                        <a:lnTo>
                          <a:pt x="890" y="60"/>
                        </a:lnTo>
                        <a:lnTo>
                          <a:pt x="890" y="59"/>
                        </a:lnTo>
                        <a:lnTo>
                          <a:pt x="892" y="57"/>
                        </a:lnTo>
                        <a:lnTo>
                          <a:pt x="892" y="54"/>
                        </a:lnTo>
                        <a:lnTo>
                          <a:pt x="894" y="51"/>
                        </a:lnTo>
                        <a:lnTo>
                          <a:pt x="895" y="49"/>
                        </a:lnTo>
                        <a:lnTo>
                          <a:pt x="897" y="49"/>
                        </a:lnTo>
                        <a:lnTo>
                          <a:pt x="897" y="48"/>
                        </a:lnTo>
                        <a:lnTo>
                          <a:pt x="900" y="45"/>
                        </a:lnTo>
                        <a:lnTo>
                          <a:pt x="903" y="43"/>
                        </a:lnTo>
                        <a:lnTo>
                          <a:pt x="903" y="41"/>
                        </a:lnTo>
                        <a:lnTo>
                          <a:pt x="903" y="38"/>
                        </a:lnTo>
                        <a:lnTo>
                          <a:pt x="903" y="37"/>
                        </a:lnTo>
                        <a:lnTo>
                          <a:pt x="902" y="37"/>
                        </a:lnTo>
                        <a:lnTo>
                          <a:pt x="903" y="33"/>
                        </a:lnTo>
                        <a:lnTo>
                          <a:pt x="903" y="32"/>
                        </a:lnTo>
                        <a:lnTo>
                          <a:pt x="905" y="32"/>
                        </a:lnTo>
                        <a:lnTo>
                          <a:pt x="905" y="30"/>
                        </a:lnTo>
                        <a:lnTo>
                          <a:pt x="906" y="30"/>
                        </a:lnTo>
                        <a:lnTo>
                          <a:pt x="906" y="32"/>
                        </a:lnTo>
                        <a:lnTo>
                          <a:pt x="908" y="32"/>
                        </a:lnTo>
                        <a:lnTo>
                          <a:pt x="908" y="30"/>
                        </a:lnTo>
                        <a:lnTo>
                          <a:pt x="909" y="29"/>
                        </a:lnTo>
                        <a:lnTo>
                          <a:pt x="911" y="27"/>
                        </a:lnTo>
                        <a:lnTo>
                          <a:pt x="913" y="26"/>
                        </a:lnTo>
                        <a:lnTo>
                          <a:pt x="914" y="24"/>
                        </a:lnTo>
                        <a:lnTo>
                          <a:pt x="916" y="26"/>
                        </a:lnTo>
                        <a:lnTo>
                          <a:pt x="917" y="27"/>
                        </a:lnTo>
                        <a:lnTo>
                          <a:pt x="917" y="29"/>
                        </a:lnTo>
                        <a:lnTo>
                          <a:pt x="919" y="29"/>
                        </a:lnTo>
                        <a:lnTo>
                          <a:pt x="921" y="27"/>
                        </a:lnTo>
                        <a:lnTo>
                          <a:pt x="922" y="27"/>
                        </a:lnTo>
                        <a:lnTo>
                          <a:pt x="927" y="26"/>
                        </a:lnTo>
                        <a:lnTo>
                          <a:pt x="928" y="26"/>
                        </a:lnTo>
                        <a:lnTo>
                          <a:pt x="930" y="26"/>
                        </a:lnTo>
                        <a:lnTo>
                          <a:pt x="930" y="29"/>
                        </a:lnTo>
                        <a:lnTo>
                          <a:pt x="930" y="32"/>
                        </a:lnTo>
                        <a:lnTo>
                          <a:pt x="930" y="33"/>
                        </a:lnTo>
                        <a:lnTo>
                          <a:pt x="930" y="35"/>
                        </a:lnTo>
                        <a:lnTo>
                          <a:pt x="932" y="37"/>
                        </a:lnTo>
                        <a:lnTo>
                          <a:pt x="933" y="37"/>
                        </a:lnTo>
                        <a:lnTo>
                          <a:pt x="935" y="37"/>
                        </a:lnTo>
                        <a:lnTo>
                          <a:pt x="936" y="37"/>
                        </a:lnTo>
                        <a:lnTo>
                          <a:pt x="938" y="37"/>
                        </a:lnTo>
                        <a:lnTo>
                          <a:pt x="940" y="37"/>
                        </a:lnTo>
                        <a:lnTo>
                          <a:pt x="941" y="37"/>
                        </a:lnTo>
                        <a:lnTo>
                          <a:pt x="943" y="35"/>
                        </a:lnTo>
                        <a:lnTo>
                          <a:pt x="944" y="35"/>
                        </a:lnTo>
                        <a:lnTo>
                          <a:pt x="946" y="35"/>
                        </a:lnTo>
                        <a:lnTo>
                          <a:pt x="946" y="33"/>
                        </a:lnTo>
                        <a:lnTo>
                          <a:pt x="949" y="33"/>
                        </a:lnTo>
                        <a:lnTo>
                          <a:pt x="951" y="33"/>
                        </a:lnTo>
                        <a:lnTo>
                          <a:pt x="951" y="32"/>
                        </a:lnTo>
                        <a:lnTo>
                          <a:pt x="952" y="32"/>
                        </a:lnTo>
                        <a:lnTo>
                          <a:pt x="954" y="32"/>
                        </a:lnTo>
                        <a:lnTo>
                          <a:pt x="955" y="33"/>
                        </a:lnTo>
                        <a:lnTo>
                          <a:pt x="955" y="35"/>
                        </a:lnTo>
                        <a:lnTo>
                          <a:pt x="955" y="37"/>
                        </a:lnTo>
                        <a:lnTo>
                          <a:pt x="955" y="38"/>
                        </a:lnTo>
                        <a:lnTo>
                          <a:pt x="955" y="41"/>
                        </a:lnTo>
                        <a:lnTo>
                          <a:pt x="955" y="43"/>
                        </a:lnTo>
                        <a:lnTo>
                          <a:pt x="957" y="43"/>
                        </a:lnTo>
                        <a:lnTo>
                          <a:pt x="959" y="45"/>
                        </a:lnTo>
                        <a:lnTo>
                          <a:pt x="960" y="46"/>
                        </a:lnTo>
                        <a:lnTo>
                          <a:pt x="959" y="46"/>
                        </a:lnTo>
                        <a:lnTo>
                          <a:pt x="957" y="46"/>
                        </a:lnTo>
                        <a:lnTo>
                          <a:pt x="959" y="46"/>
                        </a:lnTo>
                        <a:lnTo>
                          <a:pt x="960" y="46"/>
                        </a:lnTo>
                        <a:lnTo>
                          <a:pt x="960" y="48"/>
                        </a:lnTo>
                        <a:lnTo>
                          <a:pt x="962" y="49"/>
                        </a:lnTo>
                        <a:lnTo>
                          <a:pt x="963" y="51"/>
                        </a:lnTo>
                        <a:lnTo>
                          <a:pt x="965" y="52"/>
                        </a:lnTo>
                        <a:lnTo>
                          <a:pt x="966" y="54"/>
                        </a:lnTo>
                        <a:lnTo>
                          <a:pt x="966" y="56"/>
                        </a:lnTo>
                        <a:lnTo>
                          <a:pt x="968" y="56"/>
                        </a:lnTo>
                        <a:lnTo>
                          <a:pt x="970" y="56"/>
                        </a:lnTo>
                        <a:lnTo>
                          <a:pt x="971" y="56"/>
                        </a:lnTo>
                        <a:lnTo>
                          <a:pt x="971" y="57"/>
                        </a:lnTo>
                        <a:lnTo>
                          <a:pt x="971" y="59"/>
                        </a:lnTo>
                        <a:lnTo>
                          <a:pt x="970" y="60"/>
                        </a:lnTo>
                        <a:lnTo>
                          <a:pt x="970" y="62"/>
                        </a:lnTo>
                        <a:lnTo>
                          <a:pt x="971" y="62"/>
                        </a:lnTo>
                        <a:lnTo>
                          <a:pt x="971" y="64"/>
                        </a:lnTo>
                        <a:lnTo>
                          <a:pt x="973" y="65"/>
                        </a:lnTo>
                        <a:lnTo>
                          <a:pt x="974" y="68"/>
                        </a:lnTo>
                        <a:lnTo>
                          <a:pt x="976" y="70"/>
                        </a:lnTo>
                        <a:lnTo>
                          <a:pt x="976" y="71"/>
                        </a:lnTo>
                        <a:lnTo>
                          <a:pt x="976" y="73"/>
                        </a:lnTo>
                        <a:lnTo>
                          <a:pt x="978" y="76"/>
                        </a:lnTo>
                        <a:lnTo>
                          <a:pt x="979" y="76"/>
                        </a:lnTo>
                        <a:lnTo>
                          <a:pt x="978" y="78"/>
                        </a:lnTo>
                        <a:lnTo>
                          <a:pt x="976" y="78"/>
                        </a:lnTo>
                        <a:lnTo>
                          <a:pt x="974" y="79"/>
                        </a:lnTo>
                        <a:lnTo>
                          <a:pt x="973" y="81"/>
                        </a:lnTo>
                        <a:lnTo>
                          <a:pt x="971" y="81"/>
                        </a:lnTo>
                        <a:lnTo>
                          <a:pt x="970" y="81"/>
                        </a:lnTo>
                        <a:lnTo>
                          <a:pt x="966" y="81"/>
                        </a:lnTo>
                        <a:lnTo>
                          <a:pt x="965" y="81"/>
                        </a:lnTo>
                        <a:lnTo>
                          <a:pt x="963" y="81"/>
                        </a:lnTo>
                        <a:lnTo>
                          <a:pt x="960" y="83"/>
                        </a:lnTo>
                        <a:lnTo>
                          <a:pt x="959" y="84"/>
                        </a:lnTo>
                        <a:lnTo>
                          <a:pt x="955" y="86"/>
                        </a:lnTo>
                        <a:lnTo>
                          <a:pt x="954" y="86"/>
                        </a:lnTo>
                        <a:lnTo>
                          <a:pt x="952" y="87"/>
                        </a:lnTo>
                        <a:lnTo>
                          <a:pt x="951" y="89"/>
                        </a:lnTo>
                        <a:lnTo>
                          <a:pt x="946" y="87"/>
                        </a:lnTo>
                        <a:lnTo>
                          <a:pt x="944" y="87"/>
                        </a:lnTo>
                        <a:lnTo>
                          <a:pt x="941" y="86"/>
                        </a:lnTo>
                        <a:lnTo>
                          <a:pt x="940" y="86"/>
                        </a:lnTo>
                        <a:lnTo>
                          <a:pt x="938" y="86"/>
                        </a:lnTo>
                        <a:lnTo>
                          <a:pt x="936" y="86"/>
                        </a:lnTo>
                        <a:lnTo>
                          <a:pt x="935" y="86"/>
                        </a:lnTo>
                        <a:lnTo>
                          <a:pt x="933" y="87"/>
                        </a:lnTo>
                        <a:lnTo>
                          <a:pt x="932" y="87"/>
                        </a:lnTo>
                        <a:lnTo>
                          <a:pt x="928" y="87"/>
                        </a:lnTo>
                        <a:lnTo>
                          <a:pt x="924" y="87"/>
                        </a:lnTo>
                        <a:lnTo>
                          <a:pt x="922" y="87"/>
                        </a:lnTo>
                        <a:lnTo>
                          <a:pt x="921" y="86"/>
                        </a:lnTo>
                        <a:lnTo>
                          <a:pt x="919" y="86"/>
                        </a:lnTo>
                        <a:lnTo>
                          <a:pt x="917" y="86"/>
                        </a:lnTo>
                        <a:lnTo>
                          <a:pt x="916" y="86"/>
                        </a:lnTo>
                        <a:lnTo>
                          <a:pt x="914" y="86"/>
                        </a:lnTo>
                        <a:lnTo>
                          <a:pt x="913" y="87"/>
                        </a:lnTo>
                        <a:lnTo>
                          <a:pt x="911" y="90"/>
                        </a:lnTo>
                        <a:lnTo>
                          <a:pt x="909" y="94"/>
                        </a:lnTo>
                        <a:lnTo>
                          <a:pt x="908" y="95"/>
                        </a:lnTo>
                        <a:lnTo>
                          <a:pt x="906" y="98"/>
                        </a:lnTo>
                        <a:lnTo>
                          <a:pt x="906" y="100"/>
                        </a:lnTo>
                        <a:lnTo>
                          <a:pt x="905" y="102"/>
                        </a:lnTo>
                        <a:lnTo>
                          <a:pt x="906" y="103"/>
                        </a:lnTo>
                        <a:lnTo>
                          <a:pt x="906" y="106"/>
                        </a:lnTo>
                        <a:lnTo>
                          <a:pt x="908" y="108"/>
                        </a:lnTo>
                        <a:lnTo>
                          <a:pt x="909" y="111"/>
                        </a:lnTo>
                        <a:lnTo>
                          <a:pt x="911" y="114"/>
                        </a:lnTo>
                        <a:lnTo>
                          <a:pt x="914" y="116"/>
                        </a:lnTo>
                        <a:lnTo>
                          <a:pt x="916" y="117"/>
                        </a:lnTo>
                        <a:lnTo>
                          <a:pt x="919" y="119"/>
                        </a:lnTo>
                        <a:lnTo>
                          <a:pt x="925" y="121"/>
                        </a:lnTo>
                        <a:lnTo>
                          <a:pt x="930" y="122"/>
                        </a:lnTo>
                        <a:lnTo>
                          <a:pt x="933" y="121"/>
                        </a:lnTo>
                        <a:lnTo>
                          <a:pt x="936" y="121"/>
                        </a:lnTo>
                        <a:lnTo>
                          <a:pt x="940" y="119"/>
                        </a:lnTo>
                        <a:lnTo>
                          <a:pt x="941" y="119"/>
                        </a:lnTo>
                        <a:lnTo>
                          <a:pt x="944" y="119"/>
                        </a:lnTo>
                        <a:lnTo>
                          <a:pt x="946" y="119"/>
                        </a:lnTo>
                        <a:lnTo>
                          <a:pt x="949" y="121"/>
                        </a:lnTo>
                        <a:lnTo>
                          <a:pt x="951" y="122"/>
                        </a:lnTo>
                        <a:lnTo>
                          <a:pt x="952" y="122"/>
                        </a:lnTo>
                        <a:lnTo>
                          <a:pt x="954" y="124"/>
                        </a:lnTo>
                        <a:lnTo>
                          <a:pt x="954" y="125"/>
                        </a:lnTo>
                        <a:lnTo>
                          <a:pt x="955" y="128"/>
                        </a:lnTo>
                        <a:lnTo>
                          <a:pt x="955" y="130"/>
                        </a:lnTo>
                        <a:lnTo>
                          <a:pt x="955" y="132"/>
                        </a:lnTo>
                        <a:lnTo>
                          <a:pt x="954" y="133"/>
                        </a:lnTo>
                        <a:lnTo>
                          <a:pt x="954" y="135"/>
                        </a:lnTo>
                        <a:lnTo>
                          <a:pt x="954" y="136"/>
                        </a:lnTo>
                        <a:lnTo>
                          <a:pt x="954" y="138"/>
                        </a:lnTo>
                        <a:lnTo>
                          <a:pt x="954" y="140"/>
                        </a:lnTo>
                        <a:lnTo>
                          <a:pt x="955" y="141"/>
                        </a:lnTo>
                        <a:lnTo>
                          <a:pt x="957" y="144"/>
                        </a:lnTo>
                        <a:lnTo>
                          <a:pt x="959" y="146"/>
                        </a:lnTo>
                        <a:lnTo>
                          <a:pt x="960" y="147"/>
                        </a:lnTo>
                        <a:lnTo>
                          <a:pt x="960" y="152"/>
                        </a:lnTo>
                        <a:lnTo>
                          <a:pt x="960" y="155"/>
                        </a:lnTo>
                        <a:lnTo>
                          <a:pt x="960" y="157"/>
                        </a:lnTo>
                        <a:lnTo>
                          <a:pt x="959" y="159"/>
                        </a:lnTo>
                        <a:lnTo>
                          <a:pt x="957" y="162"/>
                        </a:lnTo>
                        <a:lnTo>
                          <a:pt x="955" y="165"/>
                        </a:lnTo>
                        <a:lnTo>
                          <a:pt x="955" y="171"/>
                        </a:lnTo>
                        <a:lnTo>
                          <a:pt x="955" y="173"/>
                        </a:lnTo>
                        <a:lnTo>
                          <a:pt x="955" y="174"/>
                        </a:lnTo>
                        <a:lnTo>
                          <a:pt x="957" y="174"/>
                        </a:lnTo>
                        <a:lnTo>
                          <a:pt x="957" y="176"/>
                        </a:lnTo>
                        <a:lnTo>
                          <a:pt x="959" y="178"/>
                        </a:lnTo>
                        <a:lnTo>
                          <a:pt x="960" y="179"/>
                        </a:lnTo>
                        <a:lnTo>
                          <a:pt x="960" y="181"/>
                        </a:lnTo>
                        <a:lnTo>
                          <a:pt x="960" y="182"/>
                        </a:lnTo>
                        <a:lnTo>
                          <a:pt x="960" y="184"/>
                        </a:lnTo>
                        <a:lnTo>
                          <a:pt x="960" y="186"/>
                        </a:lnTo>
                        <a:lnTo>
                          <a:pt x="959" y="187"/>
                        </a:lnTo>
                        <a:lnTo>
                          <a:pt x="957" y="189"/>
                        </a:lnTo>
                        <a:lnTo>
                          <a:pt x="957" y="190"/>
                        </a:lnTo>
                        <a:lnTo>
                          <a:pt x="955" y="192"/>
                        </a:lnTo>
                        <a:lnTo>
                          <a:pt x="955" y="193"/>
                        </a:lnTo>
                        <a:lnTo>
                          <a:pt x="955" y="195"/>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43" name="Freeform 42"/>
                  <p:cNvSpPr>
                    <a:spLocks/>
                  </p:cNvSpPr>
                  <p:nvPr/>
                </p:nvSpPr>
                <p:spPr bwMode="auto">
                  <a:xfrm>
                    <a:off x="1637" y="3137"/>
                    <a:ext cx="1128" cy="880"/>
                  </a:xfrm>
                  <a:custGeom>
                    <a:avLst/>
                    <a:gdLst>
                      <a:gd name="T0" fmla="*/ 1117 w 1128"/>
                      <a:gd name="T1" fmla="*/ 301 h 880"/>
                      <a:gd name="T2" fmla="*/ 1124 w 1128"/>
                      <a:gd name="T3" fmla="*/ 327 h 880"/>
                      <a:gd name="T4" fmla="*/ 1112 w 1128"/>
                      <a:gd name="T5" fmla="*/ 376 h 880"/>
                      <a:gd name="T6" fmla="*/ 1072 w 1128"/>
                      <a:gd name="T7" fmla="*/ 420 h 880"/>
                      <a:gd name="T8" fmla="*/ 1086 w 1128"/>
                      <a:gd name="T9" fmla="*/ 450 h 880"/>
                      <a:gd name="T10" fmla="*/ 1098 w 1128"/>
                      <a:gd name="T11" fmla="*/ 477 h 880"/>
                      <a:gd name="T12" fmla="*/ 1082 w 1128"/>
                      <a:gd name="T13" fmla="*/ 503 h 880"/>
                      <a:gd name="T14" fmla="*/ 1058 w 1128"/>
                      <a:gd name="T15" fmla="*/ 550 h 880"/>
                      <a:gd name="T16" fmla="*/ 1012 w 1128"/>
                      <a:gd name="T17" fmla="*/ 566 h 880"/>
                      <a:gd name="T18" fmla="*/ 980 w 1128"/>
                      <a:gd name="T19" fmla="*/ 563 h 880"/>
                      <a:gd name="T20" fmla="*/ 950 w 1128"/>
                      <a:gd name="T21" fmla="*/ 564 h 880"/>
                      <a:gd name="T22" fmla="*/ 942 w 1128"/>
                      <a:gd name="T23" fmla="*/ 610 h 880"/>
                      <a:gd name="T24" fmla="*/ 963 w 1128"/>
                      <a:gd name="T25" fmla="*/ 637 h 880"/>
                      <a:gd name="T26" fmla="*/ 991 w 1128"/>
                      <a:gd name="T27" fmla="*/ 655 h 880"/>
                      <a:gd name="T28" fmla="*/ 999 w 1128"/>
                      <a:gd name="T29" fmla="*/ 675 h 880"/>
                      <a:gd name="T30" fmla="*/ 963 w 1128"/>
                      <a:gd name="T31" fmla="*/ 710 h 880"/>
                      <a:gd name="T32" fmla="*/ 947 w 1128"/>
                      <a:gd name="T33" fmla="*/ 732 h 880"/>
                      <a:gd name="T34" fmla="*/ 895 w 1128"/>
                      <a:gd name="T35" fmla="*/ 753 h 880"/>
                      <a:gd name="T36" fmla="*/ 831 w 1128"/>
                      <a:gd name="T37" fmla="*/ 754 h 880"/>
                      <a:gd name="T38" fmla="*/ 776 w 1128"/>
                      <a:gd name="T39" fmla="*/ 780 h 880"/>
                      <a:gd name="T40" fmla="*/ 765 w 1128"/>
                      <a:gd name="T41" fmla="*/ 810 h 880"/>
                      <a:gd name="T42" fmla="*/ 754 w 1128"/>
                      <a:gd name="T43" fmla="*/ 857 h 880"/>
                      <a:gd name="T44" fmla="*/ 706 w 1128"/>
                      <a:gd name="T45" fmla="*/ 873 h 880"/>
                      <a:gd name="T46" fmla="*/ 668 w 1128"/>
                      <a:gd name="T47" fmla="*/ 838 h 880"/>
                      <a:gd name="T48" fmla="*/ 614 w 1128"/>
                      <a:gd name="T49" fmla="*/ 834 h 880"/>
                      <a:gd name="T50" fmla="*/ 611 w 1128"/>
                      <a:gd name="T51" fmla="*/ 786 h 880"/>
                      <a:gd name="T52" fmla="*/ 576 w 1128"/>
                      <a:gd name="T53" fmla="*/ 821 h 880"/>
                      <a:gd name="T54" fmla="*/ 553 w 1128"/>
                      <a:gd name="T55" fmla="*/ 802 h 880"/>
                      <a:gd name="T56" fmla="*/ 524 w 1128"/>
                      <a:gd name="T57" fmla="*/ 823 h 880"/>
                      <a:gd name="T58" fmla="*/ 488 w 1128"/>
                      <a:gd name="T59" fmla="*/ 802 h 880"/>
                      <a:gd name="T60" fmla="*/ 451 w 1128"/>
                      <a:gd name="T61" fmla="*/ 789 h 880"/>
                      <a:gd name="T62" fmla="*/ 448 w 1128"/>
                      <a:gd name="T63" fmla="*/ 764 h 880"/>
                      <a:gd name="T64" fmla="*/ 434 w 1128"/>
                      <a:gd name="T65" fmla="*/ 727 h 880"/>
                      <a:gd name="T66" fmla="*/ 385 w 1128"/>
                      <a:gd name="T67" fmla="*/ 705 h 880"/>
                      <a:gd name="T68" fmla="*/ 339 w 1128"/>
                      <a:gd name="T69" fmla="*/ 694 h 880"/>
                      <a:gd name="T70" fmla="*/ 351 w 1128"/>
                      <a:gd name="T71" fmla="*/ 659 h 880"/>
                      <a:gd name="T72" fmla="*/ 328 w 1128"/>
                      <a:gd name="T73" fmla="*/ 623 h 880"/>
                      <a:gd name="T74" fmla="*/ 323 w 1128"/>
                      <a:gd name="T75" fmla="*/ 593 h 880"/>
                      <a:gd name="T76" fmla="*/ 310 w 1128"/>
                      <a:gd name="T77" fmla="*/ 566 h 880"/>
                      <a:gd name="T78" fmla="*/ 280 w 1128"/>
                      <a:gd name="T79" fmla="*/ 575 h 880"/>
                      <a:gd name="T80" fmla="*/ 282 w 1128"/>
                      <a:gd name="T81" fmla="*/ 556 h 880"/>
                      <a:gd name="T82" fmla="*/ 272 w 1128"/>
                      <a:gd name="T83" fmla="*/ 523 h 880"/>
                      <a:gd name="T84" fmla="*/ 264 w 1128"/>
                      <a:gd name="T85" fmla="*/ 501 h 880"/>
                      <a:gd name="T86" fmla="*/ 253 w 1128"/>
                      <a:gd name="T87" fmla="*/ 469 h 880"/>
                      <a:gd name="T88" fmla="*/ 230 w 1128"/>
                      <a:gd name="T89" fmla="*/ 450 h 880"/>
                      <a:gd name="T90" fmla="*/ 182 w 1128"/>
                      <a:gd name="T91" fmla="*/ 439 h 880"/>
                      <a:gd name="T92" fmla="*/ 134 w 1128"/>
                      <a:gd name="T93" fmla="*/ 433 h 880"/>
                      <a:gd name="T94" fmla="*/ 106 w 1128"/>
                      <a:gd name="T95" fmla="*/ 446 h 880"/>
                      <a:gd name="T96" fmla="*/ 65 w 1128"/>
                      <a:gd name="T97" fmla="*/ 444 h 880"/>
                      <a:gd name="T98" fmla="*/ 28 w 1128"/>
                      <a:gd name="T99" fmla="*/ 414 h 880"/>
                      <a:gd name="T100" fmla="*/ 9 w 1128"/>
                      <a:gd name="T101" fmla="*/ 377 h 880"/>
                      <a:gd name="T102" fmla="*/ 3 w 1128"/>
                      <a:gd name="T103" fmla="*/ 344 h 880"/>
                      <a:gd name="T104" fmla="*/ 27 w 1128"/>
                      <a:gd name="T105" fmla="*/ 290 h 880"/>
                      <a:gd name="T106" fmla="*/ 22 w 1128"/>
                      <a:gd name="T107" fmla="*/ 244 h 880"/>
                      <a:gd name="T108" fmla="*/ 43 w 1128"/>
                      <a:gd name="T109" fmla="*/ 148 h 880"/>
                      <a:gd name="T110" fmla="*/ 52 w 1128"/>
                      <a:gd name="T111" fmla="*/ 97 h 880"/>
                      <a:gd name="T112" fmla="*/ 19 w 1128"/>
                      <a:gd name="T113" fmla="*/ 26 h 880"/>
                      <a:gd name="T114" fmla="*/ 74 w 1128"/>
                      <a:gd name="T115" fmla="*/ 13 h 880"/>
                      <a:gd name="T116" fmla="*/ 96 w 1128"/>
                      <a:gd name="T117" fmla="*/ 34 h 880"/>
                      <a:gd name="T118" fmla="*/ 123 w 1128"/>
                      <a:gd name="T119" fmla="*/ 46 h 880"/>
                      <a:gd name="T120" fmla="*/ 149 w 1128"/>
                      <a:gd name="T121" fmla="*/ 62 h 880"/>
                      <a:gd name="T122" fmla="*/ 157 w 1128"/>
                      <a:gd name="T123" fmla="*/ 86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28" h="880">
                        <a:moveTo>
                          <a:pt x="1113" y="276"/>
                        </a:moveTo>
                        <a:lnTo>
                          <a:pt x="1115" y="278"/>
                        </a:lnTo>
                        <a:lnTo>
                          <a:pt x="1117" y="279"/>
                        </a:lnTo>
                        <a:lnTo>
                          <a:pt x="1118" y="282"/>
                        </a:lnTo>
                        <a:lnTo>
                          <a:pt x="1120" y="284"/>
                        </a:lnTo>
                        <a:lnTo>
                          <a:pt x="1120" y="287"/>
                        </a:lnTo>
                        <a:lnTo>
                          <a:pt x="1120" y="289"/>
                        </a:lnTo>
                        <a:lnTo>
                          <a:pt x="1118" y="290"/>
                        </a:lnTo>
                        <a:lnTo>
                          <a:pt x="1118" y="292"/>
                        </a:lnTo>
                        <a:lnTo>
                          <a:pt x="1118" y="293"/>
                        </a:lnTo>
                        <a:lnTo>
                          <a:pt x="1118" y="295"/>
                        </a:lnTo>
                        <a:lnTo>
                          <a:pt x="1118" y="297"/>
                        </a:lnTo>
                        <a:lnTo>
                          <a:pt x="1118" y="298"/>
                        </a:lnTo>
                        <a:lnTo>
                          <a:pt x="1118" y="300"/>
                        </a:lnTo>
                        <a:lnTo>
                          <a:pt x="1117" y="300"/>
                        </a:lnTo>
                        <a:lnTo>
                          <a:pt x="1117" y="301"/>
                        </a:lnTo>
                        <a:lnTo>
                          <a:pt x="1115" y="303"/>
                        </a:lnTo>
                        <a:lnTo>
                          <a:pt x="1115" y="305"/>
                        </a:lnTo>
                        <a:lnTo>
                          <a:pt x="1117" y="306"/>
                        </a:lnTo>
                        <a:lnTo>
                          <a:pt x="1120" y="308"/>
                        </a:lnTo>
                        <a:lnTo>
                          <a:pt x="1123" y="309"/>
                        </a:lnTo>
                        <a:lnTo>
                          <a:pt x="1124" y="311"/>
                        </a:lnTo>
                        <a:lnTo>
                          <a:pt x="1126" y="312"/>
                        </a:lnTo>
                        <a:lnTo>
                          <a:pt x="1126" y="314"/>
                        </a:lnTo>
                        <a:lnTo>
                          <a:pt x="1128" y="316"/>
                        </a:lnTo>
                        <a:lnTo>
                          <a:pt x="1126" y="317"/>
                        </a:lnTo>
                        <a:lnTo>
                          <a:pt x="1126" y="319"/>
                        </a:lnTo>
                        <a:lnTo>
                          <a:pt x="1124" y="320"/>
                        </a:lnTo>
                        <a:lnTo>
                          <a:pt x="1124" y="322"/>
                        </a:lnTo>
                        <a:lnTo>
                          <a:pt x="1123" y="324"/>
                        </a:lnTo>
                        <a:lnTo>
                          <a:pt x="1123" y="325"/>
                        </a:lnTo>
                        <a:lnTo>
                          <a:pt x="1124" y="327"/>
                        </a:lnTo>
                        <a:lnTo>
                          <a:pt x="1124" y="330"/>
                        </a:lnTo>
                        <a:lnTo>
                          <a:pt x="1124" y="333"/>
                        </a:lnTo>
                        <a:lnTo>
                          <a:pt x="1124" y="336"/>
                        </a:lnTo>
                        <a:lnTo>
                          <a:pt x="1124" y="338"/>
                        </a:lnTo>
                        <a:lnTo>
                          <a:pt x="1123" y="339"/>
                        </a:lnTo>
                        <a:lnTo>
                          <a:pt x="1118" y="344"/>
                        </a:lnTo>
                        <a:lnTo>
                          <a:pt x="1115" y="349"/>
                        </a:lnTo>
                        <a:lnTo>
                          <a:pt x="1113" y="352"/>
                        </a:lnTo>
                        <a:lnTo>
                          <a:pt x="1112" y="355"/>
                        </a:lnTo>
                        <a:lnTo>
                          <a:pt x="1112" y="358"/>
                        </a:lnTo>
                        <a:lnTo>
                          <a:pt x="1112" y="363"/>
                        </a:lnTo>
                        <a:lnTo>
                          <a:pt x="1112" y="365"/>
                        </a:lnTo>
                        <a:lnTo>
                          <a:pt x="1112" y="368"/>
                        </a:lnTo>
                        <a:lnTo>
                          <a:pt x="1112" y="369"/>
                        </a:lnTo>
                        <a:lnTo>
                          <a:pt x="1112" y="373"/>
                        </a:lnTo>
                        <a:lnTo>
                          <a:pt x="1112" y="376"/>
                        </a:lnTo>
                        <a:lnTo>
                          <a:pt x="1110" y="377"/>
                        </a:lnTo>
                        <a:lnTo>
                          <a:pt x="1109" y="381"/>
                        </a:lnTo>
                        <a:lnTo>
                          <a:pt x="1107" y="384"/>
                        </a:lnTo>
                        <a:lnTo>
                          <a:pt x="1105" y="385"/>
                        </a:lnTo>
                        <a:lnTo>
                          <a:pt x="1098" y="393"/>
                        </a:lnTo>
                        <a:lnTo>
                          <a:pt x="1090" y="400"/>
                        </a:lnTo>
                        <a:lnTo>
                          <a:pt x="1085" y="403"/>
                        </a:lnTo>
                        <a:lnTo>
                          <a:pt x="1079" y="409"/>
                        </a:lnTo>
                        <a:lnTo>
                          <a:pt x="1075" y="411"/>
                        </a:lnTo>
                        <a:lnTo>
                          <a:pt x="1072" y="412"/>
                        </a:lnTo>
                        <a:lnTo>
                          <a:pt x="1071" y="414"/>
                        </a:lnTo>
                        <a:lnTo>
                          <a:pt x="1071" y="415"/>
                        </a:lnTo>
                        <a:lnTo>
                          <a:pt x="1069" y="417"/>
                        </a:lnTo>
                        <a:lnTo>
                          <a:pt x="1071" y="419"/>
                        </a:lnTo>
                        <a:lnTo>
                          <a:pt x="1071" y="420"/>
                        </a:lnTo>
                        <a:lnTo>
                          <a:pt x="1072" y="420"/>
                        </a:lnTo>
                        <a:lnTo>
                          <a:pt x="1074" y="420"/>
                        </a:lnTo>
                        <a:lnTo>
                          <a:pt x="1074" y="422"/>
                        </a:lnTo>
                        <a:lnTo>
                          <a:pt x="1079" y="423"/>
                        </a:lnTo>
                        <a:lnTo>
                          <a:pt x="1080" y="423"/>
                        </a:lnTo>
                        <a:lnTo>
                          <a:pt x="1083" y="428"/>
                        </a:lnTo>
                        <a:lnTo>
                          <a:pt x="1086" y="430"/>
                        </a:lnTo>
                        <a:lnTo>
                          <a:pt x="1085" y="430"/>
                        </a:lnTo>
                        <a:lnTo>
                          <a:pt x="1085" y="431"/>
                        </a:lnTo>
                        <a:lnTo>
                          <a:pt x="1085" y="433"/>
                        </a:lnTo>
                        <a:lnTo>
                          <a:pt x="1083" y="439"/>
                        </a:lnTo>
                        <a:lnTo>
                          <a:pt x="1083" y="441"/>
                        </a:lnTo>
                        <a:lnTo>
                          <a:pt x="1083" y="442"/>
                        </a:lnTo>
                        <a:lnTo>
                          <a:pt x="1083" y="444"/>
                        </a:lnTo>
                        <a:lnTo>
                          <a:pt x="1086" y="446"/>
                        </a:lnTo>
                        <a:lnTo>
                          <a:pt x="1086" y="449"/>
                        </a:lnTo>
                        <a:lnTo>
                          <a:pt x="1086" y="450"/>
                        </a:lnTo>
                        <a:lnTo>
                          <a:pt x="1086" y="452"/>
                        </a:lnTo>
                        <a:lnTo>
                          <a:pt x="1088" y="452"/>
                        </a:lnTo>
                        <a:lnTo>
                          <a:pt x="1088" y="455"/>
                        </a:lnTo>
                        <a:lnTo>
                          <a:pt x="1090" y="457"/>
                        </a:lnTo>
                        <a:lnTo>
                          <a:pt x="1091" y="458"/>
                        </a:lnTo>
                        <a:lnTo>
                          <a:pt x="1093" y="460"/>
                        </a:lnTo>
                        <a:lnTo>
                          <a:pt x="1094" y="461"/>
                        </a:lnTo>
                        <a:lnTo>
                          <a:pt x="1094" y="463"/>
                        </a:lnTo>
                        <a:lnTo>
                          <a:pt x="1096" y="463"/>
                        </a:lnTo>
                        <a:lnTo>
                          <a:pt x="1096" y="469"/>
                        </a:lnTo>
                        <a:lnTo>
                          <a:pt x="1094" y="469"/>
                        </a:lnTo>
                        <a:lnTo>
                          <a:pt x="1094" y="471"/>
                        </a:lnTo>
                        <a:lnTo>
                          <a:pt x="1094" y="472"/>
                        </a:lnTo>
                        <a:lnTo>
                          <a:pt x="1094" y="474"/>
                        </a:lnTo>
                        <a:lnTo>
                          <a:pt x="1096" y="476"/>
                        </a:lnTo>
                        <a:lnTo>
                          <a:pt x="1098" y="477"/>
                        </a:lnTo>
                        <a:lnTo>
                          <a:pt x="1096" y="480"/>
                        </a:lnTo>
                        <a:lnTo>
                          <a:pt x="1098" y="482"/>
                        </a:lnTo>
                        <a:lnTo>
                          <a:pt x="1096" y="485"/>
                        </a:lnTo>
                        <a:lnTo>
                          <a:pt x="1094" y="487"/>
                        </a:lnTo>
                        <a:lnTo>
                          <a:pt x="1091" y="488"/>
                        </a:lnTo>
                        <a:lnTo>
                          <a:pt x="1090" y="488"/>
                        </a:lnTo>
                        <a:lnTo>
                          <a:pt x="1090" y="490"/>
                        </a:lnTo>
                        <a:lnTo>
                          <a:pt x="1088" y="490"/>
                        </a:lnTo>
                        <a:lnTo>
                          <a:pt x="1086" y="491"/>
                        </a:lnTo>
                        <a:lnTo>
                          <a:pt x="1085" y="491"/>
                        </a:lnTo>
                        <a:lnTo>
                          <a:pt x="1085" y="495"/>
                        </a:lnTo>
                        <a:lnTo>
                          <a:pt x="1083" y="495"/>
                        </a:lnTo>
                        <a:lnTo>
                          <a:pt x="1083" y="499"/>
                        </a:lnTo>
                        <a:lnTo>
                          <a:pt x="1083" y="501"/>
                        </a:lnTo>
                        <a:lnTo>
                          <a:pt x="1082" y="501"/>
                        </a:lnTo>
                        <a:lnTo>
                          <a:pt x="1082" y="503"/>
                        </a:lnTo>
                        <a:lnTo>
                          <a:pt x="1082" y="504"/>
                        </a:lnTo>
                        <a:lnTo>
                          <a:pt x="1080" y="507"/>
                        </a:lnTo>
                        <a:lnTo>
                          <a:pt x="1074" y="514"/>
                        </a:lnTo>
                        <a:lnTo>
                          <a:pt x="1071" y="517"/>
                        </a:lnTo>
                        <a:lnTo>
                          <a:pt x="1069" y="518"/>
                        </a:lnTo>
                        <a:lnTo>
                          <a:pt x="1069" y="520"/>
                        </a:lnTo>
                        <a:lnTo>
                          <a:pt x="1067" y="520"/>
                        </a:lnTo>
                        <a:lnTo>
                          <a:pt x="1064" y="523"/>
                        </a:lnTo>
                        <a:lnTo>
                          <a:pt x="1063" y="528"/>
                        </a:lnTo>
                        <a:lnTo>
                          <a:pt x="1061" y="531"/>
                        </a:lnTo>
                        <a:lnTo>
                          <a:pt x="1061" y="536"/>
                        </a:lnTo>
                        <a:lnTo>
                          <a:pt x="1061" y="541"/>
                        </a:lnTo>
                        <a:lnTo>
                          <a:pt x="1061" y="544"/>
                        </a:lnTo>
                        <a:lnTo>
                          <a:pt x="1060" y="547"/>
                        </a:lnTo>
                        <a:lnTo>
                          <a:pt x="1060" y="548"/>
                        </a:lnTo>
                        <a:lnTo>
                          <a:pt x="1058" y="550"/>
                        </a:lnTo>
                        <a:lnTo>
                          <a:pt x="1056" y="550"/>
                        </a:lnTo>
                        <a:lnTo>
                          <a:pt x="1055" y="550"/>
                        </a:lnTo>
                        <a:lnTo>
                          <a:pt x="1050" y="550"/>
                        </a:lnTo>
                        <a:lnTo>
                          <a:pt x="1047" y="548"/>
                        </a:lnTo>
                        <a:lnTo>
                          <a:pt x="1045" y="548"/>
                        </a:lnTo>
                        <a:lnTo>
                          <a:pt x="1044" y="548"/>
                        </a:lnTo>
                        <a:lnTo>
                          <a:pt x="1042" y="550"/>
                        </a:lnTo>
                        <a:lnTo>
                          <a:pt x="1034" y="555"/>
                        </a:lnTo>
                        <a:lnTo>
                          <a:pt x="1029" y="558"/>
                        </a:lnTo>
                        <a:lnTo>
                          <a:pt x="1026" y="560"/>
                        </a:lnTo>
                        <a:lnTo>
                          <a:pt x="1025" y="561"/>
                        </a:lnTo>
                        <a:lnTo>
                          <a:pt x="1023" y="561"/>
                        </a:lnTo>
                        <a:lnTo>
                          <a:pt x="1020" y="561"/>
                        </a:lnTo>
                        <a:lnTo>
                          <a:pt x="1015" y="566"/>
                        </a:lnTo>
                        <a:lnTo>
                          <a:pt x="1014" y="566"/>
                        </a:lnTo>
                        <a:lnTo>
                          <a:pt x="1012" y="566"/>
                        </a:lnTo>
                        <a:lnTo>
                          <a:pt x="1007" y="566"/>
                        </a:lnTo>
                        <a:lnTo>
                          <a:pt x="1006" y="566"/>
                        </a:lnTo>
                        <a:lnTo>
                          <a:pt x="1004" y="567"/>
                        </a:lnTo>
                        <a:lnTo>
                          <a:pt x="1003" y="567"/>
                        </a:lnTo>
                        <a:lnTo>
                          <a:pt x="1001" y="567"/>
                        </a:lnTo>
                        <a:lnTo>
                          <a:pt x="998" y="569"/>
                        </a:lnTo>
                        <a:lnTo>
                          <a:pt x="995" y="571"/>
                        </a:lnTo>
                        <a:lnTo>
                          <a:pt x="995" y="569"/>
                        </a:lnTo>
                        <a:lnTo>
                          <a:pt x="991" y="569"/>
                        </a:lnTo>
                        <a:lnTo>
                          <a:pt x="990" y="567"/>
                        </a:lnTo>
                        <a:lnTo>
                          <a:pt x="987" y="566"/>
                        </a:lnTo>
                        <a:lnTo>
                          <a:pt x="985" y="564"/>
                        </a:lnTo>
                        <a:lnTo>
                          <a:pt x="984" y="564"/>
                        </a:lnTo>
                        <a:lnTo>
                          <a:pt x="984" y="563"/>
                        </a:lnTo>
                        <a:lnTo>
                          <a:pt x="982" y="563"/>
                        </a:lnTo>
                        <a:lnTo>
                          <a:pt x="980" y="563"/>
                        </a:lnTo>
                        <a:lnTo>
                          <a:pt x="979" y="563"/>
                        </a:lnTo>
                        <a:lnTo>
                          <a:pt x="977" y="564"/>
                        </a:lnTo>
                        <a:lnTo>
                          <a:pt x="974" y="564"/>
                        </a:lnTo>
                        <a:lnTo>
                          <a:pt x="972" y="564"/>
                        </a:lnTo>
                        <a:lnTo>
                          <a:pt x="971" y="564"/>
                        </a:lnTo>
                        <a:lnTo>
                          <a:pt x="969" y="564"/>
                        </a:lnTo>
                        <a:lnTo>
                          <a:pt x="968" y="563"/>
                        </a:lnTo>
                        <a:lnTo>
                          <a:pt x="968" y="561"/>
                        </a:lnTo>
                        <a:lnTo>
                          <a:pt x="966" y="561"/>
                        </a:lnTo>
                        <a:lnTo>
                          <a:pt x="963" y="561"/>
                        </a:lnTo>
                        <a:lnTo>
                          <a:pt x="961" y="561"/>
                        </a:lnTo>
                        <a:lnTo>
                          <a:pt x="958" y="561"/>
                        </a:lnTo>
                        <a:lnTo>
                          <a:pt x="955" y="561"/>
                        </a:lnTo>
                        <a:lnTo>
                          <a:pt x="953" y="561"/>
                        </a:lnTo>
                        <a:lnTo>
                          <a:pt x="952" y="563"/>
                        </a:lnTo>
                        <a:lnTo>
                          <a:pt x="950" y="564"/>
                        </a:lnTo>
                        <a:lnTo>
                          <a:pt x="949" y="566"/>
                        </a:lnTo>
                        <a:lnTo>
                          <a:pt x="947" y="571"/>
                        </a:lnTo>
                        <a:lnTo>
                          <a:pt x="945" y="574"/>
                        </a:lnTo>
                        <a:lnTo>
                          <a:pt x="944" y="577"/>
                        </a:lnTo>
                        <a:lnTo>
                          <a:pt x="942" y="580"/>
                        </a:lnTo>
                        <a:lnTo>
                          <a:pt x="941" y="586"/>
                        </a:lnTo>
                        <a:lnTo>
                          <a:pt x="938" y="590"/>
                        </a:lnTo>
                        <a:lnTo>
                          <a:pt x="938" y="593"/>
                        </a:lnTo>
                        <a:lnTo>
                          <a:pt x="936" y="598"/>
                        </a:lnTo>
                        <a:lnTo>
                          <a:pt x="936" y="601"/>
                        </a:lnTo>
                        <a:lnTo>
                          <a:pt x="936" y="604"/>
                        </a:lnTo>
                        <a:lnTo>
                          <a:pt x="934" y="605"/>
                        </a:lnTo>
                        <a:lnTo>
                          <a:pt x="938" y="609"/>
                        </a:lnTo>
                        <a:lnTo>
                          <a:pt x="939" y="609"/>
                        </a:lnTo>
                        <a:lnTo>
                          <a:pt x="941" y="609"/>
                        </a:lnTo>
                        <a:lnTo>
                          <a:pt x="942" y="610"/>
                        </a:lnTo>
                        <a:lnTo>
                          <a:pt x="944" y="612"/>
                        </a:lnTo>
                        <a:lnTo>
                          <a:pt x="944" y="613"/>
                        </a:lnTo>
                        <a:lnTo>
                          <a:pt x="945" y="615"/>
                        </a:lnTo>
                        <a:lnTo>
                          <a:pt x="947" y="615"/>
                        </a:lnTo>
                        <a:lnTo>
                          <a:pt x="950" y="617"/>
                        </a:lnTo>
                        <a:lnTo>
                          <a:pt x="952" y="618"/>
                        </a:lnTo>
                        <a:lnTo>
                          <a:pt x="953" y="620"/>
                        </a:lnTo>
                        <a:lnTo>
                          <a:pt x="957" y="620"/>
                        </a:lnTo>
                        <a:lnTo>
                          <a:pt x="958" y="623"/>
                        </a:lnTo>
                        <a:lnTo>
                          <a:pt x="960" y="624"/>
                        </a:lnTo>
                        <a:lnTo>
                          <a:pt x="958" y="629"/>
                        </a:lnTo>
                        <a:lnTo>
                          <a:pt x="960" y="629"/>
                        </a:lnTo>
                        <a:lnTo>
                          <a:pt x="958" y="629"/>
                        </a:lnTo>
                        <a:lnTo>
                          <a:pt x="961" y="634"/>
                        </a:lnTo>
                        <a:lnTo>
                          <a:pt x="963" y="636"/>
                        </a:lnTo>
                        <a:lnTo>
                          <a:pt x="963" y="637"/>
                        </a:lnTo>
                        <a:lnTo>
                          <a:pt x="965" y="637"/>
                        </a:lnTo>
                        <a:lnTo>
                          <a:pt x="968" y="637"/>
                        </a:lnTo>
                        <a:lnTo>
                          <a:pt x="969" y="639"/>
                        </a:lnTo>
                        <a:lnTo>
                          <a:pt x="971" y="640"/>
                        </a:lnTo>
                        <a:lnTo>
                          <a:pt x="974" y="640"/>
                        </a:lnTo>
                        <a:lnTo>
                          <a:pt x="977" y="640"/>
                        </a:lnTo>
                        <a:lnTo>
                          <a:pt x="979" y="642"/>
                        </a:lnTo>
                        <a:lnTo>
                          <a:pt x="982" y="642"/>
                        </a:lnTo>
                        <a:lnTo>
                          <a:pt x="984" y="644"/>
                        </a:lnTo>
                        <a:lnTo>
                          <a:pt x="985" y="648"/>
                        </a:lnTo>
                        <a:lnTo>
                          <a:pt x="987" y="648"/>
                        </a:lnTo>
                        <a:lnTo>
                          <a:pt x="988" y="648"/>
                        </a:lnTo>
                        <a:lnTo>
                          <a:pt x="990" y="650"/>
                        </a:lnTo>
                        <a:lnTo>
                          <a:pt x="990" y="651"/>
                        </a:lnTo>
                        <a:lnTo>
                          <a:pt x="990" y="653"/>
                        </a:lnTo>
                        <a:lnTo>
                          <a:pt x="991" y="655"/>
                        </a:lnTo>
                        <a:lnTo>
                          <a:pt x="993" y="655"/>
                        </a:lnTo>
                        <a:lnTo>
                          <a:pt x="995" y="656"/>
                        </a:lnTo>
                        <a:lnTo>
                          <a:pt x="995" y="658"/>
                        </a:lnTo>
                        <a:lnTo>
                          <a:pt x="996" y="659"/>
                        </a:lnTo>
                        <a:lnTo>
                          <a:pt x="998" y="659"/>
                        </a:lnTo>
                        <a:lnTo>
                          <a:pt x="999" y="661"/>
                        </a:lnTo>
                        <a:lnTo>
                          <a:pt x="1001" y="663"/>
                        </a:lnTo>
                        <a:lnTo>
                          <a:pt x="1001" y="664"/>
                        </a:lnTo>
                        <a:lnTo>
                          <a:pt x="1004" y="664"/>
                        </a:lnTo>
                        <a:lnTo>
                          <a:pt x="1003" y="666"/>
                        </a:lnTo>
                        <a:lnTo>
                          <a:pt x="1003" y="667"/>
                        </a:lnTo>
                        <a:lnTo>
                          <a:pt x="1003" y="669"/>
                        </a:lnTo>
                        <a:lnTo>
                          <a:pt x="1003" y="670"/>
                        </a:lnTo>
                        <a:lnTo>
                          <a:pt x="1001" y="672"/>
                        </a:lnTo>
                        <a:lnTo>
                          <a:pt x="1001" y="674"/>
                        </a:lnTo>
                        <a:lnTo>
                          <a:pt x="999" y="675"/>
                        </a:lnTo>
                        <a:lnTo>
                          <a:pt x="999" y="680"/>
                        </a:lnTo>
                        <a:lnTo>
                          <a:pt x="999" y="682"/>
                        </a:lnTo>
                        <a:lnTo>
                          <a:pt x="999" y="683"/>
                        </a:lnTo>
                        <a:lnTo>
                          <a:pt x="999" y="686"/>
                        </a:lnTo>
                        <a:lnTo>
                          <a:pt x="999" y="688"/>
                        </a:lnTo>
                        <a:lnTo>
                          <a:pt x="999" y="689"/>
                        </a:lnTo>
                        <a:lnTo>
                          <a:pt x="996" y="691"/>
                        </a:lnTo>
                        <a:lnTo>
                          <a:pt x="993" y="696"/>
                        </a:lnTo>
                        <a:lnTo>
                          <a:pt x="987" y="704"/>
                        </a:lnTo>
                        <a:lnTo>
                          <a:pt x="985" y="705"/>
                        </a:lnTo>
                        <a:lnTo>
                          <a:pt x="980" y="704"/>
                        </a:lnTo>
                        <a:lnTo>
                          <a:pt x="979" y="704"/>
                        </a:lnTo>
                        <a:lnTo>
                          <a:pt x="974" y="710"/>
                        </a:lnTo>
                        <a:lnTo>
                          <a:pt x="969" y="708"/>
                        </a:lnTo>
                        <a:lnTo>
                          <a:pt x="965" y="710"/>
                        </a:lnTo>
                        <a:lnTo>
                          <a:pt x="963" y="710"/>
                        </a:lnTo>
                        <a:lnTo>
                          <a:pt x="961" y="710"/>
                        </a:lnTo>
                        <a:lnTo>
                          <a:pt x="958" y="708"/>
                        </a:lnTo>
                        <a:lnTo>
                          <a:pt x="957" y="708"/>
                        </a:lnTo>
                        <a:lnTo>
                          <a:pt x="953" y="710"/>
                        </a:lnTo>
                        <a:lnTo>
                          <a:pt x="952" y="710"/>
                        </a:lnTo>
                        <a:lnTo>
                          <a:pt x="950" y="712"/>
                        </a:lnTo>
                        <a:lnTo>
                          <a:pt x="950" y="713"/>
                        </a:lnTo>
                        <a:lnTo>
                          <a:pt x="952" y="715"/>
                        </a:lnTo>
                        <a:lnTo>
                          <a:pt x="950" y="715"/>
                        </a:lnTo>
                        <a:lnTo>
                          <a:pt x="949" y="721"/>
                        </a:lnTo>
                        <a:lnTo>
                          <a:pt x="949" y="723"/>
                        </a:lnTo>
                        <a:lnTo>
                          <a:pt x="952" y="726"/>
                        </a:lnTo>
                        <a:lnTo>
                          <a:pt x="950" y="727"/>
                        </a:lnTo>
                        <a:lnTo>
                          <a:pt x="950" y="729"/>
                        </a:lnTo>
                        <a:lnTo>
                          <a:pt x="949" y="732"/>
                        </a:lnTo>
                        <a:lnTo>
                          <a:pt x="947" y="732"/>
                        </a:lnTo>
                        <a:lnTo>
                          <a:pt x="942" y="735"/>
                        </a:lnTo>
                        <a:lnTo>
                          <a:pt x="939" y="735"/>
                        </a:lnTo>
                        <a:lnTo>
                          <a:pt x="936" y="734"/>
                        </a:lnTo>
                        <a:lnTo>
                          <a:pt x="934" y="734"/>
                        </a:lnTo>
                        <a:lnTo>
                          <a:pt x="930" y="731"/>
                        </a:lnTo>
                        <a:lnTo>
                          <a:pt x="926" y="732"/>
                        </a:lnTo>
                        <a:lnTo>
                          <a:pt x="925" y="732"/>
                        </a:lnTo>
                        <a:lnTo>
                          <a:pt x="915" y="732"/>
                        </a:lnTo>
                        <a:lnTo>
                          <a:pt x="915" y="734"/>
                        </a:lnTo>
                        <a:lnTo>
                          <a:pt x="914" y="734"/>
                        </a:lnTo>
                        <a:lnTo>
                          <a:pt x="907" y="742"/>
                        </a:lnTo>
                        <a:lnTo>
                          <a:pt x="909" y="753"/>
                        </a:lnTo>
                        <a:lnTo>
                          <a:pt x="904" y="753"/>
                        </a:lnTo>
                        <a:lnTo>
                          <a:pt x="901" y="753"/>
                        </a:lnTo>
                        <a:lnTo>
                          <a:pt x="896" y="754"/>
                        </a:lnTo>
                        <a:lnTo>
                          <a:pt x="895" y="753"/>
                        </a:lnTo>
                        <a:lnTo>
                          <a:pt x="887" y="751"/>
                        </a:lnTo>
                        <a:lnTo>
                          <a:pt x="884" y="748"/>
                        </a:lnTo>
                        <a:lnTo>
                          <a:pt x="879" y="745"/>
                        </a:lnTo>
                        <a:lnTo>
                          <a:pt x="869" y="742"/>
                        </a:lnTo>
                        <a:lnTo>
                          <a:pt x="868" y="740"/>
                        </a:lnTo>
                        <a:lnTo>
                          <a:pt x="858" y="734"/>
                        </a:lnTo>
                        <a:lnTo>
                          <a:pt x="855" y="734"/>
                        </a:lnTo>
                        <a:lnTo>
                          <a:pt x="854" y="734"/>
                        </a:lnTo>
                        <a:lnTo>
                          <a:pt x="852" y="735"/>
                        </a:lnTo>
                        <a:lnTo>
                          <a:pt x="849" y="737"/>
                        </a:lnTo>
                        <a:lnTo>
                          <a:pt x="849" y="739"/>
                        </a:lnTo>
                        <a:lnTo>
                          <a:pt x="846" y="746"/>
                        </a:lnTo>
                        <a:lnTo>
                          <a:pt x="839" y="750"/>
                        </a:lnTo>
                        <a:lnTo>
                          <a:pt x="836" y="753"/>
                        </a:lnTo>
                        <a:lnTo>
                          <a:pt x="833" y="754"/>
                        </a:lnTo>
                        <a:lnTo>
                          <a:pt x="831" y="754"/>
                        </a:lnTo>
                        <a:lnTo>
                          <a:pt x="831" y="758"/>
                        </a:lnTo>
                        <a:lnTo>
                          <a:pt x="830" y="761"/>
                        </a:lnTo>
                        <a:lnTo>
                          <a:pt x="828" y="764"/>
                        </a:lnTo>
                        <a:lnTo>
                          <a:pt x="825" y="767"/>
                        </a:lnTo>
                        <a:lnTo>
                          <a:pt x="824" y="769"/>
                        </a:lnTo>
                        <a:lnTo>
                          <a:pt x="820" y="770"/>
                        </a:lnTo>
                        <a:lnTo>
                          <a:pt x="806" y="777"/>
                        </a:lnTo>
                        <a:lnTo>
                          <a:pt x="800" y="777"/>
                        </a:lnTo>
                        <a:lnTo>
                          <a:pt x="795" y="777"/>
                        </a:lnTo>
                        <a:lnTo>
                          <a:pt x="792" y="778"/>
                        </a:lnTo>
                        <a:lnTo>
                          <a:pt x="790" y="781"/>
                        </a:lnTo>
                        <a:lnTo>
                          <a:pt x="784" y="781"/>
                        </a:lnTo>
                        <a:lnTo>
                          <a:pt x="782" y="781"/>
                        </a:lnTo>
                        <a:lnTo>
                          <a:pt x="779" y="781"/>
                        </a:lnTo>
                        <a:lnTo>
                          <a:pt x="778" y="781"/>
                        </a:lnTo>
                        <a:lnTo>
                          <a:pt x="776" y="780"/>
                        </a:lnTo>
                        <a:lnTo>
                          <a:pt x="773" y="781"/>
                        </a:lnTo>
                        <a:lnTo>
                          <a:pt x="771" y="781"/>
                        </a:lnTo>
                        <a:lnTo>
                          <a:pt x="770" y="780"/>
                        </a:lnTo>
                        <a:lnTo>
                          <a:pt x="768" y="780"/>
                        </a:lnTo>
                        <a:lnTo>
                          <a:pt x="765" y="788"/>
                        </a:lnTo>
                        <a:lnTo>
                          <a:pt x="763" y="791"/>
                        </a:lnTo>
                        <a:lnTo>
                          <a:pt x="765" y="792"/>
                        </a:lnTo>
                        <a:lnTo>
                          <a:pt x="770" y="792"/>
                        </a:lnTo>
                        <a:lnTo>
                          <a:pt x="771" y="792"/>
                        </a:lnTo>
                        <a:lnTo>
                          <a:pt x="771" y="794"/>
                        </a:lnTo>
                        <a:lnTo>
                          <a:pt x="770" y="796"/>
                        </a:lnTo>
                        <a:lnTo>
                          <a:pt x="768" y="799"/>
                        </a:lnTo>
                        <a:lnTo>
                          <a:pt x="768" y="802"/>
                        </a:lnTo>
                        <a:lnTo>
                          <a:pt x="768" y="807"/>
                        </a:lnTo>
                        <a:lnTo>
                          <a:pt x="766" y="808"/>
                        </a:lnTo>
                        <a:lnTo>
                          <a:pt x="765" y="810"/>
                        </a:lnTo>
                        <a:lnTo>
                          <a:pt x="765" y="813"/>
                        </a:lnTo>
                        <a:lnTo>
                          <a:pt x="765" y="815"/>
                        </a:lnTo>
                        <a:lnTo>
                          <a:pt x="763" y="816"/>
                        </a:lnTo>
                        <a:lnTo>
                          <a:pt x="760" y="819"/>
                        </a:lnTo>
                        <a:lnTo>
                          <a:pt x="760" y="821"/>
                        </a:lnTo>
                        <a:lnTo>
                          <a:pt x="762" y="824"/>
                        </a:lnTo>
                        <a:lnTo>
                          <a:pt x="760" y="830"/>
                        </a:lnTo>
                        <a:lnTo>
                          <a:pt x="759" y="832"/>
                        </a:lnTo>
                        <a:lnTo>
                          <a:pt x="757" y="834"/>
                        </a:lnTo>
                        <a:lnTo>
                          <a:pt x="757" y="837"/>
                        </a:lnTo>
                        <a:lnTo>
                          <a:pt x="759" y="838"/>
                        </a:lnTo>
                        <a:lnTo>
                          <a:pt x="757" y="843"/>
                        </a:lnTo>
                        <a:lnTo>
                          <a:pt x="757" y="846"/>
                        </a:lnTo>
                        <a:lnTo>
                          <a:pt x="757" y="848"/>
                        </a:lnTo>
                        <a:lnTo>
                          <a:pt x="755" y="853"/>
                        </a:lnTo>
                        <a:lnTo>
                          <a:pt x="754" y="857"/>
                        </a:lnTo>
                        <a:lnTo>
                          <a:pt x="751" y="862"/>
                        </a:lnTo>
                        <a:lnTo>
                          <a:pt x="747" y="865"/>
                        </a:lnTo>
                        <a:lnTo>
                          <a:pt x="747" y="867"/>
                        </a:lnTo>
                        <a:lnTo>
                          <a:pt x="743" y="872"/>
                        </a:lnTo>
                        <a:lnTo>
                          <a:pt x="738" y="876"/>
                        </a:lnTo>
                        <a:lnTo>
                          <a:pt x="727" y="868"/>
                        </a:lnTo>
                        <a:lnTo>
                          <a:pt x="721" y="862"/>
                        </a:lnTo>
                        <a:lnTo>
                          <a:pt x="719" y="861"/>
                        </a:lnTo>
                        <a:lnTo>
                          <a:pt x="713" y="861"/>
                        </a:lnTo>
                        <a:lnTo>
                          <a:pt x="711" y="861"/>
                        </a:lnTo>
                        <a:lnTo>
                          <a:pt x="708" y="862"/>
                        </a:lnTo>
                        <a:lnTo>
                          <a:pt x="706" y="864"/>
                        </a:lnTo>
                        <a:lnTo>
                          <a:pt x="706" y="865"/>
                        </a:lnTo>
                        <a:lnTo>
                          <a:pt x="705" y="868"/>
                        </a:lnTo>
                        <a:lnTo>
                          <a:pt x="705" y="870"/>
                        </a:lnTo>
                        <a:lnTo>
                          <a:pt x="706" y="873"/>
                        </a:lnTo>
                        <a:lnTo>
                          <a:pt x="706" y="875"/>
                        </a:lnTo>
                        <a:lnTo>
                          <a:pt x="705" y="878"/>
                        </a:lnTo>
                        <a:lnTo>
                          <a:pt x="703" y="880"/>
                        </a:lnTo>
                        <a:lnTo>
                          <a:pt x="700" y="880"/>
                        </a:lnTo>
                        <a:lnTo>
                          <a:pt x="695" y="880"/>
                        </a:lnTo>
                        <a:lnTo>
                          <a:pt x="694" y="880"/>
                        </a:lnTo>
                        <a:lnTo>
                          <a:pt x="692" y="878"/>
                        </a:lnTo>
                        <a:lnTo>
                          <a:pt x="686" y="873"/>
                        </a:lnTo>
                        <a:lnTo>
                          <a:pt x="684" y="868"/>
                        </a:lnTo>
                        <a:lnTo>
                          <a:pt x="683" y="864"/>
                        </a:lnTo>
                        <a:lnTo>
                          <a:pt x="678" y="848"/>
                        </a:lnTo>
                        <a:lnTo>
                          <a:pt x="676" y="845"/>
                        </a:lnTo>
                        <a:lnTo>
                          <a:pt x="675" y="843"/>
                        </a:lnTo>
                        <a:lnTo>
                          <a:pt x="673" y="842"/>
                        </a:lnTo>
                        <a:lnTo>
                          <a:pt x="671" y="840"/>
                        </a:lnTo>
                        <a:lnTo>
                          <a:pt x="668" y="838"/>
                        </a:lnTo>
                        <a:lnTo>
                          <a:pt x="667" y="838"/>
                        </a:lnTo>
                        <a:lnTo>
                          <a:pt x="665" y="838"/>
                        </a:lnTo>
                        <a:lnTo>
                          <a:pt x="664" y="838"/>
                        </a:lnTo>
                        <a:lnTo>
                          <a:pt x="657" y="842"/>
                        </a:lnTo>
                        <a:lnTo>
                          <a:pt x="652" y="843"/>
                        </a:lnTo>
                        <a:lnTo>
                          <a:pt x="648" y="843"/>
                        </a:lnTo>
                        <a:lnTo>
                          <a:pt x="643" y="845"/>
                        </a:lnTo>
                        <a:lnTo>
                          <a:pt x="641" y="845"/>
                        </a:lnTo>
                        <a:lnTo>
                          <a:pt x="630" y="845"/>
                        </a:lnTo>
                        <a:lnTo>
                          <a:pt x="627" y="846"/>
                        </a:lnTo>
                        <a:lnTo>
                          <a:pt x="626" y="848"/>
                        </a:lnTo>
                        <a:lnTo>
                          <a:pt x="622" y="848"/>
                        </a:lnTo>
                        <a:lnTo>
                          <a:pt x="621" y="846"/>
                        </a:lnTo>
                        <a:lnTo>
                          <a:pt x="618" y="842"/>
                        </a:lnTo>
                        <a:lnTo>
                          <a:pt x="616" y="840"/>
                        </a:lnTo>
                        <a:lnTo>
                          <a:pt x="614" y="834"/>
                        </a:lnTo>
                        <a:lnTo>
                          <a:pt x="614" y="832"/>
                        </a:lnTo>
                        <a:lnTo>
                          <a:pt x="613" y="830"/>
                        </a:lnTo>
                        <a:lnTo>
                          <a:pt x="614" y="827"/>
                        </a:lnTo>
                        <a:lnTo>
                          <a:pt x="613" y="824"/>
                        </a:lnTo>
                        <a:lnTo>
                          <a:pt x="613" y="823"/>
                        </a:lnTo>
                        <a:lnTo>
                          <a:pt x="613" y="816"/>
                        </a:lnTo>
                        <a:lnTo>
                          <a:pt x="613" y="811"/>
                        </a:lnTo>
                        <a:lnTo>
                          <a:pt x="621" y="805"/>
                        </a:lnTo>
                        <a:lnTo>
                          <a:pt x="622" y="802"/>
                        </a:lnTo>
                        <a:lnTo>
                          <a:pt x="622" y="799"/>
                        </a:lnTo>
                        <a:lnTo>
                          <a:pt x="624" y="794"/>
                        </a:lnTo>
                        <a:lnTo>
                          <a:pt x="622" y="791"/>
                        </a:lnTo>
                        <a:lnTo>
                          <a:pt x="621" y="789"/>
                        </a:lnTo>
                        <a:lnTo>
                          <a:pt x="614" y="786"/>
                        </a:lnTo>
                        <a:lnTo>
                          <a:pt x="613" y="786"/>
                        </a:lnTo>
                        <a:lnTo>
                          <a:pt x="611" y="786"/>
                        </a:lnTo>
                        <a:lnTo>
                          <a:pt x="594" y="786"/>
                        </a:lnTo>
                        <a:lnTo>
                          <a:pt x="591" y="789"/>
                        </a:lnTo>
                        <a:lnTo>
                          <a:pt x="589" y="791"/>
                        </a:lnTo>
                        <a:lnTo>
                          <a:pt x="589" y="792"/>
                        </a:lnTo>
                        <a:lnTo>
                          <a:pt x="591" y="794"/>
                        </a:lnTo>
                        <a:lnTo>
                          <a:pt x="594" y="799"/>
                        </a:lnTo>
                        <a:lnTo>
                          <a:pt x="599" y="800"/>
                        </a:lnTo>
                        <a:lnTo>
                          <a:pt x="599" y="802"/>
                        </a:lnTo>
                        <a:lnTo>
                          <a:pt x="599" y="803"/>
                        </a:lnTo>
                        <a:lnTo>
                          <a:pt x="599" y="805"/>
                        </a:lnTo>
                        <a:lnTo>
                          <a:pt x="597" y="807"/>
                        </a:lnTo>
                        <a:lnTo>
                          <a:pt x="592" y="815"/>
                        </a:lnTo>
                        <a:lnTo>
                          <a:pt x="588" y="821"/>
                        </a:lnTo>
                        <a:lnTo>
                          <a:pt x="583" y="823"/>
                        </a:lnTo>
                        <a:lnTo>
                          <a:pt x="578" y="823"/>
                        </a:lnTo>
                        <a:lnTo>
                          <a:pt x="576" y="821"/>
                        </a:lnTo>
                        <a:lnTo>
                          <a:pt x="575" y="821"/>
                        </a:lnTo>
                        <a:lnTo>
                          <a:pt x="572" y="819"/>
                        </a:lnTo>
                        <a:lnTo>
                          <a:pt x="572" y="818"/>
                        </a:lnTo>
                        <a:lnTo>
                          <a:pt x="572" y="816"/>
                        </a:lnTo>
                        <a:lnTo>
                          <a:pt x="570" y="815"/>
                        </a:lnTo>
                        <a:lnTo>
                          <a:pt x="570" y="813"/>
                        </a:lnTo>
                        <a:lnTo>
                          <a:pt x="568" y="811"/>
                        </a:lnTo>
                        <a:lnTo>
                          <a:pt x="567" y="810"/>
                        </a:lnTo>
                        <a:lnTo>
                          <a:pt x="565" y="810"/>
                        </a:lnTo>
                        <a:lnTo>
                          <a:pt x="565" y="808"/>
                        </a:lnTo>
                        <a:lnTo>
                          <a:pt x="564" y="805"/>
                        </a:lnTo>
                        <a:lnTo>
                          <a:pt x="559" y="805"/>
                        </a:lnTo>
                        <a:lnTo>
                          <a:pt x="557" y="803"/>
                        </a:lnTo>
                        <a:lnTo>
                          <a:pt x="556" y="802"/>
                        </a:lnTo>
                        <a:lnTo>
                          <a:pt x="554" y="800"/>
                        </a:lnTo>
                        <a:lnTo>
                          <a:pt x="553" y="802"/>
                        </a:lnTo>
                        <a:lnTo>
                          <a:pt x="554" y="807"/>
                        </a:lnTo>
                        <a:lnTo>
                          <a:pt x="551" y="808"/>
                        </a:lnTo>
                        <a:lnTo>
                          <a:pt x="549" y="813"/>
                        </a:lnTo>
                        <a:lnTo>
                          <a:pt x="548" y="813"/>
                        </a:lnTo>
                        <a:lnTo>
                          <a:pt x="548" y="815"/>
                        </a:lnTo>
                        <a:lnTo>
                          <a:pt x="546" y="813"/>
                        </a:lnTo>
                        <a:lnTo>
                          <a:pt x="543" y="811"/>
                        </a:lnTo>
                        <a:lnTo>
                          <a:pt x="538" y="810"/>
                        </a:lnTo>
                        <a:lnTo>
                          <a:pt x="535" y="807"/>
                        </a:lnTo>
                        <a:lnTo>
                          <a:pt x="532" y="807"/>
                        </a:lnTo>
                        <a:lnTo>
                          <a:pt x="530" y="808"/>
                        </a:lnTo>
                        <a:lnTo>
                          <a:pt x="529" y="810"/>
                        </a:lnTo>
                        <a:lnTo>
                          <a:pt x="529" y="811"/>
                        </a:lnTo>
                        <a:lnTo>
                          <a:pt x="529" y="815"/>
                        </a:lnTo>
                        <a:lnTo>
                          <a:pt x="529" y="816"/>
                        </a:lnTo>
                        <a:lnTo>
                          <a:pt x="524" y="823"/>
                        </a:lnTo>
                        <a:lnTo>
                          <a:pt x="523" y="823"/>
                        </a:lnTo>
                        <a:lnTo>
                          <a:pt x="519" y="821"/>
                        </a:lnTo>
                        <a:lnTo>
                          <a:pt x="518" y="823"/>
                        </a:lnTo>
                        <a:lnTo>
                          <a:pt x="518" y="826"/>
                        </a:lnTo>
                        <a:lnTo>
                          <a:pt x="515" y="827"/>
                        </a:lnTo>
                        <a:lnTo>
                          <a:pt x="513" y="829"/>
                        </a:lnTo>
                        <a:lnTo>
                          <a:pt x="508" y="829"/>
                        </a:lnTo>
                        <a:lnTo>
                          <a:pt x="507" y="829"/>
                        </a:lnTo>
                        <a:lnTo>
                          <a:pt x="507" y="827"/>
                        </a:lnTo>
                        <a:lnTo>
                          <a:pt x="507" y="823"/>
                        </a:lnTo>
                        <a:lnTo>
                          <a:pt x="504" y="823"/>
                        </a:lnTo>
                        <a:lnTo>
                          <a:pt x="502" y="823"/>
                        </a:lnTo>
                        <a:lnTo>
                          <a:pt x="499" y="823"/>
                        </a:lnTo>
                        <a:lnTo>
                          <a:pt x="496" y="818"/>
                        </a:lnTo>
                        <a:lnTo>
                          <a:pt x="491" y="805"/>
                        </a:lnTo>
                        <a:lnTo>
                          <a:pt x="488" y="802"/>
                        </a:lnTo>
                        <a:lnTo>
                          <a:pt x="486" y="797"/>
                        </a:lnTo>
                        <a:lnTo>
                          <a:pt x="481" y="794"/>
                        </a:lnTo>
                        <a:lnTo>
                          <a:pt x="481" y="792"/>
                        </a:lnTo>
                        <a:lnTo>
                          <a:pt x="480" y="789"/>
                        </a:lnTo>
                        <a:lnTo>
                          <a:pt x="480" y="786"/>
                        </a:lnTo>
                        <a:lnTo>
                          <a:pt x="478" y="784"/>
                        </a:lnTo>
                        <a:lnTo>
                          <a:pt x="475" y="783"/>
                        </a:lnTo>
                        <a:lnTo>
                          <a:pt x="473" y="783"/>
                        </a:lnTo>
                        <a:lnTo>
                          <a:pt x="467" y="781"/>
                        </a:lnTo>
                        <a:lnTo>
                          <a:pt x="459" y="781"/>
                        </a:lnTo>
                        <a:lnTo>
                          <a:pt x="459" y="784"/>
                        </a:lnTo>
                        <a:lnTo>
                          <a:pt x="459" y="789"/>
                        </a:lnTo>
                        <a:lnTo>
                          <a:pt x="459" y="792"/>
                        </a:lnTo>
                        <a:lnTo>
                          <a:pt x="456" y="792"/>
                        </a:lnTo>
                        <a:lnTo>
                          <a:pt x="453" y="791"/>
                        </a:lnTo>
                        <a:lnTo>
                          <a:pt x="451" y="789"/>
                        </a:lnTo>
                        <a:lnTo>
                          <a:pt x="451" y="781"/>
                        </a:lnTo>
                        <a:lnTo>
                          <a:pt x="448" y="780"/>
                        </a:lnTo>
                        <a:lnTo>
                          <a:pt x="445" y="780"/>
                        </a:lnTo>
                        <a:lnTo>
                          <a:pt x="442" y="781"/>
                        </a:lnTo>
                        <a:lnTo>
                          <a:pt x="442" y="780"/>
                        </a:lnTo>
                        <a:lnTo>
                          <a:pt x="443" y="775"/>
                        </a:lnTo>
                        <a:lnTo>
                          <a:pt x="442" y="772"/>
                        </a:lnTo>
                        <a:lnTo>
                          <a:pt x="440" y="772"/>
                        </a:lnTo>
                        <a:lnTo>
                          <a:pt x="439" y="773"/>
                        </a:lnTo>
                        <a:lnTo>
                          <a:pt x="437" y="773"/>
                        </a:lnTo>
                        <a:lnTo>
                          <a:pt x="435" y="773"/>
                        </a:lnTo>
                        <a:lnTo>
                          <a:pt x="431" y="762"/>
                        </a:lnTo>
                        <a:lnTo>
                          <a:pt x="432" y="762"/>
                        </a:lnTo>
                        <a:lnTo>
                          <a:pt x="437" y="762"/>
                        </a:lnTo>
                        <a:lnTo>
                          <a:pt x="443" y="764"/>
                        </a:lnTo>
                        <a:lnTo>
                          <a:pt x="448" y="764"/>
                        </a:lnTo>
                        <a:lnTo>
                          <a:pt x="450" y="762"/>
                        </a:lnTo>
                        <a:lnTo>
                          <a:pt x="450" y="761"/>
                        </a:lnTo>
                        <a:lnTo>
                          <a:pt x="447" y="758"/>
                        </a:lnTo>
                        <a:lnTo>
                          <a:pt x="445" y="753"/>
                        </a:lnTo>
                        <a:lnTo>
                          <a:pt x="447" y="746"/>
                        </a:lnTo>
                        <a:lnTo>
                          <a:pt x="447" y="745"/>
                        </a:lnTo>
                        <a:lnTo>
                          <a:pt x="445" y="742"/>
                        </a:lnTo>
                        <a:lnTo>
                          <a:pt x="447" y="739"/>
                        </a:lnTo>
                        <a:lnTo>
                          <a:pt x="450" y="735"/>
                        </a:lnTo>
                        <a:lnTo>
                          <a:pt x="450" y="734"/>
                        </a:lnTo>
                        <a:lnTo>
                          <a:pt x="450" y="732"/>
                        </a:lnTo>
                        <a:lnTo>
                          <a:pt x="448" y="732"/>
                        </a:lnTo>
                        <a:lnTo>
                          <a:pt x="445" y="731"/>
                        </a:lnTo>
                        <a:lnTo>
                          <a:pt x="440" y="726"/>
                        </a:lnTo>
                        <a:lnTo>
                          <a:pt x="437" y="726"/>
                        </a:lnTo>
                        <a:lnTo>
                          <a:pt x="434" y="727"/>
                        </a:lnTo>
                        <a:lnTo>
                          <a:pt x="431" y="727"/>
                        </a:lnTo>
                        <a:lnTo>
                          <a:pt x="429" y="727"/>
                        </a:lnTo>
                        <a:lnTo>
                          <a:pt x="428" y="724"/>
                        </a:lnTo>
                        <a:lnTo>
                          <a:pt x="424" y="721"/>
                        </a:lnTo>
                        <a:lnTo>
                          <a:pt x="424" y="718"/>
                        </a:lnTo>
                        <a:lnTo>
                          <a:pt x="424" y="715"/>
                        </a:lnTo>
                        <a:lnTo>
                          <a:pt x="423" y="715"/>
                        </a:lnTo>
                        <a:lnTo>
                          <a:pt x="423" y="713"/>
                        </a:lnTo>
                        <a:lnTo>
                          <a:pt x="413" y="712"/>
                        </a:lnTo>
                        <a:lnTo>
                          <a:pt x="410" y="713"/>
                        </a:lnTo>
                        <a:lnTo>
                          <a:pt x="407" y="713"/>
                        </a:lnTo>
                        <a:lnTo>
                          <a:pt x="402" y="708"/>
                        </a:lnTo>
                        <a:lnTo>
                          <a:pt x="393" y="710"/>
                        </a:lnTo>
                        <a:lnTo>
                          <a:pt x="391" y="707"/>
                        </a:lnTo>
                        <a:lnTo>
                          <a:pt x="389" y="705"/>
                        </a:lnTo>
                        <a:lnTo>
                          <a:pt x="385" y="705"/>
                        </a:lnTo>
                        <a:lnTo>
                          <a:pt x="377" y="699"/>
                        </a:lnTo>
                        <a:lnTo>
                          <a:pt x="372" y="696"/>
                        </a:lnTo>
                        <a:lnTo>
                          <a:pt x="369" y="696"/>
                        </a:lnTo>
                        <a:lnTo>
                          <a:pt x="366" y="699"/>
                        </a:lnTo>
                        <a:lnTo>
                          <a:pt x="363" y="701"/>
                        </a:lnTo>
                        <a:lnTo>
                          <a:pt x="361" y="702"/>
                        </a:lnTo>
                        <a:lnTo>
                          <a:pt x="361" y="705"/>
                        </a:lnTo>
                        <a:lnTo>
                          <a:pt x="361" y="707"/>
                        </a:lnTo>
                        <a:lnTo>
                          <a:pt x="359" y="708"/>
                        </a:lnTo>
                        <a:lnTo>
                          <a:pt x="358" y="708"/>
                        </a:lnTo>
                        <a:lnTo>
                          <a:pt x="356" y="707"/>
                        </a:lnTo>
                        <a:lnTo>
                          <a:pt x="355" y="704"/>
                        </a:lnTo>
                        <a:lnTo>
                          <a:pt x="347" y="702"/>
                        </a:lnTo>
                        <a:lnTo>
                          <a:pt x="344" y="701"/>
                        </a:lnTo>
                        <a:lnTo>
                          <a:pt x="339" y="696"/>
                        </a:lnTo>
                        <a:lnTo>
                          <a:pt x="339" y="694"/>
                        </a:lnTo>
                        <a:lnTo>
                          <a:pt x="336" y="689"/>
                        </a:lnTo>
                        <a:lnTo>
                          <a:pt x="336" y="688"/>
                        </a:lnTo>
                        <a:lnTo>
                          <a:pt x="336" y="686"/>
                        </a:lnTo>
                        <a:lnTo>
                          <a:pt x="336" y="685"/>
                        </a:lnTo>
                        <a:lnTo>
                          <a:pt x="340" y="683"/>
                        </a:lnTo>
                        <a:lnTo>
                          <a:pt x="342" y="678"/>
                        </a:lnTo>
                        <a:lnTo>
                          <a:pt x="344" y="677"/>
                        </a:lnTo>
                        <a:lnTo>
                          <a:pt x="344" y="674"/>
                        </a:lnTo>
                        <a:lnTo>
                          <a:pt x="342" y="672"/>
                        </a:lnTo>
                        <a:lnTo>
                          <a:pt x="340" y="667"/>
                        </a:lnTo>
                        <a:lnTo>
                          <a:pt x="342" y="666"/>
                        </a:lnTo>
                        <a:lnTo>
                          <a:pt x="342" y="664"/>
                        </a:lnTo>
                        <a:lnTo>
                          <a:pt x="345" y="664"/>
                        </a:lnTo>
                        <a:lnTo>
                          <a:pt x="350" y="663"/>
                        </a:lnTo>
                        <a:lnTo>
                          <a:pt x="351" y="661"/>
                        </a:lnTo>
                        <a:lnTo>
                          <a:pt x="351" y="659"/>
                        </a:lnTo>
                        <a:lnTo>
                          <a:pt x="350" y="658"/>
                        </a:lnTo>
                        <a:lnTo>
                          <a:pt x="344" y="655"/>
                        </a:lnTo>
                        <a:lnTo>
                          <a:pt x="342" y="655"/>
                        </a:lnTo>
                        <a:lnTo>
                          <a:pt x="342" y="653"/>
                        </a:lnTo>
                        <a:lnTo>
                          <a:pt x="342" y="651"/>
                        </a:lnTo>
                        <a:lnTo>
                          <a:pt x="342" y="648"/>
                        </a:lnTo>
                        <a:lnTo>
                          <a:pt x="340" y="647"/>
                        </a:lnTo>
                        <a:lnTo>
                          <a:pt x="339" y="647"/>
                        </a:lnTo>
                        <a:lnTo>
                          <a:pt x="336" y="645"/>
                        </a:lnTo>
                        <a:lnTo>
                          <a:pt x="329" y="642"/>
                        </a:lnTo>
                        <a:lnTo>
                          <a:pt x="326" y="640"/>
                        </a:lnTo>
                        <a:lnTo>
                          <a:pt x="326" y="632"/>
                        </a:lnTo>
                        <a:lnTo>
                          <a:pt x="326" y="629"/>
                        </a:lnTo>
                        <a:lnTo>
                          <a:pt x="325" y="626"/>
                        </a:lnTo>
                        <a:lnTo>
                          <a:pt x="326" y="623"/>
                        </a:lnTo>
                        <a:lnTo>
                          <a:pt x="328" y="623"/>
                        </a:lnTo>
                        <a:lnTo>
                          <a:pt x="334" y="624"/>
                        </a:lnTo>
                        <a:lnTo>
                          <a:pt x="340" y="628"/>
                        </a:lnTo>
                        <a:lnTo>
                          <a:pt x="340" y="624"/>
                        </a:lnTo>
                        <a:lnTo>
                          <a:pt x="339" y="621"/>
                        </a:lnTo>
                        <a:lnTo>
                          <a:pt x="342" y="617"/>
                        </a:lnTo>
                        <a:lnTo>
                          <a:pt x="342" y="615"/>
                        </a:lnTo>
                        <a:lnTo>
                          <a:pt x="337" y="612"/>
                        </a:lnTo>
                        <a:lnTo>
                          <a:pt x="337" y="609"/>
                        </a:lnTo>
                        <a:lnTo>
                          <a:pt x="337" y="605"/>
                        </a:lnTo>
                        <a:lnTo>
                          <a:pt x="336" y="604"/>
                        </a:lnTo>
                        <a:lnTo>
                          <a:pt x="331" y="602"/>
                        </a:lnTo>
                        <a:lnTo>
                          <a:pt x="329" y="602"/>
                        </a:lnTo>
                        <a:lnTo>
                          <a:pt x="328" y="601"/>
                        </a:lnTo>
                        <a:lnTo>
                          <a:pt x="325" y="598"/>
                        </a:lnTo>
                        <a:lnTo>
                          <a:pt x="323" y="594"/>
                        </a:lnTo>
                        <a:lnTo>
                          <a:pt x="323" y="593"/>
                        </a:lnTo>
                        <a:lnTo>
                          <a:pt x="321" y="591"/>
                        </a:lnTo>
                        <a:lnTo>
                          <a:pt x="318" y="591"/>
                        </a:lnTo>
                        <a:lnTo>
                          <a:pt x="317" y="590"/>
                        </a:lnTo>
                        <a:lnTo>
                          <a:pt x="315" y="590"/>
                        </a:lnTo>
                        <a:lnTo>
                          <a:pt x="312" y="591"/>
                        </a:lnTo>
                        <a:lnTo>
                          <a:pt x="309" y="590"/>
                        </a:lnTo>
                        <a:lnTo>
                          <a:pt x="307" y="588"/>
                        </a:lnTo>
                        <a:lnTo>
                          <a:pt x="306" y="586"/>
                        </a:lnTo>
                        <a:lnTo>
                          <a:pt x="306" y="585"/>
                        </a:lnTo>
                        <a:lnTo>
                          <a:pt x="306" y="583"/>
                        </a:lnTo>
                        <a:lnTo>
                          <a:pt x="307" y="582"/>
                        </a:lnTo>
                        <a:lnTo>
                          <a:pt x="310" y="579"/>
                        </a:lnTo>
                        <a:lnTo>
                          <a:pt x="313" y="571"/>
                        </a:lnTo>
                        <a:lnTo>
                          <a:pt x="317" y="566"/>
                        </a:lnTo>
                        <a:lnTo>
                          <a:pt x="312" y="566"/>
                        </a:lnTo>
                        <a:lnTo>
                          <a:pt x="310" y="566"/>
                        </a:lnTo>
                        <a:lnTo>
                          <a:pt x="309" y="567"/>
                        </a:lnTo>
                        <a:lnTo>
                          <a:pt x="304" y="567"/>
                        </a:lnTo>
                        <a:lnTo>
                          <a:pt x="302" y="569"/>
                        </a:lnTo>
                        <a:lnTo>
                          <a:pt x="299" y="572"/>
                        </a:lnTo>
                        <a:lnTo>
                          <a:pt x="296" y="572"/>
                        </a:lnTo>
                        <a:lnTo>
                          <a:pt x="293" y="575"/>
                        </a:lnTo>
                        <a:lnTo>
                          <a:pt x="293" y="577"/>
                        </a:lnTo>
                        <a:lnTo>
                          <a:pt x="291" y="580"/>
                        </a:lnTo>
                        <a:lnTo>
                          <a:pt x="290" y="580"/>
                        </a:lnTo>
                        <a:lnTo>
                          <a:pt x="288" y="580"/>
                        </a:lnTo>
                        <a:lnTo>
                          <a:pt x="287" y="579"/>
                        </a:lnTo>
                        <a:lnTo>
                          <a:pt x="282" y="580"/>
                        </a:lnTo>
                        <a:lnTo>
                          <a:pt x="280" y="580"/>
                        </a:lnTo>
                        <a:lnTo>
                          <a:pt x="280" y="579"/>
                        </a:lnTo>
                        <a:lnTo>
                          <a:pt x="279" y="577"/>
                        </a:lnTo>
                        <a:lnTo>
                          <a:pt x="280" y="575"/>
                        </a:lnTo>
                        <a:lnTo>
                          <a:pt x="288" y="567"/>
                        </a:lnTo>
                        <a:lnTo>
                          <a:pt x="290" y="566"/>
                        </a:lnTo>
                        <a:lnTo>
                          <a:pt x="290" y="564"/>
                        </a:lnTo>
                        <a:lnTo>
                          <a:pt x="287" y="564"/>
                        </a:lnTo>
                        <a:lnTo>
                          <a:pt x="282" y="566"/>
                        </a:lnTo>
                        <a:lnTo>
                          <a:pt x="279" y="563"/>
                        </a:lnTo>
                        <a:lnTo>
                          <a:pt x="277" y="564"/>
                        </a:lnTo>
                        <a:lnTo>
                          <a:pt x="275" y="564"/>
                        </a:lnTo>
                        <a:lnTo>
                          <a:pt x="272" y="564"/>
                        </a:lnTo>
                        <a:lnTo>
                          <a:pt x="269" y="563"/>
                        </a:lnTo>
                        <a:lnTo>
                          <a:pt x="269" y="558"/>
                        </a:lnTo>
                        <a:lnTo>
                          <a:pt x="271" y="553"/>
                        </a:lnTo>
                        <a:lnTo>
                          <a:pt x="274" y="555"/>
                        </a:lnTo>
                        <a:lnTo>
                          <a:pt x="279" y="553"/>
                        </a:lnTo>
                        <a:lnTo>
                          <a:pt x="280" y="555"/>
                        </a:lnTo>
                        <a:lnTo>
                          <a:pt x="282" y="556"/>
                        </a:lnTo>
                        <a:lnTo>
                          <a:pt x="283" y="558"/>
                        </a:lnTo>
                        <a:lnTo>
                          <a:pt x="285" y="556"/>
                        </a:lnTo>
                        <a:lnTo>
                          <a:pt x="287" y="556"/>
                        </a:lnTo>
                        <a:lnTo>
                          <a:pt x="290" y="556"/>
                        </a:lnTo>
                        <a:lnTo>
                          <a:pt x="291" y="553"/>
                        </a:lnTo>
                        <a:lnTo>
                          <a:pt x="288" y="548"/>
                        </a:lnTo>
                        <a:lnTo>
                          <a:pt x="277" y="547"/>
                        </a:lnTo>
                        <a:lnTo>
                          <a:pt x="272" y="544"/>
                        </a:lnTo>
                        <a:lnTo>
                          <a:pt x="269" y="542"/>
                        </a:lnTo>
                        <a:lnTo>
                          <a:pt x="269" y="539"/>
                        </a:lnTo>
                        <a:lnTo>
                          <a:pt x="269" y="536"/>
                        </a:lnTo>
                        <a:lnTo>
                          <a:pt x="269" y="534"/>
                        </a:lnTo>
                        <a:lnTo>
                          <a:pt x="269" y="533"/>
                        </a:lnTo>
                        <a:lnTo>
                          <a:pt x="271" y="529"/>
                        </a:lnTo>
                        <a:lnTo>
                          <a:pt x="272" y="525"/>
                        </a:lnTo>
                        <a:lnTo>
                          <a:pt x="272" y="523"/>
                        </a:lnTo>
                        <a:lnTo>
                          <a:pt x="274" y="520"/>
                        </a:lnTo>
                        <a:lnTo>
                          <a:pt x="274" y="518"/>
                        </a:lnTo>
                        <a:lnTo>
                          <a:pt x="272" y="517"/>
                        </a:lnTo>
                        <a:lnTo>
                          <a:pt x="260" y="520"/>
                        </a:lnTo>
                        <a:lnTo>
                          <a:pt x="258" y="520"/>
                        </a:lnTo>
                        <a:lnTo>
                          <a:pt x="255" y="522"/>
                        </a:lnTo>
                        <a:lnTo>
                          <a:pt x="250" y="522"/>
                        </a:lnTo>
                        <a:lnTo>
                          <a:pt x="249" y="520"/>
                        </a:lnTo>
                        <a:lnTo>
                          <a:pt x="249" y="518"/>
                        </a:lnTo>
                        <a:lnTo>
                          <a:pt x="249" y="517"/>
                        </a:lnTo>
                        <a:lnTo>
                          <a:pt x="250" y="517"/>
                        </a:lnTo>
                        <a:lnTo>
                          <a:pt x="258" y="514"/>
                        </a:lnTo>
                        <a:lnTo>
                          <a:pt x="261" y="507"/>
                        </a:lnTo>
                        <a:lnTo>
                          <a:pt x="263" y="506"/>
                        </a:lnTo>
                        <a:lnTo>
                          <a:pt x="263" y="504"/>
                        </a:lnTo>
                        <a:lnTo>
                          <a:pt x="264" y="501"/>
                        </a:lnTo>
                        <a:lnTo>
                          <a:pt x="264" y="499"/>
                        </a:lnTo>
                        <a:lnTo>
                          <a:pt x="264" y="495"/>
                        </a:lnTo>
                        <a:lnTo>
                          <a:pt x="261" y="490"/>
                        </a:lnTo>
                        <a:lnTo>
                          <a:pt x="260" y="491"/>
                        </a:lnTo>
                        <a:lnTo>
                          <a:pt x="256" y="496"/>
                        </a:lnTo>
                        <a:lnTo>
                          <a:pt x="255" y="496"/>
                        </a:lnTo>
                        <a:lnTo>
                          <a:pt x="244" y="501"/>
                        </a:lnTo>
                        <a:lnTo>
                          <a:pt x="247" y="493"/>
                        </a:lnTo>
                        <a:lnTo>
                          <a:pt x="252" y="488"/>
                        </a:lnTo>
                        <a:lnTo>
                          <a:pt x="253" y="484"/>
                        </a:lnTo>
                        <a:lnTo>
                          <a:pt x="249" y="484"/>
                        </a:lnTo>
                        <a:lnTo>
                          <a:pt x="245" y="480"/>
                        </a:lnTo>
                        <a:lnTo>
                          <a:pt x="244" y="476"/>
                        </a:lnTo>
                        <a:lnTo>
                          <a:pt x="245" y="472"/>
                        </a:lnTo>
                        <a:lnTo>
                          <a:pt x="249" y="471"/>
                        </a:lnTo>
                        <a:lnTo>
                          <a:pt x="253" y="469"/>
                        </a:lnTo>
                        <a:lnTo>
                          <a:pt x="256" y="465"/>
                        </a:lnTo>
                        <a:lnTo>
                          <a:pt x="258" y="463"/>
                        </a:lnTo>
                        <a:lnTo>
                          <a:pt x="255" y="460"/>
                        </a:lnTo>
                        <a:lnTo>
                          <a:pt x="245" y="458"/>
                        </a:lnTo>
                        <a:lnTo>
                          <a:pt x="244" y="457"/>
                        </a:lnTo>
                        <a:lnTo>
                          <a:pt x="245" y="455"/>
                        </a:lnTo>
                        <a:lnTo>
                          <a:pt x="247" y="453"/>
                        </a:lnTo>
                        <a:lnTo>
                          <a:pt x="249" y="450"/>
                        </a:lnTo>
                        <a:lnTo>
                          <a:pt x="250" y="442"/>
                        </a:lnTo>
                        <a:lnTo>
                          <a:pt x="249" y="442"/>
                        </a:lnTo>
                        <a:lnTo>
                          <a:pt x="242" y="446"/>
                        </a:lnTo>
                        <a:lnTo>
                          <a:pt x="239" y="441"/>
                        </a:lnTo>
                        <a:lnTo>
                          <a:pt x="237" y="441"/>
                        </a:lnTo>
                        <a:lnTo>
                          <a:pt x="237" y="444"/>
                        </a:lnTo>
                        <a:lnTo>
                          <a:pt x="234" y="446"/>
                        </a:lnTo>
                        <a:lnTo>
                          <a:pt x="230" y="450"/>
                        </a:lnTo>
                        <a:lnTo>
                          <a:pt x="228" y="452"/>
                        </a:lnTo>
                        <a:lnTo>
                          <a:pt x="222" y="455"/>
                        </a:lnTo>
                        <a:lnTo>
                          <a:pt x="218" y="455"/>
                        </a:lnTo>
                        <a:lnTo>
                          <a:pt x="214" y="453"/>
                        </a:lnTo>
                        <a:lnTo>
                          <a:pt x="211" y="450"/>
                        </a:lnTo>
                        <a:lnTo>
                          <a:pt x="203" y="455"/>
                        </a:lnTo>
                        <a:lnTo>
                          <a:pt x="201" y="450"/>
                        </a:lnTo>
                        <a:lnTo>
                          <a:pt x="204" y="446"/>
                        </a:lnTo>
                        <a:lnTo>
                          <a:pt x="201" y="444"/>
                        </a:lnTo>
                        <a:lnTo>
                          <a:pt x="198" y="442"/>
                        </a:lnTo>
                        <a:lnTo>
                          <a:pt x="191" y="439"/>
                        </a:lnTo>
                        <a:lnTo>
                          <a:pt x="190" y="438"/>
                        </a:lnTo>
                        <a:lnTo>
                          <a:pt x="191" y="436"/>
                        </a:lnTo>
                        <a:lnTo>
                          <a:pt x="191" y="431"/>
                        </a:lnTo>
                        <a:lnTo>
                          <a:pt x="190" y="431"/>
                        </a:lnTo>
                        <a:lnTo>
                          <a:pt x="182" y="439"/>
                        </a:lnTo>
                        <a:lnTo>
                          <a:pt x="176" y="436"/>
                        </a:lnTo>
                        <a:lnTo>
                          <a:pt x="171" y="436"/>
                        </a:lnTo>
                        <a:lnTo>
                          <a:pt x="168" y="436"/>
                        </a:lnTo>
                        <a:lnTo>
                          <a:pt x="165" y="436"/>
                        </a:lnTo>
                        <a:lnTo>
                          <a:pt x="160" y="438"/>
                        </a:lnTo>
                        <a:lnTo>
                          <a:pt x="155" y="439"/>
                        </a:lnTo>
                        <a:lnTo>
                          <a:pt x="153" y="438"/>
                        </a:lnTo>
                        <a:lnTo>
                          <a:pt x="152" y="436"/>
                        </a:lnTo>
                        <a:lnTo>
                          <a:pt x="149" y="436"/>
                        </a:lnTo>
                        <a:lnTo>
                          <a:pt x="147" y="436"/>
                        </a:lnTo>
                        <a:lnTo>
                          <a:pt x="146" y="436"/>
                        </a:lnTo>
                        <a:lnTo>
                          <a:pt x="146" y="439"/>
                        </a:lnTo>
                        <a:lnTo>
                          <a:pt x="142" y="439"/>
                        </a:lnTo>
                        <a:lnTo>
                          <a:pt x="141" y="438"/>
                        </a:lnTo>
                        <a:lnTo>
                          <a:pt x="136" y="433"/>
                        </a:lnTo>
                        <a:lnTo>
                          <a:pt x="134" y="433"/>
                        </a:lnTo>
                        <a:lnTo>
                          <a:pt x="131" y="434"/>
                        </a:lnTo>
                        <a:lnTo>
                          <a:pt x="130" y="434"/>
                        </a:lnTo>
                        <a:lnTo>
                          <a:pt x="130" y="436"/>
                        </a:lnTo>
                        <a:lnTo>
                          <a:pt x="131" y="438"/>
                        </a:lnTo>
                        <a:lnTo>
                          <a:pt x="133" y="438"/>
                        </a:lnTo>
                        <a:lnTo>
                          <a:pt x="133" y="441"/>
                        </a:lnTo>
                        <a:lnTo>
                          <a:pt x="131" y="442"/>
                        </a:lnTo>
                        <a:lnTo>
                          <a:pt x="130" y="442"/>
                        </a:lnTo>
                        <a:lnTo>
                          <a:pt x="130" y="441"/>
                        </a:lnTo>
                        <a:lnTo>
                          <a:pt x="128" y="441"/>
                        </a:lnTo>
                        <a:lnTo>
                          <a:pt x="125" y="444"/>
                        </a:lnTo>
                        <a:lnTo>
                          <a:pt x="122" y="444"/>
                        </a:lnTo>
                        <a:lnTo>
                          <a:pt x="117" y="449"/>
                        </a:lnTo>
                        <a:lnTo>
                          <a:pt x="115" y="449"/>
                        </a:lnTo>
                        <a:lnTo>
                          <a:pt x="112" y="449"/>
                        </a:lnTo>
                        <a:lnTo>
                          <a:pt x="106" y="446"/>
                        </a:lnTo>
                        <a:lnTo>
                          <a:pt x="103" y="444"/>
                        </a:lnTo>
                        <a:lnTo>
                          <a:pt x="101" y="444"/>
                        </a:lnTo>
                        <a:lnTo>
                          <a:pt x="101" y="442"/>
                        </a:lnTo>
                        <a:lnTo>
                          <a:pt x="103" y="441"/>
                        </a:lnTo>
                        <a:lnTo>
                          <a:pt x="101" y="441"/>
                        </a:lnTo>
                        <a:lnTo>
                          <a:pt x="100" y="441"/>
                        </a:lnTo>
                        <a:lnTo>
                          <a:pt x="98" y="442"/>
                        </a:lnTo>
                        <a:lnTo>
                          <a:pt x="93" y="453"/>
                        </a:lnTo>
                        <a:lnTo>
                          <a:pt x="92" y="455"/>
                        </a:lnTo>
                        <a:lnTo>
                          <a:pt x="90" y="453"/>
                        </a:lnTo>
                        <a:lnTo>
                          <a:pt x="89" y="453"/>
                        </a:lnTo>
                        <a:lnTo>
                          <a:pt x="84" y="449"/>
                        </a:lnTo>
                        <a:lnTo>
                          <a:pt x="77" y="450"/>
                        </a:lnTo>
                        <a:lnTo>
                          <a:pt x="74" y="449"/>
                        </a:lnTo>
                        <a:lnTo>
                          <a:pt x="68" y="449"/>
                        </a:lnTo>
                        <a:lnTo>
                          <a:pt x="65" y="444"/>
                        </a:lnTo>
                        <a:lnTo>
                          <a:pt x="62" y="441"/>
                        </a:lnTo>
                        <a:lnTo>
                          <a:pt x="58" y="441"/>
                        </a:lnTo>
                        <a:lnTo>
                          <a:pt x="58" y="434"/>
                        </a:lnTo>
                        <a:lnTo>
                          <a:pt x="57" y="433"/>
                        </a:lnTo>
                        <a:lnTo>
                          <a:pt x="55" y="431"/>
                        </a:lnTo>
                        <a:lnTo>
                          <a:pt x="52" y="431"/>
                        </a:lnTo>
                        <a:lnTo>
                          <a:pt x="49" y="433"/>
                        </a:lnTo>
                        <a:lnTo>
                          <a:pt x="47" y="433"/>
                        </a:lnTo>
                        <a:lnTo>
                          <a:pt x="46" y="430"/>
                        </a:lnTo>
                        <a:lnTo>
                          <a:pt x="44" y="425"/>
                        </a:lnTo>
                        <a:lnTo>
                          <a:pt x="44" y="423"/>
                        </a:lnTo>
                        <a:lnTo>
                          <a:pt x="44" y="422"/>
                        </a:lnTo>
                        <a:lnTo>
                          <a:pt x="41" y="420"/>
                        </a:lnTo>
                        <a:lnTo>
                          <a:pt x="35" y="419"/>
                        </a:lnTo>
                        <a:lnTo>
                          <a:pt x="30" y="417"/>
                        </a:lnTo>
                        <a:lnTo>
                          <a:pt x="28" y="414"/>
                        </a:lnTo>
                        <a:lnTo>
                          <a:pt x="28" y="412"/>
                        </a:lnTo>
                        <a:lnTo>
                          <a:pt x="32" y="411"/>
                        </a:lnTo>
                        <a:lnTo>
                          <a:pt x="32" y="409"/>
                        </a:lnTo>
                        <a:lnTo>
                          <a:pt x="32" y="407"/>
                        </a:lnTo>
                        <a:lnTo>
                          <a:pt x="33" y="407"/>
                        </a:lnTo>
                        <a:lnTo>
                          <a:pt x="32" y="406"/>
                        </a:lnTo>
                        <a:lnTo>
                          <a:pt x="30" y="403"/>
                        </a:lnTo>
                        <a:lnTo>
                          <a:pt x="30" y="400"/>
                        </a:lnTo>
                        <a:lnTo>
                          <a:pt x="28" y="398"/>
                        </a:lnTo>
                        <a:lnTo>
                          <a:pt x="24" y="398"/>
                        </a:lnTo>
                        <a:lnTo>
                          <a:pt x="22" y="400"/>
                        </a:lnTo>
                        <a:lnTo>
                          <a:pt x="19" y="398"/>
                        </a:lnTo>
                        <a:lnTo>
                          <a:pt x="17" y="396"/>
                        </a:lnTo>
                        <a:lnTo>
                          <a:pt x="19" y="393"/>
                        </a:lnTo>
                        <a:lnTo>
                          <a:pt x="11" y="379"/>
                        </a:lnTo>
                        <a:lnTo>
                          <a:pt x="9" y="377"/>
                        </a:lnTo>
                        <a:lnTo>
                          <a:pt x="6" y="374"/>
                        </a:lnTo>
                        <a:lnTo>
                          <a:pt x="5" y="373"/>
                        </a:lnTo>
                        <a:lnTo>
                          <a:pt x="5" y="368"/>
                        </a:lnTo>
                        <a:lnTo>
                          <a:pt x="3" y="369"/>
                        </a:lnTo>
                        <a:lnTo>
                          <a:pt x="0" y="369"/>
                        </a:lnTo>
                        <a:lnTo>
                          <a:pt x="0" y="368"/>
                        </a:lnTo>
                        <a:lnTo>
                          <a:pt x="1" y="366"/>
                        </a:lnTo>
                        <a:lnTo>
                          <a:pt x="0" y="363"/>
                        </a:lnTo>
                        <a:lnTo>
                          <a:pt x="0" y="362"/>
                        </a:lnTo>
                        <a:lnTo>
                          <a:pt x="0" y="360"/>
                        </a:lnTo>
                        <a:lnTo>
                          <a:pt x="0" y="357"/>
                        </a:lnTo>
                        <a:lnTo>
                          <a:pt x="3" y="352"/>
                        </a:lnTo>
                        <a:lnTo>
                          <a:pt x="3" y="350"/>
                        </a:lnTo>
                        <a:lnTo>
                          <a:pt x="1" y="347"/>
                        </a:lnTo>
                        <a:lnTo>
                          <a:pt x="1" y="346"/>
                        </a:lnTo>
                        <a:lnTo>
                          <a:pt x="3" y="344"/>
                        </a:lnTo>
                        <a:lnTo>
                          <a:pt x="5" y="343"/>
                        </a:lnTo>
                        <a:lnTo>
                          <a:pt x="5" y="341"/>
                        </a:lnTo>
                        <a:lnTo>
                          <a:pt x="5" y="339"/>
                        </a:lnTo>
                        <a:lnTo>
                          <a:pt x="6" y="339"/>
                        </a:lnTo>
                        <a:lnTo>
                          <a:pt x="6" y="338"/>
                        </a:lnTo>
                        <a:lnTo>
                          <a:pt x="9" y="335"/>
                        </a:lnTo>
                        <a:lnTo>
                          <a:pt x="11" y="333"/>
                        </a:lnTo>
                        <a:lnTo>
                          <a:pt x="12" y="328"/>
                        </a:lnTo>
                        <a:lnTo>
                          <a:pt x="14" y="327"/>
                        </a:lnTo>
                        <a:lnTo>
                          <a:pt x="14" y="325"/>
                        </a:lnTo>
                        <a:lnTo>
                          <a:pt x="16" y="319"/>
                        </a:lnTo>
                        <a:lnTo>
                          <a:pt x="17" y="317"/>
                        </a:lnTo>
                        <a:lnTo>
                          <a:pt x="20" y="311"/>
                        </a:lnTo>
                        <a:lnTo>
                          <a:pt x="22" y="305"/>
                        </a:lnTo>
                        <a:lnTo>
                          <a:pt x="25" y="293"/>
                        </a:lnTo>
                        <a:lnTo>
                          <a:pt x="27" y="290"/>
                        </a:lnTo>
                        <a:lnTo>
                          <a:pt x="28" y="289"/>
                        </a:lnTo>
                        <a:lnTo>
                          <a:pt x="30" y="287"/>
                        </a:lnTo>
                        <a:lnTo>
                          <a:pt x="32" y="284"/>
                        </a:lnTo>
                        <a:lnTo>
                          <a:pt x="30" y="278"/>
                        </a:lnTo>
                        <a:lnTo>
                          <a:pt x="27" y="273"/>
                        </a:lnTo>
                        <a:lnTo>
                          <a:pt x="32" y="265"/>
                        </a:lnTo>
                        <a:lnTo>
                          <a:pt x="32" y="262"/>
                        </a:lnTo>
                        <a:lnTo>
                          <a:pt x="32" y="260"/>
                        </a:lnTo>
                        <a:lnTo>
                          <a:pt x="32" y="259"/>
                        </a:lnTo>
                        <a:lnTo>
                          <a:pt x="32" y="257"/>
                        </a:lnTo>
                        <a:lnTo>
                          <a:pt x="28" y="255"/>
                        </a:lnTo>
                        <a:lnTo>
                          <a:pt x="25" y="254"/>
                        </a:lnTo>
                        <a:lnTo>
                          <a:pt x="24" y="252"/>
                        </a:lnTo>
                        <a:lnTo>
                          <a:pt x="22" y="251"/>
                        </a:lnTo>
                        <a:lnTo>
                          <a:pt x="22" y="246"/>
                        </a:lnTo>
                        <a:lnTo>
                          <a:pt x="22" y="244"/>
                        </a:lnTo>
                        <a:lnTo>
                          <a:pt x="24" y="243"/>
                        </a:lnTo>
                        <a:lnTo>
                          <a:pt x="24" y="233"/>
                        </a:lnTo>
                        <a:lnTo>
                          <a:pt x="24" y="224"/>
                        </a:lnTo>
                        <a:lnTo>
                          <a:pt x="25" y="187"/>
                        </a:lnTo>
                        <a:lnTo>
                          <a:pt x="25" y="186"/>
                        </a:lnTo>
                        <a:lnTo>
                          <a:pt x="27" y="184"/>
                        </a:lnTo>
                        <a:lnTo>
                          <a:pt x="30" y="176"/>
                        </a:lnTo>
                        <a:lnTo>
                          <a:pt x="27" y="162"/>
                        </a:lnTo>
                        <a:lnTo>
                          <a:pt x="28" y="162"/>
                        </a:lnTo>
                        <a:lnTo>
                          <a:pt x="32" y="160"/>
                        </a:lnTo>
                        <a:lnTo>
                          <a:pt x="36" y="159"/>
                        </a:lnTo>
                        <a:lnTo>
                          <a:pt x="39" y="159"/>
                        </a:lnTo>
                        <a:lnTo>
                          <a:pt x="41" y="156"/>
                        </a:lnTo>
                        <a:lnTo>
                          <a:pt x="43" y="156"/>
                        </a:lnTo>
                        <a:lnTo>
                          <a:pt x="43" y="152"/>
                        </a:lnTo>
                        <a:lnTo>
                          <a:pt x="43" y="148"/>
                        </a:lnTo>
                        <a:lnTo>
                          <a:pt x="44" y="143"/>
                        </a:lnTo>
                        <a:lnTo>
                          <a:pt x="44" y="141"/>
                        </a:lnTo>
                        <a:lnTo>
                          <a:pt x="46" y="140"/>
                        </a:lnTo>
                        <a:lnTo>
                          <a:pt x="46" y="135"/>
                        </a:lnTo>
                        <a:lnTo>
                          <a:pt x="47" y="133"/>
                        </a:lnTo>
                        <a:lnTo>
                          <a:pt x="49" y="130"/>
                        </a:lnTo>
                        <a:lnTo>
                          <a:pt x="51" y="129"/>
                        </a:lnTo>
                        <a:lnTo>
                          <a:pt x="51" y="127"/>
                        </a:lnTo>
                        <a:lnTo>
                          <a:pt x="52" y="126"/>
                        </a:lnTo>
                        <a:lnTo>
                          <a:pt x="55" y="122"/>
                        </a:lnTo>
                        <a:lnTo>
                          <a:pt x="57" y="114"/>
                        </a:lnTo>
                        <a:lnTo>
                          <a:pt x="58" y="105"/>
                        </a:lnTo>
                        <a:lnTo>
                          <a:pt x="57" y="102"/>
                        </a:lnTo>
                        <a:lnTo>
                          <a:pt x="55" y="100"/>
                        </a:lnTo>
                        <a:lnTo>
                          <a:pt x="54" y="97"/>
                        </a:lnTo>
                        <a:lnTo>
                          <a:pt x="52" y="97"/>
                        </a:lnTo>
                        <a:lnTo>
                          <a:pt x="51" y="95"/>
                        </a:lnTo>
                        <a:lnTo>
                          <a:pt x="46" y="94"/>
                        </a:lnTo>
                        <a:lnTo>
                          <a:pt x="44" y="92"/>
                        </a:lnTo>
                        <a:lnTo>
                          <a:pt x="43" y="92"/>
                        </a:lnTo>
                        <a:lnTo>
                          <a:pt x="33" y="72"/>
                        </a:lnTo>
                        <a:lnTo>
                          <a:pt x="33" y="54"/>
                        </a:lnTo>
                        <a:lnTo>
                          <a:pt x="30" y="49"/>
                        </a:lnTo>
                        <a:lnTo>
                          <a:pt x="30" y="37"/>
                        </a:lnTo>
                        <a:lnTo>
                          <a:pt x="28" y="35"/>
                        </a:lnTo>
                        <a:lnTo>
                          <a:pt x="24" y="34"/>
                        </a:lnTo>
                        <a:lnTo>
                          <a:pt x="22" y="34"/>
                        </a:lnTo>
                        <a:lnTo>
                          <a:pt x="19" y="32"/>
                        </a:lnTo>
                        <a:lnTo>
                          <a:pt x="17" y="30"/>
                        </a:lnTo>
                        <a:lnTo>
                          <a:pt x="17" y="29"/>
                        </a:lnTo>
                        <a:lnTo>
                          <a:pt x="17" y="27"/>
                        </a:lnTo>
                        <a:lnTo>
                          <a:pt x="19" y="26"/>
                        </a:lnTo>
                        <a:lnTo>
                          <a:pt x="19" y="21"/>
                        </a:lnTo>
                        <a:lnTo>
                          <a:pt x="19" y="18"/>
                        </a:lnTo>
                        <a:lnTo>
                          <a:pt x="19" y="16"/>
                        </a:lnTo>
                        <a:lnTo>
                          <a:pt x="14" y="2"/>
                        </a:lnTo>
                        <a:lnTo>
                          <a:pt x="27" y="0"/>
                        </a:lnTo>
                        <a:lnTo>
                          <a:pt x="44" y="0"/>
                        </a:lnTo>
                        <a:lnTo>
                          <a:pt x="51" y="0"/>
                        </a:lnTo>
                        <a:lnTo>
                          <a:pt x="55" y="0"/>
                        </a:lnTo>
                        <a:lnTo>
                          <a:pt x="57" y="2"/>
                        </a:lnTo>
                        <a:lnTo>
                          <a:pt x="63" y="2"/>
                        </a:lnTo>
                        <a:lnTo>
                          <a:pt x="66" y="4"/>
                        </a:lnTo>
                        <a:lnTo>
                          <a:pt x="71" y="7"/>
                        </a:lnTo>
                        <a:lnTo>
                          <a:pt x="74" y="8"/>
                        </a:lnTo>
                        <a:lnTo>
                          <a:pt x="77" y="11"/>
                        </a:lnTo>
                        <a:lnTo>
                          <a:pt x="79" y="13"/>
                        </a:lnTo>
                        <a:lnTo>
                          <a:pt x="74" y="13"/>
                        </a:lnTo>
                        <a:lnTo>
                          <a:pt x="74" y="15"/>
                        </a:lnTo>
                        <a:lnTo>
                          <a:pt x="76" y="16"/>
                        </a:lnTo>
                        <a:lnTo>
                          <a:pt x="76" y="18"/>
                        </a:lnTo>
                        <a:lnTo>
                          <a:pt x="77" y="18"/>
                        </a:lnTo>
                        <a:lnTo>
                          <a:pt x="79" y="19"/>
                        </a:lnTo>
                        <a:lnTo>
                          <a:pt x="81" y="21"/>
                        </a:lnTo>
                        <a:lnTo>
                          <a:pt x="81" y="23"/>
                        </a:lnTo>
                        <a:lnTo>
                          <a:pt x="82" y="23"/>
                        </a:lnTo>
                        <a:lnTo>
                          <a:pt x="84" y="24"/>
                        </a:lnTo>
                        <a:lnTo>
                          <a:pt x="85" y="26"/>
                        </a:lnTo>
                        <a:lnTo>
                          <a:pt x="87" y="27"/>
                        </a:lnTo>
                        <a:lnTo>
                          <a:pt x="89" y="29"/>
                        </a:lnTo>
                        <a:lnTo>
                          <a:pt x="90" y="29"/>
                        </a:lnTo>
                        <a:lnTo>
                          <a:pt x="93" y="30"/>
                        </a:lnTo>
                        <a:lnTo>
                          <a:pt x="95" y="32"/>
                        </a:lnTo>
                        <a:lnTo>
                          <a:pt x="96" y="34"/>
                        </a:lnTo>
                        <a:lnTo>
                          <a:pt x="98" y="34"/>
                        </a:lnTo>
                        <a:lnTo>
                          <a:pt x="100" y="34"/>
                        </a:lnTo>
                        <a:lnTo>
                          <a:pt x="101" y="35"/>
                        </a:lnTo>
                        <a:lnTo>
                          <a:pt x="103" y="37"/>
                        </a:lnTo>
                        <a:lnTo>
                          <a:pt x="104" y="38"/>
                        </a:lnTo>
                        <a:lnTo>
                          <a:pt x="106" y="38"/>
                        </a:lnTo>
                        <a:lnTo>
                          <a:pt x="108" y="40"/>
                        </a:lnTo>
                        <a:lnTo>
                          <a:pt x="109" y="40"/>
                        </a:lnTo>
                        <a:lnTo>
                          <a:pt x="112" y="40"/>
                        </a:lnTo>
                        <a:lnTo>
                          <a:pt x="114" y="42"/>
                        </a:lnTo>
                        <a:lnTo>
                          <a:pt x="115" y="42"/>
                        </a:lnTo>
                        <a:lnTo>
                          <a:pt x="117" y="43"/>
                        </a:lnTo>
                        <a:lnTo>
                          <a:pt x="119" y="45"/>
                        </a:lnTo>
                        <a:lnTo>
                          <a:pt x="120" y="45"/>
                        </a:lnTo>
                        <a:lnTo>
                          <a:pt x="122" y="45"/>
                        </a:lnTo>
                        <a:lnTo>
                          <a:pt x="123" y="46"/>
                        </a:lnTo>
                        <a:lnTo>
                          <a:pt x="125" y="48"/>
                        </a:lnTo>
                        <a:lnTo>
                          <a:pt x="128" y="48"/>
                        </a:lnTo>
                        <a:lnTo>
                          <a:pt x="130" y="49"/>
                        </a:lnTo>
                        <a:lnTo>
                          <a:pt x="131" y="49"/>
                        </a:lnTo>
                        <a:lnTo>
                          <a:pt x="133" y="51"/>
                        </a:lnTo>
                        <a:lnTo>
                          <a:pt x="134" y="51"/>
                        </a:lnTo>
                        <a:lnTo>
                          <a:pt x="136" y="53"/>
                        </a:lnTo>
                        <a:lnTo>
                          <a:pt x="138" y="54"/>
                        </a:lnTo>
                        <a:lnTo>
                          <a:pt x="139" y="56"/>
                        </a:lnTo>
                        <a:lnTo>
                          <a:pt x="141" y="56"/>
                        </a:lnTo>
                        <a:lnTo>
                          <a:pt x="142" y="57"/>
                        </a:lnTo>
                        <a:lnTo>
                          <a:pt x="144" y="57"/>
                        </a:lnTo>
                        <a:lnTo>
                          <a:pt x="144" y="59"/>
                        </a:lnTo>
                        <a:lnTo>
                          <a:pt x="146" y="59"/>
                        </a:lnTo>
                        <a:lnTo>
                          <a:pt x="147" y="61"/>
                        </a:lnTo>
                        <a:lnTo>
                          <a:pt x="149" y="62"/>
                        </a:lnTo>
                        <a:lnTo>
                          <a:pt x="150" y="62"/>
                        </a:lnTo>
                        <a:lnTo>
                          <a:pt x="152" y="64"/>
                        </a:lnTo>
                        <a:lnTo>
                          <a:pt x="152" y="65"/>
                        </a:lnTo>
                        <a:lnTo>
                          <a:pt x="153" y="67"/>
                        </a:lnTo>
                        <a:lnTo>
                          <a:pt x="153" y="69"/>
                        </a:lnTo>
                        <a:lnTo>
                          <a:pt x="155" y="70"/>
                        </a:lnTo>
                        <a:lnTo>
                          <a:pt x="155" y="72"/>
                        </a:lnTo>
                        <a:lnTo>
                          <a:pt x="155" y="73"/>
                        </a:lnTo>
                        <a:lnTo>
                          <a:pt x="155" y="75"/>
                        </a:lnTo>
                        <a:lnTo>
                          <a:pt x="157" y="76"/>
                        </a:lnTo>
                        <a:lnTo>
                          <a:pt x="157" y="78"/>
                        </a:lnTo>
                        <a:lnTo>
                          <a:pt x="157" y="80"/>
                        </a:lnTo>
                        <a:lnTo>
                          <a:pt x="157" y="81"/>
                        </a:lnTo>
                        <a:lnTo>
                          <a:pt x="157" y="83"/>
                        </a:lnTo>
                        <a:lnTo>
                          <a:pt x="157" y="84"/>
                        </a:lnTo>
                        <a:lnTo>
                          <a:pt x="157" y="86"/>
                        </a:lnTo>
                        <a:lnTo>
                          <a:pt x="157" y="88"/>
                        </a:lnTo>
                        <a:lnTo>
                          <a:pt x="157" y="89"/>
                        </a:lnTo>
                        <a:lnTo>
                          <a:pt x="157" y="91"/>
                        </a:lnTo>
                        <a:lnTo>
                          <a:pt x="158" y="92"/>
                        </a:lnTo>
                        <a:lnTo>
                          <a:pt x="158" y="94"/>
                        </a:lnTo>
                        <a:lnTo>
                          <a:pt x="158" y="95"/>
                        </a:lnTo>
                        <a:lnTo>
                          <a:pt x="158" y="97"/>
                        </a:lnTo>
                        <a:lnTo>
                          <a:pt x="158" y="100"/>
                        </a:lnTo>
                        <a:lnTo>
                          <a:pt x="158" y="102"/>
                        </a:lnTo>
                        <a:lnTo>
                          <a:pt x="158" y="103"/>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44" name="Freeform 43"/>
                  <p:cNvSpPr>
                    <a:spLocks/>
                  </p:cNvSpPr>
                  <p:nvPr/>
                </p:nvSpPr>
                <p:spPr bwMode="auto">
                  <a:xfrm>
                    <a:off x="4480" y="2189"/>
                    <a:ext cx="919" cy="1023"/>
                  </a:xfrm>
                  <a:custGeom>
                    <a:avLst/>
                    <a:gdLst>
                      <a:gd name="T0" fmla="*/ 399 w 919"/>
                      <a:gd name="T1" fmla="*/ 36 h 1023"/>
                      <a:gd name="T2" fmla="*/ 409 w 919"/>
                      <a:gd name="T3" fmla="*/ 79 h 1023"/>
                      <a:gd name="T4" fmla="*/ 467 w 919"/>
                      <a:gd name="T5" fmla="*/ 101 h 1023"/>
                      <a:gd name="T6" fmla="*/ 444 w 919"/>
                      <a:gd name="T7" fmla="*/ 125 h 1023"/>
                      <a:gd name="T8" fmla="*/ 429 w 919"/>
                      <a:gd name="T9" fmla="*/ 161 h 1023"/>
                      <a:gd name="T10" fmla="*/ 486 w 919"/>
                      <a:gd name="T11" fmla="*/ 190 h 1023"/>
                      <a:gd name="T12" fmla="*/ 528 w 919"/>
                      <a:gd name="T13" fmla="*/ 247 h 1023"/>
                      <a:gd name="T14" fmla="*/ 542 w 919"/>
                      <a:gd name="T15" fmla="*/ 283 h 1023"/>
                      <a:gd name="T16" fmla="*/ 505 w 919"/>
                      <a:gd name="T17" fmla="*/ 294 h 1023"/>
                      <a:gd name="T18" fmla="*/ 482 w 919"/>
                      <a:gd name="T19" fmla="*/ 320 h 1023"/>
                      <a:gd name="T20" fmla="*/ 467 w 919"/>
                      <a:gd name="T21" fmla="*/ 380 h 1023"/>
                      <a:gd name="T22" fmla="*/ 505 w 919"/>
                      <a:gd name="T23" fmla="*/ 424 h 1023"/>
                      <a:gd name="T24" fmla="*/ 562 w 919"/>
                      <a:gd name="T25" fmla="*/ 475 h 1023"/>
                      <a:gd name="T26" fmla="*/ 627 w 919"/>
                      <a:gd name="T27" fmla="*/ 476 h 1023"/>
                      <a:gd name="T28" fmla="*/ 669 w 919"/>
                      <a:gd name="T29" fmla="*/ 481 h 1023"/>
                      <a:gd name="T30" fmla="*/ 805 w 919"/>
                      <a:gd name="T31" fmla="*/ 537 h 1023"/>
                      <a:gd name="T32" fmla="*/ 870 w 919"/>
                      <a:gd name="T33" fmla="*/ 535 h 1023"/>
                      <a:gd name="T34" fmla="*/ 881 w 919"/>
                      <a:gd name="T35" fmla="*/ 616 h 1023"/>
                      <a:gd name="T36" fmla="*/ 916 w 919"/>
                      <a:gd name="T37" fmla="*/ 728 h 1023"/>
                      <a:gd name="T38" fmla="*/ 890 w 919"/>
                      <a:gd name="T39" fmla="*/ 755 h 1023"/>
                      <a:gd name="T40" fmla="*/ 901 w 919"/>
                      <a:gd name="T41" fmla="*/ 803 h 1023"/>
                      <a:gd name="T42" fmla="*/ 900 w 919"/>
                      <a:gd name="T43" fmla="*/ 842 h 1023"/>
                      <a:gd name="T44" fmla="*/ 860 w 919"/>
                      <a:gd name="T45" fmla="*/ 906 h 1023"/>
                      <a:gd name="T46" fmla="*/ 821 w 919"/>
                      <a:gd name="T47" fmla="*/ 937 h 1023"/>
                      <a:gd name="T48" fmla="*/ 578 w 919"/>
                      <a:gd name="T49" fmla="*/ 899 h 1023"/>
                      <a:gd name="T50" fmla="*/ 385 w 919"/>
                      <a:gd name="T51" fmla="*/ 858 h 1023"/>
                      <a:gd name="T52" fmla="*/ 336 w 919"/>
                      <a:gd name="T53" fmla="*/ 917 h 1023"/>
                      <a:gd name="T54" fmla="*/ 247 w 919"/>
                      <a:gd name="T55" fmla="*/ 958 h 1023"/>
                      <a:gd name="T56" fmla="*/ 162 w 919"/>
                      <a:gd name="T57" fmla="*/ 997 h 1023"/>
                      <a:gd name="T58" fmla="*/ 132 w 919"/>
                      <a:gd name="T59" fmla="*/ 972 h 1023"/>
                      <a:gd name="T60" fmla="*/ 127 w 919"/>
                      <a:gd name="T61" fmla="*/ 945 h 1023"/>
                      <a:gd name="T62" fmla="*/ 130 w 919"/>
                      <a:gd name="T63" fmla="*/ 909 h 1023"/>
                      <a:gd name="T64" fmla="*/ 105 w 919"/>
                      <a:gd name="T65" fmla="*/ 883 h 1023"/>
                      <a:gd name="T66" fmla="*/ 89 w 919"/>
                      <a:gd name="T67" fmla="*/ 858 h 1023"/>
                      <a:gd name="T68" fmla="*/ 108 w 919"/>
                      <a:gd name="T69" fmla="*/ 811 h 1023"/>
                      <a:gd name="T70" fmla="*/ 132 w 919"/>
                      <a:gd name="T71" fmla="*/ 761 h 1023"/>
                      <a:gd name="T72" fmla="*/ 171 w 919"/>
                      <a:gd name="T73" fmla="*/ 706 h 1023"/>
                      <a:gd name="T74" fmla="*/ 205 w 919"/>
                      <a:gd name="T75" fmla="*/ 716 h 1023"/>
                      <a:gd name="T76" fmla="*/ 209 w 919"/>
                      <a:gd name="T77" fmla="*/ 671 h 1023"/>
                      <a:gd name="T78" fmla="*/ 173 w 919"/>
                      <a:gd name="T79" fmla="*/ 644 h 1023"/>
                      <a:gd name="T80" fmla="*/ 125 w 919"/>
                      <a:gd name="T81" fmla="*/ 608 h 1023"/>
                      <a:gd name="T82" fmla="*/ 83 w 919"/>
                      <a:gd name="T83" fmla="*/ 609 h 1023"/>
                      <a:gd name="T84" fmla="*/ 30 w 919"/>
                      <a:gd name="T85" fmla="*/ 567 h 1023"/>
                      <a:gd name="T86" fmla="*/ 24 w 919"/>
                      <a:gd name="T87" fmla="*/ 478 h 1023"/>
                      <a:gd name="T88" fmla="*/ 46 w 919"/>
                      <a:gd name="T89" fmla="*/ 432 h 1023"/>
                      <a:gd name="T90" fmla="*/ 125 w 919"/>
                      <a:gd name="T91" fmla="*/ 415 h 1023"/>
                      <a:gd name="T92" fmla="*/ 152 w 919"/>
                      <a:gd name="T93" fmla="*/ 389 h 1023"/>
                      <a:gd name="T94" fmla="*/ 212 w 919"/>
                      <a:gd name="T95" fmla="*/ 334 h 1023"/>
                      <a:gd name="T96" fmla="*/ 274 w 919"/>
                      <a:gd name="T97" fmla="*/ 335 h 1023"/>
                      <a:gd name="T98" fmla="*/ 296 w 919"/>
                      <a:gd name="T99" fmla="*/ 305 h 1023"/>
                      <a:gd name="T100" fmla="*/ 293 w 919"/>
                      <a:gd name="T101" fmla="*/ 270 h 1023"/>
                      <a:gd name="T102" fmla="*/ 290 w 919"/>
                      <a:gd name="T103" fmla="*/ 236 h 1023"/>
                      <a:gd name="T104" fmla="*/ 254 w 919"/>
                      <a:gd name="T105" fmla="*/ 190 h 1023"/>
                      <a:gd name="T106" fmla="*/ 225 w 919"/>
                      <a:gd name="T107" fmla="*/ 137 h 1023"/>
                      <a:gd name="T108" fmla="*/ 222 w 919"/>
                      <a:gd name="T109" fmla="*/ 95 h 1023"/>
                      <a:gd name="T110" fmla="*/ 178 w 919"/>
                      <a:gd name="T111" fmla="*/ 57 h 1023"/>
                      <a:gd name="T112" fmla="*/ 182 w 919"/>
                      <a:gd name="T113" fmla="*/ 14 h 1023"/>
                      <a:gd name="T114" fmla="*/ 222 w 919"/>
                      <a:gd name="T115" fmla="*/ 31 h 1023"/>
                      <a:gd name="T116" fmla="*/ 262 w 919"/>
                      <a:gd name="T117" fmla="*/ 42 h 1023"/>
                      <a:gd name="T118" fmla="*/ 300 w 919"/>
                      <a:gd name="T119" fmla="*/ 44 h 1023"/>
                      <a:gd name="T120" fmla="*/ 333 w 919"/>
                      <a:gd name="T121" fmla="*/ 20 h 1023"/>
                      <a:gd name="T122" fmla="*/ 368 w 919"/>
                      <a:gd name="T123" fmla="*/ 7 h 1023"/>
                      <a:gd name="T124" fmla="*/ 396 w 919"/>
                      <a:gd name="T125" fmla="*/ 6 h 1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19" h="1023">
                        <a:moveTo>
                          <a:pt x="401" y="3"/>
                        </a:moveTo>
                        <a:lnTo>
                          <a:pt x="403" y="3"/>
                        </a:lnTo>
                        <a:lnTo>
                          <a:pt x="404" y="1"/>
                        </a:lnTo>
                        <a:lnTo>
                          <a:pt x="406" y="1"/>
                        </a:lnTo>
                        <a:lnTo>
                          <a:pt x="407" y="1"/>
                        </a:lnTo>
                        <a:lnTo>
                          <a:pt x="409" y="1"/>
                        </a:lnTo>
                        <a:lnTo>
                          <a:pt x="407" y="3"/>
                        </a:lnTo>
                        <a:lnTo>
                          <a:pt x="406" y="4"/>
                        </a:lnTo>
                        <a:lnTo>
                          <a:pt x="406" y="6"/>
                        </a:lnTo>
                        <a:lnTo>
                          <a:pt x="404" y="7"/>
                        </a:lnTo>
                        <a:lnTo>
                          <a:pt x="403" y="9"/>
                        </a:lnTo>
                        <a:lnTo>
                          <a:pt x="403" y="11"/>
                        </a:lnTo>
                        <a:lnTo>
                          <a:pt x="403" y="12"/>
                        </a:lnTo>
                        <a:lnTo>
                          <a:pt x="403" y="14"/>
                        </a:lnTo>
                        <a:lnTo>
                          <a:pt x="403" y="15"/>
                        </a:lnTo>
                        <a:lnTo>
                          <a:pt x="403" y="17"/>
                        </a:lnTo>
                        <a:lnTo>
                          <a:pt x="403" y="19"/>
                        </a:lnTo>
                        <a:lnTo>
                          <a:pt x="403" y="20"/>
                        </a:lnTo>
                        <a:lnTo>
                          <a:pt x="404" y="22"/>
                        </a:lnTo>
                        <a:lnTo>
                          <a:pt x="404" y="23"/>
                        </a:lnTo>
                        <a:lnTo>
                          <a:pt x="404" y="25"/>
                        </a:lnTo>
                        <a:lnTo>
                          <a:pt x="403" y="25"/>
                        </a:lnTo>
                        <a:lnTo>
                          <a:pt x="403" y="26"/>
                        </a:lnTo>
                        <a:lnTo>
                          <a:pt x="401" y="26"/>
                        </a:lnTo>
                        <a:lnTo>
                          <a:pt x="401" y="28"/>
                        </a:lnTo>
                        <a:lnTo>
                          <a:pt x="399" y="30"/>
                        </a:lnTo>
                        <a:lnTo>
                          <a:pt x="399" y="31"/>
                        </a:lnTo>
                        <a:lnTo>
                          <a:pt x="398" y="33"/>
                        </a:lnTo>
                        <a:lnTo>
                          <a:pt x="398" y="34"/>
                        </a:lnTo>
                        <a:lnTo>
                          <a:pt x="399" y="34"/>
                        </a:lnTo>
                        <a:lnTo>
                          <a:pt x="399" y="36"/>
                        </a:lnTo>
                        <a:lnTo>
                          <a:pt x="399" y="38"/>
                        </a:lnTo>
                        <a:lnTo>
                          <a:pt x="398" y="38"/>
                        </a:lnTo>
                        <a:lnTo>
                          <a:pt x="398" y="39"/>
                        </a:lnTo>
                        <a:lnTo>
                          <a:pt x="398" y="41"/>
                        </a:lnTo>
                        <a:lnTo>
                          <a:pt x="396" y="42"/>
                        </a:lnTo>
                        <a:lnTo>
                          <a:pt x="396" y="44"/>
                        </a:lnTo>
                        <a:lnTo>
                          <a:pt x="396" y="45"/>
                        </a:lnTo>
                        <a:lnTo>
                          <a:pt x="398" y="47"/>
                        </a:lnTo>
                        <a:lnTo>
                          <a:pt x="398" y="49"/>
                        </a:lnTo>
                        <a:lnTo>
                          <a:pt x="398" y="50"/>
                        </a:lnTo>
                        <a:lnTo>
                          <a:pt x="396" y="50"/>
                        </a:lnTo>
                        <a:lnTo>
                          <a:pt x="396" y="52"/>
                        </a:lnTo>
                        <a:lnTo>
                          <a:pt x="395" y="53"/>
                        </a:lnTo>
                        <a:lnTo>
                          <a:pt x="395" y="55"/>
                        </a:lnTo>
                        <a:lnTo>
                          <a:pt x="395" y="57"/>
                        </a:lnTo>
                        <a:lnTo>
                          <a:pt x="395" y="58"/>
                        </a:lnTo>
                        <a:lnTo>
                          <a:pt x="395" y="60"/>
                        </a:lnTo>
                        <a:lnTo>
                          <a:pt x="393" y="61"/>
                        </a:lnTo>
                        <a:lnTo>
                          <a:pt x="393" y="63"/>
                        </a:lnTo>
                        <a:lnTo>
                          <a:pt x="393" y="64"/>
                        </a:lnTo>
                        <a:lnTo>
                          <a:pt x="395" y="64"/>
                        </a:lnTo>
                        <a:lnTo>
                          <a:pt x="395" y="66"/>
                        </a:lnTo>
                        <a:lnTo>
                          <a:pt x="395" y="68"/>
                        </a:lnTo>
                        <a:lnTo>
                          <a:pt x="396" y="68"/>
                        </a:lnTo>
                        <a:lnTo>
                          <a:pt x="396" y="69"/>
                        </a:lnTo>
                        <a:lnTo>
                          <a:pt x="398" y="71"/>
                        </a:lnTo>
                        <a:lnTo>
                          <a:pt x="399" y="74"/>
                        </a:lnTo>
                        <a:lnTo>
                          <a:pt x="401" y="76"/>
                        </a:lnTo>
                        <a:lnTo>
                          <a:pt x="404" y="77"/>
                        </a:lnTo>
                        <a:lnTo>
                          <a:pt x="406" y="79"/>
                        </a:lnTo>
                        <a:lnTo>
                          <a:pt x="409" y="79"/>
                        </a:lnTo>
                        <a:lnTo>
                          <a:pt x="412" y="79"/>
                        </a:lnTo>
                        <a:lnTo>
                          <a:pt x="415" y="79"/>
                        </a:lnTo>
                        <a:lnTo>
                          <a:pt x="418" y="79"/>
                        </a:lnTo>
                        <a:lnTo>
                          <a:pt x="422" y="79"/>
                        </a:lnTo>
                        <a:lnTo>
                          <a:pt x="425" y="77"/>
                        </a:lnTo>
                        <a:lnTo>
                          <a:pt x="428" y="77"/>
                        </a:lnTo>
                        <a:lnTo>
                          <a:pt x="431" y="77"/>
                        </a:lnTo>
                        <a:lnTo>
                          <a:pt x="434" y="77"/>
                        </a:lnTo>
                        <a:lnTo>
                          <a:pt x="437" y="77"/>
                        </a:lnTo>
                        <a:lnTo>
                          <a:pt x="441" y="77"/>
                        </a:lnTo>
                        <a:lnTo>
                          <a:pt x="442" y="79"/>
                        </a:lnTo>
                        <a:lnTo>
                          <a:pt x="444" y="80"/>
                        </a:lnTo>
                        <a:lnTo>
                          <a:pt x="445" y="82"/>
                        </a:lnTo>
                        <a:lnTo>
                          <a:pt x="447" y="82"/>
                        </a:lnTo>
                        <a:lnTo>
                          <a:pt x="448" y="84"/>
                        </a:lnTo>
                        <a:lnTo>
                          <a:pt x="450" y="84"/>
                        </a:lnTo>
                        <a:lnTo>
                          <a:pt x="452" y="85"/>
                        </a:lnTo>
                        <a:lnTo>
                          <a:pt x="453" y="85"/>
                        </a:lnTo>
                        <a:lnTo>
                          <a:pt x="453" y="88"/>
                        </a:lnTo>
                        <a:lnTo>
                          <a:pt x="455" y="88"/>
                        </a:lnTo>
                        <a:lnTo>
                          <a:pt x="455" y="90"/>
                        </a:lnTo>
                        <a:lnTo>
                          <a:pt x="456" y="91"/>
                        </a:lnTo>
                        <a:lnTo>
                          <a:pt x="458" y="91"/>
                        </a:lnTo>
                        <a:lnTo>
                          <a:pt x="460" y="93"/>
                        </a:lnTo>
                        <a:lnTo>
                          <a:pt x="461" y="95"/>
                        </a:lnTo>
                        <a:lnTo>
                          <a:pt x="463" y="96"/>
                        </a:lnTo>
                        <a:lnTo>
                          <a:pt x="464" y="96"/>
                        </a:lnTo>
                        <a:lnTo>
                          <a:pt x="464" y="98"/>
                        </a:lnTo>
                        <a:lnTo>
                          <a:pt x="466" y="99"/>
                        </a:lnTo>
                        <a:lnTo>
                          <a:pt x="467" y="99"/>
                        </a:lnTo>
                        <a:lnTo>
                          <a:pt x="467" y="101"/>
                        </a:lnTo>
                        <a:lnTo>
                          <a:pt x="467" y="103"/>
                        </a:lnTo>
                        <a:lnTo>
                          <a:pt x="466" y="103"/>
                        </a:lnTo>
                        <a:lnTo>
                          <a:pt x="466" y="104"/>
                        </a:lnTo>
                        <a:lnTo>
                          <a:pt x="466" y="106"/>
                        </a:lnTo>
                        <a:lnTo>
                          <a:pt x="464" y="106"/>
                        </a:lnTo>
                        <a:lnTo>
                          <a:pt x="464" y="107"/>
                        </a:lnTo>
                        <a:lnTo>
                          <a:pt x="463" y="107"/>
                        </a:lnTo>
                        <a:lnTo>
                          <a:pt x="461" y="107"/>
                        </a:lnTo>
                        <a:lnTo>
                          <a:pt x="461" y="109"/>
                        </a:lnTo>
                        <a:lnTo>
                          <a:pt x="461" y="110"/>
                        </a:lnTo>
                        <a:lnTo>
                          <a:pt x="461" y="112"/>
                        </a:lnTo>
                        <a:lnTo>
                          <a:pt x="460" y="112"/>
                        </a:lnTo>
                        <a:lnTo>
                          <a:pt x="460" y="114"/>
                        </a:lnTo>
                        <a:lnTo>
                          <a:pt x="458" y="114"/>
                        </a:lnTo>
                        <a:lnTo>
                          <a:pt x="458" y="115"/>
                        </a:lnTo>
                        <a:lnTo>
                          <a:pt x="458" y="117"/>
                        </a:lnTo>
                        <a:lnTo>
                          <a:pt x="456" y="117"/>
                        </a:lnTo>
                        <a:lnTo>
                          <a:pt x="456" y="118"/>
                        </a:lnTo>
                        <a:lnTo>
                          <a:pt x="455" y="117"/>
                        </a:lnTo>
                        <a:lnTo>
                          <a:pt x="453" y="117"/>
                        </a:lnTo>
                        <a:lnTo>
                          <a:pt x="453" y="118"/>
                        </a:lnTo>
                        <a:lnTo>
                          <a:pt x="452" y="118"/>
                        </a:lnTo>
                        <a:lnTo>
                          <a:pt x="452" y="120"/>
                        </a:lnTo>
                        <a:lnTo>
                          <a:pt x="452" y="122"/>
                        </a:lnTo>
                        <a:lnTo>
                          <a:pt x="452" y="123"/>
                        </a:lnTo>
                        <a:lnTo>
                          <a:pt x="450" y="123"/>
                        </a:lnTo>
                        <a:lnTo>
                          <a:pt x="450" y="125"/>
                        </a:lnTo>
                        <a:lnTo>
                          <a:pt x="448" y="125"/>
                        </a:lnTo>
                        <a:lnTo>
                          <a:pt x="448" y="126"/>
                        </a:lnTo>
                        <a:lnTo>
                          <a:pt x="447" y="126"/>
                        </a:lnTo>
                        <a:lnTo>
                          <a:pt x="444" y="125"/>
                        </a:lnTo>
                        <a:lnTo>
                          <a:pt x="444" y="126"/>
                        </a:lnTo>
                        <a:lnTo>
                          <a:pt x="444" y="128"/>
                        </a:lnTo>
                        <a:lnTo>
                          <a:pt x="444" y="129"/>
                        </a:lnTo>
                        <a:lnTo>
                          <a:pt x="444" y="131"/>
                        </a:lnTo>
                        <a:lnTo>
                          <a:pt x="442" y="131"/>
                        </a:lnTo>
                        <a:lnTo>
                          <a:pt x="441" y="131"/>
                        </a:lnTo>
                        <a:lnTo>
                          <a:pt x="439" y="134"/>
                        </a:lnTo>
                        <a:lnTo>
                          <a:pt x="439" y="136"/>
                        </a:lnTo>
                        <a:lnTo>
                          <a:pt x="439" y="137"/>
                        </a:lnTo>
                        <a:lnTo>
                          <a:pt x="439" y="139"/>
                        </a:lnTo>
                        <a:lnTo>
                          <a:pt x="439" y="141"/>
                        </a:lnTo>
                        <a:lnTo>
                          <a:pt x="439" y="142"/>
                        </a:lnTo>
                        <a:lnTo>
                          <a:pt x="437" y="142"/>
                        </a:lnTo>
                        <a:lnTo>
                          <a:pt x="437" y="144"/>
                        </a:lnTo>
                        <a:lnTo>
                          <a:pt x="437" y="145"/>
                        </a:lnTo>
                        <a:lnTo>
                          <a:pt x="436" y="147"/>
                        </a:lnTo>
                        <a:lnTo>
                          <a:pt x="434" y="147"/>
                        </a:lnTo>
                        <a:lnTo>
                          <a:pt x="433" y="147"/>
                        </a:lnTo>
                        <a:lnTo>
                          <a:pt x="431" y="147"/>
                        </a:lnTo>
                        <a:lnTo>
                          <a:pt x="431" y="148"/>
                        </a:lnTo>
                        <a:lnTo>
                          <a:pt x="429" y="150"/>
                        </a:lnTo>
                        <a:lnTo>
                          <a:pt x="431" y="152"/>
                        </a:lnTo>
                        <a:lnTo>
                          <a:pt x="429" y="153"/>
                        </a:lnTo>
                        <a:lnTo>
                          <a:pt x="429" y="155"/>
                        </a:lnTo>
                        <a:lnTo>
                          <a:pt x="431" y="155"/>
                        </a:lnTo>
                        <a:lnTo>
                          <a:pt x="429" y="156"/>
                        </a:lnTo>
                        <a:lnTo>
                          <a:pt x="429" y="158"/>
                        </a:lnTo>
                        <a:lnTo>
                          <a:pt x="428" y="158"/>
                        </a:lnTo>
                        <a:lnTo>
                          <a:pt x="428" y="160"/>
                        </a:lnTo>
                        <a:lnTo>
                          <a:pt x="429" y="160"/>
                        </a:lnTo>
                        <a:lnTo>
                          <a:pt x="429" y="161"/>
                        </a:lnTo>
                        <a:lnTo>
                          <a:pt x="431" y="161"/>
                        </a:lnTo>
                        <a:lnTo>
                          <a:pt x="431" y="163"/>
                        </a:lnTo>
                        <a:lnTo>
                          <a:pt x="429" y="164"/>
                        </a:lnTo>
                        <a:lnTo>
                          <a:pt x="429" y="166"/>
                        </a:lnTo>
                        <a:lnTo>
                          <a:pt x="429" y="167"/>
                        </a:lnTo>
                        <a:lnTo>
                          <a:pt x="428" y="169"/>
                        </a:lnTo>
                        <a:lnTo>
                          <a:pt x="429" y="171"/>
                        </a:lnTo>
                        <a:lnTo>
                          <a:pt x="431" y="171"/>
                        </a:lnTo>
                        <a:lnTo>
                          <a:pt x="433" y="171"/>
                        </a:lnTo>
                        <a:lnTo>
                          <a:pt x="433" y="172"/>
                        </a:lnTo>
                        <a:lnTo>
                          <a:pt x="434" y="172"/>
                        </a:lnTo>
                        <a:lnTo>
                          <a:pt x="436" y="172"/>
                        </a:lnTo>
                        <a:lnTo>
                          <a:pt x="437" y="174"/>
                        </a:lnTo>
                        <a:lnTo>
                          <a:pt x="437" y="175"/>
                        </a:lnTo>
                        <a:lnTo>
                          <a:pt x="439" y="175"/>
                        </a:lnTo>
                        <a:lnTo>
                          <a:pt x="441" y="175"/>
                        </a:lnTo>
                        <a:lnTo>
                          <a:pt x="447" y="177"/>
                        </a:lnTo>
                        <a:lnTo>
                          <a:pt x="453" y="179"/>
                        </a:lnTo>
                        <a:lnTo>
                          <a:pt x="456" y="179"/>
                        </a:lnTo>
                        <a:lnTo>
                          <a:pt x="458" y="179"/>
                        </a:lnTo>
                        <a:lnTo>
                          <a:pt x="460" y="180"/>
                        </a:lnTo>
                        <a:lnTo>
                          <a:pt x="463" y="182"/>
                        </a:lnTo>
                        <a:lnTo>
                          <a:pt x="466" y="182"/>
                        </a:lnTo>
                        <a:lnTo>
                          <a:pt x="467" y="183"/>
                        </a:lnTo>
                        <a:lnTo>
                          <a:pt x="471" y="185"/>
                        </a:lnTo>
                        <a:lnTo>
                          <a:pt x="474" y="185"/>
                        </a:lnTo>
                        <a:lnTo>
                          <a:pt x="479" y="186"/>
                        </a:lnTo>
                        <a:lnTo>
                          <a:pt x="480" y="186"/>
                        </a:lnTo>
                        <a:lnTo>
                          <a:pt x="483" y="188"/>
                        </a:lnTo>
                        <a:lnTo>
                          <a:pt x="485" y="188"/>
                        </a:lnTo>
                        <a:lnTo>
                          <a:pt x="486" y="190"/>
                        </a:lnTo>
                        <a:lnTo>
                          <a:pt x="488" y="190"/>
                        </a:lnTo>
                        <a:lnTo>
                          <a:pt x="490" y="191"/>
                        </a:lnTo>
                        <a:lnTo>
                          <a:pt x="491" y="191"/>
                        </a:lnTo>
                        <a:lnTo>
                          <a:pt x="493" y="193"/>
                        </a:lnTo>
                        <a:lnTo>
                          <a:pt x="494" y="196"/>
                        </a:lnTo>
                        <a:lnTo>
                          <a:pt x="496" y="196"/>
                        </a:lnTo>
                        <a:lnTo>
                          <a:pt x="498" y="199"/>
                        </a:lnTo>
                        <a:lnTo>
                          <a:pt x="498" y="201"/>
                        </a:lnTo>
                        <a:lnTo>
                          <a:pt x="499" y="202"/>
                        </a:lnTo>
                        <a:lnTo>
                          <a:pt x="499" y="204"/>
                        </a:lnTo>
                        <a:lnTo>
                          <a:pt x="501" y="207"/>
                        </a:lnTo>
                        <a:lnTo>
                          <a:pt x="502" y="210"/>
                        </a:lnTo>
                        <a:lnTo>
                          <a:pt x="504" y="213"/>
                        </a:lnTo>
                        <a:lnTo>
                          <a:pt x="507" y="215"/>
                        </a:lnTo>
                        <a:lnTo>
                          <a:pt x="509" y="217"/>
                        </a:lnTo>
                        <a:lnTo>
                          <a:pt x="512" y="218"/>
                        </a:lnTo>
                        <a:lnTo>
                          <a:pt x="515" y="218"/>
                        </a:lnTo>
                        <a:lnTo>
                          <a:pt x="517" y="218"/>
                        </a:lnTo>
                        <a:lnTo>
                          <a:pt x="520" y="218"/>
                        </a:lnTo>
                        <a:lnTo>
                          <a:pt x="521" y="220"/>
                        </a:lnTo>
                        <a:lnTo>
                          <a:pt x="523" y="223"/>
                        </a:lnTo>
                        <a:lnTo>
                          <a:pt x="524" y="224"/>
                        </a:lnTo>
                        <a:lnTo>
                          <a:pt x="524" y="228"/>
                        </a:lnTo>
                        <a:lnTo>
                          <a:pt x="524" y="229"/>
                        </a:lnTo>
                        <a:lnTo>
                          <a:pt x="524" y="232"/>
                        </a:lnTo>
                        <a:lnTo>
                          <a:pt x="524" y="234"/>
                        </a:lnTo>
                        <a:lnTo>
                          <a:pt x="526" y="236"/>
                        </a:lnTo>
                        <a:lnTo>
                          <a:pt x="526" y="237"/>
                        </a:lnTo>
                        <a:lnTo>
                          <a:pt x="528" y="242"/>
                        </a:lnTo>
                        <a:lnTo>
                          <a:pt x="528" y="243"/>
                        </a:lnTo>
                        <a:lnTo>
                          <a:pt x="528" y="247"/>
                        </a:lnTo>
                        <a:lnTo>
                          <a:pt x="529" y="250"/>
                        </a:lnTo>
                        <a:lnTo>
                          <a:pt x="532" y="250"/>
                        </a:lnTo>
                        <a:lnTo>
                          <a:pt x="536" y="250"/>
                        </a:lnTo>
                        <a:lnTo>
                          <a:pt x="537" y="250"/>
                        </a:lnTo>
                        <a:lnTo>
                          <a:pt x="540" y="251"/>
                        </a:lnTo>
                        <a:lnTo>
                          <a:pt x="542" y="251"/>
                        </a:lnTo>
                        <a:lnTo>
                          <a:pt x="543" y="255"/>
                        </a:lnTo>
                        <a:lnTo>
                          <a:pt x="545" y="256"/>
                        </a:lnTo>
                        <a:lnTo>
                          <a:pt x="545" y="258"/>
                        </a:lnTo>
                        <a:lnTo>
                          <a:pt x="547" y="259"/>
                        </a:lnTo>
                        <a:lnTo>
                          <a:pt x="548" y="263"/>
                        </a:lnTo>
                        <a:lnTo>
                          <a:pt x="548" y="264"/>
                        </a:lnTo>
                        <a:lnTo>
                          <a:pt x="550" y="266"/>
                        </a:lnTo>
                        <a:lnTo>
                          <a:pt x="551" y="269"/>
                        </a:lnTo>
                        <a:lnTo>
                          <a:pt x="551" y="270"/>
                        </a:lnTo>
                        <a:lnTo>
                          <a:pt x="553" y="274"/>
                        </a:lnTo>
                        <a:lnTo>
                          <a:pt x="555" y="274"/>
                        </a:lnTo>
                        <a:lnTo>
                          <a:pt x="555" y="275"/>
                        </a:lnTo>
                        <a:lnTo>
                          <a:pt x="553" y="275"/>
                        </a:lnTo>
                        <a:lnTo>
                          <a:pt x="553" y="277"/>
                        </a:lnTo>
                        <a:lnTo>
                          <a:pt x="551" y="277"/>
                        </a:lnTo>
                        <a:lnTo>
                          <a:pt x="551" y="278"/>
                        </a:lnTo>
                        <a:lnTo>
                          <a:pt x="550" y="278"/>
                        </a:lnTo>
                        <a:lnTo>
                          <a:pt x="550" y="280"/>
                        </a:lnTo>
                        <a:lnTo>
                          <a:pt x="548" y="280"/>
                        </a:lnTo>
                        <a:lnTo>
                          <a:pt x="548" y="282"/>
                        </a:lnTo>
                        <a:lnTo>
                          <a:pt x="547" y="282"/>
                        </a:lnTo>
                        <a:lnTo>
                          <a:pt x="545" y="282"/>
                        </a:lnTo>
                        <a:lnTo>
                          <a:pt x="543" y="282"/>
                        </a:lnTo>
                        <a:lnTo>
                          <a:pt x="543" y="283"/>
                        </a:lnTo>
                        <a:lnTo>
                          <a:pt x="542" y="283"/>
                        </a:lnTo>
                        <a:lnTo>
                          <a:pt x="540" y="283"/>
                        </a:lnTo>
                        <a:lnTo>
                          <a:pt x="539" y="285"/>
                        </a:lnTo>
                        <a:lnTo>
                          <a:pt x="537" y="285"/>
                        </a:lnTo>
                        <a:lnTo>
                          <a:pt x="536" y="285"/>
                        </a:lnTo>
                        <a:lnTo>
                          <a:pt x="534" y="285"/>
                        </a:lnTo>
                        <a:lnTo>
                          <a:pt x="532" y="285"/>
                        </a:lnTo>
                        <a:lnTo>
                          <a:pt x="531" y="285"/>
                        </a:lnTo>
                        <a:lnTo>
                          <a:pt x="529" y="285"/>
                        </a:lnTo>
                        <a:lnTo>
                          <a:pt x="528" y="285"/>
                        </a:lnTo>
                        <a:lnTo>
                          <a:pt x="526" y="283"/>
                        </a:lnTo>
                        <a:lnTo>
                          <a:pt x="524" y="285"/>
                        </a:lnTo>
                        <a:lnTo>
                          <a:pt x="523" y="286"/>
                        </a:lnTo>
                        <a:lnTo>
                          <a:pt x="523" y="288"/>
                        </a:lnTo>
                        <a:lnTo>
                          <a:pt x="523" y="289"/>
                        </a:lnTo>
                        <a:lnTo>
                          <a:pt x="521" y="291"/>
                        </a:lnTo>
                        <a:lnTo>
                          <a:pt x="521" y="293"/>
                        </a:lnTo>
                        <a:lnTo>
                          <a:pt x="521" y="294"/>
                        </a:lnTo>
                        <a:lnTo>
                          <a:pt x="521" y="296"/>
                        </a:lnTo>
                        <a:lnTo>
                          <a:pt x="521" y="297"/>
                        </a:lnTo>
                        <a:lnTo>
                          <a:pt x="520" y="297"/>
                        </a:lnTo>
                        <a:lnTo>
                          <a:pt x="520" y="299"/>
                        </a:lnTo>
                        <a:lnTo>
                          <a:pt x="520" y="301"/>
                        </a:lnTo>
                        <a:lnTo>
                          <a:pt x="517" y="299"/>
                        </a:lnTo>
                        <a:lnTo>
                          <a:pt x="515" y="299"/>
                        </a:lnTo>
                        <a:lnTo>
                          <a:pt x="513" y="297"/>
                        </a:lnTo>
                        <a:lnTo>
                          <a:pt x="512" y="297"/>
                        </a:lnTo>
                        <a:lnTo>
                          <a:pt x="510" y="297"/>
                        </a:lnTo>
                        <a:lnTo>
                          <a:pt x="509" y="297"/>
                        </a:lnTo>
                        <a:lnTo>
                          <a:pt x="509" y="296"/>
                        </a:lnTo>
                        <a:lnTo>
                          <a:pt x="507" y="296"/>
                        </a:lnTo>
                        <a:lnTo>
                          <a:pt x="505" y="294"/>
                        </a:lnTo>
                        <a:lnTo>
                          <a:pt x="504" y="294"/>
                        </a:lnTo>
                        <a:lnTo>
                          <a:pt x="502" y="294"/>
                        </a:lnTo>
                        <a:lnTo>
                          <a:pt x="501" y="294"/>
                        </a:lnTo>
                        <a:lnTo>
                          <a:pt x="499" y="293"/>
                        </a:lnTo>
                        <a:lnTo>
                          <a:pt x="498" y="293"/>
                        </a:lnTo>
                        <a:lnTo>
                          <a:pt x="496" y="293"/>
                        </a:lnTo>
                        <a:lnTo>
                          <a:pt x="494" y="293"/>
                        </a:lnTo>
                        <a:lnTo>
                          <a:pt x="493" y="293"/>
                        </a:lnTo>
                        <a:lnTo>
                          <a:pt x="493" y="294"/>
                        </a:lnTo>
                        <a:lnTo>
                          <a:pt x="491" y="294"/>
                        </a:lnTo>
                        <a:lnTo>
                          <a:pt x="491" y="293"/>
                        </a:lnTo>
                        <a:lnTo>
                          <a:pt x="490" y="294"/>
                        </a:lnTo>
                        <a:lnTo>
                          <a:pt x="488" y="294"/>
                        </a:lnTo>
                        <a:lnTo>
                          <a:pt x="486" y="296"/>
                        </a:lnTo>
                        <a:lnTo>
                          <a:pt x="485" y="297"/>
                        </a:lnTo>
                        <a:lnTo>
                          <a:pt x="483" y="299"/>
                        </a:lnTo>
                        <a:lnTo>
                          <a:pt x="482" y="301"/>
                        </a:lnTo>
                        <a:lnTo>
                          <a:pt x="480" y="301"/>
                        </a:lnTo>
                        <a:lnTo>
                          <a:pt x="480" y="302"/>
                        </a:lnTo>
                        <a:lnTo>
                          <a:pt x="479" y="302"/>
                        </a:lnTo>
                        <a:lnTo>
                          <a:pt x="479" y="304"/>
                        </a:lnTo>
                        <a:lnTo>
                          <a:pt x="480" y="305"/>
                        </a:lnTo>
                        <a:lnTo>
                          <a:pt x="480" y="307"/>
                        </a:lnTo>
                        <a:lnTo>
                          <a:pt x="480" y="308"/>
                        </a:lnTo>
                        <a:lnTo>
                          <a:pt x="482" y="310"/>
                        </a:lnTo>
                        <a:lnTo>
                          <a:pt x="483" y="312"/>
                        </a:lnTo>
                        <a:lnTo>
                          <a:pt x="483" y="313"/>
                        </a:lnTo>
                        <a:lnTo>
                          <a:pt x="483" y="315"/>
                        </a:lnTo>
                        <a:lnTo>
                          <a:pt x="483" y="316"/>
                        </a:lnTo>
                        <a:lnTo>
                          <a:pt x="482" y="318"/>
                        </a:lnTo>
                        <a:lnTo>
                          <a:pt x="482" y="320"/>
                        </a:lnTo>
                        <a:lnTo>
                          <a:pt x="480" y="321"/>
                        </a:lnTo>
                        <a:lnTo>
                          <a:pt x="479" y="323"/>
                        </a:lnTo>
                        <a:lnTo>
                          <a:pt x="479" y="324"/>
                        </a:lnTo>
                        <a:lnTo>
                          <a:pt x="477" y="327"/>
                        </a:lnTo>
                        <a:lnTo>
                          <a:pt x="477" y="329"/>
                        </a:lnTo>
                        <a:lnTo>
                          <a:pt x="477" y="332"/>
                        </a:lnTo>
                        <a:lnTo>
                          <a:pt x="477" y="334"/>
                        </a:lnTo>
                        <a:lnTo>
                          <a:pt x="477" y="337"/>
                        </a:lnTo>
                        <a:lnTo>
                          <a:pt x="477" y="340"/>
                        </a:lnTo>
                        <a:lnTo>
                          <a:pt x="477" y="342"/>
                        </a:lnTo>
                        <a:lnTo>
                          <a:pt x="477" y="345"/>
                        </a:lnTo>
                        <a:lnTo>
                          <a:pt x="475" y="345"/>
                        </a:lnTo>
                        <a:lnTo>
                          <a:pt x="475" y="346"/>
                        </a:lnTo>
                        <a:lnTo>
                          <a:pt x="477" y="348"/>
                        </a:lnTo>
                        <a:lnTo>
                          <a:pt x="477" y="351"/>
                        </a:lnTo>
                        <a:lnTo>
                          <a:pt x="477" y="353"/>
                        </a:lnTo>
                        <a:lnTo>
                          <a:pt x="475" y="354"/>
                        </a:lnTo>
                        <a:lnTo>
                          <a:pt x="474" y="358"/>
                        </a:lnTo>
                        <a:lnTo>
                          <a:pt x="472" y="359"/>
                        </a:lnTo>
                        <a:lnTo>
                          <a:pt x="472" y="361"/>
                        </a:lnTo>
                        <a:lnTo>
                          <a:pt x="471" y="364"/>
                        </a:lnTo>
                        <a:lnTo>
                          <a:pt x="471" y="365"/>
                        </a:lnTo>
                        <a:lnTo>
                          <a:pt x="471" y="367"/>
                        </a:lnTo>
                        <a:lnTo>
                          <a:pt x="471" y="369"/>
                        </a:lnTo>
                        <a:lnTo>
                          <a:pt x="472" y="370"/>
                        </a:lnTo>
                        <a:lnTo>
                          <a:pt x="472" y="372"/>
                        </a:lnTo>
                        <a:lnTo>
                          <a:pt x="472" y="373"/>
                        </a:lnTo>
                        <a:lnTo>
                          <a:pt x="471" y="375"/>
                        </a:lnTo>
                        <a:lnTo>
                          <a:pt x="471" y="377"/>
                        </a:lnTo>
                        <a:lnTo>
                          <a:pt x="469" y="378"/>
                        </a:lnTo>
                        <a:lnTo>
                          <a:pt x="467" y="380"/>
                        </a:lnTo>
                        <a:lnTo>
                          <a:pt x="466" y="381"/>
                        </a:lnTo>
                        <a:lnTo>
                          <a:pt x="467" y="383"/>
                        </a:lnTo>
                        <a:lnTo>
                          <a:pt x="467" y="384"/>
                        </a:lnTo>
                        <a:lnTo>
                          <a:pt x="469" y="386"/>
                        </a:lnTo>
                        <a:lnTo>
                          <a:pt x="469" y="388"/>
                        </a:lnTo>
                        <a:lnTo>
                          <a:pt x="471" y="389"/>
                        </a:lnTo>
                        <a:lnTo>
                          <a:pt x="475" y="389"/>
                        </a:lnTo>
                        <a:lnTo>
                          <a:pt x="479" y="391"/>
                        </a:lnTo>
                        <a:lnTo>
                          <a:pt x="480" y="391"/>
                        </a:lnTo>
                        <a:lnTo>
                          <a:pt x="482" y="391"/>
                        </a:lnTo>
                        <a:lnTo>
                          <a:pt x="483" y="391"/>
                        </a:lnTo>
                        <a:lnTo>
                          <a:pt x="485" y="392"/>
                        </a:lnTo>
                        <a:lnTo>
                          <a:pt x="486" y="396"/>
                        </a:lnTo>
                        <a:lnTo>
                          <a:pt x="488" y="397"/>
                        </a:lnTo>
                        <a:lnTo>
                          <a:pt x="488" y="399"/>
                        </a:lnTo>
                        <a:lnTo>
                          <a:pt x="488" y="400"/>
                        </a:lnTo>
                        <a:lnTo>
                          <a:pt x="488" y="402"/>
                        </a:lnTo>
                        <a:lnTo>
                          <a:pt x="488" y="403"/>
                        </a:lnTo>
                        <a:lnTo>
                          <a:pt x="488" y="405"/>
                        </a:lnTo>
                        <a:lnTo>
                          <a:pt x="488" y="408"/>
                        </a:lnTo>
                        <a:lnTo>
                          <a:pt x="490" y="410"/>
                        </a:lnTo>
                        <a:lnTo>
                          <a:pt x="490" y="411"/>
                        </a:lnTo>
                        <a:lnTo>
                          <a:pt x="490" y="413"/>
                        </a:lnTo>
                        <a:lnTo>
                          <a:pt x="490" y="416"/>
                        </a:lnTo>
                        <a:lnTo>
                          <a:pt x="490" y="418"/>
                        </a:lnTo>
                        <a:lnTo>
                          <a:pt x="491" y="419"/>
                        </a:lnTo>
                        <a:lnTo>
                          <a:pt x="496" y="419"/>
                        </a:lnTo>
                        <a:lnTo>
                          <a:pt x="498" y="421"/>
                        </a:lnTo>
                        <a:lnTo>
                          <a:pt x="501" y="421"/>
                        </a:lnTo>
                        <a:lnTo>
                          <a:pt x="502" y="422"/>
                        </a:lnTo>
                        <a:lnTo>
                          <a:pt x="505" y="424"/>
                        </a:lnTo>
                        <a:lnTo>
                          <a:pt x="507" y="424"/>
                        </a:lnTo>
                        <a:lnTo>
                          <a:pt x="509" y="424"/>
                        </a:lnTo>
                        <a:lnTo>
                          <a:pt x="510" y="424"/>
                        </a:lnTo>
                        <a:lnTo>
                          <a:pt x="512" y="424"/>
                        </a:lnTo>
                        <a:lnTo>
                          <a:pt x="515" y="422"/>
                        </a:lnTo>
                        <a:lnTo>
                          <a:pt x="518" y="421"/>
                        </a:lnTo>
                        <a:lnTo>
                          <a:pt x="523" y="419"/>
                        </a:lnTo>
                        <a:lnTo>
                          <a:pt x="529" y="418"/>
                        </a:lnTo>
                        <a:lnTo>
                          <a:pt x="531" y="418"/>
                        </a:lnTo>
                        <a:lnTo>
                          <a:pt x="534" y="418"/>
                        </a:lnTo>
                        <a:lnTo>
                          <a:pt x="539" y="419"/>
                        </a:lnTo>
                        <a:lnTo>
                          <a:pt x="540" y="419"/>
                        </a:lnTo>
                        <a:lnTo>
                          <a:pt x="543" y="421"/>
                        </a:lnTo>
                        <a:lnTo>
                          <a:pt x="545" y="422"/>
                        </a:lnTo>
                        <a:lnTo>
                          <a:pt x="547" y="426"/>
                        </a:lnTo>
                        <a:lnTo>
                          <a:pt x="550" y="429"/>
                        </a:lnTo>
                        <a:lnTo>
                          <a:pt x="551" y="430"/>
                        </a:lnTo>
                        <a:lnTo>
                          <a:pt x="551" y="432"/>
                        </a:lnTo>
                        <a:lnTo>
                          <a:pt x="553" y="432"/>
                        </a:lnTo>
                        <a:lnTo>
                          <a:pt x="553" y="434"/>
                        </a:lnTo>
                        <a:lnTo>
                          <a:pt x="555" y="435"/>
                        </a:lnTo>
                        <a:lnTo>
                          <a:pt x="556" y="435"/>
                        </a:lnTo>
                        <a:lnTo>
                          <a:pt x="556" y="440"/>
                        </a:lnTo>
                        <a:lnTo>
                          <a:pt x="558" y="445"/>
                        </a:lnTo>
                        <a:lnTo>
                          <a:pt x="558" y="448"/>
                        </a:lnTo>
                        <a:lnTo>
                          <a:pt x="558" y="453"/>
                        </a:lnTo>
                        <a:lnTo>
                          <a:pt x="559" y="457"/>
                        </a:lnTo>
                        <a:lnTo>
                          <a:pt x="561" y="464"/>
                        </a:lnTo>
                        <a:lnTo>
                          <a:pt x="561" y="467"/>
                        </a:lnTo>
                        <a:lnTo>
                          <a:pt x="562" y="472"/>
                        </a:lnTo>
                        <a:lnTo>
                          <a:pt x="562" y="475"/>
                        </a:lnTo>
                        <a:lnTo>
                          <a:pt x="564" y="480"/>
                        </a:lnTo>
                        <a:lnTo>
                          <a:pt x="564" y="483"/>
                        </a:lnTo>
                        <a:lnTo>
                          <a:pt x="566" y="489"/>
                        </a:lnTo>
                        <a:lnTo>
                          <a:pt x="566" y="492"/>
                        </a:lnTo>
                        <a:lnTo>
                          <a:pt x="567" y="500"/>
                        </a:lnTo>
                        <a:lnTo>
                          <a:pt x="569" y="500"/>
                        </a:lnTo>
                        <a:lnTo>
                          <a:pt x="574" y="499"/>
                        </a:lnTo>
                        <a:lnTo>
                          <a:pt x="578" y="497"/>
                        </a:lnTo>
                        <a:lnTo>
                          <a:pt x="583" y="495"/>
                        </a:lnTo>
                        <a:lnTo>
                          <a:pt x="585" y="492"/>
                        </a:lnTo>
                        <a:lnTo>
                          <a:pt x="586" y="489"/>
                        </a:lnTo>
                        <a:lnTo>
                          <a:pt x="586" y="486"/>
                        </a:lnTo>
                        <a:lnTo>
                          <a:pt x="585" y="483"/>
                        </a:lnTo>
                        <a:lnTo>
                          <a:pt x="585" y="478"/>
                        </a:lnTo>
                        <a:lnTo>
                          <a:pt x="585" y="476"/>
                        </a:lnTo>
                        <a:lnTo>
                          <a:pt x="586" y="473"/>
                        </a:lnTo>
                        <a:lnTo>
                          <a:pt x="588" y="472"/>
                        </a:lnTo>
                        <a:lnTo>
                          <a:pt x="589" y="468"/>
                        </a:lnTo>
                        <a:lnTo>
                          <a:pt x="594" y="465"/>
                        </a:lnTo>
                        <a:lnTo>
                          <a:pt x="596" y="465"/>
                        </a:lnTo>
                        <a:lnTo>
                          <a:pt x="597" y="467"/>
                        </a:lnTo>
                        <a:lnTo>
                          <a:pt x="599" y="468"/>
                        </a:lnTo>
                        <a:lnTo>
                          <a:pt x="601" y="470"/>
                        </a:lnTo>
                        <a:lnTo>
                          <a:pt x="602" y="472"/>
                        </a:lnTo>
                        <a:lnTo>
                          <a:pt x="605" y="473"/>
                        </a:lnTo>
                        <a:lnTo>
                          <a:pt x="610" y="473"/>
                        </a:lnTo>
                        <a:lnTo>
                          <a:pt x="615" y="475"/>
                        </a:lnTo>
                        <a:lnTo>
                          <a:pt x="620" y="475"/>
                        </a:lnTo>
                        <a:lnTo>
                          <a:pt x="623" y="476"/>
                        </a:lnTo>
                        <a:lnTo>
                          <a:pt x="624" y="476"/>
                        </a:lnTo>
                        <a:lnTo>
                          <a:pt x="627" y="476"/>
                        </a:lnTo>
                        <a:lnTo>
                          <a:pt x="629" y="478"/>
                        </a:lnTo>
                        <a:lnTo>
                          <a:pt x="631" y="478"/>
                        </a:lnTo>
                        <a:lnTo>
                          <a:pt x="632" y="476"/>
                        </a:lnTo>
                        <a:lnTo>
                          <a:pt x="634" y="476"/>
                        </a:lnTo>
                        <a:lnTo>
                          <a:pt x="635" y="476"/>
                        </a:lnTo>
                        <a:lnTo>
                          <a:pt x="637" y="475"/>
                        </a:lnTo>
                        <a:lnTo>
                          <a:pt x="639" y="475"/>
                        </a:lnTo>
                        <a:lnTo>
                          <a:pt x="640" y="475"/>
                        </a:lnTo>
                        <a:lnTo>
                          <a:pt x="642" y="473"/>
                        </a:lnTo>
                        <a:lnTo>
                          <a:pt x="643" y="473"/>
                        </a:lnTo>
                        <a:lnTo>
                          <a:pt x="646" y="472"/>
                        </a:lnTo>
                        <a:lnTo>
                          <a:pt x="650" y="472"/>
                        </a:lnTo>
                        <a:lnTo>
                          <a:pt x="651" y="472"/>
                        </a:lnTo>
                        <a:lnTo>
                          <a:pt x="651" y="473"/>
                        </a:lnTo>
                        <a:lnTo>
                          <a:pt x="653" y="473"/>
                        </a:lnTo>
                        <a:lnTo>
                          <a:pt x="653" y="475"/>
                        </a:lnTo>
                        <a:lnTo>
                          <a:pt x="656" y="475"/>
                        </a:lnTo>
                        <a:lnTo>
                          <a:pt x="656" y="476"/>
                        </a:lnTo>
                        <a:lnTo>
                          <a:pt x="656" y="475"/>
                        </a:lnTo>
                        <a:lnTo>
                          <a:pt x="658" y="473"/>
                        </a:lnTo>
                        <a:lnTo>
                          <a:pt x="659" y="473"/>
                        </a:lnTo>
                        <a:lnTo>
                          <a:pt x="662" y="473"/>
                        </a:lnTo>
                        <a:lnTo>
                          <a:pt x="662" y="475"/>
                        </a:lnTo>
                        <a:lnTo>
                          <a:pt x="664" y="475"/>
                        </a:lnTo>
                        <a:lnTo>
                          <a:pt x="665" y="475"/>
                        </a:lnTo>
                        <a:lnTo>
                          <a:pt x="667" y="476"/>
                        </a:lnTo>
                        <a:lnTo>
                          <a:pt x="667" y="478"/>
                        </a:lnTo>
                        <a:lnTo>
                          <a:pt x="669" y="478"/>
                        </a:lnTo>
                        <a:lnTo>
                          <a:pt x="667" y="478"/>
                        </a:lnTo>
                        <a:lnTo>
                          <a:pt x="667" y="480"/>
                        </a:lnTo>
                        <a:lnTo>
                          <a:pt x="669" y="481"/>
                        </a:lnTo>
                        <a:lnTo>
                          <a:pt x="672" y="484"/>
                        </a:lnTo>
                        <a:lnTo>
                          <a:pt x="673" y="487"/>
                        </a:lnTo>
                        <a:lnTo>
                          <a:pt x="675" y="487"/>
                        </a:lnTo>
                        <a:lnTo>
                          <a:pt x="675" y="489"/>
                        </a:lnTo>
                        <a:lnTo>
                          <a:pt x="677" y="489"/>
                        </a:lnTo>
                        <a:lnTo>
                          <a:pt x="678" y="489"/>
                        </a:lnTo>
                        <a:lnTo>
                          <a:pt x="683" y="489"/>
                        </a:lnTo>
                        <a:lnTo>
                          <a:pt x="689" y="489"/>
                        </a:lnTo>
                        <a:lnTo>
                          <a:pt x="696" y="489"/>
                        </a:lnTo>
                        <a:lnTo>
                          <a:pt x="702" y="489"/>
                        </a:lnTo>
                        <a:lnTo>
                          <a:pt x="708" y="489"/>
                        </a:lnTo>
                        <a:lnTo>
                          <a:pt x="718" y="489"/>
                        </a:lnTo>
                        <a:lnTo>
                          <a:pt x="722" y="489"/>
                        </a:lnTo>
                        <a:lnTo>
                          <a:pt x="724" y="489"/>
                        </a:lnTo>
                        <a:lnTo>
                          <a:pt x="727" y="489"/>
                        </a:lnTo>
                        <a:lnTo>
                          <a:pt x="727" y="491"/>
                        </a:lnTo>
                        <a:lnTo>
                          <a:pt x="730" y="492"/>
                        </a:lnTo>
                        <a:lnTo>
                          <a:pt x="732" y="494"/>
                        </a:lnTo>
                        <a:lnTo>
                          <a:pt x="735" y="495"/>
                        </a:lnTo>
                        <a:lnTo>
                          <a:pt x="741" y="502"/>
                        </a:lnTo>
                        <a:lnTo>
                          <a:pt x="746" y="505"/>
                        </a:lnTo>
                        <a:lnTo>
                          <a:pt x="751" y="508"/>
                        </a:lnTo>
                        <a:lnTo>
                          <a:pt x="757" y="511"/>
                        </a:lnTo>
                        <a:lnTo>
                          <a:pt x="764" y="514"/>
                        </a:lnTo>
                        <a:lnTo>
                          <a:pt x="770" y="518"/>
                        </a:lnTo>
                        <a:lnTo>
                          <a:pt x="775" y="521"/>
                        </a:lnTo>
                        <a:lnTo>
                          <a:pt x="780" y="524"/>
                        </a:lnTo>
                        <a:lnTo>
                          <a:pt x="784" y="527"/>
                        </a:lnTo>
                        <a:lnTo>
                          <a:pt x="791" y="530"/>
                        </a:lnTo>
                        <a:lnTo>
                          <a:pt x="797" y="533"/>
                        </a:lnTo>
                        <a:lnTo>
                          <a:pt x="805" y="537"/>
                        </a:lnTo>
                        <a:lnTo>
                          <a:pt x="811" y="540"/>
                        </a:lnTo>
                        <a:lnTo>
                          <a:pt x="814" y="541"/>
                        </a:lnTo>
                        <a:lnTo>
                          <a:pt x="818" y="543"/>
                        </a:lnTo>
                        <a:lnTo>
                          <a:pt x="822" y="544"/>
                        </a:lnTo>
                        <a:lnTo>
                          <a:pt x="825" y="544"/>
                        </a:lnTo>
                        <a:lnTo>
                          <a:pt x="827" y="544"/>
                        </a:lnTo>
                        <a:lnTo>
                          <a:pt x="829" y="544"/>
                        </a:lnTo>
                        <a:lnTo>
                          <a:pt x="830" y="544"/>
                        </a:lnTo>
                        <a:lnTo>
                          <a:pt x="832" y="544"/>
                        </a:lnTo>
                        <a:lnTo>
                          <a:pt x="833" y="544"/>
                        </a:lnTo>
                        <a:lnTo>
                          <a:pt x="837" y="544"/>
                        </a:lnTo>
                        <a:lnTo>
                          <a:pt x="838" y="544"/>
                        </a:lnTo>
                        <a:lnTo>
                          <a:pt x="840" y="543"/>
                        </a:lnTo>
                        <a:lnTo>
                          <a:pt x="844" y="543"/>
                        </a:lnTo>
                        <a:lnTo>
                          <a:pt x="848" y="543"/>
                        </a:lnTo>
                        <a:lnTo>
                          <a:pt x="849" y="543"/>
                        </a:lnTo>
                        <a:lnTo>
                          <a:pt x="851" y="543"/>
                        </a:lnTo>
                        <a:lnTo>
                          <a:pt x="852" y="541"/>
                        </a:lnTo>
                        <a:lnTo>
                          <a:pt x="854" y="541"/>
                        </a:lnTo>
                        <a:lnTo>
                          <a:pt x="856" y="541"/>
                        </a:lnTo>
                        <a:lnTo>
                          <a:pt x="857" y="541"/>
                        </a:lnTo>
                        <a:lnTo>
                          <a:pt x="857" y="540"/>
                        </a:lnTo>
                        <a:lnTo>
                          <a:pt x="859" y="540"/>
                        </a:lnTo>
                        <a:lnTo>
                          <a:pt x="860" y="540"/>
                        </a:lnTo>
                        <a:lnTo>
                          <a:pt x="862" y="540"/>
                        </a:lnTo>
                        <a:lnTo>
                          <a:pt x="863" y="538"/>
                        </a:lnTo>
                        <a:lnTo>
                          <a:pt x="865" y="537"/>
                        </a:lnTo>
                        <a:lnTo>
                          <a:pt x="865" y="535"/>
                        </a:lnTo>
                        <a:lnTo>
                          <a:pt x="867" y="535"/>
                        </a:lnTo>
                        <a:lnTo>
                          <a:pt x="868" y="533"/>
                        </a:lnTo>
                        <a:lnTo>
                          <a:pt x="870" y="535"/>
                        </a:lnTo>
                        <a:lnTo>
                          <a:pt x="871" y="537"/>
                        </a:lnTo>
                        <a:lnTo>
                          <a:pt x="871" y="538"/>
                        </a:lnTo>
                        <a:lnTo>
                          <a:pt x="873" y="543"/>
                        </a:lnTo>
                        <a:lnTo>
                          <a:pt x="873" y="546"/>
                        </a:lnTo>
                        <a:lnTo>
                          <a:pt x="873" y="549"/>
                        </a:lnTo>
                        <a:lnTo>
                          <a:pt x="875" y="551"/>
                        </a:lnTo>
                        <a:lnTo>
                          <a:pt x="875" y="552"/>
                        </a:lnTo>
                        <a:lnTo>
                          <a:pt x="875" y="554"/>
                        </a:lnTo>
                        <a:lnTo>
                          <a:pt x="873" y="557"/>
                        </a:lnTo>
                        <a:lnTo>
                          <a:pt x="873" y="559"/>
                        </a:lnTo>
                        <a:lnTo>
                          <a:pt x="873" y="560"/>
                        </a:lnTo>
                        <a:lnTo>
                          <a:pt x="873" y="562"/>
                        </a:lnTo>
                        <a:lnTo>
                          <a:pt x="875" y="565"/>
                        </a:lnTo>
                        <a:lnTo>
                          <a:pt x="875" y="567"/>
                        </a:lnTo>
                        <a:lnTo>
                          <a:pt x="875" y="568"/>
                        </a:lnTo>
                        <a:lnTo>
                          <a:pt x="875" y="570"/>
                        </a:lnTo>
                        <a:lnTo>
                          <a:pt x="875" y="571"/>
                        </a:lnTo>
                        <a:lnTo>
                          <a:pt x="875" y="573"/>
                        </a:lnTo>
                        <a:lnTo>
                          <a:pt x="873" y="576"/>
                        </a:lnTo>
                        <a:lnTo>
                          <a:pt x="873" y="579"/>
                        </a:lnTo>
                        <a:lnTo>
                          <a:pt x="873" y="581"/>
                        </a:lnTo>
                        <a:lnTo>
                          <a:pt x="875" y="582"/>
                        </a:lnTo>
                        <a:lnTo>
                          <a:pt x="875" y="586"/>
                        </a:lnTo>
                        <a:lnTo>
                          <a:pt x="875" y="587"/>
                        </a:lnTo>
                        <a:lnTo>
                          <a:pt x="876" y="590"/>
                        </a:lnTo>
                        <a:lnTo>
                          <a:pt x="876" y="595"/>
                        </a:lnTo>
                        <a:lnTo>
                          <a:pt x="878" y="601"/>
                        </a:lnTo>
                        <a:lnTo>
                          <a:pt x="879" y="605"/>
                        </a:lnTo>
                        <a:lnTo>
                          <a:pt x="879" y="609"/>
                        </a:lnTo>
                        <a:lnTo>
                          <a:pt x="881" y="613"/>
                        </a:lnTo>
                        <a:lnTo>
                          <a:pt x="881" y="616"/>
                        </a:lnTo>
                        <a:lnTo>
                          <a:pt x="882" y="620"/>
                        </a:lnTo>
                        <a:lnTo>
                          <a:pt x="882" y="625"/>
                        </a:lnTo>
                        <a:lnTo>
                          <a:pt x="884" y="630"/>
                        </a:lnTo>
                        <a:lnTo>
                          <a:pt x="884" y="632"/>
                        </a:lnTo>
                        <a:lnTo>
                          <a:pt x="884" y="635"/>
                        </a:lnTo>
                        <a:lnTo>
                          <a:pt x="884" y="636"/>
                        </a:lnTo>
                        <a:lnTo>
                          <a:pt x="884" y="640"/>
                        </a:lnTo>
                        <a:lnTo>
                          <a:pt x="884" y="643"/>
                        </a:lnTo>
                        <a:lnTo>
                          <a:pt x="884" y="644"/>
                        </a:lnTo>
                        <a:lnTo>
                          <a:pt x="884" y="646"/>
                        </a:lnTo>
                        <a:lnTo>
                          <a:pt x="884" y="649"/>
                        </a:lnTo>
                        <a:lnTo>
                          <a:pt x="884" y="651"/>
                        </a:lnTo>
                        <a:lnTo>
                          <a:pt x="884" y="652"/>
                        </a:lnTo>
                        <a:lnTo>
                          <a:pt x="886" y="654"/>
                        </a:lnTo>
                        <a:lnTo>
                          <a:pt x="886" y="655"/>
                        </a:lnTo>
                        <a:lnTo>
                          <a:pt x="887" y="657"/>
                        </a:lnTo>
                        <a:lnTo>
                          <a:pt x="887" y="659"/>
                        </a:lnTo>
                        <a:lnTo>
                          <a:pt x="889" y="662"/>
                        </a:lnTo>
                        <a:lnTo>
                          <a:pt x="890" y="663"/>
                        </a:lnTo>
                        <a:lnTo>
                          <a:pt x="892" y="666"/>
                        </a:lnTo>
                        <a:lnTo>
                          <a:pt x="894" y="668"/>
                        </a:lnTo>
                        <a:lnTo>
                          <a:pt x="895" y="670"/>
                        </a:lnTo>
                        <a:lnTo>
                          <a:pt x="897" y="674"/>
                        </a:lnTo>
                        <a:lnTo>
                          <a:pt x="900" y="684"/>
                        </a:lnTo>
                        <a:lnTo>
                          <a:pt x="901" y="689"/>
                        </a:lnTo>
                        <a:lnTo>
                          <a:pt x="905" y="695"/>
                        </a:lnTo>
                        <a:lnTo>
                          <a:pt x="908" y="704"/>
                        </a:lnTo>
                        <a:lnTo>
                          <a:pt x="911" y="712"/>
                        </a:lnTo>
                        <a:lnTo>
                          <a:pt x="914" y="720"/>
                        </a:lnTo>
                        <a:lnTo>
                          <a:pt x="916" y="725"/>
                        </a:lnTo>
                        <a:lnTo>
                          <a:pt x="916" y="728"/>
                        </a:lnTo>
                        <a:lnTo>
                          <a:pt x="917" y="731"/>
                        </a:lnTo>
                        <a:lnTo>
                          <a:pt x="917" y="733"/>
                        </a:lnTo>
                        <a:lnTo>
                          <a:pt x="919" y="735"/>
                        </a:lnTo>
                        <a:lnTo>
                          <a:pt x="919" y="736"/>
                        </a:lnTo>
                        <a:lnTo>
                          <a:pt x="917" y="738"/>
                        </a:lnTo>
                        <a:lnTo>
                          <a:pt x="916" y="739"/>
                        </a:lnTo>
                        <a:lnTo>
                          <a:pt x="914" y="739"/>
                        </a:lnTo>
                        <a:lnTo>
                          <a:pt x="911" y="741"/>
                        </a:lnTo>
                        <a:lnTo>
                          <a:pt x="909" y="741"/>
                        </a:lnTo>
                        <a:lnTo>
                          <a:pt x="908" y="741"/>
                        </a:lnTo>
                        <a:lnTo>
                          <a:pt x="906" y="741"/>
                        </a:lnTo>
                        <a:lnTo>
                          <a:pt x="905" y="741"/>
                        </a:lnTo>
                        <a:lnTo>
                          <a:pt x="903" y="741"/>
                        </a:lnTo>
                        <a:lnTo>
                          <a:pt x="901" y="742"/>
                        </a:lnTo>
                        <a:lnTo>
                          <a:pt x="900" y="742"/>
                        </a:lnTo>
                        <a:lnTo>
                          <a:pt x="898" y="742"/>
                        </a:lnTo>
                        <a:lnTo>
                          <a:pt x="898" y="744"/>
                        </a:lnTo>
                        <a:lnTo>
                          <a:pt x="897" y="744"/>
                        </a:lnTo>
                        <a:lnTo>
                          <a:pt x="895" y="744"/>
                        </a:lnTo>
                        <a:lnTo>
                          <a:pt x="894" y="746"/>
                        </a:lnTo>
                        <a:lnTo>
                          <a:pt x="894" y="747"/>
                        </a:lnTo>
                        <a:lnTo>
                          <a:pt x="894" y="749"/>
                        </a:lnTo>
                        <a:lnTo>
                          <a:pt x="892" y="749"/>
                        </a:lnTo>
                        <a:lnTo>
                          <a:pt x="890" y="749"/>
                        </a:lnTo>
                        <a:lnTo>
                          <a:pt x="889" y="749"/>
                        </a:lnTo>
                        <a:lnTo>
                          <a:pt x="887" y="750"/>
                        </a:lnTo>
                        <a:lnTo>
                          <a:pt x="886" y="752"/>
                        </a:lnTo>
                        <a:lnTo>
                          <a:pt x="887" y="754"/>
                        </a:lnTo>
                        <a:lnTo>
                          <a:pt x="889" y="754"/>
                        </a:lnTo>
                        <a:lnTo>
                          <a:pt x="889" y="755"/>
                        </a:lnTo>
                        <a:lnTo>
                          <a:pt x="890" y="755"/>
                        </a:lnTo>
                        <a:lnTo>
                          <a:pt x="890" y="757"/>
                        </a:lnTo>
                        <a:lnTo>
                          <a:pt x="890" y="758"/>
                        </a:lnTo>
                        <a:lnTo>
                          <a:pt x="892" y="760"/>
                        </a:lnTo>
                        <a:lnTo>
                          <a:pt x="890" y="761"/>
                        </a:lnTo>
                        <a:lnTo>
                          <a:pt x="890" y="763"/>
                        </a:lnTo>
                        <a:lnTo>
                          <a:pt x="892" y="765"/>
                        </a:lnTo>
                        <a:lnTo>
                          <a:pt x="894" y="766"/>
                        </a:lnTo>
                        <a:lnTo>
                          <a:pt x="894" y="768"/>
                        </a:lnTo>
                        <a:lnTo>
                          <a:pt x="895" y="769"/>
                        </a:lnTo>
                        <a:lnTo>
                          <a:pt x="895" y="771"/>
                        </a:lnTo>
                        <a:lnTo>
                          <a:pt x="894" y="773"/>
                        </a:lnTo>
                        <a:lnTo>
                          <a:pt x="894" y="774"/>
                        </a:lnTo>
                        <a:lnTo>
                          <a:pt x="895" y="777"/>
                        </a:lnTo>
                        <a:lnTo>
                          <a:pt x="895" y="779"/>
                        </a:lnTo>
                        <a:lnTo>
                          <a:pt x="894" y="780"/>
                        </a:lnTo>
                        <a:lnTo>
                          <a:pt x="894" y="782"/>
                        </a:lnTo>
                        <a:lnTo>
                          <a:pt x="894" y="784"/>
                        </a:lnTo>
                        <a:lnTo>
                          <a:pt x="894" y="785"/>
                        </a:lnTo>
                        <a:lnTo>
                          <a:pt x="894" y="787"/>
                        </a:lnTo>
                        <a:lnTo>
                          <a:pt x="895" y="788"/>
                        </a:lnTo>
                        <a:lnTo>
                          <a:pt x="897" y="790"/>
                        </a:lnTo>
                        <a:lnTo>
                          <a:pt x="898" y="790"/>
                        </a:lnTo>
                        <a:lnTo>
                          <a:pt x="898" y="792"/>
                        </a:lnTo>
                        <a:lnTo>
                          <a:pt x="898" y="793"/>
                        </a:lnTo>
                        <a:lnTo>
                          <a:pt x="900" y="793"/>
                        </a:lnTo>
                        <a:lnTo>
                          <a:pt x="900" y="795"/>
                        </a:lnTo>
                        <a:lnTo>
                          <a:pt x="900" y="796"/>
                        </a:lnTo>
                        <a:lnTo>
                          <a:pt x="900" y="798"/>
                        </a:lnTo>
                        <a:lnTo>
                          <a:pt x="900" y="801"/>
                        </a:lnTo>
                        <a:lnTo>
                          <a:pt x="901" y="801"/>
                        </a:lnTo>
                        <a:lnTo>
                          <a:pt x="901" y="803"/>
                        </a:lnTo>
                        <a:lnTo>
                          <a:pt x="903" y="803"/>
                        </a:lnTo>
                        <a:lnTo>
                          <a:pt x="905" y="803"/>
                        </a:lnTo>
                        <a:lnTo>
                          <a:pt x="906" y="803"/>
                        </a:lnTo>
                        <a:lnTo>
                          <a:pt x="906" y="804"/>
                        </a:lnTo>
                        <a:lnTo>
                          <a:pt x="906" y="806"/>
                        </a:lnTo>
                        <a:lnTo>
                          <a:pt x="908" y="806"/>
                        </a:lnTo>
                        <a:lnTo>
                          <a:pt x="908" y="807"/>
                        </a:lnTo>
                        <a:lnTo>
                          <a:pt x="908" y="809"/>
                        </a:lnTo>
                        <a:lnTo>
                          <a:pt x="908" y="811"/>
                        </a:lnTo>
                        <a:lnTo>
                          <a:pt x="906" y="812"/>
                        </a:lnTo>
                        <a:lnTo>
                          <a:pt x="906" y="814"/>
                        </a:lnTo>
                        <a:lnTo>
                          <a:pt x="905" y="814"/>
                        </a:lnTo>
                        <a:lnTo>
                          <a:pt x="905" y="815"/>
                        </a:lnTo>
                        <a:lnTo>
                          <a:pt x="903" y="817"/>
                        </a:lnTo>
                        <a:lnTo>
                          <a:pt x="903" y="818"/>
                        </a:lnTo>
                        <a:lnTo>
                          <a:pt x="903" y="820"/>
                        </a:lnTo>
                        <a:lnTo>
                          <a:pt x="905" y="822"/>
                        </a:lnTo>
                        <a:lnTo>
                          <a:pt x="906" y="823"/>
                        </a:lnTo>
                        <a:lnTo>
                          <a:pt x="908" y="825"/>
                        </a:lnTo>
                        <a:lnTo>
                          <a:pt x="908" y="826"/>
                        </a:lnTo>
                        <a:lnTo>
                          <a:pt x="909" y="826"/>
                        </a:lnTo>
                        <a:lnTo>
                          <a:pt x="909" y="828"/>
                        </a:lnTo>
                        <a:lnTo>
                          <a:pt x="909" y="830"/>
                        </a:lnTo>
                        <a:lnTo>
                          <a:pt x="908" y="831"/>
                        </a:lnTo>
                        <a:lnTo>
                          <a:pt x="906" y="831"/>
                        </a:lnTo>
                        <a:lnTo>
                          <a:pt x="903" y="831"/>
                        </a:lnTo>
                        <a:lnTo>
                          <a:pt x="901" y="834"/>
                        </a:lnTo>
                        <a:lnTo>
                          <a:pt x="901" y="836"/>
                        </a:lnTo>
                        <a:lnTo>
                          <a:pt x="901" y="838"/>
                        </a:lnTo>
                        <a:lnTo>
                          <a:pt x="901" y="839"/>
                        </a:lnTo>
                        <a:lnTo>
                          <a:pt x="900" y="842"/>
                        </a:lnTo>
                        <a:lnTo>
                          <a:pt x="894" y="852"/>
                        </a:lnTo>
                        <a:lnTo>
                          <a:pt x="890" y="857"/>
                        </a:lnTo>
                        <a:lnTo>
                          <a:pt x="886" y="864"/>
                        </a:lnTo>
                        <a:lnTo>
                          <a:pt x="881" y="872"/>
                        </a:lnTo>
                        <a:lnTo>
                          <a:pt x="879" y="876"/>
                        </a:lnTo>
                        <a:lnTo>
                          <a:pt x="878" y="879"/>
                        </a:lnTo>
                        <a:lnTo>
                          <a:pt x="878" y="880"/>
                        </a:lnTo>
                        <a:lnTo>
                          <a:pt x="878" y="883"/>
                        </a:lnTo>
                        <a:lnTo>
                          <a:pt x="878" y="887"/>
                        </a:lnTo>
                        <a:lnTo>
                          <a:pt x="878" y="890"/>
                        </a:lnTo>
                        <a:lnTo>
                          <a:pt x="878" y="895"/>
                        </a:lnTo>
                        <a:lnTo>
                          <a:pt x="878" y="896"/>
                        </a:lnTo>
                        <a:lnTo>
                          <a:pt x="879" y="898"/>
                        </a:lnTo>
                        <a:lnTo>
                          <a:pt x="879" y="902"/>
                        </a:lnTo>
                        <a:lnTo>
                          <a:pt x="879" y="904"/>
                        </a:lnTo>
                        <a:lnTo>
                          <a:pt x="879" y="906"/>
                        </a:lnTo>
                        <a:lnTo>
                          <a:pt x="881" y="910"/>
                        </a:lnTo>
                        <a:lnTo>
                          <a:pt x="881" y="914"/>
                        </a:lnTo>
                        <a:lnTo>
                          <a:pt x="881" y="915"/>
                        </a:lnTo>
                        <a:lnTo>
                          <a:pt x="879" y="917"/>
                        </a:lnTo>
                        <a:lnTo>
                          <a:pt x="878" y="917"/>
                        </a:lnTo>
                        <a:lnTo>
                          <a:pt x="876" y="918"/>
                        </a:lnTo>
                        <a:lnTo>
                          <a:pt x="875" y="918"/>
                        </a:lnTo>
                        <a:lnTo>
                          <a:pt x="871" y="918"/>
                        </a:lnTo>
                        <a:lnTo>
                          <a:pt x="870" y="918"/>
                        </a:lnTo>
                        <a:lnTo>
                          <a:pt x="868" y="917"/>
                        </a:lnTo>
                        <a:lnTo>
                          <a:pt x="867" y="915"/>
                        </a:lnTo>
                        <a:lnTo>
                          <a:pt x="865" y="914"/>
                        </a:lnTo>
                        <a:lnTo>
                          <a:pt x="863" y="910"/>
                        </a:lnTo>
                        <a:lnTo>
                          <a:pt x="862" y="907"/>
                        </a:lnTo>
                        <a:lnTo>
                          <a:pt x="860" y="906"/>
                        </a:lnTo>
                        <a:lnTo>
                          <a:pt x="859" y="904"/>
                        </a:lnTo>
                        <a:lnTo>
                          <a:pt x="859" y="902"/>
                        </a:lnTo>
                        <a:lnTo>
                          <a:pt x="859" y="899"/>
                        </a:lnTo>
                        <a:lnTo>
                          <a:pt x="857" y="898"/>
                        </a:lnTo>
                        <a:lnTo>
                          <a:pt x="854" y="898"/>
                        </a:lnTo>
                        <a:lnTo>
                          <a:pt x="854" y="899"/>
                        </a:lnTo>
                        <a:lnTo>
                          <a:pt x="852" y="899"/>
                        </a:lnTo>
                        <a:lnTo>
                          <a:pt x="851" y="899"/>
                        </a:lnTo>
                        <a:lnTo>
                          <a:pt x="849" y="898"/>
                        </a:lnTo>
                        <a:lnTo>
                          <a:pt x="849" y="896"/>
                        </a:lnTo>
                        <a:lnTo>
                          <a:pt x="848" y="895"/>
                        </a:lnTo>
                        <a:lnTo>
                          <a:pt x="846" y="893"/>
                        </a:lnTo>
                        <a:lnTo>
                          <a:pt x="844" y="893"/>
                        </a:lnTo>
                        <a:lnTo>
                          <a:pt x="843" y="893"/>
                        </a:lnTo>
                        <a:lnTo>
                          <a:pt x="841" y="895"/>
                        </a:lnTo>
                        <a:lnTo>
                          <a:pt x="840" y="895"/>
                        </a:lnTo>
                        <a:lnTo>
                          <a:pt x="838" y="895"/>
                        </a:lnTo>
                        <a:lnTo>
                          <a:pt x="837" y="895"/>
                        </a:lnTo>
                        <a:lnTo>
                          <a:pt x="835" y="898"/>
                        </a:lnTo>
                        <a:lnTo>
                          <a:pt x="833" y="899"/>
                        </a:lnTo>
                        <a:lnTo>
                          <a:pt x="833" y="901"/>
                        </a:lnTo>
                        <a:lnTo>
                          <a:pt x="835" y="902"/>
                        </a:lnTo>
                        <a:lnTo>
                          <a:pt x="833" y="906"/>
                        </a:lnTo>
                        <a:lnTo>
                          <a:pt x="832" y="909"/>
                        </a:lnTo>
                        <a:lnTo>
                          <a:pt x="830" y="914"/>
                        </a:lnTo>
                        <a:lnTo>
                          <a:pt x="827" y="921"/>
                        </a:lnTo>
                        <a:lnTo>
                          <a:pt x="825" y="926"/>
                        </a:lnTo>
                        <a:lnTo>
                          <a:pt x="825" y="931"/>
                        </a:lnTo>
                        <a:lnTo>
                          <a:pt x="824" y="933"/>
                        </a:lnTo>
                        <a:lnTo>
                          <a:pt x="822" y="934"/>
                        </a:lnTo>
                        <a:lnTo>
                          <a:pt x="821" y="937"/>
                        </a:lnTo>
                        <a:lnTo>
                          <a:pt x="821" y="939"/>
                        </a:lnTo>
                        <a:lnTo>
                          <a:pt x="819" y="940"/>
                        </a:lnTo>
                        <a:lnTo>
                          <a:pt x="818" y="947"/>
                        </a:lnTo>
                        <a:lnTo>
                          <a:pt x="816" y="947"/>
                        </a:lnTo>
                        <a:lnTo>
                          <a:pt x="806" y="944"/>
                        </a:lnTo>
                        <a:lnTo>
                          <a:pt x="792" y="942"/>
                        </a:lnTo>
                        <a:lnTo>
                          <a:pt x="789" y="940"/>
                        </a:lnTo>
                        <a:lnTo>
                          <a:pt x="776" y="939"/>
                        </a:lnTo>
                        <a:lnTo>
                          <a:pt x="775" y="937"/>
                        </a:lnTo>
                        <a:lnTo>
                          <a:pt x="745" y="931"/>
                        </a:lnTo>
                        <a:lnTo>
                          <a:pt x="740" y="931"/>
                        </a:lnTo>
                        <a:lnTo>
                          <a:pt x="732" y="929"/>
                        </a:lnTo>
                        <a:lnTo>
                          <a:pt x="719" y="926"/>
                        </a:lnTo>
                        <a:lnTo>
                          <a:pt x="718" y="926"/>
                        </a:lnTo>
                        <a:lnTo>
                          <a:pt x="716" y="926"/>
                        </a:lnTo>
                        <a:lnTo>
                          <a:pt x="708" y="925"/>
                        </a:lnTo>
                        <a:lnTo>
                          <a:pt x="703" y="923"/>
                        </a:lnTo>
                        <a:lnTo>
                          <a:pt x="702" y="923"/>
                        </a:lnTo>
                        <a:lnTo>
                          <a:pt x="700" y="923"/>
                        </a:lnTo>
                        <a:lnTo>
                          <a:pt x="673" y="918"/>
                        </a:lnTo>
                        <a:lnTo>
                          <a:pt x="637" y="910"/>
                        </a:lnTo>
                        <a:lnTo>
                          <a:pt x="635" y="910"/>
                        </a:lnTo>
                        <a:lnTo>
                          <a:pt x="627" y="909"/>
                        </a:lnTo>
                        <a:lnTo>
                          <a:pt x="616" y="906"/>
                        </a:lnTo>
                        <a:lnTo>
                          <a:pt x="613" y="906"/>
                        </a:lnTo>
                        <a:lnTo>
                          <a:pt x="608" y="906"/>
                        </a:lnTo>
                        <a:lnTo>
                          <a:pt x="607" y="904"/>
                        </a:lnTo>
                        <a:lnTo>
                          <a:pt x="593" y="901"/>
                        </a:lnTo>
                        <a:lnTo>
                          <a:pt x="588" y="901"/>
                        </a:lnTo>
                        <a:lnTo>
                          <a:pt x="583" y="899"/>
                        </a:lnTo>
                        <a:lnTo>
                          <a:pt x="578" y="899"/>
                        </a:lnTo>
                        <a:lnTo>
                          <a:pt x="577" y="899"/>
                        </a:lnTo>
                        <a:lnTo>
                          <a:pt x="556" y="895"/>
                        </a:lnTo>
                        <a:lnTo>
                          <a:pt x="555" y="893"/>
                        </a:lnTo>
                        <a:lnTo>
                          <a:pt x="545" y="891"/>
                        </a:lnTo>
                        <a:lnTo>
                          <a:pt x="539" y="891"/>
                        </a:lnTo>
                        <a:lnTo>
                          <a:pt x="534" y="890"/>
                        </a:lnTo>
                        <a:lnTo>
                          <a:pt x="528" y="888"/>
                        </a:lnTo>
                        <a:lnTo>
                          <a:pt x="521" y="888"/>
                        </a:lnTo>
                        <a:lnTo>
                          <a:pt x="513" y="885"/>
                        </a:lnTo>
                        <a:lnTo>
                          <a:pt x="512" y="885"/>
                        </a:lnTo>
                        <a:lnTo>
                          <a:pt x="498" y="883"/>
                        </a:lnTo>
                        <a:lnTo>
                          <a:pt x="494" y="882"/>
                        </a:lnTo>
                        <a:lnTo>
                          <a:pt x="493" y="882"/>
                        </a:lnTo>
                        <a:lnTo>
                          <a:pt x="490" y="880"/>
                        </a:lnTo>
                        <a:lnTo>
                          <a:pt x="488" y="880"/>
                        </a:lnTo>
                        <a:lnTo>
                          <a:pt x="486" y="880"/>
                        </a:lnTo>
                        <a:lnTo>
                          <a:pt x="475" y="879"/>
                        </a:lnTo>
                        <a:lnTo>
                          <a:pt x="471" y="877"/>
                        </a:lnTo>
                        <a:lnTo>
                          <a:pt x="469" y="876"/>
                        </a:lnTo>
                        <a:lnTo>
                          <a:pt x="458" y="874"/>
                        </a:lnTo>
                        <a:lnTo>
                          <a:pt x="445" y="869"/>
                        </a:lnTo>
                        <a:lnTo>
                          <a:pt x="441" y="868"/>
                        </a:lnTo>
                        <a:lnTo>
                          <a:pt x="437" y="868"/>
                        </a:lnTo>
                        <a:lnTo>
                          <a:pt x="436" y="868"/>
                        </a:lnTo>
                        <a:lnTo>
                          <a:pt x="434" y="866"/>
                        </a:lnTo>
                        <a:lnTo>
                          <a:pt x="431" y="866"/>
                        </a:lnTo>
                        <a:lnTo>
                          <a:pt x="425" y="864"/>
                        </a:lnTo>
                        <a:lnTo>
                          <a:pt x="415" y="863"/>
                        </a:lnTo>
                        <a:lnTo>
                          <a:pt x="393" y="857"/>
                        </a:lnTo>
                        <a:lnTo>
                          <a:pt x="388" y="855"/>
                        </a:lnTo>
                        <a:lnTo>
                          <a:pt x="385" y="858"/>
                        </a:lnTo>
                        <a:lnTo>
                          <a:pt x="382" y="866"/>
                        </a:lnTo>
                        <a:lnTo>
                          <a:pt x="382" y="868"/>
                        </a:lnTo>
                        <a:lnTo>
                          <a:pt x="382" y="869"/>
                        </a:lnTo>
                        <a:lnTo>
                          <a:pt x="380" y="869"/>
                        </a:lnTo>
                        <a:lnTo>
                          <a:pt x="379" y="869"/>
                        </a:lnTo>
                        <a:lnTo>
                          <a:pt x="377" y="869"/>
                        </a:lnTo>
                        <a:lnTo>
                          <a:pt x="377" y="872"/>
                        </a:lnTo>
                        <a:lnTo>
                          <a:pt x="377" y="874"/>
                        </a:lnTo>
                        <a:lnTo>
                          <a:pt x="379" y="876"/>
                        </a:lnTo>
                        <a:lnTo>
                          <a:pt x="382" y="877"/>
                        </a:lnTo>
                        <a:lnTo>
                          <a:pt x="384" y="877"/>
                        </a:lnTo>
                        <a:lnTo>
                          <a:pt x="387" y="880"/>
                        </a:lnTo>
                        <a:lnTo>
                          <a:pt x="387" y="883"/>
                        </a:lnTo>
                        <a:lnTo>
                          <a:pt x="388" y="887"/>
                        </a:lnTo>
                        <a:lnTo>
                          <a:pt x="380" y="890"/>
                        </a:lnTo>
                        <a:lnTo>
                          <a:pt x="379" y="891"/>
                        </a:lnTo>
                        <a:lnTo>
                          <a:pt x="376" y="891"/>
                        </a:lnTo>
                        <a:lnTo>
                          <a:pt x="369" y="893"/>
                        </a:lnTo>
                        <a:lnTo>
                          <a:pt x="368" y="893"/>
                        </a:lnTo>
                        <a:lnTo>
                          <a:pt x="364" y="893"/>
                        </a:lnTo>
                        <a:lnTo>
                          <a:pt x="364" y="895"/>
                        </a:lnTo>
                        <a:lnTo>
                          <a:pt x="361" y="895"/>
                        </a:lnTo>
                        <a:lnTo>
                          <a:pt x="353" y="896"/>
                        </a:lnTo>
                        <a:lnTo>
                          <a:pt x="349" y="898"/>
                        </a:lnTo>
                        <a:lnTo>
                          <a:pt x="347" y="899"/>
                        </a:lnTo>
                        <a:lnTo>
                          <a:pt x="345" y="902"/>
                        </a:lnTo>
                        <a:lnTo>
                          <a:pt x="344" y="910"/>
                        </a:lnTo>
                        <a:lnTo>
                          <a:pt x="342" y="912"/>
                        </a:lnTo>
                        <a:lnTo>
                          <a:pt x="338" y="914"/>
                        </a:lnTo>
                        <a:lnTo>
                          <a:pt x="336" y="915"/>
                        </a:lnTo>
                        <a:lnTo>
                          <a:pt x="336" y="917"/>
                        </a:lnTo>
                        <a:lnTo>
                          <a:pt x="336" y="918"/>
                        </a:lnTo>
                        <a:lnTo>
                          <a:pt x="334" y="920"/>
                        </a:lnTo>
                        <a:lnTo>
                          <a:pt x="334" y="918"/>
                        </a:lnTo>
                        <a:lnTo>
                          <a:pt x="326" y="910"/>
                        </a:lnTo>
                        <a:lnTo>
                          <a:pt x="326" y="909"/>
                        </a:lnTo>
                        <a:lnTo>
                          <a:pt x="326" y="904"/>
                        </a:lnTo>
                        <a:lnTo>
                          <a:pt x="323" y="899"/>
                        </a:lnTo>
                        <a:lnTo>
                          <a:pt x="323" y="895"/>
                        </a:lnTo>
                        <a:lnTo>
                          <a:pt x="325" y="891"/>
                        </a:lnTo>
                        <a:lnTo>
                          <a:pt x="325" y="890"/>
                        </a:lnTo>
                        <a:lnTo>
                          <a:pt x="323" y="890"/>
                        </a:lnTo>
                        <a:lnTo>
                          <a:pt x="322" y="890"/>
                        </a:lnTo>
                        <a:lnTo>
                          <a:pt x="315" y="888"/>
                        </a:lnTo>
                        <a:lnTo>
                          <a:pt x="311" y="888"/>
                        </a:lnTo>
                        <a:lnTo>
                          <a:pt x="290" y="901"/>
                        </a:lnTo>
                        <a:lnTo>
                          <a:pt x="288" y="909"/>
                        </a:lnTo>
                        <a:lnTo>
                          <a:pt x="285" y="920"/>
                        </a:lnTo>
                        <a:lnTo>
                          <a:pt x="284" y="926"/>
                        </a:lnTo>
                        <a:lnTo>
                          <a:pt x="284" y="928"/>
                        </a:lnTo>
                        <a:lnTo>
                          <a:pt x="285" y="937"/>
                        </a:lnTo>
                        <a:lnTo>
                          <a:pt x="287" y="942"/>
                        </a:lnTo>
                        <a:lnTo>
                          <a:pt x="287" y="944"/>
                        </a:lnTo>
                        <a:lnTo>
                          <a:pt x="285" y="944"/>
                        </a:lnTo>
                        <a:lnTo>
                          <a:pt x="279" y="948"/>
                        </a:lnTo>
                        <a:lnTo>
                          <a:pt x="276" y="950"/>
                        </a:lnTo>
                        <a:lnTo>
                          <a:pt x="263" y="947"/>
                        </a:lnTo>
                        <a:lnTo>
                          <a:pt x="262" y="947"/>
                        </a:lnTo>
                        <a:lnTo>
                          <a:pt x="260" y="947"/>
                        </a:lnTo>
                        <a:lnTo>
                          <a:pt x="254" y="953"/>
                        </a:lnTo>
                        <a:lnTo>
                          <a:pt x="247" y="956"/>
                        </a:lnTo>
                        <a:lnTo>
                          <a:pt x="247" y="958"/>
                        </a:lnTo>
                        <a:lnTo>
                          <a:pt x="244" y="966"/>
                        </a:lnTo>
                        <a:lnTo>
                          <a:pt x="243" y="967"/>
                        </a:lnTo>
                        <a:lnTo>
                          <a:pt x="239" y="971"/>
                        </a:lnTo>
                        <a:lnTo>
                          <a:pt x="236" y="972"/>
                        </a:lnTo>
                        <a:lnTo>
                          <a:pt x="235" y="971"/>
                        </a:lnTo>
                        <a:lnTo>
                          <a:pt x="231" y="971"/>
                        </a:lnTo>
                        <a:lnTo>
                          <a:pt x="228" y="967"/>
                        </a:lnTo>
                        <a:lnTo>
                          <a:pt x="227" y="967"/>
                        </a:lnTo>
                        <a:lnTo>
                          <a:pt x="225" y="969"/>
                        </a:lnTo>
                        <a:lnTo>
                          <a:pt x="217" y="977"/>
                        </a:lnTo>
                        <a:lnTo>
                          <a:pt x="217" y="978"/>
                        </a:lnTo>
                        <a:lnTo>
                          <a:pt x="216" y="978"/>
                        </a:lnTo>
                        <a:lnTo>
                          <a:pt x="212" y="974"/>
                        </a:lnTo>
                        <a:lnTo>
                          <a:pt x="206" y="974"/>
                        </a:lnTo>
                        <a:lnTo>
                          <a:pt x="203" y="975"/>
                        </a:lnTo>
                        <a:lnTo>
                          <a:pt x="200" y="978"/>
                        </a:lnTo>
                        <a:lnTo>
                          <a:pt x="197" y="985"/>
                        </a:lnTo>
                        <a:lnTo>
                          <a:pt x="195" y="986"/>
                        </a:lnTo>
                        <a:lnTo>
                          <a:pt x="190" y="996"/>
                        </a:lnTo>
                        <a:lnTo>
                          <a:pt x="190" y="1002"/>
                        </a:lnTo>
                        <a:lnTo>
                          <a:pt x="189" y="1004"/>
                        </a:lnTo>
                        <a:lnTo>
                          <a:pt x="189" y="1010"/>
                        </a:lnTo>
                        <a:lnTo>
                          <a:pt x="190" y="1017"/>
                        </a:lnTo>
                        <a:lnTo>
                          <a:pt x="181" y="1021"/>
                        </a:lnTo>
                        <a:lnTo>
                          <a:pt x="179" y="1021"/>
                        </a:lnTo>
                        <a:lnTo>
                          <a:pt x="174" y="1023"/>
                        </a:lnTo>
                        <a:lnTo>
                          <a:pt x="170" y="1005"/>
                        </a:lnTo>
                        <a:lnTo>
                          <a:pt x="166" y="1001"/>
                        </a:lnTo>
                        <a:lnTo>
                          <a:pt x="166" y="999"/>
                        </a:lnTo>
                        <a:lnTo>
                          <a:pt x="165" y="999"/>
                        </a:lnTo>
                        <a:lnTo>
                          <a:pt x="162" y="997"/>
                        </a:lnTo>
                        <a:lnTo>
                          <a:pt x="157" y="997"/>
                        </a:lnTo>
                        <a:lnTo>
                          <a:pt x="155" y="997"/>
                        </a:lnTo>
                        <a:lnTo>
                          <a:pt x="155" y="996"/>
                        </a:lnTo>
                        <a:lnTo>
                          <a:pt x="155" y="994"/>
                        </a:lnTo>
                        <a:lnTo>
                          <a:pt x="155" y="991"/>
                        </a:lnTo>
                        <a:lnTo>
                          <a:pt x="155" y="990"/>
                        </a:lnTo>
                        <a:lnTo>
                          <a:pt x="152" y="988"/>
                        </a:lnTo>
                        <a:lnTo>
                          <a:pt x="151" y="988"/>
                        </a:lnTo>
                        <a:lnTo>
                          <a:pt x="151" y="990"/>
                        </a:lnTo>
                        <a:lnTo>
                          <a:pt x="149" y="991"/>
                        </a:lnTo>
                        <a:lnTo>
                          <a:pt x="149" y="993"/>
                        </a:lnTo>
                        <a:lnTo>
                          <a:pt x="147" y="994"/>
                        </a:lnTo>
                        <a:lnTo>
                          <a:pt x="146" y="993"/>
                        </a:lnTo>
                        <a:lnTo>
                          <a:pt x="141" y="990"/>
                        </a:lnTo>
                        <a:lnTo>
                          <a:pt x="141" y="988"/>
                        </a:lnTo>
                        <a:lnTo>
                          <a:pt x="143" y="985"/>
                        </a:lnTo>
                        <a:lnTo>
                          <a:pt x="146" y="982"/>
                        </a:lnTo>
                        <a:lnTo>
                          <a:pt x="151" y="980"/>
                        </a:lnTo>
                        <a:lnTo>
                          <a:pt x="151" y="978"/>
                        </a:lnTo>
                        <a:lnTo>
                          <a:pt x="152" y="977"/>
                        </a:lnTo>
                        <a:lnTo>
                          <a:pt x="152" y="974"/>
                        </a:lnTo>
                        <a:lnTo>
                          <a:pt x="147" y="974"/>
                        </a:lnTo>
                        <a:lnTo>
                          <a:pt x="146" y="974"/>
                        </a:lnTo>
                        <a:lnTo>
                          <a:pt x="143" y="972"/>
                        </a:lnTo>
                        <a:lnTo>
                          <a:pt x="141" y="972"/>
                        </a:lnTo>
                        <a:lnTo>
                          <a:pt x="138" y="977"/>
                        </a:lnTo>
                        <a:lnTo>
                          <a:pt x="136" y="977"/>
                        </a:lnTo>
                        <a:lnTo>
                          <a:pt x="135" y="975"/>
                        </a:lnTo>
                        <a:lnTo>
                          <a:pt x="133" y="975"/>
                        </a:lnTo>
                        <a:lnTo>
                          <a:pt x="132" y="974"/>
                        </a:lnTo>
                        <a:lnTo>
                          <a:pt x="132" y="972"/>
                        </a:lnTo>
                        <a:lnTo>
                          <a:pt x="132" y="971"/>
                        </a:lnTo>
                        <a:lnTo>
                          <a:pt x="133" y="969"/>
                        </a:lnTo>
                        <a:lnTo>
                          <a:pt x="133" y="967"/>
                        </a:lnTo>
                        <a:lnTo>
                          <a:pt x="135" y="966"/>
                        </a:lnTo>
                        <a:lnTo>
                          <a:pt x="136" y="964"/>
                        </a:lnTo>
                        <a:lnTo>
                          <a:pt x="136" y="961"/>
                        </a:lnTo>
                        <a:lnTo>
                          <a:pt x="138" y="961"/>
                        </a:lnTo>
                        <a:lnTo>
                          <a:pt x="138" y="959"/>
                        </a:lnTo>
                        <a:lnTo>
                          <a:pt x="136" y="958"/>
                        </a:lnTo>
                        <a:lnTo>
                          <a:pt x="136" y="956"/>
                        </a:lnTo>
                        <a:lnTo>
                          <a:pt x="135" y="956"/>
                        </a:lnTo>
                        <a:lnTo>
                          <a:pt x="135" y="955"/>
                        </a:lnTo>
                        <a:lnTo>
                          <a:pt x="133" y="955"/>
                        </a:lnTo>
                        <a:lnTo>
                          <a:pt x="132" y="955"/>
                        </a:lnTo>
                        <a:lnTo>
                          <a:pt x="130" y="956"/>
                        </a:lnTo>
                        <a:lnTo>
                          <a:pt x="130" y="959"/>
                        </a:lnTo>
                        <a:lnTo>
                          <a:pt x="128" y="959"/>
                        </a:lnTo>
                        <a:lnTo>
                          <a:pt x="127" y="961"/>
                        </a:lnTo>
                        <a:lnTo>
                          <a:pt x="125" y="961"/>
                        </a:lnTo>
                        <a:lnTo>
                          <a:pt x="124" y="959"/>
                        </a:lnTo>
                        <a:lnTo>
                          <a:pt x="122" y="958"/>
                        </a:lnTo>
                        <a:lnTo>
                          <a:pt x="122" y="956"/>
                        </a:lnTo>
                        <a:lnTo>
                          <a:pt x="122" y="955"/>
                        </a:lnTo>
                        <a:lnTo>
                          <a:pt x="122" y="953"/>
                        </a:lnTo>
                        <a:lnTo>
                          <a:pt x="122" y="952"/>
                        </a:lnTo>
                        <a:lnTo>
                          <a:pt x="124" y="952"/>
                        </a:lnTo>
                        <a:lnTo>
                          <a:pt x="124" y="950"/>
                        </a:lnTo>
                        <a:lnTo>
                          <a:pt x="125" y="948"/>
                        </a:lnTo>
                        <a:lnTo>
                          <a:pt x="125" y="947"/>
                        </a:lnTo>
                        <a:lnTo>
                          <a:pt x="125" y="945"/>
                        </a:lnTo>
                        <a:lnTo>
                          <a:pt x="127" y="945"/>
                        </a:lnTo>
                        <a:lnTo>
                          <a:pt x="125" y="945"/>
                        </a:lnTo>
                        <a:lnTo>
                          <a:pt x="125" y="944"/>
                        </a:lnTo>
                        <a:lnTo>
                          <a:pt x="127" y="942"/>
                        </a:lnTo>
                        <a:lnTo>
                          <a:pt x="127" y="939"/>
                        </a:lnTo>
                        <a:lnTo>
                          <a:pt x="128" y="936"/>
                        </a:lnTo>
                        <a:lnTo>
                          <a:pt x="128" y="934"/>
                        </a:lnTo>
                        <a:lnTo>
                          <a:pt x="130" y="934"/>
                        </a:lnTo>
                        <a:lnTo>
                          <a:pt x="132" y="933"/>
                        </a:lnTo>
                        <a:lnTo>
                          <a:pt x="132" y="934"/>
                        </a:lnTo>
                        <a:lnTo>
                          <a:pt x="133" y="934"/>
                        </a:lnTo>
                        <a:lnTo>
                          <a:pt x="133" y="936"/>
                        </a:lnTo>
                        <a:lnTo>
                          <a:pt x="135" y="936"/>
                        </a:lnTo>
                        <a:lnTo>
                          <a:pt x="135" y="934"/>
                        </a:lnTo>
                        <a:lnTo>
                          <a:pt x="136" y="934"/>
                        </a:lnTo>
                        <a:lnTo>
                          <a:pt x="136" y="933"/>
                        </a:lnTo>
                        <a:lnTo>
                          <a:pt x="138" y="933"/>
                        </a:lnTo>
                        <a:lnTo>
                          <a:pt x="138" y="931"/>
                        </a:lnTo>
                        <a:lnTo>
                          <a:pt x="136" y="929"/>
                        </a:lnTo>
                        <a:lnTo>
                          <a:pt x="136" y="928"/>
                        </a:lnTo>
                        <a:lnTo>
                          <a:pt x="136" y="926"/>
                        </a:lnTo>
                        <a:lnTo>
                          <a:pt x="136" y="925"/>
                        </a:lnTo>
                        <a:lnTo>
                          <a:pt x="136" y="923"/>
                        </a:lnTo>
                        <a:lnTo>
                          <a:pt x="135" y="923"/>
                        </a:lnTo>
                        <a:lnTo>
                          <a:pt x="133" y="921"/>
                        </a:lnTo>
                        <a:lnTo>
                          <a:pt x="132" y="920"/>
                        </a:lnTo>
                        <a:lnTo>
                          <a:pt x="132" y="918"/>
                        </a:lnTo>
                        <a:lnTo>
                          <a:pt x="130" y="915"/>
                        </a:lnTo>
                        <a:lnTo>
                          <a:pt x="130" y="914"/>
                        </a:lnTo>
                        <a:lnTo>
                          <a:pt x="130" y="912"/>
                        </a:lnTo>
                        <a:lnTo>
                          <a:pt x="130" y="910"/>
                        </a:lnTo>
                        <a:lnTo>
                          <a:pt x="130" y="909"/>
                        </a:lnTo>
                        <a:lnTo>
                          <a:pt x="130" y="906"/>
                        </a:lnTo>
                        <a:lnTo>
                          <a:pt x="128" y="906"/>
                        </a:lnTo>
                        <a:lnTo>
                          <a:pt x="128" y="904"/>
                        </a:lnTo>
                        <a:lnTo>
                          <a:pt x="127" y="904"/>
                        </a:lnTo>
                        <a:lnTo>
                          <a:pt x="125" y="904"/>
                        </a:lnTo>
                        <a:lnTo>
                          <a:pt x="125" y="902"/>
                        </a:lnTo>
                        <a:lnTo>
                          <a:pt x="124" y="902"/>
                        </a:lnTo>
                        <a:lnTo>
                          <a:pt x="122" y="901"/>
                        </a:lnTo>
                        <a:lnTo>
                          <a:pt x="121" y="899"/>
                        </a:lnTo>
                        <a:lnTo>
                          <a:pt x="119" y="898"/>
                        </a:lnTo>
                        <a:lnTo>
                          <a:pt x="119" y="896"/>
                        </a:lnTo>
                        <a:lnTo>
                          <a:pt x="117" y="896"/>
                        </a:lnTo>
                        <a:lnTo>
                          <a:pt x="116" y="898"/>
                        </a:lnTo>
                        <a:lnTo>
                          <a:pt x="114" y="898"/>
                        </a:lnTo>
                        <a:lnTo>
                          <a:pt x="113" y="896"/>
                        </a:lnTo>
                        <a:lnTo>
                          <a:pt x="111" y="896"/>
                        </a:lnTo>
                        <a:lnTo>
                          <a:pt x="109" y="896"/>
                        </a:lnTo>
                        <a:lnTo>
                          <a:pt x="109" y="898"/>
                        </a:lnTo>
                        <a:lnTo>
                          <a:pt x="108" y="898"/>
                        </a:lnTo>
                        <a:lnTo>
                          <a:pt x="106" y="898"/>
                        </a:lnTo>
                        <a:lnTo>
                          <a:pt x="105" y="896"/>
                        </a:lnTo>
                        <a:lnTo>
                          <a:pt x="103" y="896"/>
                        </a:lnTo>
                        <a:lnTo>
                          <a:pt x="103" y="893"/>
                        </a:lnTo>
                        <a:lnTo>
                          <a:pt x="102" y="891"/>
                        </a:lnTo>
                        <a:lnTo>
                          <a:pt x="100" y="891"/>
                        </a:lnTo>
                        <a:lnTo>
                          <a:pt x="100" y="890"/>
                        </a:lnTo>
                        <a:lnTo>
                          <a:pt x="100" y="888"/>
                        </a:lnTo>
                        <a:lnTo>
                          <a:pt x="102" y="888"/>
                        </a:lnTo>
                        <a:lnTo>
                          <a:pt x="103" y="887"/>
                        </a:lnTo>
                        <a:lnTo>
                          <a:pt x="105" y="885"/>
                        </a:lnTo>
                        <a:lnTo>
                          <a:pt x="105" y="883"/>
                        </a:lnTo>
                        <a:lnTo>
                          <a:pt x="105" y="882"/>
                        </a:lnTo>
                        <a:lnTo>
                          <a:pt x="106" y="880"/>
                        </a:lnTo>
                        <a:lnTo>
                          <a:pt x="108" y="880"/>
                        </a:lnTo>
                        <a:lnTo>
                          <a:pt x="108" y="879"/>
                        </a:lnTo>
                        <a:lnTo>
                          <a:pt x="108" y="877"/>
                        </a:lnTo>
                        <a:lnTo>
                          <a:pt x="108" y="876"/>
                        </a:lnTo>
                        <a:lnTo>
                          <a:pt x="109" y="876"/>
                        </a:lnTo>
                        <a:lnTo>
                          <a:pt x="109" y="874"/>
                        </a:lnTo>
                        <a:lnTo>
                          <a:pt x="109" y="872"/>
                        </a:lnTo>
                        <a:lnTo>
                          <a:pt x="111" y="872"/>
                        </a:lnTo>
                        <a:lnTo>
                          <a:pt x="113" y="871"/>
                        </a:lnTo>
                        <a:lnTo>
                          <a:pt x="111" y="869"/>
                        </a:lnTo>
                        <a:lnTo>
                          <a:pt x="109" y="869"/>
                        </a:lnTo>
                        <a:lnTo>
                          <a:pt x="108" y="869"/>
                        </a:lnTo>
                        <a:lnTo>
                          <a:pt x="108" y="868"/>
                        </a:lnTo>
                        <a:lnTo>
                          <a:pt x="109" y="868"/>
                        </a:lnTo>
                        <a:lnTo>
                          <a:pt x="109" y="866"/>
                        </a:lnTo>
                        <a:lnTo>
                          <a:pt x="109" y="864"/>
                        </a:lnTo>
                        <a:lnTo>
                          <a:pt x="108" y="864"/>
                        </a:lnTo>
                        <a:lnTo>
                          <a:pt x="106" y="864"/>
                        </a:lnTo>
                        <a:lnTo>
                          <a:pt x="106" y="863"/>
                        </a:lnTo>
                        <a:lnTo>
                          <a:pt x="105" y="863"/>
                        </a:lnTo>
                        <a:lnTo>
                          <a:pt x="103" y="863"/>
                        </a:lnTo>
                        <a:lnTo>
                          <a:pt x="102" y="863"/>
                        </a:lnTo>
                        <a:lnTo>
                          <a:pt x="98" y="864"/>
                        </a:lnTo>
                        <a:lnTo>
                          <a:pt x="95" y="864"/>
                        </a:lnTo>
                        <a:lnTo>
                          <a:pt x="94" y="864"/>
                        </a:lnTo>
                        <a:lnTo>
                          <a:pt x="92" y="864"/>
                        </a:lnTo>
                        <a:lnTo>
                          <a:pt x="90" y="861"/>
                        </a:lnTo>
                        <a:lnTo>
                          <a:pt x="90" y="860"/>
                        </a:lnTo>
                        <a:lnTo>
                          <a:pt x="89" y="858"/>
                        </a:lnTo>
                        <a:lnTo>
                          <a:pt x="89" y="857"/>
                        </a:lnTo>
                        <a:lnTo>
                          <a:pt x="89" y="855"/>
                        </a:lnTo>
                        <a:lnTo>
                          <a:pt x="90" y="853"/>
                        </a:lnTo>
                        <a:lnTo>
                          <a:pt x="90" y="852"/>
                        </a:lnTo>
                        <a:lnTo>
                          <a:pt x="90" y="850"/>
                        </a:lnTo>
                        <a:lnTo>
                          <a:pt x="90" y="849"/>
                        </a:lnTo>
                        <a:lnTo>
                          <a:pt x="90" y="847"/>
                        </a:lnTo>
                        <a:lnTo>
                          <a:pt x="89" y="847"/>
                        </a:lnTo>
                        <a:lnTo>
                          <a:pt x="89" y="845"/>
                        </a:lnTo>
                        <a:lnTo>
                          <a:pt x="87" y="844"/>
                        </a:lnTo>
                        <a:lnTo>
                          <a:pt x="87" y="842"/>
                        </a:lnTo>
                        <a:lnTo>
                          <a:pt x="86" y="842"/>
                        </a:lnTo>
                        <a:lnTo>
                          <a:pt x="86" y="839"/>
                        </a:lnTo>
                        <a:lnTo>
                          <a:pt x="87" y="838"/>
                        </a:lnTo>
                        <a:lnTo>
                          <a:pt x="87" y="836"/>
                        </a:lnTo>
                        <a:lnTo>
                          <a:pt x="87" y="834"/>
                        </a:lnTo>
                        <a:lnTo>
                          <a:pt x="86" y="834"/>
                        </a:lnTo>
                        <a:lnTo>
                          <a:pt x="89" y="830"/>
                        </a:lnTo>
                        <a:lnTo>
                          <a:pt x="89" y="828"/>
                        </a:lnTo>
                        <a:lnTo>
                          <a:pt x="90" y="826"/>
                        </a:lnTo>
                        <a:lnTo>
                          <a:pt x="92" y="826"/>
                        </a:lnTo>
                        <a:lnTo>
                          <a:pt x="94" y="825"/>
                        </a:lnTo>
                        <a:lnTo>
                          <a:pt x="95" y="825"/>
                        </a:lnTo>
                        <a:lnTo>
                          <a:pt x="97" y="825"/>
                        </a:lnTo>
                        <a:lnTo>
                          <a:pt x="100" y="823"/>
                        </a:lnTo>
                        <a:lnTo>
                          <a:pt x="102" y="822"/>
                        </a:lnTo>
                        <a:lnTo>
                          <a:pt x="103" y="818"/>
                        </a:lnTo>
                        <a:lnTo>
                          <a:pt x="103" y="817"/>
                        </a:lnTo>
                        <a:lnTo>
                          <a:pt x="105" y="814"/>
                        </a:lnTo>
                        <a:lnTo>
                          <a:pt x="106" y="812"/>
                        </a:lnTo>
                        <a:lnTo>
                          <a:pt x="108" y="811"/>
                        </a:lnTo>
                        <a:lnTo>
                          <a:pt x="109" y="809"/>
                        </a:lnTo>
                        <a:lnTo>
                          <a:pt x="109" y="807"/>
                        </a:lnTo>
                        <a:lnTo>
                          <a:pt x="109" y="804"/>
                        </a:lnTo>
                        <a:lnTo>
                          <a:pt x="108" y="801"/>
                        </a:lnTo>
                        <a:lnTo>
                          <a:pt x="106" y="796"/>
                        </a:lnTo>
                        <a:lnTo>
                          <a:pt x="105" y="793"/>
                        </a:lnTo>
                        <a:lnTo>
                          <a:pt x="102" y="792"/>
                        </a:lnTo>
                        <a:lnTo>
                          <a:pt x="98" y="788"/>
                        </a:lnTo>
                        <a:lnTo>
                          <a:pt x="97" y="785"/>
                        </a:lnTo>
                        <a:lnTo>
                          <a:pt x="97" y="784"/>
                        </a:lnTo>
                        <a:lnTo>
                          <a:pt x="97" y="782"/>
                        </a:lnTo>
                        <a:lnTo>
                          <a:pt x="98" y="780"/>
                        </a:lnTo>
                        <a:lnTo>
                          <a:pt x="100" y="777"/>
                        </a:lnTo>
                        <a:lnTo>
                          <a:pt x="102" y="777"/>
                        </a:lnTo>
                        <a:lnTo>
                          <a:pt x="103" y="776"/>
                        </a:lnTo>
                        <a:lnTo>
                          <a:pt x="105" y="774"/>
                        </a:lnTo>
                        <a:lnTo>
                          <a:pt x="105" y="773"/>
                        </a:lnTo>
                        <a:lnTo>
                          <a:pt x="106" y="771"/>
                        </a:lnTo>
                        <a:lnTo>
                          <a:pt x="108" y="771"/>
                        </a:lnTo>
                        <a:lnTo>
                          <a:pt x="109" y="771"/>
                        </a:lnTo>
                        <a:lnTo>
                          <a:pt x="109" y="769"/>
                        </a:lnTo>
                        <a:lnTo>
                          <a:pt x="111" y="769"/>
                        </a:lnTo>
                        <a:lnTo>
                          <a:pt x="114" y="769"/>
                        </a:lnTo>
                        <a:lnTo>
                          <a:pt x="116" y="769"/>
                        </a:lnTo>
                        <a:lnTo>
                          <a:pt x="117" y="769"/>
                        </a:lnTo>
                        <a:lnTo>
                          <a:pt x="122" y="769"/>
                        </a:lnTo>
                        <a:lnTo>
                          <a:pt x="124" y="769"/>
                        </a:lnTo>
                        <a:lnTo>
                          <a:pt x="125" y="769"/>
                        </a:lnTo>
                        <a:lnTo>
                          <a:pt x="128" y="766"/>
                        </a:lnTo>
                        <a:lnTo>
                          <a:pt x="130" y="765"/>
                        </a:lnTo>
                        <a:lnTo>
                          <a:pt x="132" y="761"/>
                        </a:lnTo>
                        <a:lnTo>
                          <a:pt x="133" y="757"/>
                        </a:lnTo>
                        <a:lnTo>
                          <a:pt x="133" y="754"/>
                        </a:lnTo>
                        <a:lnTo>
                          <a:pt x="133" y="750"/>
                        </a:lnTo>
                        <a:lnTo>
                          <a:pt x="133" y="749"/>
                        </a:lnTo>
                        <a:lnTo>
                          <a:pt x="133" y="746"/>
                        </a:lnTo>
                        <a:lnTo>
                          <a:pt x="133" y="744"/>
                        </a:lnTo>
                        <a:lnTo>
                          <a:pt x="136" y="741"/>
                        </a:lnTo>
                        <a:lnTo>
                          <a:pt x="138" y="739"/>
                        </a:lnTo>
                        <a:lnTo>
                          <a:pt x="141" y="736"/>
                        </a:lnTo>
                        <a:lnTo>
                          <a:pt x="143" y="735"/>
                        </a:lnTo>
                        <a:lnTo>
                          <a:pt x="146" y="735"/>
                        </a:lnTo>
                        <a:lnTo>
                          <a:pt x="149" y="733"/>
                        </a:lnTo>
                        <a:lnTo>
                          <a:pt x="152" y="733"/>
                        </a:lnTo>
                        <a:lnTo>
                          <a:pt x="154" y="733"/>
                        </a:lnTo>
                        <a:lnTo>
                          <a:pt x="157" y="730"/>
                        </a:lnTo>
                        <a:lnTo>
                          <a:pt x="159" y="728"/>
                        </a:lnTo>
                        <a:lnTo>
                          <a:pt x="160" y="728"/>
                        </a:lnTo>
                        <a:lnTo>
                          <a:pt x="162" y="728"/>
                        </a:lnTo>
                        <a:lnTo>
                          <a:pt x="163" y="727"/>
                        </a:lnTo>
                        <a:lnTo>
                          <a:pt x="165" y="723"/>
                        </a:lnTo>
                        <a:lnTo>
                          <a:pt x="165" y="722"/>
                        </a:lnTo>
                        <a:lnTo>
                          <a:pt x="165" y="719"/>
                        </a:lnTo>
                        <a:lnTo>
                          <a:pt x="163" y="717"/>
                        </a:lnTo>
                        <a:lnTo>
                          <a:pt x="163" y="716"/>
                        </a:lnTo>
                        <a:lnTo>
                          <a:pt x="163" y="714"/>
                        </a:lnTo>
                        <a:lnTo>
                          <a:pt x="163" y="712"/>
                        </a:lnTo>
                        <a:lnTo>
                          <a:pt x="165" y="709"/>
                        </a:lnTo>
                        <a:lnTo>
                          <a:pt x="165" y="708"/>
                        </a:lnTo>
                        <a:lnTo>
                          <a:pt x="166" y="706"/>
                        </a:lnTo>
                        <a:lnTo>
                          <a:pt x="170" y="706"/>
                        </a:lnTo>
                        <a:lnTo>
                          <a:pt x="171" y="706"/>
                        </a:lnTo>
                        <a:lnTo>
                          <a:pt x="173" y="706"/>
                        </a:lnTo>
                        <a:lnTo>
                          <a:pt x="176" y="708"/>
                        </a:lnTo>
                        <a:lnTo>
                          <a:pt x="178" y="708"/>
                        </a:lnTo>
                        <a:lnTo>
                          <a:pt x="179" y="708"/>
                        </a:lnTo>
                        <a:lnTo>
                          <a:pt x="179" y="709"/>
                        </a:lnTo>
                        <a:lnTo>
                          <a:pt x="181" y="711"/>
                        </a:lnTo>
                        <a:lnTo>
                          <a:pt x="182" y="711"/>
                        </a:lnTo>
                        <a:lnTo>
                          <a:pt x="182" y="712"/>
                        </a:lnTo>
                        <a:lnTo>
                          <a:pt x="184" y="714"/>
                        </a:lnTo>
                        <a:lnTo>
                          <a:pt x="184" y="716"/>
                        </a:lnTo>
                        <a:lnTo>
                          <a:pt x="185" y="717"/>
                        </a:lnTo>
                        <a:lnTo>
                          <a:pt x="189" y="717"/>
                        </a:lnTo>
                        <a:lnTo>
                          <a:pt x="189" y="719"/>
                        </a:lnTo>
                        <a:lnTo>
                          <a:pt x="190" y="720"/>
                        </a:lnTo>
                        <a:lnTo>
                          <a:pt x="192" y="720"/>
                        </a:lnTo>
                        <a:lnTo>
                          <a:pt x="195" y="722"/>
                        </a:lnTo>
                        <a:lnTo>
                          <a:pt x="197" y="722"/>
                        </a:lnTo>
                        <a:lnTo>
                          <a:pt x="200" y="723"/>
                        </a:lnTo>
                        <a:lnTo>
                          <a:pt x="201" y="723"/>
                        </a:lnTo>
                        <a:lnTo>
                          <a:pt x="203" y="723"/>
                        </a:lnTo>
                        <a:lnTo>
                          <a:pt x="205" y="723"/>
                        </a:lnTo>
                        <a:lnTo>
                          <a:pt x="206" y="722"/>
                        </a:lnTo>
                        <a:lnTo>
                          <a:pt x="209" y="720"/>
                        </a:lnTo>
                        <a:lnTo>
                          <a:pt x="209" y="719"/>
                        </a:lnTo>
                        <a:lnTo>
                          <a:pt x="211" y="717"/>
                        </a:lnTo>
                        <a:lnTo>
                          <a:pt x="211" y="716"/>
                        </a:lnTo>
                        <a:lnTo>
                          <a:pt x="211" y="714"/>
                        </a:lnTo>
                        <a:lnTo>
                          <a:pt x="209" y="714"/>
                        </a:lnTo>
                        <a:lnTo>
                          <a:pt x="208" y="714"/>
                        </a:lnTo>
                        <a:lnTo>
                          <a:pt x="206" y="716"/>
                        </a:lnTo>
                        <a:lnTo>
                          <a:pt x="205" y="716"/>
                        </a:lnTo>
                        <a:lnTo>
                          <a:pt x="203" y="716"/>
                        </a:lnTo>
                        <a:lnTo>
                          <a:pt x="201" y="716"/>
                        </a:lnTo>
                        <a:lnTo>
                          <a:pt x="200" y="716"/>
                        </a:lnTo>
                        <a:lnTo>
                          <a:pt x="200" y="714"/>
                        </a:lnTo>
                        <a:lnTo>
                          <a:pt x="200" y="712"/>
                        </a:lnTo>
                        <a:lnTo>
                          <a:pt x="200" y="711"/>
                        </a:lnTo>
                        <a:lnTo>
                          <a:pt x="200" y="709"/>
                        </a:lnTo>
                        <a:lnTo>
                          <a:pt x="200" y="708"/>
                        </a:lnTo>
                        <a:lnTo>
                          <a:pt x="200" y="706"/>
                        </a:lnTo>
                        <a:lnTo>
                          <a:pt x="198" y="704"/>
                        </a:lnTo>
                        <a:lnTo>
                          <a:pt x="197" y="701"/>
                        </a:lnTo>
                        <a:lnTo>
                          <a:pt x="195" y="698"/>
                        </a:lnTo>
                        <a:lnTo>
                          <a:pt x="193" y="697"/>
                        </a:lnTo>
                        <a:lnTo>
                          <a:pt x="192" y="695"/>
                        </a:lnTo>
                        <a:lnTo>
                          <a:pt x="190" y="693"/>
                        </a:lnTo>
                        <a:lnTo>
                          <a:pt x="190" y="692"/>
                        </a:lnTo>
                        <a:lnTo>
                          <a:pt x="190" y="690"/>
                        </a:lnTo>
                        <a:lnTo>
                          <a:pt x="190" y="689"/>
                        </a:lnTo>
                        <a:lnTo>
                          <a:pt x="192" y="687"/>
                        </a:lnTo>
                        <a:lnTo>
                          <a:pt x="193" y="685"/>
                        </a:lnTo>
                        <a:lnTo>
                          <a:pt x="195" y="684"/>
                        </a:lnTo>
                        <a:lnTo>
                          <a:pt x="198" y="681"/>
                        </a:lnTo>
                        <a:lnTo>
                          <a:pt x="198" y="679"/>
                        </a:lnTo>
                        <a:lnTo>
                          <a:pt x="200" y="679"/>
                        </a:lnTo>
                        <a:lnTo>
                          <a:pt x="203" y="678"/>
                        </a:lnTo>
                        <a:lnTo>
                          <a:pt x="205" y="678"/>
                        </a:lnTo>
                        <a:lnTo>
                          <a:pt x="206" y="678"/>
                        </a:lnTo>
                        <a:lnTo>
                          <a:pt x="208" y="676"/>
                        </a:lnTo>
                        <a:lnTo>
                          <a:pt x="209" y="674"/>
                        </a:lnTo>
                        <a:lnTo>
                          <a:pt x="209" y="673"/>
                        </a:lnTo>
                        <a:lnTo>
                          <a:pt x="209" y="671"/>
                        </a:lnTo>
                        <a:lnTo>
                          <a:pt x="211" y="670"/>
                        </a:lnTo>
                        <a:lnTo>
                          <a:pt x="212" y="668"/>
                        </a:lnTo>
                        <a:lnTo>
                          <a:pt x="212" y="666"/>
                        </a:lnTo>
                        <a:lnTo>
                          <a:pt x="212" y="665"/>
                        </a:lnTo>
                        <a:lnTo>
                          <a:pt x="212" y="663"/>
                        </a:lnTo>
                        <a:lnTo>
                          <a:pt x="211" y="663"/>
                        </a:lnTo>
                        <a:lnTo>
                          <a:pt x="209" y="663"/>
                        </a:lnTo>
                        <a:lnTo>
                          <a:pt x="208" y="665"/>
                        </a:lnTo>
                        <a:lnTo>
                          <a:pt x="205" y="663"/>
                        </a:lnTo>
                        <a:lnTo>
                          <a:pt x="203" y="662"/>
                        </a:lnTo>
                        <a:lnTo>
                          <a:pt x="201" y="662"/>
                        </a:lnTo>
                        <a:lnTo>
                          <a:pt x="200" y="660"/>
                        </a:lnTo>
                        <a:lnTo>
                          <a:pt x="198" y="660"/>
                        </a:lnTo>
                        <a:lnTo>
                          <a:pt x="197" y="659"/>
                        </a:lnTo>
                        <a:lnTo>
                          <a:pt x="195" y="659"/>
                        </a:lnTo>
                        <a:lnTo>
                          <a:pt x="193" y="657"/>
                        </a:lnTo>
                        <a:lnTo>
                          <a:pt x="192" y="657"/>
                        </a:lnTo>
                        <a:lnTo>
                          <a:pt x="192" y="655"/>
                        </a:lnTo>
                        <a:lnTo>
                          <a:pt x="190" y="654"/>
                        </a:lnTo>
                        <a:lnTo>
                          <a:pt x="189" y="652"/>
                        </a:lnTo>
                        <a:lnTo>
                          <a:pt x="187" y="652"/>
                        </a:lnTo>
                        <a:lnTo>
                          <a:pt x="185" y="652"/>
                        </a:lnTo>
                        <a:lnTo>
                          <a:pt x="185" y="651"/>
                        </a:lnTo>
                        <a:lnTo>
                          <a:pt x="184" y="651"/>
                        </a:lnTo>
                        <a:lnTo>
                          <a:pt x="182" y="651"/>
                        </a:lnTo>
                        <a:lnTo>
                          <a:pt x="181" y="651"/>
                        </a:lnTo>
                        <a:lnTo>
                          <a:pt x="179" y="649"/>
                        </a:lnTo>
                        <a:lnTo>
                          <a:pt x="178" y="649"/>
                        </a:lnTo>
                        <a:lnTo>
                          <a:pt x="176" y="647"/>
                        </a:lnTo>
                        <a:lnTo>
                          <a:pt x="173" y="646"/>
                        </a:lnTo>
                        <a:lnTo>
                          <a:pt x="173" y="644"/>
                        </a:lnTo>
                        <a:lnTo>
                          <a:pt x="171" y="643"/>
                        </a:lnTo>
                        <a:lnTo>
                          <a:pt x="170" y="643"/>
                        </a:lnTo>
                        <a:lnTo>
                          <a:pt x="168" y="641"/>
                        </a:lnTo>
                        <a:lnTo>
                          <a:pt x="166" y="641"/>
                        </a:lnTo>
                        <a:lnTo>
                          <a:pt x="165" y="641"/>
                        </a:lnTo>
                        <a:lnTo>
                          <a:pt x="163" y="641"/>
                        </a:lnTo>
                        <a:lnTo>
                          <a:pt x="160" y="638"/>
                        </a:lnTo>
                        <a:lnTo>
                          <a:pt x="159" y="638"/>
                        </a:lnTo>
                        <a:lnTo>
                          <a:pt x="157" y="638"/>
                        </a:lnTo>
                        <a:lnTo>
                          <a:pt x="157" y="636"/>
                        </a:lnTo>
                        <a:lnTo>
                          <a:pt x="155" y="636"/>
                        </a:lnTo>
                        <a:lnTo>
                          <a:pt x="155" y="635"/>
                        </a:lnTo>
                        <a:lnTo>
                          <a:pt x="155" y="633"/>
                        </a:lnTo>
                        <a:lnTo>
                          <a:pt x="154" y="632"/>
                        </a:lnTo>
                        <a:lnTo>
                          <a:pt x="154" y="630"/>
                        </a:lnTo>
                        <a:lnTo>
                          <a:pt x="154" y="628"/>
                        </a:lnTo>
                        <a:lnTo>
                          <a:pt x="152" y="627"/>
                        </a:lnTo>
                        <a:lnTo>
                          <a:pt x="151" y="625"/>
                        </a:lnTo>
                        <a:lnTo>
                          <a:pt x="149" y="624"/>
                        </a:lnTo>
                        <a:lnTo>
                          <a:pt x="147" y="620"/>
                        </a:lnTo>
                        <a:lnTo>
                          <a:pt x="146" y="619"/>
                        </a:lnTo>
                        <a:lnTo>
                          <a:pt x="143" y="617"/>
                        </a:lnTo>
                        <a:lnTo>
                          <a:pt x="140" y="614"/>
                        </a:lnTo>
                        <a:lnTo>
                          <a:pt x="138" y="613"/>
                        </a:lnTo>
                        <a:lnTo>
                          <a:pt x="136" y="611"/>
                        </a:lnTo>
                        <a:lnTo>
                          <a:pt x="132" y="608"/>
                        </a:lnTo>
                        <a:lnTo>
                          <a:pt x="130" y="606"/>
                        </a:lnTo>
                        <a:lnTo>
                          <a:pt x="128" y="606"/>
                        </a:lnTo>
                        <a:lnTo>
                          <a:pt x="127" y="606"/>
                        </a:lnTo>
                        <a:lnTo>
                          <a:pt x="125" y="606"/>
                        </a:lnTo>
                        <a:lnTo>
                          <a:pt x="125" y="608"/>
                        </a:lnTo>
                        <a:lnTo>
                          <a:pt x="124" y="609"/>
                        </a:lnTo>
                        <a:lnTo>
                          <a:pt x="124" y="611"/>
                        </a:lnTo>
                        <a:lnTo>
                          <a:pt x="122" y="613"/>
                        </a:lnTo>
                        <a:lnTo>
                          <a:pt x="121" y="614"/>
                        </a:lnTo>
                        <a:lnTo>
                          <a:pt x="119" y="617"/>
                        </a:lnTo>
                        <a:lnTo>
                          <a:pt x="119" y="619"/>
                        </a:lnTo>
                        <a:lnTo>
                          <a:pt x="117" y="620"/>
                        </a:lnTo>
                        <a:lnTo>
                          <a:pt x="117" y="622"/>
                        </a:lnTo>
                        <a:lnTo>
                          <a:pt x="116" y="624"/>
                        </a:lnTo>
                        <a:lnTo>
                          <a:pt x="116" y="625"/>
                        </a:lnTo>
                        <a:lnTo>
                          <a:pt x="114" y="625"/>
                        </a:lnTo>
                        <a:lnTo>
                          <a:pt x="113" y="628"/>
                        </a:lnTo>
                        <a:lnTo>
                          <a:pt x="113" y="627"/>
                        </a:lnTo>
                        <a:lnTo>
                          <a:pt x="111" y="625"/>
                        </a:lnTo>
                        <a:lnTo>
                          <a:pt x="109" y="625"/>
                        </a:lnTo>
                        <a:lnTo>
                          <a:pt x="108" y="625"/>
                        </a:lnTo>
                        <a:lnTo>
                          <a:pt x="106" y="627"/>
                        </a:lnTo>
                        <a:lnTo>
                          <a:pt x="105" y="627"/>
                        </a:lnTo>
                        <a:lnTo>
                          <a:pt x="105" y="625"/>
                        </a:lnTo>
                        <a:lnTo>
                          <a:pt x="103" y="625"/>
                        </a:lnTo>
                        <a:lnTo>
                          <a:pt x="102" y="625"/>
                        </a:lnTo>
                        <a:lnTo>
                          <a:pt x="102" y="624"/>
                        </a:lnTo>
                        <a:lnTo>
                          <a:pt x="100" y="622"/>
                        </a:lnTo>
                        <a:lnTo>
                          <a:pt x="98" y="620"/>
                        </a:lnTo>
                        <a:lnTo>
                          <a:pt x="97" y="617"/>
                        </a:lnTo>
                        <a:lnTo>
                          <a:pt x="95" y="617"/>
                        </a:lnTo>
                        <a:lnTo>
                          <a:pt x="94" y="616"/>
                        </a:lnTo>
                        <a:lnTo>
                          <a:pt x="89" y="613"/>
                        </a:lnTo>
                        <a:lnTo>
                          <a:pt x="86" y="611"/>
                        </a:lnTo>
                        <a:lnTo>
                          <a:pt x="84" y="609"/>
                        </a:lnTo>
                        <a:lnTo>
                          <a:pt x="83" y="609"/>
                        </a:lnTo>
                        <a:lnTo>
                          <a:pt x="81" y="606"/>
                        </a:lnTo>
                        <a:lnTo>
                          <a:pt x="81" y="605"/>
                        </a:lnTo>
                        <a:lnTo>
                          <a:pt x="81" y="603"/>
                        </a:lnTo>
                        <a:lnTo>
                          <a:pt x="81" y="601"/>
                        </a:lnTo>
                        <a:lnTo>
                          <a:pt x="79" y="598"/>
                        </a:lnTo>
                        <a:lnTo>
                          <a:pt x="75" y="598"/>
                        </a:lnTo>
                        <a:lnTo>
                          <a:pt x="73" y="597"/>
                        </a:lnTo>
                        <a:lnTo>
                          <a:pt x="73" y="595"/>
                        </a:lnTo>
                        <a:lnTo>
                          <a:pt x="71" y="597"/>
                        </a:lnTo>
                        <a:lnTo>
                          <a:pt x="71" y="595"/>
                        </a:lnTo>
                        <a:lnTo>
                          <a:pt x="70" y="594"/>
                        </a:lnTo>
                        <a:lnTo>
                          <a:pt x="68" y="595"/>
                        </a:lnTo>
                        <a:lnTo>
                          <a:pt x="67" y="595"/>
                        </a:lnTo>
                        <a:lnTo>
                          <a:pt x="65" y="595"/>
                        </a:lnTo>
                        <a:lnTo>
                          <a:pt x="64" y="595"/>
                        </a:lnTo>
                        <a:lnTo>
                          <a:pt x="62" y="595"/>
                        </a:lnTo>
                        <a:lnTo>
                          <a:pt x="62" y="594"/>
                        </a:lnTo>
                        <a:lnTo>
                          <a:pt x="60" y="594"/>
                        </a:lnTo>
                        <a:lnTo>
                          <a:pt x="60" y="592"/>
                        </a:lnTo>
                        <a:lnTo>
                          <a:pt x="59" y="590"/>
                        </a:lnTo>
                        <a:lnTo>
                          <a:pt x="57" y="590"/>
                        </a:lnTo>
                        <a:lnTo>
                          <a:pt x="56" y="589"/>
                        </a:lnTo>
                        <a:lnTo>
                          <a:pt x="54" y="590"/>
                        </a:lnTo>
                        <a:lnTo>
                          <a:pt x="54" y="589"/>
                        </a:lnTo>
                        <a:lnTo>
                          <a:pt x="51" y="586"/>
                        </a:lnTo>
                        <a:lnTo>
                          <a:pt x="48" y="582"/>
                        </a:lnTo>
                        <a:lnTo>
                          <a:pt x="45" y="579"/>
                        </a:lnTo>
                        <a:lnTo>
                          <a:pt x="40" y="576"/>
                        </a:lnTo>
                        <a:lnTo>
                          <a:pt x="37" y="573"/>
                        </a:lnTo>
                        <a:lnTo>
                          <a:pt x="33" y="568"/>
                        </a:lnTo>
                        <a:lnTo>
                          <a:pt x="30" y="567"/>
                        </a:lnTo>
                        <a:lnTo>
                          <a:pt x="24" y="560"/>
                        </a:lnTo>
                        <a:lnTo>
                          <a:pt x="18" y="556"/>
                        </a:lnTo>
                        <a:lnTo>
                          <a:pt x="13" y="551"/>
                        </a:lnTo>
                        <a:lnTo>
                          <a:pt x="11" y="548"/>
                        </a:lnTo>
                        <a:lnTo>
                          <a:pt x="8" y="544"/>
                        </a:lnTo>
                        <a:lnTo>
                          <a:pt x="3" y="540"/>
                        </a:lnTo>
                        <a:lnTo>
                          <a:pt x="0" y="537"/>
                        </a:lnTo>
                        <a:lnTo>
                          <a:pt x="0" y="535"/>
                        </a:lnTo>
                        <a:lnTo>
                          <a:pt x="2" y="535"/>
                        </a:lnTo>
                        <a:lnTo>
                          <a:pt x="2" y="532"/>
                        </a:lnTo>
                        <a:lnTo>
                          <a:pt x="2" y="525"/>
                        </a:lnTo>
                        <a:lnTo>
                          <a:pt x="2" y="519"/>
                        </a:lnTo>
                        <a:lnTo>
                          <a:pt x="2" y="513"/>
                        </a:lnTo>
                        <a:lnTo>
                          <a:pt x="3" y="503"/>
                        </a:lnTo>
                        <a:lnTo>
                          <a:pt x="3" y="497"/>
                        </a:lnTo>
                        <a:lnTo>
                          <a:pt x="3" y="492"/>
                        </a:lnTo>
                        <a:lnTo>
                          <a:pt x="3" y="487"/>
                        </a:lnTo>
                        <a:lnTo>
                          <a:pt x="3" y="484"/>
                        </a:lnTo>
                        <a:lnTo>
                          <a:pt x="3" y="483"/>
                        </a:lnTo>
                        <a:lnTo>
                          <a:pt x="3" y="481"/>
                        </a:lnTo>
                        <a:lnTo>
                          <a:pt x="5" y="481"/>
                        </a:lnTo>
                        <a:lnTo>
                          <a:pt x="7" y="481"/>
                        </a:lnTo>
                        <a:lnTo>
                          <a:pt x="8" y="480"/>
                        </a:lnTo>
                        <a:lnTo>
                          <a:pt x="10" y="480"/>
                        </a:lnTo>
                        <a:lnTo>
                          <a:pt x="13" y="481"/>
                        </a:lnTo>
                        <a:lnTo>
                          <a:pt x="14" y="481"/>
                        </a:lnTo>
                        <a:lnTo>
                          <a:pt x="18" y="481"/>
                        </a:lnTo>
                        <a:lnTo>
                          <a:pt x="18" y="480"/>
                        </a:lnTo>
                        <a:lnTo>
                          <a:pt x="19" y="480"/>
                        </a:lnTo>
                        <a:lnTo>
                          <a:pt x="21" y="478"/>
                        </a:lnTo>
                        <a:lnTo>
                          <a:pt x="24" y="478"/>
                        </a:lnTo>
                        <a:lnTo>
                          <a:pt x="26" y="478"/>
                        </a:lnTo>
                        <a:lnTo>
                          <a:pt x="29" y="478"/>
                        </a:lnTo>
                        <a:lnTo>
                          <a:pt x="30" y="476"/>
                        </a:lnTo>
                        <a:lnTo>
                          <a:pt x="32" y="475"/>
                        </a:lnTo>
                        <a:lnTo>
                          <a:pt x="33" y="475"/>
                        </a:lnTo>
                        <a:lnTo>
                          <a:pt x="37" y="470"/>
                        </a:lnTo>
                        <a:lnTo>
                          <a:pt x="38" y="468"/>
                        </a:lnTo>
                        <a:lnTo>
                          <a:pt x="40" y="467"/>
                        </a:lnTo>
                        <a:lnTo>
                          <a:pt x="41" y="464"/>
                        </a:lnTo>
                        <a:lnTo>
                          <a:pt x="43" y="459"/>
                        </a:lnTo>
                        <a:lnTo>
                          <a:pt x="46" y="457"/>
                        </a:lnTo>
                        <a:lnTo>
                          <a:pt x="48" y="454"/>
                        </a:lnTo>
                        <a:lnTo>
                          <a:pt x="48" y="451"/>
                        </a:lnTo>
                        <a:lnTo>
                          <a:pt x="49" y="449"/>
                        </a:lnTo>
                        <a:lnTo>
                          <a:pt x="49" y="448"/>
                        </a:lnTo>
                        <a:lnTo>
                          <a:pt x="49" y="446"/>
                        </a:lnTo>
                        <a:lnTo>
                          <a:pt x="51" y="445"/>
                        </a:lnTo>
                        <a:lnTo>
                          <a:pt x="51" y="443"/>
                        </a:lnTo>
                        <a:lnTo>
                          <a:pt x="51" y="441"/>
                        </a:lnTo>
                        <a:lnTo>
                          <a:pt x="51" y="440"/>
                        </a:lnTo>
                        <a:lnTo>
                          <a:pt x="52" y="440"/>
                        </a:lnTo>
                        <a:lnTo>
                          <a:pt x="51" y="440"/>
                        </a:lnTo>
                        <a:lnTo>
                          <a:pt x="49" y="440"/>
                        </a:lnTo>
                        <a:lnTo>
                          <a:pt x="49" y="438"/>
                        </a:lnTo>
                        <a:lnTo>
                          <a:pt x="48" y="438"/>
                        </a:lnTo>
                        <a:lnTo>
                          <a:pt x="46" y="437"/>
                        </a:lnTo>
                        <a:lnTo>
                          <a:pt x="45" y="437"/>
                        </a:lnTo>
                        <a:lnTo>
                          <a:pt x="43" y="435"/>
                        </a:lnTo>
                        <a:lnTo>
                          <a:pt x="43" y="434"/>
                        </a:lnTo>
                        <a:lnTo>
                          <a:pt x="45" y="432"/>
                        </a:lnTo>
                        <a:lnTo>
                          <a:pt x="46" y="432"/>
                        </a:lnTo>
                        <a:lnTo>
                          <a:pt x="46" y="430"/>
                        </a:lnTo>
                        <a:lnTo>
                          <a:pt x="46" y="429"/>
                        </a:lnTo>
                        <a:lnTo>
                          <a:pt x="48" y="427"/>
                        </a:lnTo>
                        <a:lnTo>
                          <a:pt x="48" y="426"/>
                        </a:lnTo>
                        <a:lnTo>
                          <a:pt x="48" y="424"/>
                        </a:lnTo>
                        <a:lnTo>
                          <a:pt x="48" y="422"/>
                        </a:lnTo>
                        <a:lnTo>
                          <a:pt x="51" y="422"/>
                        </a:lnTo>
                        <a:lnTo>
                          <a:pt x="56" y="422"/>
                        </a:lnTo>
                        <a:lnTo>
                          <a:pt x="57" y="422"/>
                        </a:lnTo>
                        <a:lnTo>
                          <a:pt x="59" y="422"/>
                        </a:lnTo>
                        <a:lnTo>
                          <a:pt x="65" y="422"/>
                        </a:lnTo>
                        <a:lnTo>
                          <a:pt x="78" y="422"/>
                        </a:lnTo>
                        <a:lnTo>
                          <a:pt x="90" y="422"/>
                        </a:lnTo>
                        <a:lnTo>
                          <a:pt x="97" y="422"/>
                        </a:lnTo>
                        <a:lnTo>
                          <a:pt x="102" y="422"/>
                        </a:lnTo>
                        <a:lnTo>
                          <a:pt x="105" y="422"/>
                        </a:lnTo>
                        <a:lnTo>
                          <a:pt x="106" y="422"/>
                        </a:lnTo>
                        <a:lnTo>
                          <a:pt x="108" y="421"/>
                        </a:lnTo>
                        <a:lnTo>
                          <a:pt x="109" y="421"/>
                        </a:lnTo>
                        <a:lnTo>
                          <a:pt x="113" y="419"/>
                        </a:lnTo>
                        <a:lnTo>
                          <a:pt x="113" y="418"/>
                        </a:lnTo>
                        <a:lnTo>
                          <a:pt x="113" y="416"/>
                        </a:lnTo>
                        <a:lnTo>
                          <a:pt x="114" y="416"/>
                        </a:lnTo>
                        <a:lnTo>
                          <a:pt x="114" y="415"/>
                        </a:lnTo>
                        <a:lnTo>
                          <a:pt x="116" y="413"/>
                        </a:lnTo>
                        <a:lnTo>
                          <a:pt x="117" y="413"/>
                        </a:lnTo>
                        <a:lnTo>
                          <a:pt x="119" y="413"/>
                        </a:lnTo>
                        <a:lnTo>
                          <a:pt x="121" y="413"/>
                        </a:lnTo>
                        <a:lnTo>
                          <a:pt x="122" y="415"/>
                        </a:lnTo>
                        <a:lnTo>
                          <a:pt x="124" y="415"/>
                        </a:lnTo>
                        <a:lnTo>
                          <a:pt x="125" y="415"/>
                        </a:lnTo>
                        <a:lnTo>
                          <a:pt x="127" y="415"/>
                        </a:lnTo>
                        <a:lnTo>
                          <a:pt x="127" y="413"/>
                        </a:lnTo>
                        <a:lnTo>
                          <a:pt x="128" y="413"/>
                        </a:lnTo>
                        <a:lnTo>
                          <a:pt x="128" y="411"/>
                        </a:lnTo>
                        <a:lnTo>
                          <a:pt x="130" y="411"/>
                        </a:lnTo>
                        <a:lnTo>
                          <a:pt x="132" y="411"/>
                        </a:lnTo>
                        <a:lnTo>
                          <a:pt x="132" y="410"/>
                        </a:lnTo>
                        <a:lnTo>
                          <a:pt x="132" y="408"/>
                        </a:lnTo>
                        <a:lnTo>
                          <a:pt x="133" y="408"/>
                        </a:lnTo>
                        <a:lnTo>
                          <a:pt x="133" y="407"/>
                        </a:lnTo>
                        <a:lnTo>
                          <a:pt x="135" y="407"/>
                        </a:lnTo>
                        <a:lnTo>
                          <a:pt x="138" y="405"/>
                        </a:lnTo>
                        <a:lnTo>
                          <a:pt x="138" y="403"/>
                        </a:lnTo>
                        <a:lnTo>
                          <a:pt x="140" y="403"/>
                        </a:lnTo>
                        <a:lnTo>
                          <a:pt x="140" y="402"/>
                        </a:lnTo>
                        <a:lnTo>
                          <a:pt x="141" y="399"/>
                        </a:lnTo>
                        <a:lnTo>
                          <a:pt x="143" y="399"/>
                        </a:lnTo>
                        <a:lnTo>
                          <a:pt x="144" y="397"/>
                        </a:lnTo>
                        <a:lnTo>
                          <a:pt x="146" y="397"/>
                        </a:lnTo>
                        <a:lnTo>
                          <a:pt x="146" y="399"/>
                        </a:lnTo>
                        <a:lnTo>
                          <a:pt x="147" y="399"/>
                        </a:lnTo>
                        <a:lnTo>
                          <a:pt x="147" y="397"/>
                        </a:lnTo>
                        <a:lnTo>
                          <a:pt x="147" y="396"/>
                        </a:lnTo>
                        <a:lnTo>
                          <a:pt x="149" y="396"/>
                        </a:lnTo>
                        <a:lnTo>
                          <a:pt x="149" y="397"/>
                        </a:lnTo>
                        <a:lnTo>
                          <a:pt x="149" y="396"/>
                        </a:lnTo>
                        <a:lnTo>
                          <a:pt x="149" y="394"/>
                        </a:lnTo>
                        <a:lnTo>
                          <a:pt x="151" y="394"/>
                        </a:lnTo>
                        <a:lnTo>
                          <a:pt x="151" y="392"/>
                        </a:lnTo>
                        <a:lnTo>
                          <a:pt x="151" y="391"/>
                        </a:lnTo>
                        <a:lnTo>
                          <a:pt x="152" y="389"/>
                        </a:lnTo>
                        <a:lnTo>
                          <a:pt x="152" y="388"/>
                        </a:lnTo>
                        <a:lnTo>
                          <a:pt x="152" y="386"/>
                        </a:lnTo>
                        <a:lnTo>
                          <a:pt x="152" y="384"/>
                        </a:lnTo>
                        <a:lnTo>
                          <a:pt x="154" y="384"/>
                        </a:lnTo>
                        <a:lnTo>
                          <a:pt x="154" y="383"/>
                        </a:lnTo>
                        <a:lnTo>
                          <a:pt x="154" y="381"/>
                        </a:lnTo>
                        <a:lnTo>
                          <a:pt x="155" y="377"/>
                        </a:lnTo>
                        <a:lnTo>
                          <a:pt x="157" y="373"/>
                        </a:lnTo>
                        <a:lnTo>
                          <a:pt x="160" y="372"/>
                        </a:lnTo>
                        <a:lnTo>
                          <a:pt x="162" y="370"/>
                        </a:lnTo>
                        <a:lnTo>
                          <a:pt x="165" y="365"/>
                        </a:lnTo>
                        <a:lnTo>
                          <a:pt x="166" y="362"/>
                        </a:lnTo>
                        <a:lnTo>
                          <a:pt x="168" y="359"/>
                        </a:lnTo>
                        <a:lnTo>
                          <a:pt x="171" y="358"/>
                        </a:lnTo>
                        <a:lnTo>
                          <a:pt x="173" y="354"/>
                        </a:lnTo>
                        <a:lnTo>
                          <a:pt x="176" y="351"/>
                        </a:lnTo>
                        <a:lnTo>
                          <a:pt x="179" y="350"/>
                        </a:lnTo>
                        <a:lnTo>
                          <a:pt x="182" y="348"/>
                        </a:lnTo>
                        <a:lnTo>
                          <a:pt x="185" y="345"/>
                        </a:lnTo>
                        <a:lnTo>
                          <a:pt x="187" y="343"/>
                        </a:lnTo>
                        <a:lnTo>
                          <a:pt x="189" y="342"/>
                        </a:lnTo>
                        <a:lnTo>
                          <a:pt x="192" y="340"/>
                        </a:lnTo>
                        <a:lnTo>
                          <a:pt x="193" y="340"/>
                        </a:lnTo>
                        <a:lnTo>
                          <a:pt x="197" y="339"/>
                        </a:lnTo>
                        <a:lnTo>
                          <a:pt x="200" y="337"/>
                        </a:lnTo>
                        <a:lnTo>
                          <a:pt x="201" y="335"/>
                        </a:lnTo>
                        <a:lnTo>
                          <a:pt x="205" y="335"/>
                        </a:lnTo>
                        <a:lnTo>
                          <a:pt x="206" y="335"/>
                        </a:lnTo>
                        <a:lnTo>
                          <a:pt x="208" y="334"/>
                        </a:lnTo>
                        <a:lnTo>
                          <a:pt x="211" y="334"/>
                        </a:lnTo>
                        <a:lnTo>
                          <a:pt x="212" y="334"/>
                        </a:lnTo>
                        <a:lnTo>
                          <a:pt x="216" y="334"/>
                        </a:lnTo>
                        <a:lnTo>
                          <a:pt x="219" y="335"/>
                        </a:lnTo>
                        <a:lnTo>
                          <a:pt x="220" y="335"/>
                        </a:lnTo>
                        <a:lnTo>
                          <a:pt x="222" y="337"/>
                        </a:lnTo>
                        <a:lnTo>
                          <a:pt x="225" y="337"/>
                        </a:lnTo>
                        <a:lnTo>
                          <a:pt x="227" y="339"/>
                        </a:lnTo>
                        <a:lnTo>
                          <a:pt x="230" y="339"/>
                        </a:lnTo>
                        <a:lnTo>
                          <a:pt x="231" y="340"/>
                        </a:lnTo>
                        <a:lnTo>
                          <a:pt x="233" y="340"/>
                        </a:lnTo>
                        <a:lnTo>
                          <a:pt x="236" y="342"/>
                        </a:lnTo>
                        <a:lnTo>
                          <a:pt x="239" y="342"/>
                        </a:lnTo>
                        <a:lnTo>
                          <a:pt x="241" y="343"/>
                        </a:lnTo>
                        <a:lnTo>
                          <a:pt x="244" y="343"/>
                        </a:lnTo>
                        <a:lnTo>
                          <a:pt x="247" y="345"/>
                        </a:lnTo>
                        <a:lnTo>
                          <a:pt x="249" y="345"/>
                        </a:lnTo>
                        <a:lnTo>
                          <a:pt x="252" y="345"/>
                        </a:lnTo>
                        <a:lnTo>
                          <a:pt x="254" y="345"/>
                        </a:lnTo>
                        <a:lnTo>
                          <a:pt x="255" y="343"/>
                        </a:lnTo>
                        <a:lnTo>
                          <a:pt x="257" y="342"/>
                        </a:lnTo>
                        <a:lnTo>
                          <a:pt x="258" y="340"/>
                        </a:lnTo>
                        <a:lnTo>
                          <a:pt x="260" y="342"/>
                        </a:lnTo>
                        <a:lnTo>
                          <a:pt x="262" y="342"/>
                        </a:lnTo>
                        <a:lnTo>
                          <a:pt x="263" y="340"/>
                        </a:lnTo>
                        <a:lnTo>
                          <a:pt x="265" y="340"/>
                        </a:lnTo>
                        <a:lnTo>
                          <a:pt x="266" y="340"/>
                        </a:lnTo>
                        <a:lnTo>
                          <a:pt x="268" y="339"/>
                        </a:lnTo>
                        <a:lnTo>
                          <a:pt x="269" y="339"/>
                        </a:lnTo>
                        <a:lnTo>
                          <a:pt x="269" y="337"/>
                        </a:lnTo>
                        <a:lnTo>
                          <a:pt x="271" y="337"/>
                        </a:lnTo>
                        <a:lnTo>
                          <a:pt x="273" y="335"/>
                        </a:lnTo>
                        <a:lnTo>
                          <a:pt x="274" y="335"/>
                        </a:lnTo>
                        <a:lnTo>
                          <a:pt x="276" y="335"/>
                        </a:lnTo>
                        <a:lnTo>
                          <a:pt x="277" y="335"/>
                        </a:lnTo>
                        <a:lnTo>
                          <a:pt x="277" y="334"/>
                        </a:lnTo>
                        <a:lnTo>
                          <a:pt x="277" y="332"/>
                        </a:lnTo>
                        <a:lnTo>
                          <a:pt x="277" y="331"/>
                        </a:lnTo>
                        <a:lnTo>
                          <a:pt x="279" y="331"/>
                        </a:lnTo>
                        <a:lnTo>
                          <a:pt x="279" y="329"/>
                        </a:lnTo>
                        <a:lnTo>
                          <a:pt x="281" y="327"/>
                        </a:lnTo>
                        <a:lnTo>
                          <a:pt x="282" y="326"/>
                        </a:lnTo>
                        <a:lnTo>
                          <a:pt x="284" y="326"/>
                        </a:lnTo>
                        <a:lnTo>
                          <a:pt x="284" y="324"/>
                        </a:lnTo>
                        <a:lnTo>
                          <a:pt x="285" y="324"/>
                        </a:lnTo>
                        <a:lnTo>
                          <a:pt x="285" y="323"/>
                        </a:lnTo>
                        <a:lnTo>
                          <a:pt x="287" y="323"/>
                        </a:lnTo>
                        <a:lnTo>
                          <a:pt x="287" y="321"/>
                        </a:lnTo>
                        <a:lnTo>
                          <a:pt x="287" y="323"/>
                        </a:lnTo>
                        <a:lnTo>
                          <a:pt x="287" y="321"/>
                        </a:lnTo>
                        <a:lnTo>
                          <a:pt x="288" y="320"/>
                        </a:lnTo>
                        <a:lnTo>
                          <a:pt x="288" y="318"/>
                        </a:lnTo>
                        <a:lnTo>
                          <a:pt x="290" y="318"/>
                        </a:lnTo>
                        <a:lnTo>
                          <a:pt x="290" y="316"/>
                        </a:lnTo>
                        <a:lnTo>
                          <a:pt x="290" y="315"/>
                        </a:lnTo>
                        <a:lnTo>
                          <a:pt x="290" y="313"/>
                        </a:lnTo>
                        <a:lnTo>
                          <a:pt x="292" y="313"/>
                        </a:lnTo>
                        <a:lnTo>
                          <a:pt x="293" y="312"/>
                        </a:lnTo>
                        <a:lnTo>
                          <a:pt x="293" y="310"/>
                        </a:lnTo>
                        <a:lnTo>
                          <a:pt x="293" y="308"/>
                        </a:lnTo>
                        <a:lnTo>
                          <a:pt x="295" y="308"/>
                        </a:lnTo>
                        <a:lnTo>
                          <a:pt x="295" y="307"/>
                        </a:lnTo>
                        <a:lnTo>
                          <a:pt x="295" y="305"/>
                        </a:lnTo>
                        <a:lnTo>
                          <a:pt x="296" y="305"/>
                        </a:lnTo>
                        <a:lnTo>
                          <a:pt x="296" y="304"/>
                        </a:lnTo>
                        <a:lnTo>
                          <a:pt x="296" y="302"/>
                        </a:lnTo>
                        <a:lnTo>
                          <a:pt x="296" y="301"/>
                        </a:lnTo>
                        <a:lnTo>
                          <a:pt x="298" y="301"/>
                        </a:lnTo>
                        <a:lnTo>
                          <a:pt x="298" y="299"/>
                        </a:lnTo>
                        <a:lnTo>
                          <a:pt x="300" y="297"/>
                        </a:lnTo>
                        <a:lnTo>
                          <a:pt x="300" y="296"/>
                        </a:lnTo>
                        <a:lnTo>
                          <a:pt x="301" y="296"/>
                        </a:lnTo>
                        <a:lnTo>
                          <a:pt x="301" y="294"/>
                        </a:lnTo>
                        <a:lnTo>
                          <a:pt x="301" y="293"/>
                        </a:lnTo>
                        <a:lnTo>
                          <a:pt x="303" y="291"/>
                        </a:lnTo>
                        <a:lnTo>
                          <a:pt x="303" y="289"/>
                        </a:lnTo>
                        <a:lnTo>
                          <a:pt x="303" y="288"/>
                        </a:lnTo>
                        <a:lnTo>
                          <a:pt x="303" y="286"/>
                        </a:lnTo>
                        <a:lnTo>
                          <a:pt x="301" y="286"/>
                        </a:lnTo>
                        <a:lnTo>
                          <a:pt x="301" y="285"/>
                        </a:lnTo>
                        <a:lnTo>
                          <a:pt x="300" y="285"/>
                        </a:lnTo>
                        <a:lnTo>
                          <a:pt x="300" y="283"/>
                        </a:lnTo>
                        <a:lnTo>
                          <a:pt x="298" y="283"/>
                        </a:lnTo>
                        <a:lnTo>
                          <a:pt x="298" y="282"/>
                        </a:lnTo>
                        <a:lnTo>
                          <a:pt x="296" y="282"/>
                        </a:lnTo>
                        <a:lnTo>
                          <a:pt x="295" y="280"/>
                        </a:lnTo>
                        <a:lnTo>
                          <a:pt x="295" y="278"/>
                        </a:lnTo>
                        <a:lnTo>
                          <a:pt x="293" y="278"/>
                        </a:lnTo>
                        <a:lnTo>
                          <a:pt x="292" y="280"/>
                        </a:lnTo>
                        <a:lnTo>
                          <a:pt x="292" y="278"/>
                        </a:lnTo>
                        <a:lnTo>
                          <a:pt x="292" y="277"/>
                        </a:lnTo>
                        <a:lnTo>
                          <a:pt x="292" y="275"/>
                        </a:lnTo>
                        <a:lnTo>
                          <a:pt x="293" y="274"/>
                        </a:lnTo>
                        <a:lnTo>
                          <a:pt x="293" y="272"/>
                        </a:lnTo>
                        <a:lnTo>
                          <a:pt x="293" y="270"/>
                        </a:lnTo>
                        <a:lnTo>
                          <a:pt x="293" y="269"/>
                        </a:lnTo>
                        <a:lnTo>
                          <a:pt x="293" y="267"/>
                        </a:lnTo>
                        <a:lnTo>
                          <a:pt x="295" y="266"/>
                        </a:lnTo>
                        <a:lnTo>
                          <a:pt x="293" y="264"/>
                        </a:lnTo>
                        <a:lnTo>
                          <a:pt x="293" y="263"/>
                        </a:lnTo>
                        <a:lnTo>
                          <a:pt x="293" y="261"/>
                        </a:lnTo>
                        <a:lnTo>
                          <a:pt x="292" y="259"/>
                        </a:lnTo>
                        <a:lnTo>
                          <a:pt x="290" y="258"/>
                        </a:lnTo>
                        <a:lnTo>
                          <a:pt x="290" y="256"/>
                        </a:lnTo>
                        <a:lnTo>
                          <a:pt x="288" y="255"/>
                        </a:lnTo>
                        <a:lnTo>
                          <a:pt x="287" y="253"/>
                        </a:lnTo>
                        <a:lnTo>
                          <a:pt x="287" y="251"/>
                        </a:lnTo>
                        <a:lnTo>
                          <a:pt x="285" y="250"/>
                        </a:lnTo>
                        <a:lnTo>
                          <a:pt x="285" y="248"/>
                        </a:lnTo>
                        <a:lnTo>
                          <a:pt x="285" y="247"/>
                        </a:lnTo>
                        <a:lnTo>
                          <a:pt x="285" y="245"/>
                        </a:lnTo>
                        <a:lnTo>
                          <a:pt x="285" y="243"/>
                        </a:lnTo>
                        <a:lnTo>
                          <a:pt x="287" y="243"/>
                        </a:lnTo>
                        <a:lnTo>
                          <a:pt x="288" y="243"/>
                        </a:lnTo>
                        <a:lnTo>
                          <a:pt x="290" y="243"/>
                        </a:lnTo>
                        <a:lnTo>
                          <a:pt x="292" y="243"/>
                        </a:lnTo>
                        <a:lnTo>
                          <a:pt x="293" y="243"/>
                        </a:lnTo>
                        <a:lnTo>
                          <a:pt x="293" y="245"/>
                        </a:lnTo>
                        <a:lnTo>
                          <a:pt x="295" y="245"/>
                        </a:lnTo>
                        <a:lnTo>
                          <a:pt x="296" y="243"/>
                        </a:lnTo>
                        <a:lnTo>
                          <a:pt x="295" y="243"/>
                        </a:lnTo>
                        <a:lnTo>
                          <a:pt x="295" y="242"/>
                        </a:lnTo>
                        <a:lnTo>
                          <a:pt x="293" y="240"/>
                        </a:lnTo>
                        <a:lnTo>
                          <a:pt x="292" y="239"/>
                        </a:lnTo>
                        <a:lnTo>
                          <a:pt x="290" y="237"/>
                        </a:lnTo>
                        <a:lnTo>
                          <a:pt x="290" y="236"/>
                        </a:lnTo>
                        <a:lnTo>
                          <a:pt x="288" y="234"/>
                        </a:lnTo>
                        <a:lnTo>
                          <a:pt x="287" y="232"/>
                        </a:lnTo>
                        <a:lnTo>
                          <a:pt x="287" y="231"/>
                        </a:lnTo>
                        <a:lnTo>
                          <a:pt x="285" y="229"/>
                        </a:lnTo>
                        <a:lnTo>
                          <a:pt x="284" y="229"/>
                        </a:lnTo>
                        <a:lnTo>
                          <a:pt x="282" y="229"/>
                        </a:lnTo>
                        <a:lnTo>
                          <a:pt x="281" y="229"/>
                        </a:lnTo>
                        <a:lnTo>
                          <a:pt x="279" y="228"/>
                        </a:lnTo>
                        <a:lnTo>
                          <a:pt x="277" y="226"/>
                        </a:lnTo>
                        <a:lnTo>
                          <a:pt x="277" y="224"/>
                        </a:lnTo>
                        <a:lnTo>
                          <a:pt x="276" y="223"/>
                        </a:lnTo>
                        <a:lnTo>
                          <a:pt x="274" y="223"/>
                        </a:lnTo>
                        <a:lnTo>
                          <a:pt x="274" y="220"/>
                        </a:lnTo>
                        <a:lnTo>
                          <a:pt x="274" y="218"/>
                        </a:lnTo>
                        <a:lnTo>
                          <a:pt x="273" y="215"/>
                        </a:lnTo>
                        <a:lnTo>
                          <a:pt x="269" y="213"/>
                        </a:lnTo>
                        <a:lnTo>
                          <a:pt x="266" y="213"/>
                        </a:lnTo>
                        <a:lnTo>
                          <a:pt x="263" y="212"/>
                        </a:lnTo>
                        <a:lnTo>
                          <a:pt x="258" y="212"/>
                        </a:lnTo>
                        <a:lnTo>
                          <a:pt x="257" y="212"/>
                        </a:lnTo>
                        <a:lnTo>
                          <a:pt x="254" y="210"/>
                        </a:lnTo>
                        <a:lnTo>
                          <a:pt x="254" y="209"/>
                        </a:lnTo>
                        <a:lnTo>
                          <a:pt x="252" y="209"/>
                        </a:lnTo>
                        <a:lnTo>
                          <a:pt x="252" y="205"/>
                        </a:lnTo>
                        <a:lnTo>
                          <a:pt x="252" y="204"/>
                        </a:lnTo>
                        <a:lnTo>
                          <a:pt x="252" y="201"/>
                        </a:lnTo>
                        <a:lnTo>
                          <a:pt x="254" y="199"/>
                        </a:lnTo>
                        <a:lnTo>
                          <a:pt x="254" y="196"/>
                        </a:lnTo>
                        <a:lnTo>
                          <a:pt x="254" y="194"/>
                        </a:lnTo>
                        <a:lnTo>
                          <a:pt x="254" y="191"/>
                        </a:lnTo>
                        <a:lnTo>
                          <a:pt x="254" y="190"/>
                        </a:lnTo>
                        <a:lnTo>
                          <a:pt x="254" y="186"/>
                        </a:lnTo>
                        <a:lnTo>
                          <a:pt x="252" y="182"/>
                        </a:lnTo>
                        <a:lnTo>
                          <a:pt x="252" y="179"/>
                        </a:lnTo>
                        <a:lnTo>
                          <a:pt x="250" y="174"/>
                        </a:lnTo>
                        <a:lnTo>
                          <a:pt x="249" y="172"/>
                        </a:lnTo>
                        <a:lnTo>
                          <a:pt x="247" y="171"/>
                        </a:lnTo>
                        <a:lnTo>
                          <a:pt x="246" y="171"/>
                        </a:lnTo>
                        <a:lnTo>
                          <a:pt x="244" y="169"/>
                        </a:lnTo>
                        <a:lnTo>
                          <a:pt x="243" y="169"/>
                        </a:lnTo>
                        <a:lnTo>
                          <a:pt x="241" y="169"/>
                        </a:lnTo>
                        <a:lnTo>
                          <a:pt x="239" y="169"/>
                        </a:lnTo>
                        <a:lnTo>
                          <a:pt x="239" y="167"/>
                        </a:lnTo>
                        <a:lnTo>
                          <a:pt x="238" y="167"/>
                        </a:lnTo>
                        <a:lnTo>
                          <a:pt x="238" y="166"/>
                        </a:lnTo>
                        <a:lnTo>
                          <a:pt x="236" y="166"/>
                        </a:lnTo>
                        <a:lnTo>
                          <a:pt x="236" y="164"/>
                        </a:lnTo>
                        <a:lnTo>
                          <a:pt x="236" y="163"/>
                        </a:lnTo>
                        <a:lnTo>
                          <a:pt x="236" y="161"/>
                        </a:lnTo>
                        <a:lnTo>
                          <a:pt x="236" y="160"/>
                        </a:lnTo>
                        <a:lnTo>
                          <a:pt x="236" y="158"/>
                        </a:lnTo>
                        <a:lnTo>
                          <a:pt x="236" y="156"/>
                        </a:lnTo>
                        <a:lnTo>
                          <a:pt x="238" y="155"/>
                        </a:lnTo>
                        <a:lnTo>
                          <a:pt x="238" y="153"/>
                        </a:lnTo>
                        <a:lnTo>
                          <a:pt x="235" y="153"/>
                        </a:lnTo>
                        <a:lnTo>
                          <a:pt x="233" y="150"/>
                        </a:lnTo>
                        <a:lnTo>
                          <a:pt x="231" y="148"/>
                        </a:lnTo>
                        <a:lnTo>
                          <a:pt x="228" y="145"/>
                        </a:lnTo>
                        <a:lnTo>
                          <a:pt x="225" y="142"/>
                        </a:lnTo>
                        <a:lnTo>
                          <a:pt x="224" y="141"/>
                        </a:lnTo>
                        <a:lnTo>
                          <a:pt x="224" y="139"/>
                        </a:lnTo>
                        <a:lnTo>
                          <a:pt x="225" y="137"/>
                        </a:lnTo>
                        <a:lnTo>
                          <a:pt x="225" y="136"/>
                        </a:lnTo>
                        <a:lnTo>
                          <a:pt x="227" y="133"/>
                        </a:lnTo>
                        <a:lnTo>
                          <a:pt x="227" y="131"/>
                        </a:lnTo>
                        <a:lnTo>
                          <a:pt x="228" y="129"/>
                        </a:lnTo>
                        <a:lnTo>
                          <a:pt x="228" y="126"/>
                        </a:lnTo>
                        <a:lnTo>
                          <a:pt x="228" y="123"/>
                        </a:lnTo>
                        <a:lnTo>
                          <a:pt x="228" y="120"/>
                        </a:lnTo>
                        <a:lnTo>
                          <a:pt x="230" y="120"/>
                        </a:lnTo>
                        <a:lnTo>
                          <a:pt x="231" y="118"/>
                        </a:lnTo>
                        <a:lnTo>
                          <a:pt x="235" y="118"/>
                        </a:lnTo>
                        <a:lnTo>
                          <a:pt x="236" y="117"/>
                        </a:lnTo>
                        <a:lnTo>
                          <a:pt x="238" y="115"/>
                        </a:lnTo>
                        <a:lnTo>
                          <a:pt x="239" y="114"/>
                        </a:lnTo>
                        <a:lnTo>
                          <a:pt x="239" y="110"/>
                        </a:lnTo>
                        <a:lnTo>
                          <a:pt x="239" y="109"/>
                        </a:lnTo>
                        <a:lnTo>
                          <a:pt x="239" y="106"/>
                        </a:lnTo>
                        <a:lnTo>
                          <a:pt x="239" y="103"/>
                        </a:lnTo>
                        <a:lnTo>
                          <a:pt x="239" y="98"/>
                        </a:lnTo>
                        <a:lnTo>
                          <a:pt x="239" y="95"/>
                        </a:lnTo>
                        <a:lnTo>
                          <a:pt x="238" y="95"/>
                        </a:lnTo>
                        <a:lnTo>
                          <a:pt x="236" y="95"/>
                        </a:lnTo>
                        <a:lnTo>
                          <a:pt x="236" y="93"/>
                        </a:lnTo>
                        <a:lnTo>
                          <a:pt x="235" y="93"/>
                        </a:lnTo>
                        <a:lnTo>
                          <a:pt x="233" y="95"/>
                        </a:lnTo>
                        <a:lnTo>
                          <a:pt x="231" y="95"/>
                        </a:lnTo>
                        <a:lnTo>
                          <a:pt x="230" y="95"/>
                        </a:lnTo>
                        <a:lnTo>
                          <a:pt x="228" y="95"/>
                        </a:lnTo>
                        <a:lnTo>
                          <a:pt x="227" y="95"/>
                        </a:lnTo>
                        <a:lnTo>
                          <a:pt x="225" y="95"/>
                        </a:lnTo>
                        <a:lnTo>
                          <a:pt x="224" y="95"/>
                        </a:lnTo>
                        <a:lnTo>
                          <a:pt x="222" y="95"/>
                        </a:lnTo>
                        <a:lnTo>
                          <a:pt x="219" y="95"/>
                        </a:lnTo>
                        <a:lnTo>
                          <a:pt x="217" y="91"/>
                        </a:lnTo>
                        <a:lnTo>
                          <a:pt x="217" y="90"/>
                        </a:lnTo>
                        <a:lnTo>
                          <a:pt x="219" y="87"/>
                        </a:lnTo>
                        <a:lnTo>
                          <a:pt x="219" y="84"/>
                        </a:lnTo>
                        <a:lnTo>
                          <a:pt x="217" y="82"/>
                        </a:lnTo>
                        <a:lnTo>
                          <a:pt x="217" y="80"/>
                        </a:lnTo>
                        <a:lnTo>
                          <a:pt x="217" y="77"/>
                        </a:lnTo>
                        <a:lnTo>
                          <a:pt x="219" y="76"/>
                        </a:lnTo>
                        <a:lnTo>
                          <a:pt x="219" y="71"/>
                        </a:lnTo>
                        <a:lnTo>
                          <a:pt x="217" y="69"/>
                        </a:lnTo>
                        <a:lnTo>
                          <a:pt x="217" y="66"/>
                        </a:lnTo>
                        <a:lnTo>
                          <a:pt x="217" y="64"/>
                        </a:lnTo>
                        <a:lnTo>
                          <a:pt x="217" y="63"/>
                        </a:lnTo>
                        <a:lnTo>
                          <a:pt x="217" y="60"/>
                        </a:lnTo>
                        <a:lnTo>
                          <a:pt x="217" y="58"/>
                        </a:lnTo>
                        <a:lnTo>
                          <a:pt x="216" y="57"/>
                        </a:lnTo>
                        <a:lnTo>
                          <a:pt x="212" y="55"/>
                        </a:lnTo>
                        <a:lnTo>
                          <a:pt x="209" y="55"/>
                        </a:lnTo>
                        <a:lnTo>
                          <a:pt x="208" y="53"/>
                        </a:lnTo>
                        <a:lnTo>
                          <a:pt x="205" y="53"/>
                        </a:lnTo>
                        <a:lnTo>
                          <a:pt x="203" y="55"/>
                        </a:lnTo>
                        <a:lnTo>
                          <a:pt x="201" y="55"/>
                        </a:lnTo>
                        <a:lnTo>
                          <a:pt x="198" y="55"/>
                        </a:lnTo>
                        <a:lnTo>
                          <a:pt x="195" y="55"/>
                        </a:lnTo>
                        <a:lnTo>
                          <a:pt x="192" y="55"/>
                        </a:lnTo>
                        <a:lnTo>
                          <a:pt x="189" y="57"/>
                        </a:lnTo>
                        <a:lnTo>
                          <a:pt x="187" y="57"/>
                        </a:lnTo>
                        <a:lnTo>
                          <a:pt x="185" y="57"/>
                        </a:lnTo>
                        <a:lnTo>
                          <a:pt x="182" y="57"/>
                        </a:lnTo>
                        <a:lnTo>
                          <a:pt x="178" y="57"/>
                        </a:lnTo>
                        <a:lnTo>
                          <a:pt x="176" y="55"/>
                        </a:lnTo>
                        <a:lnTo>
                          <a:pt x="174" y="53"/>
                        </a:lnTo>
                        <a:lnTo>
                          <a:pt x="171" y="50"/>
                        </a:lnTo>
                        <a:lnTo>
                          <a:pt x="170" y="49"/>
                        </a:lnTo>
                        <a:lnTo>
                          <a:pt x="168" y="47"/>
                        </a:lnTo>
                        <a:lnTo>
                          <a:pt x="168" y="45"/>
                        </a:lnTo>
                        <a:lnTo>
                          <a:pt x="166" y="44"/>
                        </a:lnTo>
                        <a:lnTo>
                          <a:pt x="166" y="41"/>
                        </a:lnTo>
                        <a:lnTo>
                          <a:pt x="166" y="39"/>
                        </a:lnTo>
                        <a:lnTo>
                          <a:pt x="166" y="36"/>
                        </a:lnTo>
                        <a:lnTo>
                          <a:pt x="166" y="33"/>
                        </a:lnTo>
                        <a:lnTo>
                          <a:pt x="166" y="31"/>
                        </a:lnTo>
                        <a:lnTo>
                          <a:pt x="166" y="28"/>
                        </a:lnTo>
                        <a:lnTo>
                          <a:pt x="166" y="26"/>
                        </a:lnTo>
                        <a:lnTo>
                          <a:pt x="166" y="23"/>
                        </a:lnTo>
                        <a:lnTo>
                          <a:pt x="166" y="22"/>
                        </a:lnTo>
                        <a:lnTo>
                          <a:pt x="168" y="20"/>
                        </a:lnTo>
                        <a:lnTo>
                          <a:pt x="168" y="19"/>
                        </a:lnTo>
                        <a:lnTo>
                          <a:pt x="168" y="17"/>
                        </a:lnTo>
                        <a:lnTo>
                          <a:pt x="168" y="14"/>
                        </a:lnTo>
                        <a:lnTo>
                          <a:pt x="168" y="12"/>
                        </a:lnTo>
                        <a:lnTo>
                          <a:pt x="170" y="12"/>
                        </a:lnTo>
                        <a:lnTo>
                          <a:pt x="171" y="12"/>
                        </a:lnTo>
                        <a:lnTo>
                          <a:pt x="173" y="14"/>
                        </a:lnTo>
                        <a:lnTo>
                          <a:pt x="174" y="15"/>
                        </a:lnTo>
                        <a:lnTo>
                          <a:pt x="176" y="15"/>
                        </a:lnTo>
                        <a:lnTo>
                          <a:pt x="178" y="15"/>
                        </a:lnTo>
                        <a:lnTo>
                          <a:pt x="179" y="15"/>
                        </a:lnTo>
                        <a:lnTo>
                          <a:pt x="181" y="15"/>
                        </a:lnTo>
                        <a:lnTo>
                          <a:pt x="181" y="14"/>
                        </a:lnTo>
                        <a:lnTo>
                          <a:pt x="182" y="14"/>
                        </a:lnTo>
                        <a:lnTo>
                          <a:pt x="182" y="15"/>
                        </a:lnTo>
                        <a:lnTo>
                          <a:pt x="184" y="15"/>
                        </a:lnTo>
                        <a:lnTo>
                          <a:pt x="184" y="17"/>
                        </a:lnTo>
                        <a:lnTo>
                          <a:pt x="185" y="17"/>
                        </a:lnTo>
                        <a:lnTo>
                          <a:pt x="187" y="15"/>
                        </a:lnTo>
                        <a:lnTo>
                          <a:pt x="189" y="17"/>
                        </a:lnTo>
                        <a:lnTo>
                          <a:pt x="190" y="17"/>
                        </a:lnTo>
                        <a:lnTo>
                          <a:pt x="190" y="19"/>
                        </a:lnTo>
                        <a:lnTo>
                          <a:pt x="192" y="20"/>
                        </a:lnTo>
                        <a:lnTo>
                          <a:pt x="193" y="19"/>
                        </a:lnTo>
                        <a:lnTo>
                          <a:pt x="195" y="20"/>
                        </a:lnTo>
                        <a:lnTo>
                          <a:pt x="197" y="20"/>
                        </a:lnTo>
                        <a:lnTo>
                          <a:pt x="198" y="22"/>
                        </a:lnTo>
                        <a:lnTo>
                          <a:pt x="200" y="22"/>
                        </a:lnTo>
                        <a:lnTo>
                          <a:pt x="201" y="23"/>
                        </a:lnTo>
                        <a:lnTo>
                          <a:pt x="203" y="23"/>
                        </a:lnTo>
                        <a:lnTo>
                          <a:pt x="203" y="25"/>
                        </a:lnTo>
                        <a:lnTo>
                          <a:pt x="206" y="26"/>
                        </a:lnTo>
                        <a:lnTo>
                          <a:pt x="206" y="25"/>
                        </a:lnTo>
                        <a:lnTo>
                          <a:pt x="208" y="25"/>
                        </a:lnTo>
                        <a:lnTo>
                          <a:pt x="209" y="25"/>
                        </a:lnTo>
                        <a:lnTo>
                          <a:pt x="211" y="25"/>
                        </a:lnTo>
                        <a:lnTo>
                          <a:pt x="211" y="26"/>
                        </a:lnTo>
                        <a:lnTo>
                          <a:pt x="212" y="26"/>
                        </a:lnTo>
                        <a:lnTo>
                          <a:pt x="214" y="26"/>
                        </a:lnTo>
                        <a:lnTo>
                          <a:pt x="216" y="28"/>
                        </a:lnTo>
                        <a:lnTo>
                          <a:pt x="217" y="28"/>
                        </a:lnTo>
                        <a:lnTo>
                          <a:pt x="220" y="28"/>
                        </a:lnTo>
                        <a:lnTo>
                          <a:pt x="220" y="30"/>
                        </a:lnTo>
                        <a:lnTo>
                          <a:pt x="220" y="31"/>
                        </a:lnTo>
                        <a:lnTo>
                          <a:pt x="222" y="31"/>
                        </a:lnTo>
                        <a:lnTo>
                          <a:pt x="224" y="31"/>
                        </a:lnTo>
                        <a:lnTo>
                          <a:pt x="224" y="30"/>
                        </a:lnTo>
                        <a:lnTo>
                          <a:pt x="225" y="28"/>
                        </a:lnTo>
                        <a:lnTo>
                          <a:pt x="227" y="28"/>
                        </a:lnTo>
                        <a:lnTo>
                          <a:pt x="228" y="28"/>
                        </a:lnTo>
                        <a:lnTo>
                          <a:pt x="228" y="30"/>
                        </a:lnTo>
                        <a:lnTo>
                          <a:pt x="228" y="31"/>
                        </a:lnTo>
                        <a:lnTo>
                          <a:pt x="231" y="31"/>
                        </a:lnTo>
                        <a:lnTo>
                          <a:pt x="233" y="33"/>
                        </a:lnTo>
                        <a:lnTo>
                          <a:pt x="235" y="33"/>
                        </a:lnTo>
                        <a:lnTo>
                          <a:pt x="236" y="33"/>
                        </a:lnTo>
                        <a:lnTo>
                          <a:pt x="238" y="33"/>
                        </a:lnTo>
                        <a:lnTo>
                          <a:pt x="239" y="33"/>
                        </a:lnTo>
                        <a:lnTo>
                          <a:pt x="241" y="31"/>
                        </a:lnTo>
                        <a:lnTo>
                          <a:pt x="241" y="33"/>
                        </a:lnTo>
                        <a:lnTo>
                          <a:pt x="243" y="34"/>
                        </a:lnTo>
                        <a:lnTo>
                          <a:pt x="244" y="36"/>
                        </a:lnTo>
                        <a:lnTo>
                          <a:pt x="246" y="36"/>
                        </a:lnTo>
                        <a:lnTo>
                          <a:pt x="247" y="38"/>
                        </a:lnTo>
                        <a:lnTo>
                          <a:pt x="249" y="39"/>
                        </a:lnTo>
                        <a:lnTo>
                          <a:pt x="250" y="39"/>
                        </a:lnTo>
                        <a:lnTo>
                          <a:pt x="252" y="39"/>
                        </a:lnTo>
                        <a:lnTo>
                          <a:pt x="254" y="39"/>
                        </a:lnTo>
                        <a:lnTo>
                          <a:pt x="254" y="38"/>
                        </a:lnTo>
                        <a:lnTo>
                          <a:pt x="255" y="38"/>
                        </a:lnTo>
                        <a:lnTo>
                          <a:pt x="257" y="38"/>
                        </a:lnTo>
                        <a:lnTo>
                          <a:pt x="258" y="38"/>
                        </a:lnTo>
                        <a:lnTo>
                          <a:pt x="258" y="39"/>
                        </a:lnTo>
                        <a:lnTo>
                          <a:pt x="260" y="39"/>
                        </a:lnTo>
                        <a:lnTo>
                          <a:pt x="262" y="41"/>
                        </a:lnTo>
                        <a:lnTo>
                          <a:pt x="262" y="42"/>
                        </a:lnTo>
                        <a:lnTo>
                          <a:pt x="263" y="42"/>
                        </a:lnTo>
                        <a:lnTo>
                          <a:pt x="265" y="41"/>
                        </a:lnTo>
                        <a:lnTo>
                          <a:pt x="266" y="41"/>
                        </a:lnTo>
                        <a:lnTo>
                          <a:pt x="266" y="42"/>
                        </a:lnTo>
                        <a:lnTo>
                          <a:pt x="268" y="44"/>
                        </a:lnTo>
                        <a:lnTo>
                          <a:pt x="269" y="44"/>
                        </a:lnTo>
                        <a:lnTo>
                          <a:pt x="271" y="44"/>
                        </a:lnTo>
                        <a:lnTo>
                          <a:pt x="273" y="44"/>
                        </a:lnTo>
                        <a:lnTo>
                          <a:pt x="274" y="44"/>
                        </a:lnTo>
                        <a:lnTo>
                          <a:pt x="276" y="44"/>
                        </a:lnTo>
                        <a:lnTo>
                          <a:pt x="277" y="44"/>
                        </a:lnTo>
                        <a:lnTo>
                          <a:pt x="279" y="44"/>
                        </a:lnTo>
                        <a:lnTo>
                          <a:pt x="281" y="45"/>
                        </a:lnTo>
                        <a:lnTo>
                          <a:pt x="282" y="47"/>
                        </a:lnTo>
                        <a:lnTo>
                          <a:pt x="284" y="49"/>
                        </a:lnTo>
                        <a:lnTo>
                          <a:pt x="285" y="49"/>
                        </a:lnTo>
                        <a:lnTo>
                          <a:pt x="287" y="47"/>
                        </a:lnTo>
                        <a:lnTo>
                          <a:pt x="288" y="49"/>
                        </a:lnTo>
                        <a:lnTo>
                          <a:pt x="290" y="47"/>
                        </a:lnTo>
                        <a:lnTo>
                          <a:pt x="290" y="49"/>
                        </a:lnTo>
                        <a:lnTo>
                          <a:pt x="292" y="50"/>
                        </a:lnTo>
                        <a:lnTo>
                          <a:pt x="293" y="50"/>
                        </a:lnTo>
                        <a:lnTo>
                          <a:pt x="295" y="50"/>
                        </a:lnTo>
                        <a:lnTo>
                          <a:pt x="295" y="49"/>
                        </a:lnTo>
                        <a:lnTo>
                          <a:pt x="295" y="47"/>
                        </a:lnTo>
                        <a:lnTo>
                          <a:pt x="293" y="45"/>
                        </a:lnTo>
                        <a:lnTo>
                          <a:pt x="295" y="45"/>
                        </a:lnTo>
                        <a:lnTo>
                          <a:pt x="296" y="45"/>
                        </a:lnTo>
                        <a:lnTo>
                          <a:pt x="298" y="45"/>
                        </a:lnTo>
                        <a:lnTo>
                          <a:pt x="298" y="44"/>
                        </a:lnTo>
                        <a:lnTo>
                          <a:pt x="300" y="44"/>
                        </a:lnTo>
                        <a:lnTo>
                          <a:pt x="301" y="44"/>
                        </a:lnTo>
                        <a:lnTo>
                          <a:pt x="301" y="45"/>
                        </a:lnTo>
                        <a:lnTo>
                          <a:pt x="303" y="45"/>
                        </a:lnTo>
                        <a:lnTo>
                          <a:pt x="304" y="44"/>
                        </a:lnTo>
                        <a:lnTo>
                          <a:pt x="306" y="44"/>
                        </a:lnTo>
                        <a:lnTo>
                          <a:pt x="306" y="42"/>
                        </a:lnTo>
                        <a:lnTo>
                          <a:pt x="306" y="41"/>
                        </a:lnTo>
                        <a:lnTo>
                          <a:pt x="306" y="39"/>
                        </a:lnTo>
                        <a:lnTo>
                          <a:pt x="307" y="38"/>
                        </a:lnTo>
                        <a:lnTo>
                          <a:pt x="309" y="36"/>
                        </a:lnTo>
                        <a:lnTo>
                          <a:pt x="309" y="34"/>
                        </a:lnTo>
                        <a:lnTo>
                          <a:pt x="309" y="33"/>
                        </a:lnTo>
                        <a:lnTo>
                          <a:pt x="309" y="31"/>
                        </a:lnTo>
                        <a:lnTo>
                          <a:pt x="311" y="31"/>
                        </a:lnTo>
                        <a:lnTo>
                          <a:pt x="312" y="30"/>
                        </a:lnTo>
                        <a:lnTo>
                          <a:pt x="314" y="28"/>
                        </a:lnTo>
                        <a:lnTo>
                          <a:pt x="315" y="28"/>
                        </a:lnTo>
                        <a:lnTo>
                          <a:pt x="317" y="28"/>
                        </a:lnTo>
                        <a:lnTo>
                          <a:pt x="319" y="26"/>
                        </a:lnTo>
                        <a:lnTo>
                          <a:pt x="320" y="26"/>
                        </a:lnTo>
                        <a:lnTo>
                          <a:pt x="322" y="26"/>
                        </a:lnTo>
                        <a:lnTo>
                          <a:pt x="322" y="23"/>
                        </a:lnTo>
                        <a:lnTo>
                          <a:pt x="323" y="23"/>
                        </a:lnTo>
                        <a:lnTo>
                          <a:pt x="325" y="23"/>
                        </a:lnTo>
                        <a:lnTo>
                          <a:pt x="326" y="23"/>
                        </a:lnTo>
                        <a:lnTo>
                          <a:pt x="328" y="23"/>
                        </a:lnTo>
                        <a:lnTo>
                          <a:pt x="330" y="23"/>
                        </a:lnTo>
                        <a:lnTo>
                          <a:pt x="331" y="23"/>
                        </a:lnTo>
                        <a:lnTo>
                          <a:pt x="331" y="22"/>
                        </a:lnTo>
                        <a:lnTo>
                          <a:pt x="331" y="20"/>
                        </a:lnTo>
                        <a:lnTo>
                          <a:pt x="333" y="20"/>
                        </a:lnTo>
                        <a:lnTo>
                          <a:pt x="334" y="20"/>
                        </a:lnTo>
                        <a:lnTo>
                          <a:pt x="336" y="20"/>
                        </a:lnTo>
                        <a:lnTo>
                          <a:pt x="336" y="22"/>
                        </a:lnTo>
                        <a:lnTo>
                          <a:pt x="338" y="20"/>
                        </a:lnTo>
                        <a:lnTo>
                          <a:pt x="339" y="20"/>
                        </a:lnTo>
                        <a:lnTo>
                          <a:pt x="339" y="19"/>
                        </a:lnTo>
                        <a:lnTo>
                          <a:pt x="342" y="19"/>
                        </a:lnTo>
                        <a:lnTo>
                          <a:pt x="344" y="17"/>
                        </a:lnTo>
                        <a:lnTo>
                          <a:pt x="345" y="17"/>
                        </a:lnTo>
                        <a:lnTo>
                          <a:pt x="347" y="15"/>
                        </a:lnTo>
                        <a:lnTo>
                          <a:pt x="349" y="15"/>
                        </a:lnTo>
                        <a:lnTo>
                          <a:pt x="350" y="15"/>
                        </a:lnTo>
                        <a:lnTo>
                          <a:pt x="350" y="14"/>
                        </a:lnTo>
                        <a:lnTo>
                          <a:pt x="352" y="12"/>
                        </a:lnTo>
                        <a:lnTo>
                          <a:pt x="352" y="11"/>
                        </a:lnTo>
                        <a:lnTo>
                          <a:pt x="355" y="11"/>
                        </a:lnTo>
                        <a:lnTo>
                          <a:pt x="353" y="11"/>
                        </a:lnTo>
                        <a:lnTo>
                          <a:pt x="355" y="12"/>
                        </a:lnTo>
                        <a:lnTo>
                          <a:pt x="357" y="12"/>
                        </a:lnTo>
                        <a:lnTo>
                          <a:pt x="358" y="11"/>
                        </a:lnTo>
                        <a:lnTo>
                          <a:pt x="360" y="11"/>
                        </a:lnTo>
                        <a:lnTo>
                          <a:pt x="361" y="11"/>
                        </a:lnTo>
                        <a:lnTo>
                          <a:pt x="363" y="9"/>
                        </a:lnTo>
                        <a:lnTo>
                          <a:pt x="363" y="11"/>
                        </a:lnTo>
                        <a:lnTo>
                          <a:pt x="364" y="9"/>
                        </a:lnTo>
                        <a:lnTo>
                          <a:pt x="364" y="7"/>
                        </a:lnTo>
                        <a:lnTo>
                          <a:pt x="364" y="6"/>
                        </a:lnTo>
                        <a:lnTo>
                          <a:pt x="366" y="9"/>
                        </a:lnTo>
                        <a:lnTo>
                          <a:pt x="369" y="9"/>
                        </a:lnTo>
                        <a:lnTo>
                          <a:pt x="369" y="7"/>
                        </a:lnTo>
                        <a:lnTo>
                          <a:pt x="368" y="7"/>
                        </a:lnTo>
                        <a:lnTo>
                          <a:pt x="368" y="6"/>
                        </a:lnTo>
                        <a:lnTo>
                          <a:pt x="369" y="4"/>
                        </a:lnTo>
                        <a:lnTo>
                          <a:pt x="371" y="3"/>
                        </a:lnTo>
                        <a:lnTo>
                          <a:pt x="372" y="3"/>
                        </a:lnTo>
                        <a:lnTo>
                          <a:pt x="374" y="3"/>
                        </a:lnTo>
                        <a:lnTo>
                          <a:pt x="374" y="4"/>
                        </a:lnTo>
                        <a:lnTo>
                          <a:pt x="376" y="4"/>
                        </a:lnTo>
                        <a:lnTo>
                          <a:pt x="376" y="6"/>
                        </a:lnTo>
                        <a:lnTo>
                          <a:pt x="377" y="6"/>
                        </a:lnTo>
                        <a:lnTo>
                          <a:pt x="377" y="7"/>
                        </a:lnTo>
                        <a:lnTo>
                          <a:pt x="377" y="9"/>
                        </a:lnTo>
                        <a:lnTo>
                          <a:pt x="379" y="9"/>
                        </a:lnTo>
                        <a:lnTo>
                          <a:pt x="379" y="7"/>
                        </a:lnTo>
                        <a:lnTo>
                          <a:pt x="380" y="7"/>
                        </a:lnTo>
                        <a:lnTo>
                          <a:pt x="382" y="7"/>
                        </a:lnTo>
                        <a:lnTo>
                          <a:pt x="384" y="7"/>
                        </a:lnTo>
                        <a:lnTo>
                          <a:pt x="384" y="9"/>
                        </a:lnTo>
                        <a:lnTo>
                          <a:pt x="385" y="9"/>
                        </a:lnTo>
                        <a:lnTo>
                          <a:pt x="387" y="9"/>
                        </a:lnTo>
                        <a:lnTo>
                          <a:pt x="387" y="11"/>
                        </a:lnTo>
                        <a:lnTo>
                          <a:pt x="388" y="11"/>
                        </a:lnTo>
                        <a:lnTo>
                          <a:pt x="388" y="9"/>
                        </a:lnTo>
                        <a:lnTo>
                          <a:pt x="388" y="7"/>
                        </a:lnTo>
                        <a:lnTo>
                          <a:pt x="388" y="6"/>
                        </a:lnTo>
                        <a:lnTo>
                          <a:pt x="390" y="6"/>
                        </a:lnTo>
                        <a:lnTo>
                          <a:pt x="391" y="6"/>
                        </a:lnTo>
                        <a:lnTo>
                          <a:pt x="393" y="6"/>
                        </a:lnTo>
                        <a:lnTo>
                          <a:pt x="393" y="4"/>
                        </a:lnTo>
                        <a:lnTo>
                          <a:pt x="395" y="4"/>
                        </a:lnTo>
                        <a:lnTo>
                          <a:pt x="395" y="6"/>
                        </a:lnTo>
                        <a:lnTo>
                          <a:pt x="396" y="6"/>
                        </a:lnTo>
                        <a:lnTo>
                          <a:pt x="396" y="4"/>
                        </a:lnTo>
                        <a:lnTo>
                          <a:pt x="396" y="3"/>
                        </a:lnTo>
                        <a:lnTo>
                          <a:pt x="398" y="1"/>
                        </a:lnTo>
                        <a:lnTo>
                          <a:pt x="399" y="0"/>
                        </a:lnTo>
                        <a:lnTo>
                          <a:pt x="401" y="1"/>
                        </a:lnTo>
                        <a:lnTo>
                          <a:pt x="401" y="3"/>
                        </a:lnTo>
                        <a:close/>
                      </a:path>
                    </a:pathLst>
                  </a:custGeom>
                  <a:solidFill>
                    <a:srgbClr val="E1E1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45" name="Freeform 44"/>
                  <p:cNvSpPr>
                    <a:spLocks/>
                  </p:cNvSpPr>
                  <p:nvPr/>
                </p:nvSpPr>
                <p:spPr bwMode="auto">
                  <a:xfrm>
                    <a:off x="4580" y="2190"/>
                    <a:ext cx="819" cy="1022"/>
                  </a:xfrm>
                  <a:custGeom>
                    <a:avLst/>
                    <a:gdLst>
                      <a:gd name="T0" fmla="*/ 303 w 819"/>
                      <a:gd name="T1" fmla="*/ 18 h 1022"/>
                      <a:gd name="T2" fmla="*/ 298 w 819"/>
                      <a:gd name="T3" fmla="*/ 38 h 1022"/>
                      <a:gd name="T4" fmla="*/ 293 w 819"/>
                      <a:gd name="T5" fmla="*/ 63 h 1022"/>
                      <a:gd name="T6" fmla="*/ 328 w 819"/>
                      <a:gd name="T7" fmla="*/ 76 h 1022"/>
                      <a:gd name="T8" fmla="*/ 358 w 819"/>
                      <a:gd name="T9" fmla="*/ 90 h 1022"/>
                      <a:gd name="T10" fmla="*/ 361 w 819"/>
                      <a:gd name="T11" fmla="*/ 108 h 1022"/>
                      <a:gd name="T12" fmla="*/ 350 w 819"/>
                      <a:gd name="T13" fmla="*/ 122 h 1022"/>
                      <a:gd name="T14" fmla="*/ 339 w 819"/>
                      <a:gd name="T15" fmla="*/ 141 h 1022"/>
                      <a:gd name="T16" fmla="*/ 328 w 819"/>
                      <a:gd name="T17" fmla="*/ 159 h 1022"/>
                      <a:gd name="T18" fmla="*/ 339 w 819"/>
                      <a:gd name="T19" fmla="*/ 174 h 1022"/>
                      <a:gd name="T20" fmla="*/ 388 w 819"/>
                      <a:gd name="T21" fmla="*/ 189 h 1022"/>
                      <a:gd name="T22" fmla="*/ 417 w 819"/>
                      <a:gd name="T23" fmla="*/ 217 h 1022"/>
                      <a:gd name="T24" fmla="*/ 437 w 819"/>
                      <a:gd name="T25" fmla="*/ 249 h 1022"/>
                      <a:gd name="T26" fmla="*/ 451 w 819"/>
                      <a:gd name="T27" fmla="*/ 276 h 1022"/>
                      <a:gd name="T28" fmla="*/ 431 w 819"/>
                      <a:gd name="T29" fmla="*/ 284 h 1022"/>
                      <a:gd name="T30" fmla="*/ 415 w 819"/>
                      <a:gd name="T31" fmla="*/ 298 h 1022"/>
                      <a:gd name="T32" fmla="*/ 391 w 819"/>
                      <a:gd name="T33" fmla="*/ 293 h 1022"/>
                      <a:gd name="T34" fmla="*/ 383 w 819"/>
                      <a:gd name="T35" fmla="*/ 312 h 1022"/>
                      <a:gd name="T36" fmla="*/ 375 w 819"/>
                      <a:gd name="T37" fmla="*/ 345 h 1022"/>
                      <a:gd name="T38" fmla="*/ 369 w 819"/>
                      <a:gd name="T39" fmla="*/ 377 h 1022"/>
                      <a:gd name="T40" fmla="*/ 388 w 819"/>
                      <a:gd name="T41" fmla="*/ 399 h 1022"/>
                      <a:gd name="T42" fmla="*/ 409 w 819"/>
                      <a:gd name="T43" fmla="*/ 423 h 1022"/>
                      <a:gd name="T44" fmla="*/ 453 w 819"/>
                      <a:gd name="T45" fmla="*/ 431 h 1022"/>
                      <a:gd name="T46" fmla="*/ 467 w 819"/>
                      <a:gd name="T47" fmla="*/ 499 h 1022"/>
                      <a:gd name="T48" fmla="*/ 499 w 819"/>
                      <a:gd name="T49" fmla="*/ 467 h 1022"/>
                      <a:gd name="T50" fmla="*/ 540 w 819"/>
                      <a:gd name="T51" fmla="*/ 474 h 1022"/>
                      <a:gd name="T52" fmla="*/ 565 w 819"/>
                      <a:gd name="T53" fmla="*/ 474 h 1022"/>
                      <a:gd name="T54" fmla="*/ 608 w 819"/>
                      <a:gd name="T55" fmla="*/ 488 h 1022"/>
                      <a:gd name="T56" fmla="*/ 684 w 819"/>
                      <a:gd name="T57" fmla="*/ 526 h 1022"/>
                      <a:gd name="T58" fmla="*/ 744 w 819"/>
                      <a:gd name="T59" fmla="*/ 542 h 1022"/>
                      <a:gd name="T60" fmla="*/ 770 w 819"/>
                      <a:gd name="T61" fmla="*/ 534 h 1022"/>
                      <a:gd name="T62" fmla="*/ 775 w 819"/>
                      <a:gd name="T63" fmla="*/ 570 h 1022"/>
                      <a:gd name="T64" fmla="*/ 784 w 819"/>
                      <a:gd name="T65" fmla="*/ 629 h 1022"/>
                      <a:gd name="T66" fmla="*/ 792 w 819"/>
                      <a:gd name="T67" fmla="*/ 665 h 1022"/>
                      <a:gd name="T68" fmla="*/ 816 w 819"/>
                      <a:gd name="T69" fmla="*/ 738 h 1022"/>
                      <a:gd name="T70" fmla="*/ 792 w 819"/>
                      <a:gd name="T71" fmla="*/ 748 h 1022"/>
                      <a:gd name="T72" fmla="*/ 795 w 819"/>
                      <a:gd name="T73" fmla="*/ 768 h 1022"/>
                      <a:gd name="T74" fmla="*/ 800 w 819"/>
                      <a:gd name="T75" fmla="*/ 794 h 1022"/>
                      <a:gd name="T76" fmla="*/ 805 w 819"/>
                      <a:gd name="T77" fmla="*/ 813 h 1022"/>
                      <a:gd name="T78" fmla="*/ 801 w 819"/>
                      <a:gd name="T79" fmla="*/ 837 h 1022"/>
                      <a:gd name="T80" fmla="*/ 779 w 819"/>
                      <a:gd name="T81" fmla="*/ 903 h 1022"/>
                      <a:gd name="T82" fmla="*/ 759 w 819"/>
                      <a:gd name="T83" fmla="*/ 903 h 1022"/>
                      <a:gd name="T84" fmla="*/ 737 w 819"/>
                      <a:gd name="T85" fmla="*/ 894 h 1022"/>
                      <a:gd name="T86" fmla="*/ 716 w 819"/>
                      <a:gd name="T87" fmla="*/ 946 h 1022"/>
                      <a:gd name="T88" fmla="*/ 537 w 819"/>
                      <a:gd name="T89" fmla="*/ 909 h 1022"/>
                      <a:gd name="T90" fmla="*/ 428 w 819"/>
                      <a:gd name="T91" fmla="*/ 887 h 1022"/>
                      <a:gd name="T92" fmla="*/ 336 w 819"/>
                      <a:gd name="T93" fmla="*/ 867 h 1022"/>
                      <a:gd name="T94" fmla="*/ 282 w 819"/>
                      <a:gd name="T95" fmla="*/ 876 h 1022"/>
                      <a:gd name="T96" fmla="*/ 244 w 819"/>
                      <a:gd name="T97" fmla="*/ 909 h 1022"/>
                      <a:gd name="T98" fmla="*/ 215 w 819"/>
                      <a:gd name="T99" fmla="*/ 887 h 1022"/>
                      <a:gd name="T100" fmla="*/ 147 w 819"/>
                      <a:gd name="T101" fmla="*/ 955 h 1022"/>
                      <a:gd name="T102" fmla="*/ 100 w 819"/>
                      <a:gd name="T103" fmla="*/ 977 h 1022"/>
                      <a:gd name="T104" fmla="*/ 55 w 819"/>
                      <a:gd name="T105" fmla="*/ 996 h 1022"/>
                      <a:gd name="T106" fmla="*/ 51 w 819"/>
                      <a:gd name="T107" fmla="*/ 977 h 1022"/>
                      <a:gd name="T108" fmla="*/ 36 w 819"/>
                      <a:gd name="T109" fmla="*/ 963 h 1022"/>
                      <a:gd name="T110" fmla="*/ 22 w 819"/>
                      <a:gd name="T111" fmla="*/ 955 h 1022"/>
                      <a:gd name="T112" fmla="*/ 32 w 819"/>
                      <a:gd name="T113" fmla="*/ 932 h 1022"/>
                      <a:gd name="T114" fmla="*/ 32 w 819"/>
                      <a:gd name="T115" fmla="*/ 919 h 1022"/>
                      <a:gd name="T116" fmla="*/ 19 w 819"/>
                      <a:gd name="T117" fmla="*/ 895 h 1022"/>
                      <a:gd name="T118" fmla="*/ 2 w 819"/>
                      <a:gd name="T119" fmla="*/ 887 h 10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19" h="1022">
                        <a:moveTo>
                          <a:pt x="301" y="2"/>
                        </a:moveTo>
                        <a:lnTo>
                          <a:pt x="303" y="2"/>
                        </a:lnTo>
                        <a:lnTo>
                          <a:pt x="304" y="0"/>
                        </a:lnTo>
                        <a:lnTo>
                          <a:pt x="306" y="0"/>
                        </a:lnTo>
                        <a:lnTo>
                          <a:pt x="307" y="0"/>
                        </a:lnTo>
                        <a:lnTo>
                          <a:pt x="309" y="0"/>
                        </a:lnTo>
                        <a:lnTo>
                          <a:pt x="307" y="2"/>
                        </a:lnTo>
                        <a:lnTo>
                          <a:pt x="306" y="3"/>
                        </a:lnTo>
                        <a:lnTo>
                          <a:pt x="306" y="5"/>
                        </a:lnTo>
                        <a:lnTo>
                          <a:pt x="304" y="6"/>
                        </a:lnTo>
                        <a:lnTo>
                          <a:pt x="303" y="8"/>
                        </a:lnTo>
                        <a:lnTo>
                          <a:pt x="303" y="10"/>
                        </a:lnTo>
                        <a:lnTo>
                          <a:pt x="303" y="11"/>
                        </a:lnTo>
                        <a:lnTo>
                          <a:pt x="303" y="13"/>
                        </a:lnTo>
                        <a:lnTo>
                          <a:pt x="303" y="14"/>
                        </a:lnTo>
                        <a:lnTo>
                          <a:pt x="303" y="16"/>
                        </a:lnTo>
                        <a:lnTo>
                          <a:pt x="303" y="18"/>
                        </a:lnTo>
                        <a:lnTo>
                          <a:pt x="303" y="19"/>
                        </a:lnTo>
                        <a:lnTo>
                          <a:pt x="304" y="21"/>
                        </a:lnTo>
                        <a:lnTo>
                          <a:pt x="304" y="22"/>
                        </a:lnTo>
                        <a:lnTo>
                          <a:pt x="304" y="24"/>
                        </a:lnTo>
                        <a:lnTo>
                          <a:pt x="303" y="24"/>
                        </a:lnTo>
                        <a:lnTo>
                          <a:pt x="303" y="25"/>
                        </a:lnTo>
                        <a:lnTo>
                          <a:pt x="301" y="25"/>
                        </a:lnTo>
                        <a:lnTo>
                          <a:pt x="301" y="27"/>
                        </a:lnTo>
                        <a:lnTo>
                          <a:pt x="299" y="29"/>
                        </a:lnTo>
                        <a:lnTo>
                          <a:pt x="299" y="30"/>
                        </a:lnTo>
                        <a:lnTo>
                          <a:pt x="298" y="32"/>
                        </a:lnTo>
                        <a:lnTo>
                          <a:pt x="298" y="33"/>
                        </a:lnTo>
                        <a:lnTo>
                          <a:pt x="299" y="33"/>
                        </a:lnTo>
                        <a:lnTo>
                          <a:pt x="299" y="35"/>
                        </a:lnTo>
                        <a:lnTo>
                          <a:pt x="299" y="37"/>
                        </a:lnTo>
                        <a:lnTo>
                          <a:pt x="298" y="37"/>
                        </a:lnTo>
                        <a:lnTo>
                          <a:pt x="298" y="38"/>
                        </a:lnTo>
                        <a:lnTo>
                          <a:pt x="298" y="40"/>
                        </a:lnTo>
                        <a:lnTo>
                          <a:pt x="296" y="41"/>
                        </a:lnTo>
                        <a:lnTo>
                          <a:pt x="296" y="43"/>
                        </a:lnTo>
                        <a:lnTo>
                          <a:pt x="296" y="44"/>
                        </a:lnTo>
                        <a:lnTo>
                          <a:pt x="298" y="46"/>
                        </a:lnTo>
                        <a:lnTo>
                          <a:pt x="298" y="48"/>
                        </a:lnTo>
                        <a:lnTo>
                          <a:pt x="298" y="49"/>
                        </a:lnTo>
                        <a:lnTo>
                          <a:pt x="296" y="49"/>
                        </a:lnTo>
                        <a:lnTo>
                          <a:pt x="296" y="51"/>
                        </a:lnTo>
                        <a:lnTo>
                          <a:pt x="295" y="52"/>
                        </a:lnTo>
                        <a:lnTo>
                          <a:pt x="295" y="54"/>
                        </a:lnTo>
                        <a:lnTo>
                          <a:pt x="295" y="56"/>
                        </a:lnTo>
                        <a:lnTo>
                          <a:pt x="295" y="57"/>
                        </a:lnTo>
                        <a:lnTo>
                          <a:pt x="295" y="59"/>
                        </a:lnTo>
                        <a:lnTo>
                          <a:pt x="293" y="60"/>
                        </a:lnTo>
                        <a:lnTo>
                          <a:pt x="293" y="62"/>
                        </a:lnTo>
                        <a:lnTo>
                          <a:pt x="293" y="63"/>
                        </a:lnTo>
                        <a:lnTo>
                          <a:pt x="295" y="63"/>
                        </a:lnTo>
                        <a:lnTo>
                          <a:pt x="295" y="65"/>
                        </a:lnTo>
                        <a:lnTo>
                          <a:pt x="295" y="67"/>
                        </a:lnTo>
                        <a:lnTo>
                          <a:pt x="296" y="67"/>
                        </a:lnTo>
                        <a:lnTo>
                          <a:pt x="296" y="68"/>
                        </a:lnTo>
                        <a:lnTo>
                          <a:pt x="298" y="70"/>
                        </a:lnTo>
                        <a:lnTo>
                          <a:pt x="299" y="73"/>
                        </a:lnTo>
                        <a:lnTo>
                          <a:pt x="301" y="75"/>
                        </a:lnTo>
                        <a:lnTo>
                          <a:pt x="304" y="76"/>
                        </a:lnTo>
                        <a:lnTo>
                          <a:pt x="306" y="78"/>
                        </a:lnTo>
                        <a:lnTo>
                          <a:pt x="309" y="78"/>
                        </a:lnTo>
                        <a:lnTo>
                          <a:pt x="312" y="78"/>
                        </a:lnTo>
                        <a:lnTo>
                          <a:pt x="315" y="78"/>
                        </a:lnTo>
                        <a:lnTo>
                          <a:pt x="318" y="78"/>
                        </a:lnTo>
                        <a:lnTo>
                          <a:pt x="322" y="78"/>
                        </a:lnTo>
                        <a:lnTo>
                          <a:pt x="325" y="76"/>
                        </a:lnTo>
                        <a:lnTo>
                          <a:pt x="328" y="76"/>
                        </a:lnTo>
                        <a:lnTo>
                          <a:pt x="331" y="76"/>
                        </a:lnTo>
                        <a:lnTo>
                          <a:pt x="334" y="76"/>
                        </a:lnTo>
                        <a:lnTo>
                          <a:pt x="337" y="76"/>
                        </a:lnTo>
                        <a:lnTo>
                          <a:pt x="341" y="76"/>
                        </a:lnTo>
                        <a:lnTo>
                          <a:pt x="342" y="78"/>
                        </a:lnTo>
                        <a:lnTo>
                          <a:pt x="344" y="79"/>
                        </a:lnTo>
                        <a:lnTo>
                          <a:pt x="345" y="81"/>
                        </a:lnTo>
                        <a:lnTo>
                          <a:pt x="347" y="81"/>
                        </a:lnTo>
                        <a:lnTo>
                          <a:pt x="348" y="83"/>
                        </a:lnTo>
                        <a:lnTo>
                          <a:pt x="350" y="83"/>
                        </a:lnTo>
                        <a:lnTo>
                          <a:pt x="352" y="84"/>
                        </a:lnTo>
                        <a:lnTo>
                          <a:pt x="353" y="84"/>
                        </a:lnTo>
                        <a:lnTo>
                          <a:pt x="353" y="87"/>
                        </a:lnTo>
                        <a:lnTo>
                          <a:pt x="355" y="87"/>
                        </a:lnTo>
                        <a:lnTo>
                          <a:pt x="355" y="89"/>
                        </a:lnTo>
                        <a:lnTo>
                          <a:pt x="356" y="90"/>
                        </a:lnTo>
                        <a:lnTo>
                          <a:pt x="358" y="90"/>
                        </a:lnTo>
                        <a:lnTo>
                          <a:pt x="360" y="92"/>
                        </a:lnTo>
                        <a:lnTo>
                          <a:pt x="361" y="94"/>
                        </a:lnTo>
                        <a:lnTo>
                          <a:pt x="363" y="95"/>
                        </a:lnTo>
                        <a:lnTo>
                          <a:pt x="364" y="95"/>
                        </a:lnTo>
                        <a:lnTo>
                          <a:pt x="364" y="97"/>
                        </a:lnTo>
                        <a:lnTo>
                          <a:pt x="366" y="98"/>
                        </a:lnTo>
                        <a:lnTo>
                          <a:pt x="367" y="98"/>
                        </a:lnTo>
                        <a:lnTo>
                          <a:pt x="367" y="100"/>
                        </a:lnTo>
                        <a:lnTo>
                          <a:pt x="367" y="102"/>
                        </a:lnTo>
                        <a:lnTo>
                          <a:pt x="366" y="102"/>
                        </a:lnTo>
                        <a:lnTo>
                          <a:pt x="366" y="103"/>
                        </a:lnTo>
                        <a:lnTo>
                          <a:pt x="366" y="105"/>
                        </a:lnTo>
                        <a:lnTo>
                          <a:pt x="364" y="105"/>
                        </a:lnTo>
                        <a:lnTo>
                          <a:pt x="364" y="106"/>
                        </a:lnTo>
                        <a:lnTo>
                          <a:pt x="363" y="106"/>
                        </a:lnTo>
                        <a:lnTo>
                          <a:pt x="361" y="106"/>
                        </a:lnTo>
                        <a:lnTo>
                          <a:pt x="361" y="108"/>
                        </a:lnTo>
                        <a:lnTo>
                          <a:pt x="361" y="109"/>
                        </a:lnTo>
                        <a:lnTo>
                          <a:pt x="361" y="111"/>
                        </a:lnTo>
                        <a:lnTo>
                          <a:pt x="360" y="111"/>
                        </a:lnTo>
                        <a:lnTo>
                          <a:pt x="360" y="113"/>
                        </a:lnTo>
                        <a:lnTo>
                          <a:pt x="358" y="113"/>
                        </a:lnTo>
                        <a:lnTo>
                          <a:pt x="358" y="114"/>
                        </a:lnTo>
                        <a:lnTo>
                          <a:pt x="358" y="116"/>
                        </a:lnTo>
                        <a:lnTo>
                          <a:pt x="356" y="116"/>
                        </a:lnTo>
                        <a:lnTo>
                          <a:pt x="356" y="117"/>
                        </a:lnTo>
                        <a:lnTo>
                          <a:pt x="355" y="116"/>
                        </a:lnTo>
                        <a:lnTo>
                          <a:pt x="353" y="116"/>
                        </a:lnTo>
                        <a:lnTo>
                          <a:pt x="353" y="117"/>
                        </a:lnTo>
                        <a:lnTo>
                          <a:pt x="352" y="117"/>
                        </a:lnTo>
                        <a:lnTo>
                          <a:pt x="352" y="119"/>
                        </a:lnTo>
                        <a:lnTo>
                          <a:pt x="352" y="121"/>
                        </a:lnTo>
                        <a:lnTo>
                          <a:pt x="352" y="122"/>
                        </a:lnTo>
                        <a:lnTo>
                          <a:pt x="350" y="122"/>
                        </a:lnTo>
                        <a:lnTo>
                          <a:pt x="350" y="124"/>
                        </a:lnTo>
                        <a:lnTo>
                          <a:pt x="348" y="124"/>
                        </a:lnTo>
                        <a:lnTo>
                          <a:pt x="348" y="125"/>
                        </a:lnTo>
                        <a:lnTo>
                          <a:pt x="347" y="125"/>
                        </a:lnTo>
                        <a:lnTo>
                          <a:pt x="344" y="124"/>
                        </a:lnTo>
                        <a:lnTo>
                          <a:pt x="344" y="125"/>
                        </a:lnTo>
                        <a:lnTo>
                          <a:pt x="344" y="127"/>
                        </a:lnTo>
                        <a:lnTo>
                          <a:pt x="344" y="128"/>
                        </a:lnTo>
                        <a:lnTo>
                          <a:pt x="344" y="130"/>
                        </a:lnTo>
                        <a:lnTo>
                          <a:pt x="342" y="130"/>
                        </a:lnTo>
                        <a:lnTo>
                          <a:pt x="341" y="130"/>
                        </a:lnTo>
                        <a:lnTo>
                          <a:pt x="339" y="133"/>
                        </a:lnTo>
                        <a:lnTo>
                          <a:pt x="339" y="135"/>
                        </a:lnTo>
                        <a:lnTo>
                          <a:pt x="339" y="136"/>
                        </a:lnTo>
                        <a:lnTo>
                          <a:pt x="339" y="138"/>
                        </a:lnTo>
                        <a:lnTo>
                          <a:pt x="339" y="140"/>
                        </a:lnTo>
                        <a:lnTo>
                          <a:pt x="339" y="141"/>
                        </a:lnTo>
                        <a:lnTo>
                          <a:pt x="337" y="141"/>
                        </a:lnTo>
                        <a:lnTo>
                          <a:pt x="337" y="143"/>
                        </a:lnTo>
                        <a:lnTo>
                          <a:pt x="337" y="144"/>
                        </a:lnTo>
                        <a:lnTo>
                          <a:pt x="336" y="146"/>
                        </a:lnTo>
                        <a:lnTo>
                          <a:pt x="334" y="146"/>
                        </a:lnTo>
                        <a:lnTo>
                          <a:pt x="333" y="146"/>
                        </a:lnTo>
                        <a:lnTo>
                          <a:pt x="331" y="146"/>
                        </a:lnTo>
                        <a:lnTo>
                          <a:pt x="331" y="147"/>
                        </a:lnTo>
                        <a:lnTo>
                          <a:pt x="329" y="149"/>
                        </a:lnTo>
                        <a:lnTo>
                          <a:pt x="331" y="151"/>
                        </a:lnTo>
                        <a:lnTo>
                          <a:pt x="329" y="152"/>
                        </a:lnTo>
                        <a:lnTo>
                          <a:pt x="329" y="154"/>
                        </a:lnTo>
                        <a:lnTo>
                          <a:pt x="331" y="154"/>
                        </a:lnTo>
                        <a:lnTo>
                          <a:pt x="329" y="155"/>
                        </a:lnTo>
                        <a:lnTo>
                          <a:pt x="329" y="157"/>
                        </a:lnTo>
                        <a:lnTo>
                          <a:pt x="328" y="157"/>
                        </a:lnTo>
                        <a:lnTo>
                          <a:pt x="328" y="159"/>
                        </a:lnTo>
                        <a:lnTo>
                          <a:pt x="329" y="159"/>
                        </a:lnTo>
                        <a:lnTo>
                          <a:pt x="329" y="160"/>
                        </a:lnTo>
                        <a:lnTo>
                          <a:pt x="331" y="160"/>
                        </a:lnTo>
                        <a:lnTo>
                          <a:pt x="331" y="162"/>
                        </a:lnTo>
                        <a:lnTo>
                          <a:pt x="329" y="163"/>
                        </a:lnTo>
                        <a:lnTo>
                          <a:pt x="329" y="165"/>
                        </a:lnTo>
                        <a:lnTo>
                          <a:pt x="329" y="166"/>
                        </a:lnTo>
                        <a:lnTo>
                          <a:pt x="328" y="168"/>
                        </a:lnTo>
                        <a:lnTo>
                          <a:pt x="329" y="170"/>
                        </a:lnTo>
                        <a:lnTo>
                          <a:pt x="331" y="170"/>
                        </a:lnTo>
                        <a:lnTo>
                          <a:pt x="333" y="170"/>
                        </a:lnTo>
                        <a:lnTo>
                          <a:pt x="333" y="171"/>
                        </a:lnTo>
                        <a:lnTo>
                          <a:pt x="334" y="171"/>
                        </a:lnTo>
                        <a:lnTo>
                          <a:pt x="336" y="171"/>
                        </a:lnTo>
                        <a:lnTo>
                          <a:pt x="337" y="173"/>
                        </a:lnTo>
                        <a:lnTo>
                          <a:pt x="337" y="174"/>
                        </a:lnTo>
                        <a:lnTo>
                          <a:pt x="339" y="174"/>
                        </a:lnTo>
                        <a:lnTo>
                          <a:pt x="341" y="174"/>
                        </a:lnTo>
                        <a:lnTo>
                          <a:pt x="347" y="176"/>
                        </a:lnTo>
                        <a:lnTo>
                          <a:pt x="353" y="178"/>
                        </a:lnTo>
                        <a:lnTo>
                          <a:pt x="356" y="178"/>
                        </a:lnTo>
                        <a:lnTo>
                          <a:pt x="358" y="178"/>
                        </a:lnTo>
                        <a:lnTo>
                          <a:pt x="360" y="179"/>
                        </a:lnTo>
                        <a:lnTo>
                          <a:pt x="363" y="181"/>
                        </a:lnTo>
                        <a:lnTo>
                          <a:pt x="366" y="181"/>
                        </a:lnTo>
                        <a:lnTo>
                          <a:pt x="367" y="182"/>
                        </a:lnTo>
                        <a:lnTo>
                          <a:pt x="371" y="184"/>
                        </a:lnTo>
                        <a:lnTo>
                          <a:pt x="374" y="184"/>
                        </a:lnTo>
                        <a:lnTo>
                          <a:pt x="379" y="185"/>
                        </a:lnTo>
                        <a:lnTo>
                          <a:pt x="380" y="185"/>
                        </a:lnTo>
                        <a:lnTo>
                          <a:pt x="383" y="187"/>
                        </a:lnTo>
                        <a:lnTo>
                          <a:pt x="385" y="187"/>
                        </a:lnTo>
                        <a:lnTo>
                          <a:pt x="386" y="189"/>
                        </a:lnTo>
                        <a:lnTo>
                          <a:pt x="388" y="189"/>
                        </a:lnTo>
                        <a:lnTo>
                          <a:pt x="390" y="190"/>
                        </a:lnTo>
                        <a:lnTo>
                          <a:pt x="391" y="190"/>
                        </a:lnTo>
                        <a:lnTo>
                          <a:pt x="393" y="192"/>
                        </a:lnTo>
                        <a:lnTo>
                          <a:pt x="394" y="195"/>
                        </a:lnTo>
                        <a:lnTo>
                          <a:pt x="396" y="195"/>
                        </a:lnTo>
                        <a:lnTo>
                          <a:pt x="398" y="198"/>
                        </a:lnTo>
                        <a:lnTo>
                          <a:pt x="398" y="200"/>
                        </a:lnTo>
                        <a:lnTo>
                          <a:pt x="399" y="201"/>
                        </a:lnTo>
                        <a:lnTo>
                          <a:pt x="399" y="203"/>
                        </a:lnTo>
                        <a:lnTo>
                          <a:pt x="401" y="206"/>
                        </a:lnTo>
                        <a:lnTo>
                          <a:pt x="402" y="209"/>
                        </a:lnTo>
                        <a:lnTo>
                          <a:pt x="404" y="212"/>
                        </a:lnTo>
                        <a:lnTo>
                          <a:pt x="407" y="214"/>
                        </a:lnTo>
                        <a:lnTo>
                          <a:pt x="409" y="216"/>
                        </a:lnTo>
                        <a:lnTo>
                          <a:pt x="412" y="217"/>
                        </a:lnTo>
                        <a:lnTo>
                          <a:pt x="415" y="217"/>
                        </a:lnTo>
                        <a:lnTo>
                          <a:pt x="417" y="217"/>
                        </a:lnTo>
                        <a:lnTo>
                          <a:pt x="420" y="217"/>
                        </a:lnTo>
                        <a:lnTo>
                          <a:pt x="421" y="219"/>
                        </a:lnTo>
                        <a:lnTo>
                          <a:pt x="423" y="222"/>
                        </a:lnTo>
                        <a:lnTo>
                          <a:pt x="424" y="223"/>
                        </a:lnTo>
                        <a:lnTo>
                          <a:pt x="424" y="227"/>
                        </a:lnTo>
                        <a:lnTo>
                          <a:pt x="424" y="228"/>
                        </a:lnTo>
                        <a:lnTo>
                          <a:pt x="424" y="231"/>
                        </a:lnTo>
                        <a:lnTo>
                          <a:pt x="424" y="233"/>
                        </a:lnTo>
                        <a:lnTo>
                          <a:pt x="426" y="235"/>
                        </a:lnTo>
                        <a:lnTo>
                          <a:pt x="426" y="236"/>
                        </a:lnTo>
                        <a:lnTo>
                          <a:pt x="428" y="241"/>
                        </a:lnTo>
                        <a:lnTo>
                          <a:pt x="428" y="242"/>
                        </a:lnTo>
                        <a:lnTo>
                          <a:pt x="428" y="246"/>
                        </a:lnTo>
                        <a:lnTo>
                          <a:pt x="429" y="249"/>
                        </a:lnTo>
                        <a:lnTo>
                          <a:pt x="432" y="249"/>
                        </a:lnTo>
                        <a:lnTo>
                          <a:pt x="436" y="249"/>
                        </a:lnTo>
                        <a:lnTo>
                          <a:pt x="437" y="249"/>
                        </a:lnTo>
                        <a:lnTo>
                          <a:pt x="440" y="250"/>
                        </a:lnTo>
                        <a:lnTo>
                          <a:pt x="442" y="250"/>
                        </a:lnTo>
                        <a:lnTo>
                          <a:pt x="443" y="254"/>
                        </a:lnTo>
                        <a:lnTo>
                          <a:pt x="445" y="255"/>
                        </a:lnTo>
                        <a:lnTo>
                          <a:pt x="445" y="257"/>
                        </a:lnTo>
                        <a:lnTo>
                          <a:pt x="447" y="258"/>
                        </a:lnTo>
                        <a:lnTo>
                          <a:pt x="448" y="262"/>
                        </a:lnTo>
                        <a:lnTo>
                          <a:pt x="448" y="263"/>
                        </a:lnTo>
                        <a:lnTo>
                          <a:pt x="450" y="265"/>
                        </a:lnTo>
                        <a:lnTo>
                          <a:pt x="451" y="268"/>
                        </a:lnTo>
                        <a:lnTo>
                          <a:pt x="451" y="269"/>
                        </a:lnTo>
                        <a:lnTo>
                          <a:pt x="453" y="273"/>
                        </a:lnTo>
                        <a:lnTo>
                          <a:pt x="455" y="273"/>
                        </a:lnTo>
                        <a:lnTo>
                          <a:pt x="455" y="274"/>
                        </a:lnTo>
                        <a:lnTo>
                          <a:pt x="453" y="274"/>
                        </a:lnTo>
                        <a:lnTo>
                          <a:pt x="453" y="276"/>
                        </a:lnTo>
                        <a:lnTo>
                          <a:pt x="451" y="276"/>
                        </a:lnTo>
                        <a:lnTo>
                          <a:pt x="451" y="277"/>
                        </a:lnTo>
                        <a:lnTo>
                          <a:pt x="450" y="277"/>
                        </a:lnTo>
                        <a:lnTo>
                          <a:pt x="450" y="279"/>
                        </a:lnTo>
                        <a:lnTo>
                          <a:pt x="448" y="279"/>
                        </a:lnTo>
                        <a:lnTo>
                          <a:pt x="448" y="281"/>
                        </a:lnTo>
                        <a:lnTo>
                          <a:pt x="447" y="281"/>
                        </a:lnTo>
                        <a:lnTo>
                          <a:pt x="445" y="281"/>
                        </a:lnTo>
                        <a:lnTo>
                          <a:pt x="443" y="281"/>
                        </a:lnTo>
                        <a:lnTo>
                          <a:pt x="443" y="282"/>
                        </a:lnTo>
                        <a:lnTo>
                          <a:pt x="442" y="282"/>
                        </a:lnTo>
                        <a:lnTo>
                          <a:pt x="440" y="282"/>
                        </a:lnTo>
                        <a:lnTo>
                          <a:pt x="439" y="284"/>
                        </a:lnTo>
                        <a:lnTo>
                          <a:pt x="437" y="284"/>
                        </a:lnTo>
                        <a:lnTo>
                          <a:pt x="436" y="284"/>
                        </a:lnTo>
                        <a:lnTo>
                          <a:pt x="434" y="284"/>
                        </a:lnTo>
                        <a:lnTo>
                          <a:pt x="432" y="284"/>
                        </a:lnTo>
                        <a:lnTo>
                          <a:pt x="431" y="284"/>
                        </a:lnTo>
                        <a:lnTo>
                          <a:pt x="429" y="284"/>
                        </a:lnTo>
                        <a:lnTo>
                          <a:pt x="428" y="284"/>
                        </a:lnTo>
                        <a:lnTo>
                          <a:pt x="426" y="282"/>
                        </a:lnTo>
                        <a:lnTo>
                          <a:pt x="424" y="284"/>
                        </a:lnTo>
                        <a:lnTo>
                          <a:pt x="423" y="285"/>
                        </a:lnTo>
                        <a:lnTo>
                          <a:pt x="423" y="287"/>
                        </a:lnTo>
                        <a:lnTo>
                          <a:pt x="423" y="288"/>
                        </a:lnTo>
                        <a:lnTo>
                          <a:pt x="421" y="290"/>
                        </a:lnTo>
                        <a:lnTo>
                          <a:pt x="421" y="292"/>
                        </a:lnTo>
                        <a:lnTo>
                          <a:pt x="421" y="293"/>
                        </a:lnTo>
                        <a:lnTo>
                          <a:pt x="421" y="295"/>
                        </a:lnTo>
                        <a:lnTo>
                          <a:pt x="421" y="296"/>
                        </a:lnTo>
                        <a:lnTo>
                          <a:pt x="420" y="296"/>
                        </a:lnTo>
                        <a:lnTo>
                          <a:pt x="420" y="298"/>
                        </a:lnTo>
                        <a:lnTo>
                          <a:pt x="420" y="300"/>
                        </a:lnTo>
                        <a:lnTo>
                          <a:pt x="417" y="298"/>
                        </a:lnTo>
                        <a:lnTo>
                          <a:pt x="415" y="298"/>
                        </a:lnTo>
                        <a:lnTo>
                          <a:pt x="413" y="296"/>
                        </a:lnTo>
                        <a:lnTo>
                          <a:pt x="412" y="296"/>
                        </a:lnTo>
                        <a:lnTo>
                          <a:pt x="410" y="296"/>
                        </a:lnTo>
                        <a:lnTo>
                          <a:pt x="409" y="296"/>
                        </a:lnTo>
                        <a:lnTo>
                          <a:pt x="409" y="295"/>
                        </a:lnTo>
                        <a:lnTo>
                          <a:pt x="407" y="295"/>
                        </a:lnTo>
                        <a:lnTo>
                          <a:pt x="405" y="293"/>
                        </a:lnTo>
                        <a:lnTo>
                          <a:pt x="404" y="293"/>
                        </a:lnTo>
                        <a:lnTo>
                          <a:pt x="402" y="293"/>
                        </a:lnTo>
                        <a:lnTo>
                          <a:pt x="401" y="293"/>
                        </a:lnTo>
                        <a:lnTo>
                          <a:pt x="399" y="292"/>
                        </a:lnTo>
                        <a:lnTo>
                          <a:pt x="398" y="292"/>
                        </a:lnTo>
                        <a:lnTo>
                          <a:pt x="396" y="292"/>
                        </a:lnTo>
                        <a:lnTo>
                          <a:pt x="394" y="292"/>
                        </a:lnTo>
                        <a:lnTo>
                          <a:pt x="393" y="292"/>
                        </a:lnTo>
                        <a:lnTo>
                          <a:pt x="393" y="293"/>
                        </a:lnTo>
                        <a:lnTo>
                          <a:pt x="391" y="293"/>
                        </a:lnTo>
                        <a:lnTo>
                          <a:pt x="391" y="292"/>
                        </a:lnTo>
                        <a:lnTo>
                          <a:pt x="390" y="293"/>
                        </a:lnTo>
                        <a:lnTo>
                          <a:pt x="388" y="293"/>
                        </a:lnTo>
                        <a:lnTo>
                          <a:pt x="386" y="295"/>
                        </a:lnTo>
                        <a:lnTo>
                          <a:pt x="385" y="296"/>
                        </a:lnTo>
                        <a:lnTo>
                          <a:pt x="383" y="298"/>
                        </a:lnTo>
                        <a:lnTo>
                          <a:pt x="382" y="300"/>
                        </a:lnTo>
                        <a:lnTo>
                          <a:pt x="380" y="300"/>
                        </a:lnTo>
                        <a:lnTo>
                          <a:pt x="380" y="301"/>
                        </a:lnTo>
                        <a:lnTo>
                          <a:pt x="379" y="301"/>
                        </a:lnTo>
                        <a:lnTo>
                          <a:pt x="379" y="303"/>
                        </a:lnTo>
                        <a:lnTo>
                          <a:pt x="380" y="304"/>
                        </a:lnTo>
                        <a:lnTo>
                          <a:pt x="380" y="306"/>
                        </a:lnTo>
                        <a:lnTo>
                          <a:pt x="380" y="307"/>
                        </a:lnTo>
                        <a:lnTo>
                          <a:pt x="382" y="309"/>
                        </a:lnTo>
                        <a:lnTo>
                          <a:pt x="383" y="311"/>
                        </a:lnTo>
                        <a:lnTo>
                          <a:pt x="383" y="312"/>
                        </a:lnTo>
                        <a:lnTo>
                          <a:pt x="383" y="314"/>
                        </a:lnTo>
                        <a:lnTo>
                          <a:pt x="383" y="315"/>
                        </a:lnTo>
                        <a:lnTo>
                          <a:pt x="382" y="317"/>
                        </a:lnTo>
                        <a:lnTo>
                          <a:pt x="382" y="319"/>
                        </a:lnTo>
                        <a:lnTo>
                          <a:pt x="380" y="320"/>
                        </a:lnTo>
                        <a:lnTo>
                          <a:pt x="379" y="322"/>
                        </a:lnTo>
                        <a:lnTo>
                          <a:pt x="379" y="323"/>
                        </a:lnTo>
                        <a:lnTo>
                          <a:pt x="377" y="326"/>
                        </a:lnTo>
                        <a:lnTo>
                          <a:pt x="377" y="328"/>
                        </a:lnTo>
                        <a:lnTo>
                          <a:pt x="377" y="331"/>
                        </a:lnTo>
                        <a:lnTo>
                          <a:pt x="377" y="333"/>
                        </a:lnTo>
                        <a:lnTo>
                          <a:pt x="377" y="336"/>
                        </a:lnTo>
                        <a:lnTo>
                          <a:pt x="377" y="339"/>
                        </a:lnTo>
                        <a:lnTo>
                          <a:pt x="377" y="341"/>
                        </a:lnTo>
                        <a:lnTo>
                          <a:pt x="377" y="344"/>
                        </a:lnTo>
                        <a:lnTo>
                          <a:pt x="375" y="344"/>
                        </a:lnTo>
                        <a:lnTo>
                          <a:pt x="375" y="345"/>
                        </a:lnTo>
                        <a:lnTo>
                          <a:pt x="377" y="347"/>
                        </a:lnTo>
                        <a:lnTo>
                          <a:pt x="377" y="350"/>
                        </a:lnTo>
                        <a:lnTo>
                          <a:pt x="377" y="352"/>
                        </a:lnTo>
                        <a:lnTo>
                          <a:pt x="375" y="353"/>
                        </a:lnTo>
                        <a:lnTo>
                          <a:pt x="374" y="357"/>
                        </a:lnTo>
                        <a:lnTo>
                          <a:pt x="372" y="358"/>
                        </a:lnTo>
                        <a:lnTo>
                          <a:pt x="372" y="360"/>
                        </a:lnTo>
                        <a:lnTo>
                          <a:pt x="371" y="363"/>
                        </a:lnTo>
                        <a:lnTo>
                          <a:pt x="371" y="364"/>
                        </a:lnTo>
                        <a:lnTo>
                          <a:pt x="371" y="366"/>
                        </a:lnTo>
                        <a:lnTo>
                          <a:pt x="371" y="368"/>
                        </a:lnTo>
                        <a:lnTo>
                          <a:pt x="372" y="369"/>
                        </a:lnTo>
                        <a:lnTo>
                          <a:pt x="372" y="371"/>
                        </a:lnTo>
                        <a:lnTo>
                          <a:pt x="372" y="372"/>
                        </a:lnTo>
                        <a:lnTo>
                          <a:pt x="371" y="374"/>
                        </a:lnTo>
                        <a:lnTo>
                          <a:pt x="371" y="376"/>
                        </a:lnTo>
                        <a:lnTo>
                          <a:pt x="369" y="377"/>
                        </a:lnTo>
                        <a:lnTo>
                          <a:pt x="367" y="379"/>
                        </a:lnTo>
                        <a:lnTo>
                          <a:pt x="366" y="380"/>
                        </a:lnTo>
                        <a:lnTo>
                          <a:pt x="367" y="382"/>
                        </a:lnTo>
                        <a:lnTo>
                          <a:pt x="367" y="383"/>
                        </a:lnTo>
                        <a:lnTo>
                          <a:pt x="369" y="385"/>
                        </a:lnTo>
                        <a:lnTo>
                          <a:pt x="369" y="387"/>
                        </a:lnTo>
                        <a:lnTo>
                          <a:pt x="371" y="388"/>
                        </a:lnTo>
                        <a:lnTo>
                          <a:pt x="375" y="388"/>
                        </a:lnTo>
                        <a:lnTo>
                          <a:pt x="379" y="390"/>
                        </a:lnTo>
                        <a:lnTo>
                          <a:pt x="380" y="390"/>
                        </a:lnTo>
                        <a:lnTo>
                          <a:pt x="382" y="390"/>
                        </a:lnTo>
                        <a:lnTo>
                          <a:pt x="383" y="390"/>
                        </a:lnTo>
                        <a:lnTo>
                          <a:pt x="385" y="391"/>
                        </a:lnTo>
                        <a:lnTo>
                          <a:pt x="386" y="395"/>
                        </a:lnTo>
                        <a:lnTo>
                          <a:pt x="388" y="396"/>
                        </a:lnTo>
                        <a:lnTo>
                          <a:pt x="388" y="398"/>
                        </a:lnTo>
                        <a:lnTo>
                          <a:pt x="388" y="399"/>
                        </a:lnTo>
                        <a:lnTo>
                          <a:pt x="388" y="401"/>
                        </a:lnTo>
                        <a:lnTo>
                          <a:pt x="388" y="402"/>
                        </a:lnTo>
                        <a:lnTo>
                          <a:pt x="388" y="404"/>
                        </a:lnTo>
                        <a:lnTo>
                          <a:pt x="388" y="407"/>
                        </a:lnTo>
                        <a:lnTo>
                          <a:pt x="390" y="409"/>
                        </a:lnTo>
                        <a:lnTo>
                          <a:pt x="390" y="410"/>
                        </a:lnTo>
                        <a:lnTo>
                          <a:pt x="390" y="412"/>
                        </a:lnTo>
                        <a:lnTo>
                          <a:pt x="390" y="415"/>
                        </a:lnTo>
                        <a:lnTo>
                          <a:pt x="390" y="417"/>
                        </a:lnTo>
                        <a:lnTo>
                          <a:pt x="391" y="418"/>
                        </a:lnTo>
                        <a:lnTo>
                          <a:pt x="396" y="418"/>
                        </a:lnTo>
                        <a:lnTo>
                          <a:pt x="398" y="420"/>
                        </a:lnTo>
                        <a:lnTo>
                          <a:pt x="401" y="420"/>
                        </a:lnTo>
                        <a:lnTo>
                          <a:pt x="402" y="421"/>
                        </a:lnTo>
                        <a:lnTo>
                          <a:pt x="405" y="423"/>
                        </a:lnTo>
                        <a:lnTo>
                          <a:pt x="407" y="423"/>
                        </a:lnTo>
                        <a:lnTo>
                          <a:pt x="409" y="423"/>
                        </a:lnTo>
                        <a:lnTo>
                          <a:pt x="410" y="423"/>
                        </a:lnTo>
                        <a:lnTo>
                          <a:pt x="412" y="423"/>
                        </a:lnTo>
                        <a:lnTo>
                          <a:pt x="415" y="421"/>
                        </a:lnTo>
                        <a:lnTo>
                          <a:pt x="418" y="420"/>
                        </a:lnTo>
                        <a:lnTo>
                          <a:pt x="423" y="418"/>
                        </a:lnTo>
                        <a:lnTo>
                          <a:pt x="429" y="417"/>
                        </a:lnTo>
                        <a:lnTo>
                          <a:pt x="431" y="417"/>
                        </a:lnTo>
                        <a:lnTo>
                          <a:pt x="434" y="417"/>
                        </a:lnTo>
                        <a:lnTo>
                          <a:pt x="439" y="418"/>
                        </a:lnTo>
                        <a:lnTo>
                          <a:pt x="440" y="418"/>
                        </a:lnTo>
                        <a:lnTo>
                          <a:pt x="443" y="420"/>
                        </a:lnTo>
                        <a:lnTo>
                          <a:pt x="445" y="421"/>
                        </a:lnTo>
                        <a:lnTo>
                          <a:pt x="447" y="425"/>
                        </a:lnTo>
                        <a:lnTo>
                          <a:pt x="450" y="428"/>
                        </a:lnTo>
                        <a:lnTo>
                          <a:pt x="451" y="429"/>
                        </a:lnTo>
                        <a:lnTo>
                          <a:pt x="451" y="431"/>
                        </a:lnTo>
                        <a:lnTo>
                          <a:pt x="453" y="431"/>
                        </a:lnTo>
                        <a:lnTo>
                          <a:pt x="453" y="433"/>
                        </a:lnTo>
                        <a:lnTo>
                          <a:pt x="455" y="434"/>
                        </a:lnTo>
                        <a:lnTo>
                          <a:pt x="456" y="434"/>
                        </a:lnTo>
                        <a:lnTo>
                          <a:pt x="456" y="439"/>
                        </a:lnTo>
                        <a:lnTo>
                          <a:pt x="458" y="444"/>
                        </a:lnTo>
                        <a:lnTo>
                          <a:pt x="458" y="447"/>
                        </a:lnTo>
                        <a:lnTo>
                          <a:pt x="458" y="452"/>
                        </a:lnTo>
                        <a:lnTo>
                          <a:pt x="459" y="456"/>
                        </a:lnTo>
                        <a:lnTo>
                          <a:pt x="461" y="463"/>
                        </a:lnTo>
                        <a:lnTo>
                          <a:pt x="461" y="466"/>
                        </a:lnTo>
                        <a:lnTo>
                          <a:pt x="462" y="471"/>
                        </a:lnTo>
                        <a:lnTo>
                          <a:pt x="462" y="474"/>
                        </a:lnTo>
                        <a:lnTo>
                          <a:pt x="464" y="479"/>
                        </a:lnTo>
                        <a:lnTo>
                          <a:pt x="464" y="482"/>
                        </a:lnTo>
                        <a:lnTo>
                          <a:pt x="466" y="488"/>
                        </a:lnTo>
                        <a:lnTo>
                          <a:pt x="466" y="491"/>
                        </a:lnTo>
                        <a:lnTo>
                          <a:pt x="467" y="499"/>
                        </a:lnTo>
                        <a:lnTo>
                          <a:pt x="469" y="499"/>
                        </a:lnTo>
                        <a:lnTo>
                          <a:pt x="474" y="498"/>
                        </a:lnTo>
                        <a:lnTo>
                          <a:pt x="478" y="496"/>
                        </a:lnTo>
                        <a:lnTo>
                          <a:pt x="483" y="494"/>
                        </a:lnTo>
                        <a:lnTo>
                          <a:pt x="485" y="491"/>
                        </a:lnTo>
                        <a:lnTo>
                          <a:pt x="486" y="488"/>
                        </a:lnTo>
                        <a:lnTo>
                          <a:pt x="486" y="485"/>
                        </a:lnTo>
                        <a:lnTo>
                          <a:pt x="485" y="482"/>
                        </a:lnTo>
                        <a:lnTo>
                          <a:pt x="485" y="477"/>
                        </a:lnTo>
                        <a:lnTo>
                          <a:pt x="485" y="475"/>
                        </a:lnTo>
                        <a:lnTo>
                          <a:pt x="486" y="472"/>
                        </a:lnTo>
                        <a:lnTo>
                          <a:pt x="488" y="471"/>
                        </a:lnTo>
                        <a:lnTo>
                          <a:pt x="489" y="467"/>
                        </a:lnTo>
                        <a:lnTo>
                          <a:pt x="494" y="464"/>
                        </a:lnTo>
                        <a:lnTo>
                          <a:pt x="496" y="464"/>
                        </a:lnTo>
                        <a:lnTo>
                          <a:pt x="497" y="466"/>
                        </a:lnTo>
                        <a:lnTo>
                          <a:pt x="499" y="467"/>
                        </a:lnTo>
                        <a:lnTo>
                          <a:pt x="501" y="469"/>
                        </a:lnTo>
                        <a:lnTo>
                          <a:pt x="502" y="471"/>
                        </a:lnTo>
                        <a:lnTo>
                          <a:pt x="505" y="472"/>
                        </a:lnTo>
                        <a:lnTo>
                          <a:pt x="510" y="472"/>
                        </a:lnTo>
                        <a:lnTo>
                          <a:pt x="515" y="474"/>
                        </a:lnTo>
                        <a:lnTo>
                          <a:pt x="520" y="474"/>
                        </a:lnTo>
                        <a:lnTo>
                          <a:pt x="523" y="475"/>
                        </a:lnTo>
                        <a:lnTo>
                          <a:pt x="524" y="475"/>
                        </a:lnTo>
                        <a:lnTo>
                          <a:pt x="527" y="475"/>
                        </a:lnTo>
                        <a:lnTo>
                          <a:pt x="529" y="477"/>
                        </a:lnTo>
                        <a:lnTo>
                          <a:pt x="531" y="477"/>
                        </a:lnTo>
                        <a:lnTo>
                          <a:pt x="532" y="475"/>
                        </a:lnTo>
                        <a:lnTo>
                          <a:pt x="534" y="475"/>
                        </a:lnTo>
                        <a:lnTo>
                          <a:pt x="535" y="475"/>
                        </a:lnTo>
                        <a:lnTo>
                          <a:pt x="537" y="474"/>
                        </a:lnTo>
                        <a:lnTo>
                          <a:pt x="539" y="474"/>
                        </a:lnTo>
                        <a:lnTo>
                          <a:pt x="540" y="474"/>
                        </a:lnTo>
                        <a:lnTo>
                          <a:pt x="542" y="472"/>
                        </a:lnTo>
                        <a:lnTo>
                          <a:pt x="543" y="472"/>
                        </a:lnTo>
                        <a:lnTo>
                          <a:pt x="546" y="471"/>
                        </a:lnTo>
                        <a:lnTo>
                          <a:pt x="550" y="471"/>
                        </a:lnTo>
                        <a:lnTo>
                          <a:pt x="551" y="471"/>
                        </a:lnTo>
                        <a:lnTo>
                          <a:pt x="551" y="472"/>
                        </a:lnTo>
                        <a:lnTo>
                          <a:pt x="553" y="472"/>
                        </a:lnTo>
                        <a:lnTo>
                          <a:pt x="553" y="474"/>
                        </a:lnTo>
                        <a:lnTo>
                          <a:pt x="556" y="474"/>
                        </a:lnTo>
                        <a:lnTo>
                          <a:pt x="556" y="475"/>
                        </a:lnTo>
                        <a:lnTo>
                          <a:pt x="556" y="474"/>
                        </a:lnTo>
                        <a:lnTo>
                          <a:pt x="558" y="472"/>
                        </a:lnTo>
                        <a:lnTo>
                          <a:pt x="559" y="472"/>
                        </a:lnTo>
                        <a:lnTo>
                          <a:pt x="562" y="472"/>
                        </a:lnTo>
                        <a:lnTo>
                          <a:pt x="562" y="474"/>
                        </a:lnTo>
                        <a:lnTo>
                          <a:pt x="564" y="474"/>
                        </a:lnTo>
                        <a:lnTo>
                          <a:pt x="565" y="474"/>
                        </a:lnTo>
                        <a:lnTo>
                          <a:pt x="567" y="475"/>
                        </a:lnTo>
                        <a:lnTo>
                          <a:pt x="567" y="477"/>
                        </a:lnTo>
                        <a:lnTo>
                          <a:pt x="569" y="477"/>
                        </a:lnTo>
                        <a:lnTo>
                          <a:pt x="567" y="477"/>
                        </a:lnTo>
                        <a:lnTo>
                          <a:pt x="567" y="479"/>
                        </a:lnTo>
                        <a:lnTo>
                          <a:pt x="569" y="480"/>
                        </a:lnTo>
                        <a:lnTo>
                          <a:pt x="572" y="483"/>
                        </a:lnTo>
                        <a:lnTo>
                          <a:pt x="573" y="486"/>
                        </a:lnTo>
                        <a:lnTo>
                          <a:pt x="575" y="486"/>
                        </a:lnTo>
                        <a:lnTo>
                          <a:pt x="575" y="488"/>
                        </a:lnTo>
                        <a:lnTo>
                          <a:pt x="577" y="488"/>
                        </a:lnTo>
                        <a:lnTo>
                          <a:pt x="578" y="488"/>
                        </a:lnTo>
                        <a:lnTo>
                          <a:pt x="583" y="488"/>
                        </a:lnTo>
                        <a:lnTo>
                          <a:pt x="589" y="488"/>
                        </a:lnTo>
                        <a:lnTo>
                          <a:pt x="596" y="488"/>
                        </a:lnTo>
                        <a:lnTo>
                          <a:pt x="602" y="488"/>
                        </a:lnTo>
                        <a:lnTo>
                          <a:pt x="608" y="488"/>
                        </a:lnTo>
                        <a:lnTo>
                          <a:pt x="618" y="488"/>
                        </a:lnTo>
                        <a:lnTo>
                          <a:pt x="622" y="488"/>
                        </a:lnTo>
                        <a:lnTo>
                          <a:pt x="624" y="488"/>
                        </a:lnTo>
                        <a:lnTo>
                          <a:pt x="627" y="488"/>
                        </a:lnTo>
                        <a:lnTo>
                          <a:pt x="627" y="490"/>
                        </a:lnTo>
                        <a:lnTo>
                          <a:pt x="630" y="491"/>
                        </a:lnTo>
                        <a:lnTo>
                          <a:pt x="632" y="493"/>
                        </a:lnTo>
                        <a:lnTo>
                          <a:pt x="635" y="494"/>
                        </a:lnTo>
                        <a:lnTo>
                          <a:pt x="641" y="501"/>
                        </a:lnTo>
                        <a:lnTo>
                          <a:pt x="646" y="504"/>
                        </a:lnTo>
                        <a:lnTo>
                          <a:pt x="651" y="507"/>
                        </a:lnTo>
                        <a:lnTo>
                          <a:pt x="657" y="510"/>
                        </a:lnTo>
                        <a:lnTo>
                          <a:pt x="664" y="513"/>
                        </a:lnTo>
                        <a:lnTo>
                          <a:pt x="670" y="517"/>
                        </a:lnTo>
                        <a:lnTo>
                          <a:pt x="675" y="520"/>
                        </a:lnTo>
                        <a:lnTo>
                          <a:pt x="680" y="523"/>
                        </a:lnTo>
                        <a:lnTo>
                          <a:pt x="684" y="526"/>
                        </a:lnTo>
                        <a:lnTo>
                          <a:pt x="691" y="529"/>
                        </a:lnTo>
                        <a:lnTo>
                          <a:pt x="697" y="532"/>
                        </a:lnTo>
                        <a:lnTo>
                          <a:pt x="705" y="536"/>
                        </a:lnTo>
                        <a:lnTo>
                          <a:pt x="711" y="539"/>
                        </a:lnTo>
                        <a:lnTo>
                          <a:pt x="714" y="540"/>
                        </a:lnTo>
                        <a:lnTo>
                          <a:pt x="718" y="542"/>
                        </a:lnTo>
                        <a:lnTo>
                          <a:pt x="722" y="543"/>
                        </a:lnTo>
                        <a:lnTo>
                          <a:pt x="725" y="543"/>
                        </a:lnTo>
                        <a:lnTo>
                          <a:pt x="727" y="543"/>
                        </a:lnTo>
                        <a:lnTo>
                          <a:pt x="729" y="543"/>
                        </a:lnTo>
                        <a:lnTo>
                          <a:pt x="730" y="543"/>
                        </a:lnTo>
                        <a:lnTo>
                          <a:pt x="732" y="543"/>
                        </a:lnTo>
                        <a:lnTo>
                          <a:pt x="733" y="543"/>
                        </a:lnTo>
                        <a:lnTo>
                          <a:pt x="737" y="543"/>
                        </a:lnTo>
                        <a:lnTo>
                          <a:pt x="738" y="543"/>
                        </a:lnTo>
                        <a:lnTo>
                          <a:pt x="740" y="542"/>
                        </a:lnTo>
                        <a:lnTo>
                          <a:pt x="744" y="542"/>
                        </a:lnTo>
                        <a:lnTo>
                          <a:pt x="748" y="542"/>
                        </a:lnTo>
                        <a:lnTo>
                          <a:pt x="749" y="542"/>
                        </a:lnTo>
                        <a:lnTo>
                          <a:pt x="751" y="542"/>
                        </a:lnTo>
                        <a:lnTo>
                          <a:pt x="752" y="540"/>
                        </a:lnTo>
                        <a:lnTo>
                          <a:pt x="754" y="540"/>
                        </a:lnTo>
                        <a:lnTo>
                          <a:pt x="756" y="540"/>
                        </a:lnTo>
                        <a:lnTo>
                          <a:pt x="757" y="540"/>
                        </a:lnTo>
                        <a:lnTo>
                          <a:pt x="757" y="539"/>
                        </a:lnTo>
                        <a:lnTo>
                          <a:pt x="759" y="539"/>
                        </a:lnTo>
                        <a:lnTo>
                          <a:pt x="760" y="539"/>
                        </a:lnTo>
                        <a:lnTo>
                          <a:pt x="762" y="539"/>
                        </a:lnTo>
                        <a:lnTo>
                          <a:pt x="763" y="537"/>
                        </a:lnTo>
                        <a:lnTo>
                          <a:pt x="765" y="536"/>
                        </a:lnTo>
                        <a:lnTo>
                          <a:pt x="765" y="534"/>
                        </a:lnTo>
                        <a:lnTo>
                          <a:pt x="767" y="534"/>
                        </a:lnTo>
                        <a:lnTo>
                          <a:pt x="768" y="532"/>
                        </a:lnTo>
                        <a:lnTo>
                          <a:pt x="770" y="534"/>
                        </a:lnTo>
                        <a:lnTo>
                          <a:pt x="771" y="536"/>
                        </a:lnTo>
                        <a:lnTo>
                          <a:pt x="771" y="537"/>
                        </a:lnTo>
                        <a:lnTo>
                          <a:pt x="773" y="542"/>
                        </a:lnTo>
                        <a:lnTo>
                          <a:pt x="773" y="545"/>
                        </a:lnTo>
                        <a:lnTo>
                          <a:pt x="773" y="548"/>
                        </a:lnTo>
                        <a:lnTo>
                          <a:pt x="775" y="550"/>
                        </a:lnTo>
                        <a:lnTo>
                          <a:pt x="775" y="551"/>
                        </a:lnTo>
                        <a:lnTo>
                          <a:pt x="775" y="553"/>
                        </a:lnTo>
                        <a:lnTo>
                          <a:pt x="773" y="556"/>
                        </a:lnTo>
                        <a:lnTo>
                          <a:pt x="773" y="558"/>
                        </a:lnTo>
                        <a:lnTo>
                          <a:pt x="773" y="559"/>
                        </a:lnTo>
                        <a:lnTo>
                          <a:pt x="773" y="561"/>
                        </a:lnTo>
                        <a:lnTo>
                          <a:pt x="775" y="564"/>
                        </a:lnTo>
                        <a:lnTo>
                          <a:pt x="775" y="566"/>
                        </a:lnTo>
                        <a:lnTo>
                          <a:pt x="775" y="567"/>
                        </a:lnTo>
                        <a:lnTo>
                          <a:pt x="775" y="569"/>
                        </a:lnTo>
                        <a:lnTo>
                          <a:pt x="775" y="570"/>
                        </a:lnTo>
                        <a:lnTo>
                          <a:pt x="775" y="572"/>
                        </a:lnTo>
                        <a:lnTo>
                          <a:pt x="773" y="575"/>
                        </a:lnTo>
                        <a:lnTo>
                          <a:pt x="773" y="578"/>
                        </a:lnTo>
                        <a:lnTo>
                          <a:pt x="773" y="580"/>
                        </a:lnTo>
                        <a:lnTo>
                          <a:pt x="775" y="581"/>
                        </a:lnTo>
                        <a:lnTo>
                          <a:pt x="775" y="585"/>
                        </a:lnTo>
                        <a:lnTo>
                          <a:pt x="775" y="586"/>
                        </a:lnTo>
                        <a:lnTo>
                          <a:pt x="776" y="589"/>
                        </a:lnTo>
                        <a:lnTo>
                          <a:pt x="776" y="594"/>
                        </a:lnTo>
                        <a:lnTo>
                          <a:pt x="778" y="600"/>
                        </a:lnTo>
                        <a:lnTo>
                          <a:pt x="779" y="604"/>
                        </a:lnTo>
                        <a:lnTo>
                          <a:pt x="779" y="608"/>
                        </a:lnTo>
                        <a:lnTo>
                          <a:pt x="781" y="612"/>
                        </a:lnTo>
                        <a:lnTo>
                          <a:pt x="781" y="615"/>
                        </a:lnTo>
                        <a:lnTo>
                          <a:pt x="782" y="619"/>
                        </a:lnTo>
                        <a:lnTo>
                          <a:pt x="782" y="624"/>
                        </a:lnTo>
                        <a:lnTo>
                          <a:pt x="784" y="629"/>
                        </a:lnTo>
                        <a:lnTo>
                          <a:pt x="784" y="631"/>
                        </a:lnTo>
                        <a:lnTo>
                          <a:pt x="784" y="634"/>
                        </a:lnTo>
                        <a:lnTo>
                          <a:pt x="784" y="635"/>
                        </a:lnTo>
                        <a:lnTo>
                          <a:pt x="784" y="639"/>
                        </a:lnTo>
                        <a:lnTo>
                          <a:pt x="784" y="642"/>
                        </a:lnTo>
                        <a:lnTo>
                          <a:pt x="784" y="643"/>
                        </a:lnTo>
                        <a:lnTo>
                          <a:pt x="784" y="645"/>
                        </a:lnTo>
                        <a:lnTo>
                          <a:pt x="784" y="648"/>
                        </a:lnTo>
                        <a:lnTo>
                          <a:pt x="784" y="650"/>
                        </a:lnTo>
                        <a:lnTo>
                          <a:pt x="784" y="651"/>
                        </a:lnTo>
                        <a:lnTo>
                          <a:pt x="786" y="653"/>
                        </a:lnTo>
                        <a:lnTo>
                          <a:pt x="786" y="654"/>
                        </a:lnTo>
                        <a:lnTo>
                          <a:pt x="787" y="656"/>
                        </a:lnTo>
                        <a:lnTo>
                          <a:pt x="787" y="658"/>
                        </a:lnTo>
                        <a:lnTo>
                          <a:pt x="789" y="661"/>
                        </a:lnTo>
                        <a:lnTo>
                          <a:pt x="790" y="662"/>
                        </a:lnTo>
                        <a:lnTo>
                          <a:pt x="792" y="665"/>
                        </a:lnTo>
                        <a:lnTo>
                          <a:pt x="794" y="667"/>
                        </a:lnTo>
                        <a:lnTo>
                          <a:pt x="795" y="669"/>
                        </a:lnTo>
                        <a:lnTo>
                          <a:pt x="797" y="673"/>
                        </a:lnTo>
                        <a:lnTo>
                          <a:pt x="800" y="683"/>
                        </a:lnTo>
                        <a:lnTo>
                          <a:pt x="801" y="688"/>
                        </a:lnTo>
                        <a:lnTo>
                          <a:pt x="805" y="694"/>
                        </a:lnTo>
                        <a:lnTo>
                          <a:pt x="808" y="703"/>
                        </a:lnTo>
                        <a:lnTo>
                          <a:pt x="811" y="711"/>
                        </a:lnTo>
                        <a:lnTo>
                          <a:pt x="814" y="719"/>
                        </a:lnTo>
                        <a:lnTo>
                          <a:pt x="816" y="724"/>
                        </a:lnTo>
                        <a:lnTo>
                          <a:pt x="816" y="727"/>
                        </a:lnTo>
                        <a:lnTo>
                          <a:pt x="817" y="730"/>
                        </a:lnTo>
                        <a:lnTo>
                          <a:pt x="817" y="732"/>
                        </a:lnTo>
                        <a:lnTo>
                          <a:pt x="819" y="734"/>
                        </a:lnTo>
                        <a:lnTo>
                          <a:pt x="819" y="735"/>
                        </a:lnTo>
                        <a:lnTo>
                          <a:pt x="817" y="737"/>
                        </a:lnTo>
                        <a:lnTo>
                          <a:pt x="816" y="738"/>
                        </a:lnTo>
                        <a:lnTo>
                          <a:pt x="814" y="738"/>
                        </a:lnTo>
                        <a:lnTo>
                          <a:pt x="811" y="740"/>
                        </a:lnTo>
                        <a:lnTo>
                          <a:pt x="809" y="740"/>
                        </a:lnTo>
                        <a:lnTo>
                          <a:pt x="808" y="740"/>
                        </a:lnTo>
                        <a:lnTo>
                          <a:pt x="806" y="740"/>
                        </a:lnTo>
                        <a:lnTo>
                          <a:pt x="805" y="740"/>
                        </a:lnTo>
                        <a:lnTo>
                          <a:pt x="803" y="740"/>
                        </a:lnTo>
                        <a:lnTo>
                          <a:pt x="801" y="741"/>
                        </a:lnTo>
                        <a:lnTo>
                          <a:pt x="800" y="741"/>
                        </a:lnTo>
                        <a:lnTo>
                          <a:pt x="798" y="741"/>
                        </a:lnTo>
                        <a:lnTo>
                          <a:pt x="798" y="743"/>
                        </a:lnTo>
                        <a:lnTo>
                          <a:pt x="797" y="743"/>
                        </a:lnTo>
                        <a:lnTo>
                          <a:pt x="795" y="743"/>
                        </a:lnTo>
                        <a:lnTo>
                          <a:pt x="794" y="745"/>
                        </a:lnTo>
                        <a:lnTo>
                          <a:pt x="794" y="746"/>
                        </a:lnTo>
                        <a:lnTo>
                          <a:pt x="794" y="748"/>
                        </a:lnTo>
                        <a:lnTo>
                          <a:pt x="792" y="748"/>
                        </a:lnTo>
                        <a:lnTo>
                          <a:pt x="790" y="748"/>
                        </a:lnTo>
                        <a:lnTo>
                          <a:pt x="789" y="748"/>
                        </a:lnTo>
                        <a:lnTo>
                          <a:pt x="787" y="749"/>
                        </a:lnTo>
                        <a:lnTo>
                          <a:pt x="786" y="751"/>
                        </a:lnTo>
                        <a:lnTo>
                          <a:pt x="787" y="753"/>
                        </a:lnTo>
                        <a:lnTo>
                          <a:pt x="789" y="753"/>
                        </a:lnTo>
                        <a:lnTo>
                          <a:pt x="789" y="754"/>
                        </a:lnTo>
                        <a:lnTo>
                          <a:pt x="790" y="754"/>
                        </a:lnTo>
                        <a:lnTo>
                          <a:pt x="790" y="756"/>
                        </a:lnTo>
                        <a:lnTo>
                          <a:pt x="790" y="757"/>
                        </a:lnTo>
                        <a:lnTo>
                          <a:pt x="792" y="759"/>
                        </a:lnTo>
                        <a:lnTo>
                          <a:pt x="790" y="760"/>
                        </a:lnTo>
                        <a:lnTo>
                          <a:pt x="790" y="762"/>
                        </a:lnTo>
                        <a:lnTo>
                          <a:pt x="792" y="764"/>
                        </a:lnTo>
                        <a:lnTo>
                          <a:pt x="794" y="765"/>
                        </a:lnTo>
                        <a:lnTo>
                          <a:pt x="794" y="767"/>
                        </a:lnTo>
                        <a:lnTo>
                          <a:pt x="795" y="768"/>
                        </a:lnTo>
                        <a:lnTo>
                          <a:pt x="795" y="770"/>
                        </a:lnTo>
                        <a:lnTo>
                          <a:pt x="794" y="772"/>
                        </a:lnTo>
                        <a:lnTo>
                          <a:pt x="794" y="773"/>
                        </a:lnTo>
                        <a:lnTo>
                          <a:pt x="795" y="776"/>
                        </a:lnTo>
                        <a:lnTo>
                          <a:pt x="795" y="778"/>
                        </a:lnTo>
                        <a:lnTo>
                          <a:pt x="794" y="779"/>
                        </a:lnTo>
                        <a:lnTo>
                          <a:pt x="794" y="781"/>
                        </a:lnTo>
                        <a:lnTo>
                          <a:pt x="794" y="783"/>
                        </a:lnTo>
                        <a:lnTo>
                          <a:pt x="794" y="784"/>
                        </a:lnTo>
                        <a:lnTo>
                          <a:pt x="794" y="786"/>
                        </a:lnTo>
                        <a:lnTo>
                          <a:pt x="795" y="787"/>
                        </a:lnTo>
                        <a:lnTo>
                          <a:pt x="797" y="789"/>
                        </a:lnTo>
                        <a:lnTo>
                          <a:pt x="798" y="789"/>
                        </a:lnTo>
                        <a:lnTo>
                          <a:pt x="798" y="791"/>
                        </a:lnTo>
                        <a:lnTo>
                          <a:pt x="798" y="792"/>
                        </a:lnTo>
                        <a:lnTo>
                          <a:pt x="800" y="792"/>
                        </a:lnTo>
                        <a:lnTo>
                          <a:pt x="800" y="794"/>
                        </a:lnTo>
                        <a:lnTo>
                          <a:pt x="800" y="795"/>
                        </a:lnTo>
                        <a:lnTo>
                          <a:pt x="800" y="797"/>
                        </a:lnTo>
                        <a:lnTo>
                          <a:pt x="800" y="800"/>
                        </a:lnTo>
                        <a:lnTo>
                          <a:pt x="801" y="800"/>
                        </a:lnTo>
                        <a:lnTo>
                          <a:pt x="801" y="802"/>
                        </a:lnTo>
                        <a:lnTo>
                          <a:pt x="803" y="802"/>
                        </a:lnTo>
                        <a:lnTo>
                          <a:pt x="805" y="802"/>
                        </a:lnTo>
                        <a:lnTo>
                          <a:pt x="806" y="802"/>
                        </a:lnTo>
                        <a:lnTo>
                          <a:pt x="806" y="803"/>
                        </a:lnTo>
                        <a:lnTo>
                          <a:pt x="806" y="805"/>
                        </a:lnTo>
                        <a:lnTo>
                          <a:pt x="808" y="805"/>
                        </a:lnTo>
                        <a:lnTo>
                          <a:pt x="808" y="806"/>
                        </a:lnTo>
                        <a:lnTo>
                          <a:pt x="808" y="808"/>
                        </a:lnTo>
                        <a:lnTo>
                          <a:pt x="808" y="810"/>
                        </a:lnTo>
                        <a:lnTo>
                          <a:pt x="806" y="811"/>
                        </a:lnTo>
                        <a:lnTo>
                          <a:pt x="806" y="813"/>
                        </a:lnTo>
                        <a:lnTo>
                          <a:pt x="805" y="813"/>
                        </a:lnTo>
                        <a:lnTo>
                          <a:pt x="805" y="814"/>
                        </a:lnTo>
                        <a:lnTo>
                          <a:pt x="803" y="816"/>
                        </a:lnTo>
                        <a:lnTo>
                          <a:pt x="803" y="817"/>
                        </a:lnTo>
                        <a:lnTo>
                          <a:pt x="803" y="819"/>
                        </a:lnTo>
                        <a:lnTo>
                          <a:pt x="805" y="821"/>
                        </a:lnTo>
                        <a:lnTo>
                          <a:pt x="806" y="822"/>
                        </a:lnTo>
                        <a:lnTo>
                          <a:pt x="808" y="824"/>
                        </a:lnTo>
                        <a:lnTo>
                          <a:pt x="808" y="825"/>
                        </a:lnTo>
                        <a:lnTo>
                          <a:pt x="809" y="825"/>
                        </a:lnTo>
                        <a:lnTo>
                          <a:pt x="809" y="827"/>
                        </a:lnTo>
                        <a:lnTo>
                          <a:pt x="809" y="829"/>
                        </a:lnTo>
                        <a:lnTo>
                          <a:pt x="808" y="830"/>
                        </a:lnTo>
                        <a:lnTo>
                          <a:pt x="806" y="830"/>
                        </a:lnTo>
                        <a:lnTo>
                          <a:pt x="803" y="830"/>
                        </a:lnTo>
                        <a:lnTo>
                          <a:pt x="801" y="833"/>
                        </a:lnTo>
                        <a:lnTo>
                          <a:pt x="801" y="835"/>
                        </a:lnTo>
                        <a:lnTo>
                          <a:pt x="801" y="837"/>
                        </a:lnTo>
                        <a:lnTo>
                          <a:pt x="801" y="838"/>
                        </a:lnTo>
                        <a:lnTo>
                          <a:pt x="800" y="841"/>
                        </a:lnTo>
                        <a:lnTo>
                          <a:pt x="794" y="851"/>
                        </a:lnTo>
                        <a:lnTo>
                          <a:pt x="790" y="856"/>
                        </a:lnTo>
                        <a:lnTo>
                          <a:pt x="786" y="863"/>
                        </a:lnTo>
                        <a:lnTo>
                          <a:pt x="781" y="871"/>
                        </a:lnTo>
                        <a:lnTo>
                          <a:pt x="779" y="875"/>
                        </a:lnTo>
                        <a:lnTo>
                          <a:pt x="778" y="878"/>
                        </a:lnTo>
                        <a:lnTo>
                          <a:pt x="778" y="879"/>
                        </a:lnTo>
                        <a:lnTo>
                          <a:pt x="778" y="882"/>
                        </a:lnTo>
                        <a:lnTo>
                          <a:pt x="778" y="886"/>
                        </a:lnTo>
                        <a:lnTo>
                          <a:pt x="778" y="889"/>
                        </a:lnTo>
                        <a:lnTo>
                          <a:pt x="778" y="894"/>
                        </a:lnTo>
                        <a:lnTo>
                          <a:pt x="778" y="895"/>
                        </a:lnTo>
                        <a:lnTo>
                          <a:pt x="779" y="897"/>
                        </a:lnTo>
                        <a:lnTo>
                          <a:pt x="779" y="901"/>
                        </a:lnTo>
                        <a:lnTo>
                          <a:pt x="779" y="903"/>
                        </a:lnTo>
                        <a:lnTo>
                          <a:pt x="779" y="905"/>
                        </a:lnTo>
                        <a:lnTo>
                          <a:pt x="781" y="909"/>
                        </a:lnTo>
                        <a:lnTo>
                          <a:pt x="781" y="913"/>
                        </a:lnTo>
                        <a:lnTo>
                          <a:pt x="781" y="914"/>
                        </a:lnTo>
                        <a:lnTo>
                          <a:pt x="779" y="916"/>
                        </a:lnTo>
                        <a:lnTo>
                          <a:pt x="778" y="916"/>
                        </a:lnTo>
                        <a:lnTo>
                          <a:pt x="776" y="917"/>
                        </a:lnTo>
                        <a:lnTo>
                          <a:pt x="775" y="917"/>
                        </a:lnTo>
                        <a:lnTo>
                          <a:pt x="771" y="917"/>
                        </a:lnTo>
                        <a:lnTo>
                          <a:pt x="770" y="917"/>
                        </a:lnTo>
                        <a:lnTo>
                          <a:pt x="768" y="916"/>
                        </a:lnTo>
                        <a:lnTo>
                          <a:pt x="767" y="914"/>
                        </a:lnTo>
                        <a:lnTo>
                          <a:pt x="765" y="913"/>
                        </a:lnTo>
                        <a:lnTo>
                          <a:pt x="763" y="909"/>
                        </a:lnTo>
                        <a:lnTo>
                          <a:pt x="762" y="906"/>
                        </a:lnTo>
                        <a:lnTo>
                          <a:pt x="760" y="905"/>
                        </a:lnTo>
                        <a:lnTo>
                          <a:pt x="759" y="903"/>
                        </a:lnTo>
                        <a:lnTo>
                          <a:pt x="759" y="901"/>
                        </a:lnTo>
                        <a:lnTo>
                          <a:pt x="759" y="898"/>
                        </a:lnTo>
                        <a:lnTo>
                          <a:pt x="757" y="897"/>
                        </a:lnTo>
                        <a:lnTo>
                          <a:pt x="754" y="897"/>
                        </a:lnTo>
                        <a:lnTo>
                          <a:pt x="754" y="898"/>
                        </a:lnTo>
                        <a:lnTo>
                          <a:pt x="752" y="898"/>
                        </a:lnTo>
                        <a:lnTo>
                          <a:pt x="751" y="898"/>
                        </a:lnTo>
                        <a:lnTo>
                          <a:pt x="749" y="897"/>
                        </a:lnTo>
                        <a:lnTo>
                          <a:pt x="749" y="895"/>
                        </a:lnTo>
                        <a:lnTo>
                          <a:pt x="748" y="894"/>
                        </a:lnTo>
                        <a:lnTo>
                          <a:pt x="746" y="892"/>
                        </a:lnTo>
                        <a:lnTo>
                          <a:pt x="744" y="892"/>
                        </a:lnTo>
                        <a:lnTo>
                          <a:pt x="743" y="892"/>
                        </a:lnTo>
                        <a:lnTo>
                          <a:pt x="741" y="894"/>
                        </a:lnTo>
                        <a:lnTo>
                          <a:pt x="740" y="894"/>
                        </a:lnTo>
                        <a:lnTo>
                          <a:pt x="738" y="894"/>
                        </a:lnTo>
                        <a:lnTo>
                          <a:pt x="737" y="894"/>
                        </a:lnTo>
                        <a:lnTo>
                          <a:pt x="735" y="897"/>
                        </a:lnTo>
                        <a:lnTo>
                          <a:pt x="733" y="898"/>
                        </a:lnTo>
                        <a:lnTo>
                          <a:pt x="733" y="900"/>
                        </a:lnTo>
                        <a:lnTo>
                          <a:pt x="735" y="901"/>
                        </a:lnTo>
                        <a:lnTo>
                          <a:pt x="733" y="905"/>
                        </a:lnTo>
                        <a:lnTo>
                          <a:pt x="732" y="908"/>
                        </a:lnTo>
                        <a:lnTo>
                          <a:pt x="730" y="913"/>
                        </a:lnTo>
                        <a:lnTo>
                          <a:pt x="727" y="920"/>
                        </a:lnTo>
                        <a:lnTo>
                          <a:pt x="725" y="925"/>
                        </a:lnTo>
                        <a:lnTo>
                          <a:pt x="725" y="930"/>
                        </a:lnTo>
                        <a:lnTo>
                          <a:pt x="724" y="932"/>
                        </a:lnTo>
                        <a:lnTo>
                          <a:pt x="722" y="933"/>
                        </a:lnTo>
                        <a:lnTo>
                          <a:pt x="721" y="936"/>
                        </a:lnTo>
                        <a:lnTo>
                          <a:pt x="721" y="938"/>
                        </a:lnTo>
                        <a:lnTo>
                          <a:pt x="719" y="939"/>
                        </a:lnTo>
                        <a:lnTo>
                          <a:pt x="718" y="946"/>
                        </a:lnTo>
                        <a:lnTo>
                          <a:pt x="716" y="946"/>
                        </a:lnTo>
                        <a:lnTo>
                          <a:pt x="706" y="943"/>
                        </a:lnTo>
                        <a:lnTo>
                          <a:pt x="692" y="941"/>
                        </a:lnTo>
                        <a:lnTo>
                          <a:pt x="689" y="939"/>
                        </a:lnTo>
                        <a:lnTo>
                          <a:pt x="676" y="938"/>
                        </a:lnTo>
                        <a:lnTo>
                          <a:pt x="675" y="936"/>
                        </a:lnTo>
                        <a:lnTo>
                          <a:pt x="645" y="930"/>
                        </a:lnTo>
                        <a:lnTo>
                          <a:pt x="640" y="930"/>
                        </a:lnTo>
                        <a:lnTo>
                          <a:pt x="632" y="928"/>
                        </a:lnTo>
                        <a:lnTo>
                          <a:pt x="619" y="925"/>
                        </a:lnTo>
                        <a:lnTo>
                          <a:pt x="618" y="925"/>
                        </a:lnTo>
                        <a:lnTo>
                          <a:pt x="616" y="925"/>
                        </a:lnTo>
                        <a:lnTo>
                          <a:pt x="608" y="924"/>
                        </a:lnTo>
                        <a:lnTo>
                          <a:pt x="603" y="922"/>
                        </a:lnTo>
                        <a:lnTo>
                          <a:pt x="602" y="922"/>
                        </a:lnTo>
                        <a:lnTo>
                          <a:pt x="600" y="922"/>
                        </a:lnTo>
                        <a:lnTo>
                          <a:pt x="573" y="917"/>
                        </a:lnTo>
                        <a:lnTo>
                          <a:pt x="537" y="909"/>
                        </a:lnTo>
                        <a:lnTo>
                          <a:pt x="535" y="909"/>
                        </a:lnTo>
                        <a:lnTo>
                          <a:pt x="527" y="908"/>
                        </a:lnTo>
                        <a:lnTo>
                          <a:pt x="516" y="905"/>
                        </a:lnTo>
                        <a:lnTo>
                          <a:pt x="513" y="905"/>
                        </a:lnTo>
                        <a:lnTo>
                          <a:pt x="508" y="905"/>
                        </a:lnTo>
                        <a:lnTo>
                          <a:pt x="507" y="903"/>
                        </a:lnTo>
                        <a:lnTo>
                          <a:pt x="493" y="900"/>
                        </a:lnTo>
                        <a:lnTo>
                          <a:pt x="488" y="900"/>
                        </a:lnTo>
                        <a:lnTo>
                          <a:pt x="483" y="898"/>
                        </a:lnTo>
                        <a:lnTo>
                          <a:pt x="478" y="898"/>
                        </a:lnTo>
                        <a:lnTo>
                          <a:pt x="477" y="898"/>
                        </a:lnTo>
                        <a:lnTo>
                          <a:pt x="456" y="894"/>
                        </a:lnTo>
                        <a:lnTo>
                          <a:pt x="455" y="892"/>
                        </a:lnTo>
                        <a:lnTo>
                          <a:pt x="445" y="890"/>
                        </a:lnTo>
                        <a:lnTo>
                          <a:pt x="439" y="890"/>
                        </a:lnTo>
                        <a:lnTo>
                          <a:pt x="434" y="889"/>
                        </a:lnTo>
                        <a:lnTo>
                          <a:pt x="428" y="887"/>
                        </a:lnTo>
                        <a:lnTo>
                          <a:pt x="421" y="887"/>
                        </a:lnTo>
                        <a:lnTo>
                          <a:pt x="413" y="884"/>
                        </a:lnTo>
                        <a:lnTo>
                          <a:pt x="412" y="884"/>
                        </a:lnTo>
                        <a:lnTo>
                          <a:pt x="398" y="882"/>
                        </a:lnTo>
                        <a:lnTo>
                          <a:pt x="394" y="881"/>
                        </a:lnTo>
                        <a:lnTo>
                          <a:pt x="393" y="881"/>
                        </a:lnTo>
                        <a:lnTo>
                          <a:pt x="390" y="879"/>
                        </a:lnTo>
                        <a:lnTo>
                          <a:pt x="388" y="879"/>
                        </a:lnTo>
                        <a:lnTo>
                          <a:pt x="386" y="879"/>
                        </a:lnTo>
                        <a:lnTo>
                          <a:pt x="375" y="878"/>
                        </a:lnTo>
                        <a:lnTo>
                          <a:pt x="371" y="876"/>
                        </a:lnTo>
                        <a:lnTo>
                          <a:pt x="369" y="875"/>
                        </a:lnTo>
                        <a:lnTo>
                          <a:pt x="358" y="873"/>
                        </a:lnTo>
                        <a:lnTo>
                          <a:pt x="345" y="868"/>
                        </a:lnTo>
                        <a:lnTo>
                          <a:pt x="341" y="867"/>
                        </a:lnTo>
                        <a:lnTo>
                          <a:pt x="337" y="867"/>
                        </a:lnTo>
                        <a:lnTo>
                          <a:pt x="336" y="867"/>
                        </a:lnTo>
                        <a:lnTo>
                          <a:pt x="334" y="865"/>
                        </a:lnTo>
                        <a:lnTo>
                          <a:pt x="331" y="865"/>
                        </a:lnTo>
                        <a:lnTo>
                          <a:pt x="325" y="863"/>
                        </a:lnTo>
                        <a:lnTo>
                          <a:pt x="315" y="862"/>
                        </a:lnTo>
                        <a:lnTo>
                          <a:pt x="293" y="856"/>
                        </a:lnTo>
                        <a:lnTo>
                          <a:pt x="288" y="854"/>
                        </a:lnTo>
                        <a:lnTo>
                          <a:pt x="285" y="857"/>
                        </a:lnTo>
                        <a:lnTo>
                          <a:pt x="282" y="865"/>
                        </a:lnTo>
                        <a:lnTo>
                          <a:pt x="282" y="867"/>
                        </a:lnTo>
                        <a:lnTo>
                          <a:pt x="282" y="868"/>
                        </a:lnTo>
                        <a:lnTo>
                          <a:pt x="280" y="868"/>
                        </a:lnTo>
                        <a:lnTo>
                          <a:pt x="279" y="868"/>
                        </a:lnTo>
                        <a:lnTo>
                          <a:pt x="277" y="868"/>
                        </a:lnTo>
                        <a:lnTo>
                          <a:pt x="277" y="871"/>
                        </a:lnTo>
                        <a:lnTo>
                          <a:pt x="277" y="873"/>
                        </a:lnTo>
                        <a:lnTo>
                          <a:pt x="279" y="875"/>
                        </a:lnTo>
                        <a:lnTo>
                          <a:pt x="282" y="876"/>
                        </a:lnTo>
                        <a:lnTo>
                          <a:pt x="284" y="876"/>
                        </a:lnTo>
                        <a:lnTo>
                          <a:pt x="287" y="879"/>
                        </a:lnTo>
                        <a:lnTo>
                          <a:pt x="287" y="882"/>
                        </a:lnTo>
                        <a:lnTo>
                          <a:pt x="288" y="886"/>
                        </a:lnTo>
                        <a:lnTo>
                          <a:pt x="280" y="889"/>
                        </a:lnTo>
                        <a:lnTo>
                          <a:pt x="279" y="890"/>
                        </a:lnTo>
                        <a:lnTo>
                          <a:pt x="276" y="890"/>
                        </a:lnTo>
                        <a:lnTo>
                          <a:pt x="269" y="892"/>
                        </a:lnTo>
                        <a:lnTo>
                          <a:pt x="268" y="892"/>
                        </a:lnTo>
                        <a:lnTo>
                          <a:pt x="264" y="892"/>
                        </a:lnTo>
                        <a:lnTo>
                          <a:pt x="264" y="894"/>
                        </a:lnTo>
                        <a:lnTo>
                          <a:pt x="261" y="894"/>
                        </a:lnTo>
                        <a:lnTo>
                          <a:pt x="253" y="895"/>
                        </a:lnTo>
                        <a:lnTo>
                          <a:pt x="249" y="897"/>
                        </a:lnTo>
                        <a:lnTo>
                          <a:pt x="247" y="898"/>
                        </a:lnTo>
                        <a:lnTo>
                          <a:pt x="245" y="901"/>
                        </a:lnTo>
                        <a:lnTo>
                          <a:pt x="244" y="909"/>
                        </a:lnTo>
                        <a:lnTo>
                          <a:pt x="242" y="911"/>
                        </a:lnTo>
                        <a:lnTo>
                          <a:pt x="238" y="913"/>
                        </a:lnTo>
                        <a:lnTo>
                          <a:pt x="236" y="914"/>
                        </a:lnTo>
                        <a:lnTo>
                          <a:pt x="236" y="916"/>
                        </a:lnTo>
                        <a:lnTo>
                          <a:pt x="236" y="917"/>
                        </a:lnTo>
                        <a:lnTo>
                          <a:pt x="234" y="919"/>
                        </a:lnTo>
                        <a:lnTo>
                          <a:pt x="234" y="917"/>
                        </a:lnTo>
                        <a:lnTo>
                          <a:pt x="226" y="909"/>
                        </a:lnTo>
                        <a:lnTo>
                          <a:pt x="226" y="908"/>
                        </a:lnTo>
                        <a:lnTo>
                          <a:pt x="226" y="903"/>
                        </a:lnTo>
                        <a:lnTo>
                          <a:pt x="223" y="898"/>
                        </a:lnTo>
                        <a:lnTo>
                          <a:pt x="223" y="894"/>
                        </a:lnTo>
                        <a:lnTo>
                          <a:pt x="225" y="890"/>
                        </a:lnTo>
                        <a:lnTo>
                          <a:pt x="225" y="889"/>
                        </a:lnTo>
                        <a:lnTo>
                          <a:pt x="223" y="889"/>
                        </a:lnTo>
                        <a:lnTo>
                          <a:pt x="222" y="889"/>
                        </a:lnTo>
                        <a:lnTo>
                          <a:pt x="215" y="887"/>
                        </a:lnTo>
                        <a:lnTo>
                          <a:pt x="211" y="887"/>
                        </a:lnTo>
                        <a:lnTo>
                          <a:pt x="190" y="900"/>
                        </a:lnTo>
                        <a:lnTo>
                          <a:pt x="188" y="908"/>
                        </a:lnTo>
                        <a:lnTo>
                          <a:pt x="185" y="919"/>
                        </a:lnTo>
                        <a:lnTo>
                          <a:pt x="184" y="925"/>
                        </a:lnTo>
                        <a:lnTo>
                          <a:pt x="184" y="927"/>
                        </a:lnTo>
                        <a:lnTo>
                          <a:pt x="185" y="936"/>
                        </a:lnTo>
                        <a:lnTo>
                          <a:pt x="187" y="941"/>
                        </a:lnTo>
                        <a:lnTo>
                          <a:pt x="187" y="943"/>
                        </a:lnTo>
                        <a:lnTo>
                          <a:pt x="185" y="943"/>
                        </a:lnTo>
                        <a:lnTo>
                          <a:pt x="179" y="947"/>
                        </a:lnTo>
                        <a:lnTo>
                          <a:pt x="176" y="949"/>
                        </a:lnTo>
                        <a:lnTo>
                          <a:pt x="163" y="946"/>
                        </a:lnTo>
                        <a:lnTo>
                          <a:pt x="162" y="946"/>
                        </a:lnTo>
                        <a:lnTo>
                          <a:pt x="160" y="946"/>
                        </a:lnTo>
                        <a:lnTo>
                          <a:pt x="154" y="952"/>
                        </a:lnTo>
                        <a:lnTo>
                          <a:pt x="147" y="955"/>
                        </a:lnTo>
                        <a:lnTo>
                          <a:pt x="147" y="957"/>
                        </a:lnTo>
                        <a:lnTo>
                          <a:pt x="144" y="965"/>
                        </a:lnTo>
                        <a:lnTo>
                          <a:pt x="143" y="966"/>
                        </a:lnTo>
                        <a:lnTo>
                          <a:pt x="139" y="970"/>
                        </a:lnTo>
                        <a:lnTo>
                          <a:pt x="136" y="971"/>
                        </a:lnTo>
                        <a:lnTo>
                          <a:pt x="135" y="970"/>
                        </a:lnTo>
                        <a:lnTo>
                          <a:pt x="131" y="970"/>
                        </a:lnTo>
                        <a:lnTo>
                          <a:pt x="128" y="966"/>
                        </a:lnTo>
                        <a:lnTo>
                          <a:pt x="127" y="966"/>
                        </a:lnTo>
                        <a:lnTo>
                          <a:pt x="125" y="968"/>
                        </a:lnTo>
                        <a:lnTo>
                          <a:pt x="117" y="976"/>
                        </a:lnTo>
                        <a:lnTo>
                          <a:pt x="117" y="977"/>
                        </a:lnTo>
                        <a:lnTo>
                          <a:pt x="116" y="977"/>
                        </a:lnTo>
                        <a:lnTo>
                          <a:pt x="112" y="973"/>
                        </a:lnTo>
                        <a:lnTo>
                          <a:pt x="106" y="973"/>
                        </a:lnTo>
                        <a:lnTo>
                          <a:pt x="103" y="974"/>
                        </a:lnTo>
                        <a:lnTo>
                          <a:pt x="100" y="977"/>
                        </a:lnTo>
                        <a:lnTo>
                          <a:pt x="97" y="984"/>
                        </a:lnTo>
                        <a:lnTo>
                          <a:pt x="95" y="985"/>
                        </a:lnTo>
                        <a:lnTo>
                          <a:pt x="90" y="995"/>
                        </a:lnTo>
                        <a:lnTo>
                          <a:pt x="90" y="1001"/>
                        </a:lnTo>
                        <a:lnTo>
                          <a:pt x="89" y="1003"/>
                        </a:lnTo>
                        <a:lnTo>
                          <a:pt x="89" y="1009"/>
                        </a:lnTo>
                        <a:lnTo>
                          <a:pt x="90" y="1016"/>
                        </a:lnTo>
                        <a:lnTo>
                          <a:pt x="81" y="1020"/>
                        </a:lnTo>
                        <a:lnTo>
                          <a:pt x="79" y="1020"/>
                        </a:lnTo>
                        <a:lnTo>
                          <a:pt x="74" y="1022"/>
                        </a:lnTo>
                        <a:lnTo>
                          <a:pt x="70" y="1004"/>
                        </a:lnTo>
                        <a:lnTo>
                          <a:pt x="66" y="1000"/>
                        </a:lnTo>
                        <a:lnTo>
                          <a:pt x="66" y="998"/>
                        </a:lnTo>
                        <a:lnTo>
                          <a:pt x="65" y="998"/>
                        </a:lnTo>
                        <a:lnTo>
                          <a:pt x="62" y="996"/>
                        </a:lnTo>
                        <a:lnTo>
                          <a:pt x="57" y="996"/>
                        </a:lnTo>
                        <a:lnTo>
                          <a:pt x="55" y="996"/>
                        </a:lnTo>
                        <a:lnTo>
                          <a:pt x="55" y="995"/>
                        </a:lnTo>
                        <a:lnTo>
                          <a:pt x="55" y="993"/>
                        </a:lnTo>
                        <a:lnTo>
                          <a:pt x="55" y="990"/>
                        </a:lnTo>
                        <a:lnTo>
                          <a:pt x="55" y="989"/>
                        </a:lnTo>
                        <a:lnTo>
                          <a:pt x="52" y="987"/>
                        </a:lnTo>
                        <a:lnTo>
                          <a:pt x="51" y="987"/>
                        </a:lnTo>
                        <a:lnTo>
                          <a:pt x="51" y="989"/>
                        </a:lnTo>
                        <a:lnTo>
                          <a:pt x="49" y="990"/>
                        </a:lnTo>
                        <a:lnTo>
                          <a:pt x="49" y="992"/>
                        </a:lnTo>
                        <a:lnTo>
                          <a:pt x="47" y="993"/>
                        </a:lnTo>
                        <a:lnTo>
                          <a:pt x="46" y="992"/>
                        </a:lnTo>
                        <a:lnTo>
                          <a:pt x="41" y="989"/>
                        </a:lnTo>
                        <a:lnTo>
                          <a:pt x="41" y="987"/>
                        </a:lnTo>
                        <a:lnTo>
                          <a:pt x="43" y="984"/>
                        </a:lnTo>
                        <a:lnTo>
                          <a:pt x="46" y="981"/>
                        </a:lnTo>
                        <a:lnTo>
                          <a:pt x="51" y="979"/>
                        </a:lnTo>
                        <a:lnTo>
                          <a:pt x="51" y="977"/>
                        </a:lnTo>
                        <a:lnTo>
                          <a:pt x="52" y="976"/>
                        </a:lnTo>
                        <a:lnTo>
                          <a:pt x="52" y="973"/>
                        </a:lnTo>
                        <a:lnTo>
                          <a:pt x="47" y="973"/>
                        </a:lnTo>
                        <a:lnTo>
                          <a:pt x="46" y="973"/>
                        </a:lnTo>
                        <a:lnTo>
                          <a:pt x="43" y="971"/>
                        </a:lnTo>
                        <a:lnTo>
                          <a:pt x="41" y="971"/>
                        </a:lnTo>
                        <a:lnTo>
                          <a:pt x="38" y="976"/>
                        </a:lnTo>
                        <a:lnTo>
                          <a:pt x="36" y="976"/>
                        </a:lnTo>
                        <a:lnTo>
                          <a:pt x="35" y="974"/>
                        </a:lnTo>
                        <a:lnTo>
                          <a:pt x="33" y="974"/>
                        </a:lnTo>
                        <a:lnTo>
                          <a:pt x="32" y="973"/>
                        </a:lnTo>
                        <a:lnTo>
                          <a:pt x="32" y="971"/>
                        </a:lnTo>
                        <a:lnTo>
                          <a:pt x="32" y="970"/>
                        </a:lnTo>
                        <a:lnTo>
                          <a:pt x="33" y="968"/>
                        </a:lnTo>
                        <a:lnTo>
                          <a:pt x="33" y="966"/>
                        </a:lnTo>
                        <a:lnTo>
                          <a:pt x="35" y="965"/>
                        </a:lnTo>
                        <a:lnTo>
                          <a:pt x="36" y="963"/>
                        </a:lnTo>
                        <a:lnTo>
                          <a:pt x="36" y="960"/>
                        </a:lnTo>
                        <a:lnTo>
                          <a:pt x="38" y="960"/>
                        </a:lnTo>
                        <a:lnTo>
                          <a:pt x="38" y="958"/>
                        </a:lnTo>
                        <a:lnTo>
                          <a:pt x="36" y="957"/>
                        </a:lnTo>
                        <a:lnTo>
                          <a:pt x="36" y="955"/>
                        </a:lnTo>
                        <a:lnTo>
                          <a:pt x="35" y="955"/>
                        </a:lnTo>
                        <a:lnTo>
                          <a:pt x="35" y="954"/>
                        </a:lnTo>
                        <a:lnTo>
                          <a:pt x="33" y="954"/>
                        </a:lnTo>
                        <a:lnTo>
                          <a:pt x="32" y="954"/>
                        </a:lnTo>
                        <a:lnTo>
                          <a:pt x="30" y="955"/>
                        </a:lnTo>
                        <a:lnTo>
                          <a:pt x="30" y="958"/>
                        </a:lnTo>
                        <a:lnTo>
                          <a:pt x="28" y="958"/>
                        </a:lnTo>
                        <a:lnTo>
                          <a:pt x="27" y="960"/>
                        </a:lnTo>
                        <a:lnTo>
                          <a:pt x="25" y="960"/>
                        </a:lnTo>
                        <a:lnTo>
                          <a:pt x="24" y="958"/>
                        </a:lnTo>
                        <a:lnTo>
                          <a:pt x="22" y="957"/>
                        </a:lnTo>
                        <a:lnTo>
                          <a:pt x="22" y="955"/>
                        </a:lnTo>
                        <a:lnTo>
                          <a:pt x="22" y="954"/>
                        </a:lnTo>
                        <a:lnTo>
                          <a:pt x="22" y="952"/>
                        </a:lnTo>
                        <a:lnTo>
                          <a:pt x="22" y="951"/>
                        </a:lnTo>
                        <a:lnTo>
                          <a:pt x="24" y="951"/>
                        </a:lnTo>
                        <a:lnTo>
                          <a:pt x="24" y="949"/>
                        </a:lnTo>
                        <a:lnTo>
                          <a:pt x="25" y="947"/>
                        </a:lnTo>
                        <a:lnTo>
                          <a:pt x="25" y="946"/>
                        </a:lnTo>
                        <a:lnTo>
                          <a:pt x="25" y="944"/>
                        </a:lnTo>
                        <a:lnTo>
                          <a:pt x="27" y="944"/>
                        </a:lnTo>
                        <a:lnTo>
                          <a:pt x="25" y="944"/>
                        </a:lnTo>
                        <a:lnTo>
                          <a:pt x="25" y="943"/>
                        </a:lnTo>
                        <a:lnTo>
                          <a:pt x="27" y="941"/>
                        </a:lnTo>
                        <a:lnTo>
                          <a:pt x="27" y="938"/>
                        </a:lnTo>
                        <a:lnTo>
                          <a:pt x="28" y="935"/>
                        </a:lnTo>
                        <a:lnTo>
                          <a:pt x="28" y="933"/>
                        </a:lnTo>
                        <a:lnTo>
                          <a:pt x="30" y="933"/>
                        </a:lnTo>
                        <a:lnTo>
                          <a:pt x="32" y="932"/>
                        </a:lnTo>
                        <a:lnTo>
                          <a:pt x="32" y="933"/>
                        </a:lnTo>
                        <a:lnTo>
                          <a:pt x="33" y="933"/>
                        </a:lnTo>
                        <a:lnTo>
                          <a:pt x="33" y="935"/>
                        </a:lnTo>
                        <a:lnTo>
                          <a:pt x="35" y="935"/>
                        </a:lnTo>
                        <a:lnTo>
                          <a:pt x="35" y="933"/>
                        </a:lnTo>
                        <a:lnTo>
                          <a:pt x="36" y="933"/>
                        </a:lnTo>
                        <a:lnTo>
                          <a:pt x="36" y="932"/>
                        </a:lnTo>
                        <a:lnTo>
                          <a:pt x="38" y="932"/>
                        </a:lnTo>
                        <a:lnTo>
                          <a:pt x="38" y="930"/>
                        </a:lnTo>
                        <a:lnTo>
                          <a:pt x="36" y="928"/>
                        </a:lnTo>
                        <a:lnTo>
                          <a:pt x="36" y="927"/>
                        </a:lnTo>
                        <a:lnTo>
                          <a:pt x="36" y="925"/>
                        </a:lnTo>
                        <a:lnTo>
                          <a:pt x="36" y="924"/>
                        </a:lnTo>
                        <a:lnTo>
                          <a:pt x="36" y="922"/>
                        </a:lnTo>
                        <a:lnTo>
                          <a:pt x="35" y="922"/>
                        </a:lnTo>
                        <a:lnTo>
                          <a:pt x="33" y="920"/>
                        </a:lnTo>
                        <a:lnTo>
                          <a:pt x="32" y="919"/>
                        </a:lnTo>
                        <a:lnTo>
                          <a:pt x="32" y="917"/>
                        </a:lnTo>
                        <a:lnTo>
                          <a:pt x="30" y="914"/>
                        </a:lnTo>
                        <a:lnTo>
                          <a:pt x="30" y="913"/>
                        </a:lnTo>
                        <a:lnTo>
                          <a:pt x="30" y="911"/>
                        </a:lnTo>
                        <a:lnTo>
                          <a:pt x="30" y="909"/>
                        </a:lnTo>
                        <a:lnTo>
                          <a:pt x="30" y="908"/>
                        </a:lnTo>
                        <a:lnTo>
                          <a:pt x="30" y="905"/>
                        </a:lnTo>
                        <a:lnTo>
                          <a:pt x="28" y="905"/>
                        </a:lnTo>
                        <a:lnTo>
                          <a:pt x="28" y="903"/>
                        </a:lnTo>
                        <a:lnTo>
                          <a:pt x="27" y="903"/>
                        </a:lnTo>
                        <a:lnTo>
                          <a:pt x="25" y="903"/>
                        </a:lnTo>
                        <a:lnTo>
                          <a:pt x="25" y="901"/>
                        </a:lnTo>
                        <a:lnTo>
                          <a:pt x="24" y="901"/>
                        </a:lnTo>
                        <a:lnTo>
                          <a:pt x="22" y="900"/>
                        </a:lnTo>
                        <a:lnTo>
                          <a:pt x="21" y="898"/>
                        </a:lnTo>
                        <a:lnTo>
                          <a:pt x="19" y="897"/>
                        </a:lnTo>
                        <a:lnTo>
                          <a:pt x="19" y="895"/>
                        </a:lnTo>
                        <a:lnTo>
                          <a:pt x="17" y="895"/>
                        </a:lnTo>
                        <a:lnTo>
                          <a:pt x="16" y="897"/>
                        </a:lnTo>
                        <a:lnTo>
                          <a:pt x="14" y="897"/>
                        </a:lnTo>
                        <a:lnTo>
                          <a:pt x="13" y="895"/>
                        </a:lnTo>
                        <a:lnTo>
                          <a:pt x="11" y="895"/>
                        </a:lnTo>
                        <a:lnTo>
                          <a:pt x="9" y="895"/>
                        </a:lnTo>
                        <a:lnTo>
                          <a:pt x="9" y="897"/>
                        </a:lnTo>
                        <a:lnTo>
                          <a:pt x="8" y="897"/>
                        </a:lnTo>
                        <a:lnTo>
                          <a:pt x="6" y="897"/>
                        </a:lnTo>
                        <a:lnTo>
                          <a:pt x="5" y="895"/>
                        </a:lnTo>
                        <a:lnTo>
                          <a:pt x="3" y="895"/>
                        </a:lnTo>
                        <a:lnTo>
                          <a:pt x="3" y="892"/>
                        </a:lnTo>
                        <a:lnTo>
                          <a:pt x="2" y="890"/>
                        </a:lnTo>
                        <a:lnTo>
                          <a:pt x="0" y="890"/>
                        </a:lnTo>
                        <a:lnTo>
                          <a:pt x="0" y="889"/>
                        </a:lnTo>
                        <a:lnTo>
                          <a:pt x="0" y="887"/>
                        </a:lnTo>
                        <a:lnTo>
                          <a:pt x="2" y="887"/>
                        </a:lnTo>
                        <a:lnTo>
                          <a:pt x="3" y="886"/>
                        </a:lnTo>
                        <a:lnTo>
                          <a:pt x="5" y="884"/>
                        </a:lnTo>
                        <a:lnTo>
                          <a:pt x="5" y="882"/>
                        </a:lnTo>
                        <a:lnTo>
                          <a:pt x="5" y="881"/>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46" name="Freeform 45"/>
                  <p:cNvSpPr>
                    <a:spLocks/>
                  </p:cNvSpPr>
                  <p:nvPr/>
                </p:nvSpPr>
                <p:spPr bwMode="auto">
                  <a:xfrm>
                    <a:off x="4480" y="2189"/>
                    <a:ext cx="401" cy="882"/>
                  </a:xfrm>
                  <a:custGeom>
                    <a:avLst/>
                    <a:gdLst>
                      <a:gd name="T0" fmla="*/ 108 w 401"/>
                      <a:gd name="T1" fmla="*/ 868 h 882"/>
                      <a:gd name="T2" fmla="*/ 90 w 401"/>
                      <a:gd name="T3" fmla="*/ 860 h 882"/>
                      <a:gd name="T4" fmla="*/ 87 w 401"/>
                      <a:gd name="T5" fmla="*/ 838 h 882"/>
                      <a:gd name="T6" fmla="*/ 105 w 401"/>
                      <a:gd name="T7" fmla="*/ 814 h 882"/>
                      <a:gd name="T8" fmla="*/ 100 w 401"/>
                      <a:gd name="T9" fmla="*/ 777 h 882"/>
                      <a:gd name="T10" fmla="*/ 125 w 401"/>
                      <a:gd name="T11" fmla="*/ 769 h 882"/>
                      <a:gd name="T12" fmla="*/ 149 w 401"/>
                      <a:gd name="T13" fmla="*/ 733 h 882"/>
                      <a:gd name="T14" fmla="*/ 165 w 401"/>
                      <a:gd name="T15" fmla="*/ 709 h 882"/>
                      <a:gd name="T16" fmla="*/ 185 w 401"/>
                      <a:gd name="T17" fmla="*/ 717 h 882"/>
                      <a:gd name="T18" fmla="*/ 211 w 401"/>
                      <a:gd name="T19" fmla="*/ 716 h 882"/>
                      <a:gd name="T20" fmla="*/ 198 w 401"/>
                      <a:gd name="T21" fmla="*/ 704 h 882"/>
                      <a:gd name="T22" fmla="*/ 203 w 401"/>
                      <a:gd name="T23" fmla="*/ 678 h 882"/>
                      <a:gd name="T24" fmla="*/ 205 w 401"/>
                      <a:gd name="T25" fmla="*/ 663 h 882"/>
                      <a:gd name="T26" fmla="*/ 184 w 401"/>
                      <a:gd name="T27" fmla="*/ 651 h 882"/>
                      <a:gd name="T28" fmla="*/ 159 w 401"/>
                      <a:gd name="T29" fmla="*/ 638 h 882"/>
                      <a:gd name="T30" fmla="*/ 140 w 401"/>
                      <a:gd name="T31" fmla="*/ 614 h 882"/>
                      <a:gd name="T32" fmla="*/ 117 w 401"/>
                      <a:gd name="T33" fmla="*/ 620 h 882"/>
                      <a:gd name="T34" fmla="*/ 102 w 401"/>
                      <a:gd name="T35" fmla="*/ 624 h 882"/>
                      <a:gd name="T36" fmla="*/ 75 w 401"/>
                      <a:gd name="T37" fmla="*/ 598 h 882"/>
                      <a:gd name="T38" fmla="*/ 57 w 401"/>
                      <a:gd name="T39" fmla="*/ 590 h 882"/>
                      <a:gd name="T40" fmla="*/ 8 w 401"/>
                      <a:gd name="T41" fmla="*/ 544 h 882"/>
                      <a:gd name="T42" fmla="*/ 3 w 401"/>
                      <a:gd name="T43" fmla="*/ 481 h 882"/>
                      <a:gd name="T44" fmla="*/ 32 w 401"/>
                      <a:gd name="T45" fmla="*/ 475 h 882"/>
                      <a:gd name="T46" fmla="*/ 51 w 401"/>
                      <a:gd name="T47" fmla="*/ 441 h 882"/>
                      <a:gd name="T48" fmla="*/ 48 w 401"/>
                      <a:gd name="T49" fmla="*/ 427 h 882"/>
                      <a:gd name="T50" fmla="*/ 108 w 401"/>
                      <a:gd name="T51" fmla="*/ 421 h 882"/>
                      <a:gd name="T52" fmla="*/ 127 w 401"/>
                      <a:gd name="T53" fmla="*/ 413 h 882"/>
                      <a:gd name="T54" fmla="*/ 143 w 401"/>
                      <a:gd name="T55" fmla="*/ 399 h 882"/>
                      <a:gd name="T56" fmla="*/ 152 w 401"/>
                      <a:gd name="T57" fmla="*/ 388 h 882"/>
                      <a:gd name="T58" fmla="*/ 176 w 401"/>
                      <a:gd name="T59" fmla="*/ 351 h 882"/>
                      <a:gd name="T60" fmla="*/ 212 w 401"/>
                      <a:gd name="T61" fmla="*/ 334 h 882"/>
                      <a:gd name="T62" fmla="*/ 249 w 401"/>
                      <a:gd name="T63" fmla="*/ 345 h 882"/>
                      <a:gd name="T64" fmla="*/ 273 w 401"/>
                      <a:gd name="T65" fmla="*/ 335 h 882"/>
                      <a:gd name="T66" fmla="*/ 287 w 401"/>
                      <a:gd name="T67" fmla="*/ 323 h 882"/>
                      <a:gd name="T68" fmla="*/ 295 w 401"/>
                      <a:gd name="T69" fmla="*/ 307 h 882"/>
                      <a:gd name="T70" fmla="*/ 303 w 401"/>
                      <a:gd name="T71" fmla="*/ 288 h 882"/>
                      <a:gd name="T72" fmla="*/ 292 w 401"/>
                      <a:gd name="T73" fmla="*/ 275 h 882"/>
                      <a:gd name="T74" fmla="*/ 287 w 401"/>
                      <a:gd name="T75" fmla="*/ 251 h 882"/>
                      <a:gd name="T76" fmla="*/ 295 w 401"/>
                      <a:gd name="T77" fmla="*/ 242 h 882"/>
                      <a:gd name="T78" fmla="*/ 276 w 401"/>
                      <a:gd name="T79" fmla="*/ 223 h 882"/>
                      <a:gd name="T80" fmla="*/ 252 w 401"/>
                      <a:gd name="T81" fmla="*/ 201 h 882"/>
                      <a:gd name="T82" fmla="*/ 241 w 401"/>
                      <a:gd name="T83" fmla="*/ 169 h 882"/>
                      <a:gd name="T84" fmla="*/ 233 w 401"/>
                      <a:gd name="T85" fmla="*/ 150 h 882"/>
                      <a:gd name="T86" fmla="*/ 231 w 401"/>
                      <a:gd name="T87" fmla="*/ 118 h 882"/>
                      <a:gd name="T88" fmla="*/ 233 w 401"/>
                      <a:gd name="T89" fmla="*/ 95 h 882"/>
                      <a:gd name="T90" fmla="*/ 217 w 401"/>
                      <a:gd name="T91" fmla="*/ 77 h 882"/>
                      <a:gd name="T92" fmla="*/ 201 w 401"/>
                      <a:gd name="T93" fmla="*/ 55 h 882"/>
                      <a:gd name="T94" fmla="*/ 166 w 401"/>
                      <a:gd name="T95" fmla="*/ 44 h 882"/>
                      <a:gd name="T96" fmla="*/ 170 w 401"/>
                      <a:gd name="T97" fmla="*/ 12 h 882"/>
                      <a:gd name="T98" fmla="*/ 189 w 401"/>
                      <a:gd name="T99" fmla="*/ 17 h 882"/>
                      <a:gd name="T100" fmla="*/ 209 w 401"/>
                      <a:gd name="T101" fmla="*/ 25 h 882"/>
                      <a:gd name="T102" fmla="*/ 228 w 401"/>
                      <a:gd name="T103" fmla="*/ 28 h 882"/>
                      <a:gd name="T104" fmla="*/ 249 w 401"/>
                      <a:gd name="T105" fmla="*/ 39 h 882"/>
                      <a:gd name="T106" fmla="*/ 266 w 401"/>
                      <a:gd name="T107" fmla="*/ 42 h 882"/>
                      <a:gd name="T108" fmla="*/ 290 w 401"/>
                      <a:gd name="T109" fmla="*/ 47 h 882"/>
                      <a:gd name="T110" fmla="*/ 303 w 401"/>
                      <a:gd name="T111" fmla="*/ 45 h 882"/>
                      <a:gd name="T112" fmla="*/ 317 w 401"/>
                      <a:gd name="T113" fmla="*/ 28 h 882"/>
                      <a:gd name="T114" fmla="*/ 336 w 401"/>
                      <a:gd name="T115" fmla="*/ 20 h 882"/>
                      <a:gd name="T116" fmla="*/ 353 w 401"/>
                      <a:gd name="T117" fmla="*/ 11 h 882"/>
                      <a:gd name="T118" fmla="*/ 368 w 401"/>
                      <a:gd name="T119" fmla="*/ 6 h 882"/>
                      <a:gd name="T120" fmla="*/ 384 w 401"/>
                      <a:gd name="T121" fmla="*/ 7 h 882"/>
                      <a:gd name="T122" fmla="*/ 396 w 401"/>
                      <a:gd name="T123" fmla="*/ 6 h 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1" h="882">
                        <a:moveTo>
                          <a:pt x="105" y="882"/>
                        </a:moveTo>
                        <a:lnTo>
                          <a:pt x="106" y="880"/>
                        </a:lnTo>
                        <a:lnTo>
                          <a:pt x="108" y="880"/>
                        </a:lnTo>
                        <a:lnTo>
                          <a:pt x="108" y="879"/>
                        </a:lnTo>
                        <a:lnTo>
                          <a:pt x="108" y="877"/>
                        </a:lnTo>
                        <a:lnTo>
                          <a:pt x="108" y="876"/>
                        </a:lnTo>
                        <a:lnTo>
                          <a:pt x="109" y="876"/>
                        </a:lnTo>
                        <a:lnTo>
                          <a:pt x="109" y="874"/>
                        </a:lnTo>
                        <a:lnTo>
                          <a:pt x="109" y="872"/>
                        </a:lnTo>
                        <a:lnTo>
                          <a:pt x="111" y="872"/>
                        </a:lnTo>
                        <a:lnTo>
                          <a:pt x="113" y="871"/>
                        </a:lnTo>
                        <a:lnTo>
                          <a:pt x="111" y="869"/>
                        </a:lnTo>
                        <a:lnTo>
                          <a:pt x="109" y="869"/>
                        </a:lnTo>
                        <a:lnTo>
                          <a:pt x="108" y="869"/>
                        </a:lnTo>
                        <a:lnTo>
                          <a:pt x="108" y="868"/>
                        </a:lnTo>
                        <a:lnTo>
                          <a:pt x="109" y="868"/>
                        </a:lnTo>
                        <a:lnTo>
                          <a:pt x="109" y="866"/>
                        </a:lnTo>
                        <a:lnTo>
                          <a:pt x="109" y="864"/>
                        </a:lnTo>
                        <a:lnTo>
                          <a:pt x="108" y="864"/>
                        </a:lnTo>
                        <a:lnTo>
                          <a:pt x="106" y="864"/>
                        </a:lnTo>
                        <a:lnTo>
                          <a:pt x="106" y="863"/>
                        </a:lnTo>
                        <a:lnTo>
                          <a:pt x="105" y="863"/>
                        </a:lnTo>
                        <a:lnTo>
                          <a:pt x="103" y="863"/>
                        </a:lnTo>
                        <a:lnTo>
                          <a:pt x="102" y="863"/>
                        </a:lnTo>
                        <a:lnTo>
                          <a:pt x="98" y="864"/>
                        </a:lnTo>
                        <a:lnTo>
                          <a:pt x="95" y="864"/>
                        </a:lnTo>
                        <a:lnTo>
                          <a:pt x="94" y="864"/>
                        </a:lnTo>
                        <a:lnTo>
                          <a:pt x="92" y="864"/>
                        </a:lnTo>
                        <a:lnTo>
                          <a:pt x="90" y="861"/>
                        </a:lnTo>
                        <a:lnTo>
                          <a:pt x="90" y="860"/>
                        </a:lnTo>
                        <a:lnTo>
                          <a:pt x="89" y="858"/>
                        </a:lnTo>
                        <a:lnTo>
                          <a:pt x="89" y="857"/>
                        </a:lnTo>
                        <a:lnTo>
                          <a:pt x="89" y="855"/>
                        </a:lnTo>
                        <a:lnTo>
                          <a:pt x="90" y="853"/>
                        </a:lnTo>
                        <a:lnTo>
                          <a:pt x="90" y="852"/>
                        </a:lnTo>
                        <a:lnTo>
                          <a:pt x="90" y="850"/>
                        </a:lnTo>
                        <a:lnTo>
                          <a:pt x="90" y="849"/>
                        </a:lnTo>
                        <a:lnTo>
                          <a:pt x="90" y="847"/>
                        </a:lnTo>
                        <a:lnTo>
                          <a:pt x="89" y="847"/>
                        </a:lnTo>
                        <a:lnTo>
                          <a:pt x="89" y="845"/>
                        </a:lnTo>
                        <a:lnTo>
                          <a:pt x="87" y="844"/>
                        </a:lnTo>
                        <a:lnTo>
                          <a:pt x="87" y="842"/>
                        </a:lnTo>
                        <a:lnTo>
                          <a:pt x="86" y="842"/>
                        </a:lnTo>
                        <a:lnTo>
                          <a:pt x="86" y="839"/>
                        </a:lnTo>
                        <a:lnTo>
                          <a:pt x="87" y="838"/>
                        </a:lnTo>
                        <a:lnTo>
                          <a:pt x="87" y="836"/>
                        </a:lnTo>
                        <a:lnTo>
                          <a:pt x="87" y="834"/>
                        </a:lnTo>
                        <a:lnTo>
                          <a:pt x="86" y="834"/>
                        </a:lnTo>
                        <a:lnTo>
                          <a:pt x="89" y="830"/>
                        </a:lnTo>
                        <a:lnTo>
                          <a:pt x="89" y="828"/>
                        </a:lnTo>
                        <a:lnTo>
                          <a:pt x="90" y="826"/>
                        </a:lnTo>
                        <a:lnTo>
                          <a:pt x="92" y="826"/>
                        </a:lnTo>
                        <a:lnTo>
                          <a:pt x="94" y="825"/>
                        </a:lnTo>
                        <a:lnTo>
                          <a:pt x="95" y="825"/>
                        </a:lnTo>
                        <a:lnTo>
                          <a:pt x="97" y="825"/>
                        </a:lnTo>
                        <a:lnTo>
                          <a:pt x="100" y="823"/>
                        </a:lnTo>
                        <a:lnTo>
                          <a:pt x="102" y="822"/>
                        </a:lnTo>
                        <a:lnTo>
                          <a:pt x="103" y="818"/>
                        </a:lnTo>
                        <a:lnTo>
                          <a:pt x="103" y="817"/>
                        </a:lnTo>
                        <a:lnTo>
                          <a:pt x="105" y="814"/>
                        </a:lnTo>
                        <a:lnTo>
                          <a:pt x="106" y="812"/>
                        </a:lnTo>
                        <a:lnTo>
                          <a:pt x="108" y="811"/>
                        </a:lnTo>
                        <a:lnTo>
                          <a:pt x="109" y="809"/>
                        </a:lnTo>
                        <a:lnTo>
                          <a:pt x="109" y="807"/>
                        </a:lnTo>
                        <a:lnTo>
                          <a:pt x="109" y="804"/>
                        </a:lnTo>
                        <a:lnTo>
                          <a:pt x="108" y="801"/>
                        </a:lnTo>
                        <a:lnTo>
                          <a:pt x="106" y="796"/>
                        </a:lnTo>
                        <a:lnTo>
                          <a:pt x="105" y="793"/>
                        </a:lnTo>
                        <a:lnTo>
                          <a:pt x="102" y="792"/>
                        </a:lnTo>
                        <a:lnTo>
                          <a:pt x="98" y="788"/>
                        </a:lnTo>
                        <a:lnTo>
                          <a:pt x="97" y="785"/>
                        </a:lnTo>
                        <a:lnTo>
                          <a:pt x="97" y="784"/>
                        </a:lnTo>
                        <a:lnTo>
                          <a:pt x="97" y="782"/>
                        </a:lnTo>
                        <a:lnTo>
                          <a:pt x="98" y="780"/>
                        </a:lnTo>
                        <a:lnTo>
                          <a:pt x="100" y="777"/>
                        </a:lnTo>
                        <a:lnTo>
                          <a:pt x="102" y="777"/>
                        </a:lnTo>
                        <a:lnTo>
                          <a:pt x="103" y="776"/>
                        </a:lnTo>
                        <a:lnTo>
                          <a:pt x="105" y="774"/>
                        </a:lnTo>
                        <a:lnTo>
                          <a:pt x="105" y="773"/>
                        </a:lnTo>
                        <a:lnTo>
                          <a:pt x="106" y="771"/>
                        </a:lnTo>
                        <a:lnTo>
                          <a:pt x="108" y="771"/>
                        </a:lnTo>
                        <a:lnTo>
                          <a:pt x="109" y="771"/>
                        </a:lnTo>
                        <a:lnTo>
                          <a:pt x="109" y="769"/>
                        </a:lnTo>
                        <a:lnTo>
                          <a:pt x="111" y="769"/>
                        </a:lnTo>
                        <a:lnTo>
                          <a:pt x="114" y="769"/>
                        </a:lnTo>
                        <a:lnTo>
                          <a:pt x="116" y="769"/>
                        </a:lnTo>
                        <a:lnTo>
                          <a:pt x="117" y="769"/>
                        </a:lnTo>
                        <a:lnTo>
                          <a:pt x="122" y="769"/>
                        </a:lnTo>
                        <a:lnTo>
                          <a:pt x="124" y="769"/>
                        </a:lnTo>
                        <a:lnTo>
                          <a:pt x="125" y="769"/>
                        </a:lnTo>
                        <a:lnTo>
                          <a:pt x="128" y="766"/>
                        </a:lnTo>
                        <a:lnTo>
                          <a:pt x="130" y="765"/>
                        </a:lnTo>
                        <a:lnTo>
                          <a:pt x="132" y="761"/>
                        </a:lnTo>
                        <a:lnTo>
                          <a:pt x="133" y="757"/>
                        </a:lnTo>
                        <a:lnTo>
                          <a:pt x="133" y="754"/>
                        </a:lnTo>
                        <a:lnTo>
                          <a:pt x="133" y="750"/>
                        </a:lnTo>
                        <a:lnTo>
                          <a:pt x="133" y="749"/>
                        </a:lnTo>
                        <a:lnTo>
                          <a:pt x="133" y="746"/>
                        </a:lnTo>
                        <a:lnTo>
                          <a:pt x="133" y="744"/>
                        </a:lnTo>
                        <a:lnTo>
                          <a:pt x="136" y="741"/>
                        </a:lnTo>
                        <a:lnTo>
                          <a:pt x="138" y="739"/>
                        </a:lnTo>
                        <a:lnTo>
                          <a:pt x="141" y="736"/>
                        </a:lnTo>
                        <a:lnTo>
                          <a:pt x="143" y="735"/>
                        </a:lnTo>
                        <a:lnTo>
                          <a:pt x="146" y="735"/>
                        </a:lnTo>
                        <a:lnTo>
                          <a:pt x="149" y="733"/>
                        </a:lnTo>
                        <a:lnTo>
                          <a:pt x="152" y="733"/>
                        </a:lnTo>
                        <a:lnTo>
                          <a:pt x="154" y="733"/>
                        </a:lnTo>
                        <a:lnTo>
                          <a:pt x="157" y="730"/>
                        </a:lnTo>
                        <a:lnTo>
                          <a:pt x="159" y="728"/>
                        </a:lnTo>
                        <a:lnTo>
                          <a:pt x="160" y="728"/>
                        </a:lnTo>
                        <a:lnTo>
                          <a:pt x="162" y="728"/>
                        </a:lnTo>
                        <a:lnTo>
                          <a:pt x="163" y="727"/>
                        </a:lnTo>
                        <a:lnTo>
                          <a:pt x="165" y="723"/>
                        </a:lnTo>
                        <a:lnTo>
                          <a:pt x="165" y="722"/>
                        </a:lnTo>
                        <a:lnTo>
                          <a:pt x="165" y="719"/>
                        </a:lnTo>
                        <a:lnTo>
                          <a:pt x="163" y="717"/>
                        </a:lnTo>
                        <a:lnTo>
                          <a:pt x="163" y="716"/>
                        </a:lnTo>
                        <a:lnTo>
                          <a:pt x="163" y="714"/>
                        </a:lnTo>
                        <a:lnTo>
                          <a:pt x="163" y="712"/>
                        </a:lnTo>
                        <a:lnTo>
                          <a:pt x="165" y="709"/>
                        </a:lnTo>
                        <a:lnTo>
                          <a:pt x="165" y="708"/>
                        </a:lnTo>
                        <a:lnTo>
                          <a:pt x="166" y="706"/>
                        </a:lnTo>
                        <a:lnTo>
                          <a:pt x="170" y="706"/>
                        </a:lnTo>
                        <a:lnTo>
                          <a:pt x="171" y="706"/>
                        </a:lnTo>
                        <a:lnTo>
                          <a:pt x="173" y="706"/>
                        </a:lnTo>
                        <a:lnTo>
                          <a:pt x="176" y="708"/>
                        </a:lnTo>
                        <a:lnTo>
                          <a:pt x="178" y="708"/>
                        </a:lnTo>
                        <a:lnTo>
                          <a:pt x="179" y="708"/>
                        </a:lnTo>
                        <a:lnTo>
                          <a:pt x="179" y="709"/>
                        </a:lnTo>
                        <a:lnTo>
                          <a:pt x="181" y="711"/>
                        </a:lnTo>
                        <a:lnTo>
                          <a:pt x="182" y="711"/>
                        </a:lnTo>
                        <a:lnTo>
                          <a:pt x="182" y="712"/>
                        </a:lnTo>
                        <a:lnTo>
                          <a:pt x="184" y="714"/>
                        </a:lnTo>
                        <a:lnTo>
                          <a:pt x="184" y="716"/>
                        </a:lnTo>
                        <a:lnTo>
                          <a:pt x="185" y="717"/>
                        </a:lnTo>
                        <a:lnTo>
                          <a:pt x="189" y="717"/>
                        </a:lnTo>
                        <a:lnTo>
                          <a:pt x="189" y="719"/>
                        </a:lnTo>
                        <a:lnTo>
                          <a:pt x="190" y="720"/>
                        </a:lnTo>
                        <a:lnTo>
                          <a:pt x="192" y="720"/>
                        </a:lnTo>
                        <a:lnTo>
                          <a:pt x="195" y="722"/>
                        </a:lnTo>
                        <a:lnTo>
                          <a:pt x="197" y="722"/>
                        </a:lnTo>
                        <a:lnTo>
                          <a:pt x="200" y="723"/>
                        </a:lnTo>
                        <a:lnTo>
                          <a:pt x="201" y="723"/>
                        </a:lnTo>
                        <a:lnTo>
                          <a:pt x="203" y="723"/>
                        </a:lnTo>
                        <a:lnTo>
                          <a:pt x="205" y="723"/>
                        </a:lnTo>
                        <a:lnTo>
                          <a:pt x="206" y="722"/>
                        </a:lnTo>
                        <a:lnTo>
                          <a:pt x="209" y="720"/>
                        </a:lnTo>
                        <a:lnTo>
                          <a:pt x="209" y="719"/>
                        </a:lnTo>
                        <a:lnTo>
                          <a:pt x="211" y="717"/>
                        </a:lnTo>
                        <a:lnTo>
                          <a:pt x="211" y="716"/>
                        </a:lnTo>
                        <a:lnTo>
                          <a:pt x="211" y="714"/>
                        </a:lnTo>
                        <a:lnTo>
                          <a:pt x="209" y="714"/>
                        </a:lnTo>
                        <a:lnTo>
                          <a:pt x="208" y="714"/>
                        </a:lnTo>
                        <a:lnTo>
                          <a:pt x="206" y="716"/>
                        </a:lnTo>
                        <a:lnTo>
                          <a:pt x="205" y="716"/>
                        </a:lnTo>
                        <a:lnTo>
                          <a:pt x="203" y="716"/>
                        </a:lnTo>
                        <a:lnTo>
                          <a:pt x="201" y="716"/>
                        </a:lnTo>
                        <a:lnTo>
                          <a:pt x="200" y="716"/>
                        </a:lnTo>
                        <a:lnTo>
                          <a:pt x="200" y="714"/>
                        </a:lnTo>
                        <a:lnTo>
                          <a:pt x="200" y="712"/>
                        </a:lnTo>
                        <a:lnTo>
                          <a:pt x="200" y="711"/>
                        </a:lnTo>
                        <a:lnTo>
                          <a:pt x="200" y="709"/>
                        </a:lnTo>
                        <a:lnTo>
                          <a:pt x="200" y="708"/>
                        </a:lnTo>
                        <a:lnTo>
                          <a:pt x="200" y="706"/>
                        </a:lnTo>
                        <a:lnTo>
                          <a:pt x="198" y="704"/>
                        </a:lnTo>
                        <a:lnTo>
                          <a:pt x="197" y="701"/>
                        </a:lnTo>
                        <a:lnTo>
                          <a:pt x="195" y="698"/>
                        </a:lnTo>
                        <a:lnTo>
                          <a:pt x="193" y="697"/>
                        </a:lnTo>
                        <a:lnTo>
                          <a:pt x="192" y="695"/>
                        </a:lnTo>
                        <a:lnTo>
                          <a:pt x="190" y="693"/>
                        </a:lnTo>
                        <a:lnTo>
                          <a:pt x="190" y="692"/>
                        </a:lnTo>
                        <a:lnTo>
                          <a:pt x="190" y="690"/>
                        </a:lnTo>
                        <a:lnTo>
                          <a:pt x="190" y="689"/>
                        </a:lnTo>
                        <a:lnTo>
                          <a:pt x="192" y="687"/>
                        </a:lnTo>
                        <a:lnTo>
                          <a:pt x="193" y="685"/>
                        </a:lnTo>
                        <a:lnTo>
                          <a:pt x="195" y="684"/>
                        </a:lnTo>
                        <a:lnTo>
                          <a:pt x="198" y="681"/>
                        </a:lnTo>
                        <a:lnTo>
                          <a:pt x="198" y="679"/>
                        </a:lnTo>
                        <a:lnTo>
                          <a:pt x="200" y="679"/>
                        </a:lnTo>
                        <a:lnTo>
                          <a:pt x="203" y="678"/>
                        </a:lnTo>
                        <a:lnTo>
                          <a:pt x="205" y="678"/>
                        </a:lnTo>
                        <a:lnTo>
                          <a:pt x="206" y="678"/>
                        </a:lnTo>
                        <a:lnTo>
                          <a:pt x="208" y="676"/>
                        </a:lnTo>
                        <a:lnTo>
                          <a:pt x="209" y="674"/>
                        </a:lnTo>
                        <a:lnTo>
                          <a:pt x="209" y="673"/>
                        </a:lnTo>
                        <a:lnTo>
                          <a:pt x="209" y="671"/>
                        </a:lnTo>
                        <a:lnTo>
                          <a:pt x="211" y="670"/>
                        </a:lnTo>
                        <a:lnTo>
                          <a:pt x="212" y="668"/>
                        </a:lnTo>
                        <a:lnTo>
                          <a:pt x="212" y="666"/>
                        </a:lnTo>
                        <a:lnTo>
                          <a:pt x="212" y="665"/>
                        </a:lnTo>
                        <a:lnTo>
                          <a:pt x="212" y="663"/>
                        </a:lnTo>
                        <a:lnTo>
                          <a:pt x="211" y="663"/>
                        </a:lnTo>
                        <a:lnTo>
                          <a:pt x="209" y="663"/>
                        </a:lnTo>
                        <a:lnTo>
                          <a:pt x="208" y="665"/>
                        </a:lnTo>
                        <a:lnTo>
                          <a:pt x="205" y="663"/>
                        </a:lnTo>
                        <a:lnTo>
                          <a:pt x="203" y="662"/>
                        </a:lnTo>
                        <a:lnTo>
                          <a:pt x="201" y="662"/>
                        </a:lnTo>
                        <a:lnTo>
                          <a:pt x="200" y="660"/>
                        </a:lnTo>
                        <a:lnTo>
                          <a:pt x="198" y="660"/>
                        </a:lnTo>
                        <a:lnTo>
                          <a:pt x="197" y="659"/>
                        </a:lnTo>
                        <a:lnTo>
                          <a:pt x="195" y="659"/>
                        </a:lnTo>
                        <a:lnTo>
                          <a:pt x="193" y="657"/>
                        </a:lnTo>
                        <a:lnTo>
                          <a:pt x="192" y="657"/>
                        </a:lnTo>
                        <a:lnTo>
                          <a:pt x="192" y="655"/>
                        </a:lnTo>
                        <a:lnTo>
                          <a:pt x="190" y="654"/>
                        </a:lnTo>
                        <a:lnTo>
                          <a:pt x="189" y="652"/>
                        </a:lnTo>
                        <a:lnTo>
                          <a:pt x="187" y="652"/>
                        </a:lnTo>
                        <a:lnTo>
                          <a:pt x="185" y="652"/>
                        </a:lnTo>
                        <a:lnTo>
                          <a:pt x="185" y="651"/>
                        </a:lnTo>
                        <a:lnTo>
                          <a:pt x="184" y="651"/>
                        </a:lnTo>
                        <a:lnTo>
                          <a:pt x="182" y="651"/>
                        </a:lnTo>
                        <a:lnTo>
                          <a:pt x="181" y="651"/>
                        </a:lnTo>
                        <a:lnTo>
                          <a:pt x="179" y="649"/>
                        </a:lnTo>
                        <a:lnTo>
                          <a:pt x="178" y="649"/>
                        </a:lnTo>
                        <a:lnTo>
                          <a:pt x="176" y="647"/>
                        </a:lnTo>
                        <a:lnTo>
                          <a:pt x="173" y="646"/>
                        </a:lnTo>
                        <a:lnTo>
                          <a:pt x="173" y="644"/>
                        </a:lnTo>
                        <a:lnTo>
                          <a:pt x="171" y="643"/>
                        </a:lnTo>
                        <a:lnTo>
                          <a:pt x="170" y="643"/>
                        </a:lnTo>
                        <a:lnTo>
                          <a:pt x="168" y="641"/>
                        </a:lnTo>
                        <a:lnTo>
                          <a:pt x="166" y="641"/>
                        </a:lnTo>
                        <a:lnTo>
                          <a:pt x="165" y="641"/>
                        </a:lnTo>
                        <a:lnTo>
                          <a:pt x="163" y="641"/>
                        </a:lnTo>
                        <a:lnTo>
                          <a:pt x="160" y="638"/>
                        </a:lnTo>
                        <a:lnTo>
                          <a:pt x="159" y="638"/>
                        </a:lnTo>
                        <a:lnTo>
                          <a:pt x="157" y="638"/>
                        </a:lnTo>
                        <a:lnTo>
                          <a:pt x="157" y="636"/>
                        </a:lnTo>
                        <a:lnTo>
                          <a:pt x="155" y="636"/>
                        </a:lnTo>
                        <a:lnTo>
                          <a:pt x="155" y="635"/>
                        </a:lnTo>
                        <a:lnTo>
                          <a:pt x="155" y="633"/>
                        </a:lnTo>
                        <a:lnTo>
                          <a:pt x="154" y="632"/>
                        </a:lnTo>
                        <a:lnTo>
                          <a:pt x="154" y="630"/>
                        </a:lnTo>
                        <a:lnTo>
                          <a:pt x="154" y="628"/>
                        </a:lnTo>
                        <a:lnTo>
                          <a:pt x="152" y="627"/>
                        </a:lnTo>
                        <a:lnTo>
                          <a:pt x="151" y="625"/>
                        </a:lnTo>
                        <a:lnTo>
                          <a:pt x="149" y="624"/>
                        </a:lnTo>
                        <a:lnTo>
                          <a:pt x="147" y="620"/>
                        </a:lnTo>
                        <a:lnTo>
                          <a:pt x="146" y="619"/>
                        </a:lnTo>
                        <a:lnTo>
                          <a:pt x="143" y="617"/>
                        </a:lnTo>
                        <a:lnTo>
                          <a:pt x="140" y="614"/>
                        </a:lnTo>
                        <a:lnTo>
                          <a:pt x="138" y="613"/>
                        </a:lnTo>
                        <a:lnTo>
                          <a:pt x="136" y="611"/>
                        </a:lnTo>
                        <a:lnTo>
                          <a:pt x="132" y="608"/>
                        </a:lnTo>
                        <a:lnTo>
                          <a:pt x="130" y="606"/>
                        </a:lnTo>
                        <a:lnTo>
                          <a:pt x="128" y="606"/>
                        </a:lnTo>
                        <a:lnTo>
                          <a:pt x="127" y="606"/>
                        </a:lnTo>
                        <a:lnTo>
                          <a:pt x="125" y="606"/>
                        </a:lnTo>
                        <a:lnTo>
                          <a:pt x="125" y="608"/>
                        </a:lnTo>
                        <a:lnTo>
                          <a:pt x="124" y="609"/>
                        </a:lnTo>
                        <a:lnTo>
                          <a:pt x="124" y="611"/>
                        </a:lnTo>
                        <a:lnTo>
                          <a:pt x="122" y="613"/>
                        </a:lnTo>
                        <a:lnTo>
                          <a:pt x="121" y="614"/>
                        </a:lnTo>
                        <a:lnTo>
                          <a:pt x="119" y="617"/>
                        </a:lnTo>
                        <a:lnTo>
                          <a:pt x="119" y="619"/>
                        </a:lnTo>
                        <a:lnTo>
                          <a:pt x="117" y="620"/>
                        </a:lnTo>
                        <a:lnTo>
                          <a:pt x="117" y="622"/>
                        </a:lnTo>
                        <a:lnTo>
                          <a:pt x="116" y="624"/>
                        </a:lnTo>
                        <a:lnTo>
                          <a:pt x="116" y="625"/>
                        </a:lnTo>
                        <a:lnTo>
                          <a:pt x="114" y="625"/>
                        </a:lnTo>
                        <a:lnTo>
                          <a:pt x="113" y="628"/>
                        </a:lnTo>
                        <a:lnTo>
                          <a:pt x="113" y="627"/>
                        </a:lnTo>
                        <a:lnTo>
                          <a:pt x="111" y="625"/>
                        </a:lnTo>
                        <a:lnTo>
                          <a:pt x="109" y="625"/>
                        </a:lnTo>
                        <a:lnTo>
                          <a:pt x="108" y="625"/>
                        </a:lnTo>
                        <a:lnTo>
                          <a:pt x="106" y="627"/>
                        </a:lnTo>
                        <a:lnTo>
                          <a:pt x="105" y="627"/>
                        </a:lnTo>
                        <a:lnTo>
                          <a:pt x="105" y="625"/>
                        </a:lnTo>
                        <a:lnTo>
                          <a:pt x="103" y="625"/>
                        </a:lnTo>
                        <a:lnTo>
                          <a:pt x="102" y="625"/>
                        </a:lnTo>
                        <a:lnTo>
                          <a:pt x="102" y="624"/>
                        </a:lnTo>
                        <a:lnTo>
                          <a:pt x="100" y="622"/>
                        </a:lnTo>
                        <a:lnTo>
                          <a:pt x="98" y="620"/>
                        </a:lnTo>
                        <a:lnTo>
                          <a:pt x="97" y="617"/>
                        </a:lnTo>
                        <a:lnTo>
                          <a:pt x="95" y="617"/>
                        </a:lnTo>
                        <a:lnTo>
                          <a:pt x="94" y="616"/>
                        </a:lnTo>
                        <a:lnTo>
                          <a:pt x="89" y="613"/>
                        </a:lnTo>
                        <a:lnTo>
                          <a:pt x="86" y="611"/>
                        </a:lnTo>
                        <a:lnTo>
                          <a:pt x="84" y="609"/>
                        </a:lnTo>
                        <a:lnTo>
                          <a:pt x="83" y="609"/>
                        </a:lnTo>
                        <a:lnTo>
                          <a:pt x="81" y="606"/>
                        </a:lnTo>
                        <a:lnTo>
                          <a:pt x="81" y="605"/>
                        </a:lnTo>
                        <a:lnTo>
                          <a:pt x="81" y="603"/>
                        </a:lnTo>
                        <a:lnTo>
                          <a:pt x="81" y="601"/>
                        </a:lnTo>
                        <a:lnTo>
                          <a:pt x="79" y="598"/>
                        </a:lnTo>
                        <a:lnTo>
                          <a:pt x="75" y="598"/>
                        </a:lnTo>
                        <a:lnTo>
                          <a:pt x="73" y="597"/>
                        </a:lnTo>
                        <a:lnTo>
                          <a:pt x="73" y="595"/>
                        </a:lnTo>
                        <a:lnTo>
                          <a:pt x="71" y="597"/>
                        </a:lnTo>
                        <a:lnTo>
                          <a:pt x="71" y="595"/>
                        </a:lnTo>
                        <a:lnTo>
                          <a:pt x="70" y="594"/>
                        </a:lnTo>
                        <a:lnTo>
                          <a:pt x="68" y="595"/>
                        </a:lnTo>
                        <a:lnTo>
                          <a:pt x="67" y="595"/>
                        </a:lnTo>
                        <a:lnTo>
                          <a:pt x="65" y="595"/>
                        </a:lnTo>
                        <a:lnTo>
                          <a:pt x="64" y="595"/>
                        </a:lnTo>
                        <a:lnTo>
                          <a:pt x="62" y="595"/>
                        </a:lnTo>
                        <a:lnTo>
                          <a:pt x="62" y="594"/>
                        </a:lnTo>
                        <a:lnTo>
                          <a:pt x="60" y="594"/>
                        </a:lnTo>
                        <a:lnTo>
                          <a:pt x="60" y="592"/>
                        </a:lnTo>
                        <a:lnTo>
                          <a:pt x="59" y="590"/>
                        </a:lnTo>
                        <a:lnTo>
                          <a:pt x="57" y="590"/>
                        </a:lnTo>
                        <a:lnTo>
                          <a:pt x="56" y="589"/>
                        </a:lnTo>
                        <a:lnTo>
                          <a:pt x="54" y="590"/>
                        </a:lnTo>
                        <a:lnTo>
                          <a:pt x="54" y="589"/>
                        </a:lnTo>
                        <a:lnTo>
                          <a:pt x="51" y="586"/>
                        </a:lnTo>
                        <a:lnTo>
                          <a:pt x="48" y="582"/>
                        </a:lnTo>
                        <a:lnTo>
                          <a:pt x="45" y="579"/>
                        </a:lnTo>
                        <a:lnTo>
                          <a:pt x="40" y="576"/>
                        </a:lnTo>
                        <a:lnTo>
                          <a:pt x="37" y="573"/>
                        </a:lnTo>
                        <a:lnTo>
                          <a:pt x="33" y="568"/>
                        </a:lnTo>
                        <a:lnTo>
                          <a:pt x="30" y="567"/>
                        </a:lnTo>
                        <a:lnTo>
                          <a:pt x="24" y="560"/>
                        </a:lnTo>
                        <a:lnTo>
                          <a:pt x="18" y="556"/>
                        </a:lnTo>
                        <a:lnTo>
                          <a:pt x="13" y="551"/>
                        </a:lnTo>
                        <a:lnTo>
                          <a:pt x="11" y="548"/>
                        </a:lnTo>
                        <a:lnTo>
                          <a:pt x="8" y="544"/>
                        </a:lnTo>
                        <a:lnTo>
                          <a:pt x="3" y="540"/>
                        </a:lnTo>
                        <a:lnTo>
                          <a:pt x="0" y="537"/>
                        </a:lnTo>
                        <a:lnTo>
                          <a:pt x="0" y="535"/>
                        </a:lnTo>
                        <a:lnTo>
                          <a:pt x="2" y="535"/>
                        </a:lnTo>
                        <a:lnTo>
                          <a:pt x="2" y="532"/>
                        </a:lnTo>
                        <a:lnTo>
                          <a:pt x="2" y="525"/>
                        </a:lnTo>
                        <a:lnTo>
                          <a:pt x="2" y="519"/>
                        </a:lnTo>
                        <a:lnTo>
                          <a:pt x="2" y="513"/>
                        </a:lnTo>
                        <a:lnTo>
                          <a:pt x="3" y="503"/>
                        </a:lnTo>
                        <a:lnTo>
                          <a:pt x="3" y="497"/>
                        </a:lnTo>
                        <a:lnTo>
                          <a:pt x="3" y="492"/>
                        </a:lnTo>
                        <a:lnTo>
                          <a:pt x="3" y="487"/>
                        </a:lnTo>
                        <a:lnTo>
                          <a:pt x="3" y="484"/>
                        </a:lnTo>
                        <a:lnTo>
                          <a:pt x="3" y="483"/>
                        </a:lnTo>
                        <a:lnTo>
                          <a:pt x="3" y="481"/>
                        </a:lnTo>
                        <a:lnTo>
                          <a:pt x="5" y="481"/>
                        </a:lnTo>
                        <a:lnTo>
                          <a:pt x="7" y="481"/>
                        </a:lnTo>
                        <a:lnTo>
                          <a:pt x="8" y="480"/>
                        </a:lnTo>
                        <a:lnTo>
                          <a:pt x="10" y="480"/>
                        </a:lnTo>
                        <a:lnTo>
                          <a:pt x="13" y="481"/>
                        </a:lnTo>
                        <a:lnTo>
                          <a:pt x="14" y="481"/>
                        </a:lnTo>
                        <a:lnTo>
                          <a:pt x="18" y="481"/>
                        </a:lnTo>
                        <a:lnTo>
                          <a:pt x="18" y="480"/>
                        </a:lnTo>
                        <a:lnTo>
                          <a:pt x="19" y="480"/>
                        </a:lnTo>
                        <a:lnTo>
                          <a:pt x="21" y="478"/>
                        </a:lnTo>
                        <a:lnTo>
                          <a:pt x="24" y="478"/>
                        </a:lnTo>
                        <a:lnTo>
                          <a:pt x="26" y="478"/>
                        </a:lnTo>
                        <a:lnTo>
                          <a:pt x="29" y="478"/>
                        </a:lnTo>
                        <a:lnTo>
                          <a:pt x="30" y="476"/>
                        </a:lnTo>
                        <a:lnTo>
                          <a:pt x="32" y="475"/>
                        </a:lnTo>
                        <a:lnTo>
                          <a:pt x="33" y="475"/>
                        </a:lnTo>
                        <a:lnTo>
                          <a:pt x="37" y="470"/>
                        </a:lnTo>
                        <a:lnTo>
                          <a:pt x="38" y="468"/>
                        </a:lnTo>
                        <a:lnTo>
                          <a:pt x="40" y="467"/>
                        </a:lnTo>
                        <a:lnTo>
                          <a:pt x="41" y="464"/>
                        </a:lnTo>
                        <a:lnTo>
                          <a:pt x="43" y="459"/>
                        </a:lnTo>
                        <a:lnTo>
                          <a:pt x="46" y="457"/>
                        </a:lnTo>
                        <a:lnTo>
                          <a:pt x="48" y="454"/>
                        </a:lnTo>
                        <a:lnTo>
                          <a:pt x="48" y="451"/>
                        </a:lnTo>
                        <a:lnTo>
                          <a:pt x="49" y="449"/>
                        </a:lnTo>
                        <a:lnTo>
                          <a:pt x="49" y="448"/>
                        </a:lnTo>
                        <a:lnTo>
                          <a:pt x="49" y="446"/>
                        </a:lnTo>
                        <a:lnTo>
                          <a:pt x="51" y="445"/>
                        </a:lnTo>
                        <a:lnTo>
                          <a:pt x="51" y="443"/>
                        </a:lnTo>
                        <a:lnTo>
                          <a:pt x="51" y="441"/>
                        </a:lnTo>
                        <a:lnTo>
                          <a:pt x="51" y="440"/>
                        </a:lnTo>
                        <a:lnTo>
                          <a:pt x="52" y="440"/>
                        </a:lnTo>
                        <a:lnTo>
                          <a:pt x="51" y="440"/>
                        </a:lnTo>
                        <a:lnTo>
                          <a:pt x="49" y="440"/>
                        </a:lnTo>
                        <a:lnTo>
                          <a:pt x="49" y="438"/>
                        </a:lnTo>
                        <a:lnTo>
                          <a:pt x="48" y="438"/>
                        </a:lnTo>
                        <a:lnTo>
                          <a:pt x="46" y="437"/>
                        </a:lnTo>
                        <a:lnTo>
                          <a:pt x="45" y="437"/>
                        </a:lnTo>
                        <a:lnTo>
                          <a:pt x="43" y="435"/>
                        </a:lnTo>
                        <a:lnTo>
                          <a:pt x="43" y="434"/>
                        </a:lnTo>
                        <a:lnTo>
                          <a:pt x="45" y="432"/>
                        </a:lnTo>
                        <a:lnTo>
                          <a:pt x="46" y="432"/>
                        </a:lnTo>
                        <a:lnTo>
                          <a:pt x="46" y="430"/>
                        </a:lnTo>
                        <a:lnTo>
                          <a:pt x="46" y="429"/>
                        </a:lnTo>
                        <a:lnTo>
                          <a:pt x="48" y="427"/>
                        </a:lnTo>
                        <a:lnTo>
                          <a:pt x="48" y="426"/>
                        </a:lnTo>
                        <a:lnTo>
                          <a:pt x="48" y="424"/>
                        </a:lnTo>
                        <a:lnTo>
                          <a:pt x="48" y="422"/>
                        </a:lnTo>
                        <a:lnTo>
                          <a:pt x="51" y="422"/>
                        </a:lnTo>
                        <a:lnTo>
                          <a:pt x="56" y="422"/>
                        </a:lnTo>
                        <a:lnTo>
                          <a:pt x="57" y="422"/>
                        </a:lnTo>
                        <a:lnTo>
                          <a:pt x="59" y="422"/>
                        </a:lnTo>
                        <a:lnTo>
                          <a:pt x="65" y="422"/>
                        </a:lnTo>
                        <a:lnTo>
                          <a:pt x="78" y="422"/>
                        </a:lnTo>
                        <a:lnTo>
                          <a:pt x="90" y="422"/>
                        </a:lnTo>
                        <a:lnTo>
                          <a:pt x="97" y="422"/>
                        </a:lnTo>
                        <a:lnTo>
                          <a:pt x="102" y="422"/>
                        </a:lnTo>
                        <a:lnTo>
                          <a:pt x="105" y="422"/>
                        </a:lnTo>
                        <a:lnTo>
                          <a:pt x="106" y="422"/>
                        </a:lnTo>
                        <a:lnTo>
                          <a:pt x="108" y="421"/>
                        </a:lnTo>
                        <a:lnTo>
                          <a:pt x="109" y="421"/>
                        </a:lnTo>
                        <a:lnTo>
                          <a:pt x="113" y="419"/>
                        </a:lnTo>
                        <a:lnTo>
                          <a:pt x="113" y="418"/>
                        </a:lnTo>
                        <a:lnTo>
                          <a:pt x="113" y="416"/>
                        </a:lnTo>
                        <a:lnTo>
                          <a:pt x="114" y="416"/>
                        </a:lnTo>
                        <a:lnTo>
                          <a:pt x="114" y="415"/>
                        </a:lnTo>
                        <a:lnTo>
                          <a:pt x="116" y="413"/>
                        </a:lnTo>
                        <a:lnTo>
                          <a:pt x="117" y="413"/>
                        </a:lnTo>
                        <a:lnTo>
                          <a:pt x="119" y="413"/>
                        </a:lnTo>
                        <a:lnTo>
                          <a:pt x="121" y="413"/>
                        </a:lnTo>
                        <a:lnTo>
                          <a:pt x="122" y="415"/>
                        </a:lnTo>
                        <a:lnTo>
                          <a:pt x="124" y="415"/>
                        </a:lnTo>
                        <a:lnTo>
                          <a:pt x="125" y="415"/>
                        </a:lnTo>
                        <a:lnTo>
                          <a:pt x="127" y="415"/>
                        </a:lnTo>
                        <a:lnTo>
                          <a:pt x="127" y="413"/>
                        </a:lnTo>
                        <a:lnTo>
                          <a:pt x="128" y="413"/>
                        </a:lnTo>
                        <a:lnTo>
                          <a:pt x="128" y="411"/>
                        </a:lnTo>
                        <a:lnTo>
                          <a:pt x="130" y="411"/>
                        </a:lnTo>
                        <a:lnTo>
                          <a:pt x="132" y="411"/>
                        </a:lnTo>
                        <a:lnTo>
                          <a:pt x="132" y="410"/>
                        </a:lnTo>
                        <a:lnTo>
                          <a:pt x="132" y="408"/>
                        </a:lnTo>
                        <a:lnTo>
                          <a:pt x="133" y="408"/>
                        </a:lnTo>
                        <a:lnTo>
                          <a:pt x="133" y="407"/>
                        </a:lnTo>
                        <a:lnTo>
                          <a:pt x="135" y="407"/>
                        </a:lnTo>
                        <a:lnTo>
                          <a:pt x="138" y="405"/>
                        </a:lnTo>
                        <a:lnTo>
                          <a:pt x="138" y="403"/>
                        </a:lnTo>
                        <a:lnTo>
                          <a:pt x="140" y="403"/>
                        </a:lnTo>
                        <a:lnTo>
                          <a:pt x="140" y="402"/>
                        </a:lnTo>
                        <a:lnTo>
                          <a:pt x="141" y="399"/>
                        </a:lnTo>
                        <a:lnTo>
                          <a:pt x="143" y="399"/>
                        </a:lnTo>
                        <a:lnTo>
                          <a:pt x="144" y="397"/>
                        </a:lnTo>
                        <a:lnTo>
                          <a:pt x="146" y="397"/>
                        </a:lnTo>
                        <a:lnTo>
                          <a:pt x="146" y="399"/>
                        </a:lnTo>
                        <a:lnTo>
                          <a:pt x="147" y="399"/>
                        </a:lnTo>
                        <a:lnTo>
                          <a:pt x="147" y="397"/>
                        </a:lnTo>
                        <a:lnTo>
                          <a:pt x="147" y="396"/>
                        </a:lnTo>
                        <a:lnTo>
                          <a:pt x="149" y="396"/>
                        </a:lnTo>
                        <a:lnTo>
                          <a:pt x="149" y="397"/>
                        </a:lnTo>
                        <a:lnTo>
                          <a:pt x="149" y="396"/>
                        </a:lnTo>
                        <a:lnTo>
                          <a:pt x="149" y="394"/>
                        </a:lnTo>
                        <a:lnTo>
                          <a:pt x="151" y="394"/>
                        </a:lnTo>
                        <a:lnTo>
                          <a:pt x="151" y="392"/>
                        </a:lnTo>
                        <a:lnTo>
                          <a:pt x="151" y="391"/>
                        </a:lnTo>
                        <a:lnTo>
                          <a:pt x="152" y="389"/>
                        </a:lnTo>
                        <a:lnTo>
                          <a:pt x="152" y="388"/>
                        </a:lnTo>
                        <a:lnTo>
                          <a:pt x="152" y="386"/>
                        </a:lnTo>
                        <a:lnTo>
                          <a:pt x="152" y="384"/>
                        </a:lnTo>
                        <a:lnTo>
                          <a:pt x="154" y="384"/>
                        </a:lnTo>
                        <a:lnTo>
                          <a:pt x="154" y="383"/>
                        </a:lnTo>
                        <a:lnTo>
                          <a:pt x="154" y="381"/>
                        </a:lnTo>
                        <a:lnTo>
                          <a:pt x="155" y="377"/>
                        </a:lnTo>
                        <a:lnTo>
                          <a:pt x="157" y="373"/>
                        </a:lnTo>
                        <a:lnTo>
                          <a:pt x="160" y="372"/>
                        </a:lnTo>
                        <a:lnTo>
                          <a:pt x="162" y="370"/>
                        </a:lnTo>
                        <a:lnTo>
                          <a:pt x="165" y="365"/>
                        </a:lnTo>
                        <a:lnTo>
                          <a:pt x="166" y="362"/>
                        </a:lnTo>
                        <a:lnTo>
                          <a:pt x="168" y="359"/>
                        </a:lnTo>
                        <a:lnTo>
                          <a:pt x="171" y="358"/>
                        </a:lnTo>
                        <a:lnTo>
                          <a:pt x="173" y="354"/>
                        </a:lnTo>
                        <a:lnTo>
                          <a:pt x="176" y="351"/>
                        </a:lnTo>
                        <a:lnTo>
                          <a:pt x="179" y="350"/>
                        </a:lnTo>
                        <a:lnTo>
                          <a:pt x="182" y="348"/>
                        </a:lnTo>
                        <a:lnTo>
                          <a:pt x="185" y="345"/>
                        </a:lnTo>
                        <a:lnTo>
                          <a:pt x="187" y="343"/>
                        </a:lnTo>
                        <a:lnTo>
                          <a:pt x="189" y="342"/>
                        </a:lnTo>
                        <a:lnTo>
                          <a:pt x="192" y="340"/>
                        </a:lnTo>
                        <a:lnTo>
                          <a:pt x="193" y="340"/>
                        </a:lnTo>
                        <a:lnTo>
                          <a:pt x="197" y="339"/>
                        </a:lnTo>
                        <a:lnTo>
                          <a:pt x="200" y="337"/>
                        </a:lnTo>
                        <a:lnTo>
                          <a:pt x="201" y="335"/>
                        </a:lnTo>
                        <a:lnTo>
                          <a:pt x="205" y="335"/>
                        </a:lnTo>
                        <a:lnTo>
                          <a:pt x="206" y="335"/>
                        </a:lnTo>
                        <a:lnTo>
                          <a:pt x="208" y="334"/>
                        </a:lnTo>
                        <a:lnTo>
                          <a:pt x="211" y="334"/>
                        </a:lnTo>
                        <a:lnTo>
                          <a:pt x="212" y="334"/>
                        </a:lnTo>
                        <a:lnTo>
                          <a:pt x="216" y="334"/>
                        </a:lnTo>
                        <a:lnTo>
                          <a:pt x="219" y="335"/>
                        </a:lnTo>
                        <a:lnTo>
                          <a:pt x="220" y="335"/>
                        </a:lnTo>
                        <a:lnTo>
                          <a:pt x="222" y="337"/>
                        </a:lnTo>
                        <a:lnTo>
                          <a:pt x="225" y="337"/>
                        </a:lnTo>
                        <a:lnTo>
                          <a:pt x="227" y="339"/>
                        </a:lnTo>
                        <a:lnTo>
                          <a:pt x="230" y="339"/>
                        </a:lnTo>
                        <a:lnTo>
                          <a:pt x="231" y="340"/>
                        </a:lnTo>
                        <a:lnTo>
                          <a:pt x="233" y="340"/>
                        </a:lnTo>
                        <a:lnTo>
                          <a:pt x="236" y="342"/>
                        </a:lnTo>
                        <a:lnTo>
                          <a:pt x="239" y="342"/>
                        </a:lnTo>
                        <a:lnTo>
                          <a:pt x="241" y="343"/>
                        </a:lnTo>
                        <a:lnTo>
                          <a:pt x="244" y="343"/>
                        </a:lnTo>
                        <a:lnTo>
                          <a:pt x="247" y="345"/>
                        </a:lnTo>
                        <a:lnTo>
                          <a:pt x="249" y="345"/>
                        </a:lnTo>
                        <a:lnTo>
                          <a:pt x="252" y="345"/>
                        </a:lnTo>
                        <a:lnTo>
                          <a:pt x="254" y="345"/>
                        </a:lnTo>
                        <a:lnTo>
                          <a:pt x="255" y="343"/>
                        </a:lnTo>
                        <a:lnTo>
                          <a:pt x="257" y="342"/>
                        </a:lnTo>
                        <a:lnTo>
                          <a:pt x="258" y="340"/>
                        </a:lnTo>
                        <a:lnTo>
                          <a:pt x="260" y="342"/>
                        </a:lnTo>
                        <a:lnTo>
                          <a:pt x="262" y="342"/>
                        </a:lnTo>
                        <a:lnTo>
                          <a:pt x="263" y="340"/>
                        </a:lnTo>
                        <a:lnTo>
                          <a:pt x="265" y="340"/>
                        </a:lnTo>
                        <a:lnTo>
                          <a:pt x="266" y="340"/>
                        </a:lnTo>
                        <a:lnTo>
                          <a:pt x="268" y="339"/>
                        </a:lnTo>
                        <a:lnTo>
                          <a:pt x="269" y="339"/>
                        </a:lnTo>
                        <a:lnTo>
                          <a:pt x="269" y="337"/>
                        </a:lnTo>
                        <a:lnTo>
                          <a:pt x="271" y="337"/>
                        </a:lnTo>
                        <a:lnTo>
                          <a:pt x="273" y="335"/>
                        </a:lnTo>
                        <a:lnTo>
                          <a:pt x="274" y="335"/>
                        </a:lnTo>
                        <a:lnTo>
                          <a:pt x="276" y="335"/>
                        </a:lnTo>
                        <a:lnTo>
                          <a:pt x="277" y="335"/>
                        </a:lnTo>
                        <a:lnTo>
                          <a:pt x="277" y="334"/>
                        </a:lnTo>
                        <a:lnTo>
                          <a:pt x="277" y="332"/>
                        </a:lnTo>
                        <a:lnTo>
                          <a:pt x="277" y="331"/>
                        </a:lnTo>
                        <a:lnTo>
                          <a:pt x="279" y="331"/>
                        </a:lnTo>
                        <a:lnTo>
                          <a:pt x="279" y="329"/>
                        </a:lnTo>
                        <a:lnTo>
                          <a:pt x="281" y="327"/>
                        </a:lnTo>
                        <a:lnTo>
                          <a:pt x="282" y="326"/>
                        </a:lnTo>
                        <a:lnTo>
                          <a:pt x="284" y="326"/>
                        </a:lnTo>
                        <a:lnTo>
                          <a:pt x="284" y="324"/>
                        </a:lnTo>
                        <a:lnTo>
                          <a:pt x="285" y="324"/>
                        </a:lnTo>
                        <a:lnTo>
                          <a:pt x="285" y="323"/>
                        </a:lnTo>
                        <a:lnTo>
                          <a:pt x="287" y="323"/>
                        </a:lnTo>
                        <a:lnTo>
                          <a:pt x="287" y="321"/>
                        </a:lnTo>
                        <a:lnTo>
                          <a:pt x="287" y="323"/>
                        </a:lnTo>
                        <a:lnTo>
                          <a:pt x="287" y="321"/>
                        </a:lnTo>
                        <a:lnTo>
                          <a:pt x="288" y="320"/>
                        </a:lnTo>
                        <a:lnTo>
                          <a:pt x="288" y="318"/>
                        </a:lnTo>
                        <a:lnTo>
                          <a:pt x="290" y="318"/>
                        </a:lnTo>
                        <a:lnTo>
                          <a:pt x="290" y="316"/>
                        </a:lnTo>
                        <a:lnTo>
                          <a:pt x="290" y="315"/>
                        </a:lnTo>
                        <a:lnTo>
                          <a:pt x="290" y="313"/>
                        </a:lnTo>
                        <a:lnTo>
                          <a:pt x="292" y="313"/>
                        </a:lnTo>
                        <a:lnTo>
                          <a:pt x="293" y="312"/>
                        </a:lnTo>
                        <a:lnTo>
                          <a:pt x="293" y="310"/>
                        </a:lnTo>
                        <a:lnTo>
                          <a:pt x="293" y="308"/>
                        </a:lnTo>
                        <a:lnTo>
                          <a:pt x="295" y="308"/>
                        </a:lnTo>
                        <a:lnTo>
                          <a:pt x="295" y="307"/>
                        </a:lnTo>
                        <a:lnTo>
                          <a:pt x="295" y="305"/>
                        </a:lnTo>
                        <a:lnTo>
                          <a:pt x="296" y="305"/>
                        </a:lnTo>
                        <a:lnTo>
                          <a:pt x="296" y="304"/>
                        </a:lnTo>
                        <a:lnTo>
                          <a:pt x="296" y="302"/>
                        </a:lnTo>
                        <a:lnTo>
                          <a:pt x="296" y="301"/>
                        </a:lnTo>
                        <a:lnTo>
                          <a:pt x="298" y="301"/>
                        </a:lnTo>
                        <a:lnTo>
                          <a:pt x="298" y="299"/>
                        </a:lnTo>
                        <a:lnTo>
                          <a:pt x="300" y="297"/>
                        </a:lnTo>
                        <a:lnTo>
                          <a:pt x="300" y="296"/>
                        </a:lnTo>
                        <a:lnTo>
                          <a:pt x="301" y="296"/>
                        </a:lnTo>
                        <a:lnTo>
                          <a:pt x="301" y="294"/>
                        </a:lnTo>
                        <a:lnTo>
                          <a:pt x="301" y="293"/>
                        </a:lnTo>
                        <a:lnTo>
                          <a:pt x="303" y="291"/>
                        </a:lnTo>
                        <a:lnTo>
                          <a:pt x="303" y="289"/>
                        </a:lnTo>
                        <a:lnTo>
                          <a:pt x="303" y="288"/>
                        </a:lnTo>
                        <a:lnTo>
                          <a:pt x="303" y="286"/>
                        </a:lnTo>
                        <a:lnTo>
                          <a:pt x="301" y="286"/>
                        </a:lnTo>
                        <a:lnTo>
                          <a:pt x="301" y="285"/>
                        </a:lnTo>
                        <a:lnTo>
                          <a:pt x="300" y="285"/>
                        </a:lnTo>
                        <a:lnTo>
                          <a:pt x="300" y="283"/>
                        </a:lnTo>
                        <a:lnTo>
                          <a:pt x="298" y="283"/>
                        </a:lnTo>
                        <a:lnTo>
                          <a:pt x="298" y="282"/>
                        </a:lnTo>
                        <a:lnTo>
                          <a:pt x="296" y="282"/>
                        </a:lnTo>
                        <a:lnTo>
                          <a:pt x="295" y="280"/>
                        </a:lnTo>
                        <a:lnTo>
                          <a:pt x="295" y="278"/>
                        </a:lnTo>
                        <a:lnTo>
                          <a:pt x="293" y="278"/>
                        </a:lnTo>
                        <a:lnTo>
                          <a:pt x="292" y="280"/>
                        </a:lnTo>
                        <a:lnTo>
                          <a:pt x="292" y="278"/>
                        </a:lnTo>
                        <a:lnTo>
                          <a:pt x="292" y="277"/>
                        </a:lnTo>
                        <a:lnTo>
                          <a:pt x="292" y="275"/>
                        </a:lnTo>
                        <a:lnTo>
                          <a:pt x="293" y="274"/>
                        </a:lnTo>
                        <a:lnTo>
                          <a:pt x="293" y="272"/>
                        </a:lnTo>
                        <a:lnTo>
                          <a:pt x="293" y="270"/>
                        </a:lnTo>
                        <a:lnTo>
                          <a:pt x="293" y="269"/>
                        </a:lnTo>
                        <a:lnTo>
                          <a:pt x="293" y="267"/>
                        </a:lnTo>
                        <a:lnTo>
                          <a:pt x="295" y="266"/>
                        </a:lnTo>
                        <a:lnTo>
                          <a:pt x="293" y="264"/>
                        </a:lnTo>
                        <a:lnTo>
                          <a:pt x="293" y="263"/>
                        </a:lnTo>
                        <a:lnTo>
                          <a:pt x="293" y="261"/>
                        </a:lnTo>
                        <a:lnTo>
                          <a:pt x="292" y="259"/>
                        </a:lnTo>
                        <a:lnTo>
                          <a:pt x="290" y="258"/>
                        </a:lnTo>
                        <a:lnTo>
                          <a:pt x="290" y="256"/>
                        </a:lnTo>
                        <a:lnTo>
                          <a:pt x="288" y="255"/>
                        </a:lnTo>
                        <a:lnTo>
                          <a:pt x="287" y="253"/>
                        </a:lnTo>
                        <a:lnTo>
                          <a:pt x="287" y="251"/>
                        </a:lnTo>
                        <a:lnTo>
                          <a:pt x="285" y="250"/>
                        </a:lnTo>
                        <a:lnTo>
                          <a:pt x="285" y="248"/>
                        </a:lnTo>
                        <a:lnTo>
                          <a:pt x="285" y="247"/>
                        </a:lnTo>
                        <a:lnTo>
                          <a:pt x="285" y="245"/>
                        </a:lnTo>
                        <a:lnTo>
                          <a:pt x="285" y="243"/>
                        </a:lnTo>
                        <a:lnTo>
                          <a:pt x="287" y="243"/>
                        </a:lnTo>
                        <a:lnTo>
                          <a:pt x="288" y="243"/>
                        </a:lnTo>
                        <a:lnTo>
                          <a:pt x="290" y="243"/>
                        </a:lnTo>
                        <a:lnTo>
                          <a:pt x="292" y="243"/>
                        </a:lnTo>
                        <a:lnTo>
                          <a:pt x="293" y="243"/>
                        </a:lnTo>
                        <a:lnTo>
                          <a:pt x="293" y="245"/>
                        </a:lnTo>
                        <a:lnTo>
                          <a:pt x="295" y="245"/>
                        </a:lnTo>
                        <a:lnTo>
                          <a:pt x="296" y="243"/>
                        </a:lnTo>
                        <a:lnTo>
                          <a:pt x="295" y="243"/>
                        </a:lnTo>
                        <a:lnTo>
                          <a:pt x="295" y="242"/>
                        </a:lnTo>
                        <a:lnTo>
                          <a:pt x="293" y="240"/>
                        </a:lnTo>
                        <a:lnTo>
                          <a:pt x="292" y="239"/>
                        </a:lnTo>
                        <a:lnTo>
                          <a:pt x="290" y="237"/>
                        </a:lnTo>
                        <a:lnTo>
                          <a:pt x="290" y="236"/>
                        </a:lnTo>
                        <a:lnTo>
                          <a:pt x="288" y="234"/>
                        </a:lnTo>
                        <a:lnTo>
                          <a:pt x="287" y="232"/>
                        </a:lnTo>
                        <a:lnTo>
                          <a:pt x="287" y="231"/>
                        </a:lnTo>
                        <a:lnTo>
                          <a:pt x="285" y="229"/>
                        </a:lnTo>
                        <a:lnTo>
                          <a:pt x="284" y="229"/>
                        </a:lnTo>
                        <a:lnTo>
                          <a:pt x="282" y="229"/>
                        </a:lnTo>
                        <a:lnTo>
                          <a:pt x="281" y="229"/>
                        </a:lnTo>
                        <a:lnTo>
                          <a:pt x="279" y="228"/>
                        </a:lnTo>
                        <a:lnTo>
                          <a:pt x="277" y="226"/>
                        </a:lnTo>
                        <a:lnTo>
                          <a:pt x="277" y="224"/>
                        </a:lnTo>
                        <a:lnTo>
                          <a:pt x="276" y="223"/>
                        </a:lnTo>
                        <a:lnTo>
                          <a:pt x="274" y="223"/>
                        </a:lnTo>
                        <a:lnTo>
                          <a:pt x="274" y="220"/>
                        </a:lnTo>
                        <a:lnTo>
                          <a:pt x="274" y="218"/>
                        </a:lnTo>
                        <a:lnTo>
                          <a:pt x="273" y="215"/>
                        </a:lnTo>
                        <a:lnTo>
                          <a:pt x="269" y="213"/>
                        </a:lnTo>
                        <a:lnTo>
                          <a:pt x="266" y="213"/>
                        </a:lnTo>
                        <a:lnTo>
                          <a:pt x="263" y="212"/>
                        </a:lnTo>
                        <a:lnTo>
                          <a:pt x="258" y="212"/>
                        </a:lnTo>
                        <a:lnTo>
                          <a:pt x="257" y="212"/>
                        </a:lnTo>
                        <a:lnTo>
                          <a:pt x="254" y="210"/>
                        </a:lnTo>
                        <a:lnTo>
                          <a:pt x="254" y="209"/>
                        </a:lnTo>
                        <a:lnTo>
                          <a:pt x="252" y="209"/>
                        </a:lnTo>
                        <a:lnTo>
                          <a:pt x="252" y="205"/>
                        </a:lnTo>
                        <a:lnTo>
                          <a:pt x="252" y="204"/>
                        </a:lnTo>
                        <a:lnTo>
                          <a:pt x="252" y="201"/>
                        </a:lnTo>
                        <a:lnTo>
                          <a:pt x="254" y="199"/>
                        </a:lnTo>
                        <a:lnTo>
                          <a:pt x="254" y="196"/>
                        </a:lnTo>
                        <a:lnTo>
                          <a:pt x="254" y="194"/>
                        </a:lnTo>
                        <a:lnTo>
                          <a:pt x="254" y="191"/>
                        </a:lnTo>
                        <a:lnTo>
                          <a:pt x="254" y="190"/>
                        </a:lnTo>
                        <a:lnTo>
                          <a:pt x="254" y="186"/>
                        </a:lnTo>
                        <a:lnTo>
                          <a:pt x="252" y="182"/>
                        </a:lnTo>
                        <a:lnTo>
                          <a:pt x="252" y="179"/>
                        </a:lnTo>
                        <a:lnTo>
                          <a:pt x="250" y="174"/>
                        </a:lnTo>
                        <a:lnTo>
                          <a:pt x="249" y="172"/>
                        </a:lnTo>
                        <a:lnTo>
                          <a:pt x="247" y="171"/>
                        </a:lnTo>
                        <a:lnTo>
                          <a:pt x="246" y="171"/>
                        </a:lnTo>
                        <a:lnTo>
                          <a:pt x="244" y="169"/>
                        </a:lnTo>
                        <a:lnTo>
                          <a:pt x="243" y="169"/>
                        </a:lnTo>
                        <a:lnTo>
                          <a:pt x="241" y="169"/>
                        </a:lnTo>
                        <a:lnTo>
                          <a:pt x="239" y="169"/>
                        </a:lnTo>
                        <a:lnTo>
                          <a:pt x="239" y="167"/>
                        </a:lnTo>
                        <a:lnTo>
                          <a:pt x="238" y="167"/>
                        </a:lnTo>
                        <a:lnTo>
                          <a:pt x="238" y="166"/>
                        </a:lnTo>
                        <a:lnTo>
                          <a:pt x="236" y="166"/>
                        </a:lnTo>
                        <a:lnTo>
                          <a:pt x="236" y="164"/>
                        </a:lnTo>
                        <a:lnTo>
                          <a:pt x="236" y="163"/>
                        </a:lnTo>
                        <a:lnTo>
                          <a:pt x="236" y="161"/>
                        </a:lnTo>
                        <a:lnTo>
                          <a:pt x="236" y="160"/>
                        </a:lnTo>
                        <a:lnTo>
                          <a:pt x="236" y="158"/>
                        </a:lnTo>
                        <a:lnTo>
                          <a:pt x="236" y="156"/>
                        </a:lnTo>
                        <a:lnTo>
                          <a:pt x="238" y="155"/>
                        </a:lnTo>
                        <a:lnTo>
                          <a:pt x="238" y="153"/>
                        </a:lnTo>
                        <a:lnTo>
                          <a:pt x="235" y="153"/>
                        </a:lnTo>
                        <a:lnTo>
                          <a:pt x="233" y="150"/>
                        </a:lnTo>
                        <a:lnTo>
                          <a:pt x="231" y="148"/>
                        </a:lnTo>
                        <a:lnTo>
                          <a:pt x="228" y="145"/>
                        </a:lnTo>
                        <a:lnTo>
                          <a:pt x="225" y="142"/>
                        </a:lnTo>
                        <a:lnTo>
                          <a:pt x="224" y="141"/>
                        </a:lnTo>
                        <a:lnTo>
                          <a:pt x="224" y="139"/>
                        </a:lnTo>
                        <a:lnTo>
                          <a:pt x="225" y="137"/>
                        </a:lnTo>
                        <a:lnTo>
                          <a:pt x="225" y="136"/>
                        </a:lnTo>
                        <a:lnTo>
                          <a:pt x="227" y="133"/>
                        </a:lnTo>
                        <a:lnTo>
                          <a:pt x="227" y="131"/>
                        </a:lnTo>
                        <a:lnTo>
                          <a:pt x="228" y="129"/>
                        </a:lnTo>
                        <a:lnTo>
                          <a:pt x="228" y="126"/>
                        </a:lnTo>
                        <a:lnTo>
                          <a:pt x="228" y="123"/>
                        </a:lnTo>
                        <a:lnTo>
                          <a:pt x="228" y="120"/>
                        </a:lnTo>
                        <a:lnTo>
                          <a:pt x="230" y="120"/>
                        </a:lnTo>
                        <a:lnTo>
                          <a:pt x="231" y="118"/>
                        </a:lnTo>
                        <a:lnTo>
                          <a:pt x="235" y="118"/>
                        </a:lnTo>
                        <a:lnTo>
                          <a:pt x="236" y="117"/>
                        </a:lnTo>
                        <a:lnTo>
                          <a:pt x="238" y="115"/>
                        </a:lnTo>
                        <a:lnTo>
                          <a:pt x="239" y="114"/>
                        </a:lnTo>
                        <a:lnTo>
                          <a:pt x="239" y="110"/>
                        </a:lnTo>
                        <a:lnTo>
                          <a:pt x="239" y="109"/>
                        </a:lnTo>
                        <a:lnTo>
                          <a:pt x="239" y="106"/>
                        </a:lnTo>
                        <a:lnTo>
                          <a:pt x="239" y="103"/>
                        </a:lnTo>
                        <a:lnTo>
                          <a:pt x="239" y="98"/>
                        </a:lnTo>
                        <a:lnTo>
                          <a:pt x="239" y="95"/>
                        </a:lnTo>
                        <a:lnTo>
                          <a:pt x="238" y="95"/>
                        </a:lnTo>
                        <a:lnTo>
                          <a:pt x="236" y="95"/>
                        </a:lnTo>
                        <a:lnTo>
                          <a:pt x="236" y="93"/>
                        </a:lnTo>
                        <a:lnTo>
                          <a:pt x="235" y="93"/>
                        </a:lnTo>
                        <a:lnTo>
                          <a:pt x="233" y="95"/>
                        </a:lnTo>
                        <a:lnTo>
                          <a:pt x="231" y="95"/>
                        </a:lnTo>
                        <a:lnTo>
                          <a:pt x="230" y="95"/>
                        </a:lnTo>
                        <a:lnTo>
                          <a:pt x="228" y="95"/>
                        </a:lnTo>
                        <a:lnTo>
                          <a:pt x="227" y="95"/>
                        </a:lnTo>
                        <a:lnTo>
                          <a:pt x="225" y="95"/>
                        </a:lnTo>
                        <a:lnTo>
                          <a:pt x="224" y="95"/>
                        </a:lnTo>
                        <a:lnTo>
                          <a:pt x="222" y="95"/>
                        </a:lnTo>
                        <a:lnTo>
                          <a:pt x="219" y="95"/>
                        </a:lnTo>
                        <a:lnTo>
                          <a:pt x="217" y="91"/>
                        </a:lnTo>
                        <a:lnTo>
                          <a:pt x="217" y="90"/>
                        </a:lnTo>
                        <a:lnTo>
                          <a:pt x="219" y="87"/>
                        </a:lnTo>
                        <a:lnTo>
                          <a:pt x="219" y="84"/>
                        </a:lnTo>
                        <a:lnTo>
                          <a:pt x="217" y="82"/>
                        </a:lnTo>
                        <a:lnTo>
                          <a:pt x="217" y="80"/>
                        </a:lnTo>
                        <a:lnTo>
                          <a:pt x="217" y="77"/>
                        </a:lnTo>
                        <a:lnTo>
                          <a:pt x="219" y="76"/>
                        </a:lnTo>
                        <a:lnTo>
                          <a:pt x="219" y="71"/>
                        </a:lnTo>
                        <a:lnTo>
                          <a:pt x="217" y="69"/>
                        </a:lnTo>
                        <a:lnTo>
                          <a:pt x="217" y="66"/>
                        </a:lnTo>
                        <a:lnTo>
                          <a:pt x="217" y="64"/>
                        </a:lnTo>
                        <a:lnTo>
                          <a:pt x="217" y="63"/>
                        </a:lnTo>
                        <a:lnTo>
                          <a:pt x="217" y="60"/>
                        </a:lnTo>
                        <a:lnTo>
                          <a:pt x="217" y="58"/>
                        </a:lnTo>
                        <a:lnTo>
                          <a:pt x="216" y="57"/>
                        </a:lnTo>
                        <a:lnTo>
                          <a:pt x="212" y="55"/>
                        </a:lnTo>
                        <a:lnTo>
                          <a:pt x="209" y="55"/>
                        </a:lnTo>
                        <a:lnTo>
                          <a:pt x="208" y="53"/>
                        </a:lnTo>
                        <a:lnTo>
                          <a:pt x="205" y="53"/>
                        </a:lnTo>
                        <a:lnTo>
                          <a:pt x="203" y="55"/>
                        </a:lnTo>
                        <a:lnTo>
                          <a:pt x="201" y="55"/>
                        </a:lnTo>
                        <a:lnTo>
                          <a:pt x="198" y="55"/>
                        </a:lnTo>
                        <a:lnTo>
                          <a:pt x="195" y="55"/>
                        </a:lnTo>
                        <a:lnTo>
                          <a:pt x="192" y="55"/>
                        </a:lnTo>
                        <a:lnTo>
                          <a:pt x="189" y="57"/>
                        </a:lnTo>
                        <a:lnTo>
                          <a:pt x="187" y="57"/>
                        </a:lnTo>
                        <a:lnTo>
                          <a:pt x="185" y="57"/>
                        </a:lnTo>
                        <a:lnTo>
                          <a:pt x="182" y="57"/>
                        </a:lnTo>
                        <a:lnTo>
                          <a:pt x="178" y="57"/>
                        </a:lnTo>
                        <a:lnTo>
                          <a:pt x="176" y="55"/>
                        </a:lnTo>
                        <a:lnTo>
                          <a:pt x="174" y="53"/>
                        </a:lnTo>
                        <a:lnTo>
                          <a:pt x="171" y="50"/>
                        </a:lnTo>
                        <a:lnTo>
                          <a:pt x="170" y="49"/>
                        </a:lnTo>
                        <a:lnTo>
                          <a:pt x="168" y="47"/>
                        </a:lnTo>
                        <a:lnTo>
                          <a:pt x="168" y="45"/>
                        </a:lnTo>
                        <a:lnTo>
                          <a:pt x="166" y="44"/>
                        </a:lnTo>
                        <a:lnTo>
                          <a:pt x="166" y="41"/>
                        </a:lnTo>
                        <a:lnTo>
                          <a:pt x="166" y="39"/>
                        </a:lnTo>
                        <a:lnTo>
                          <a:pt x="166" y="36"/>
                        </a:lnTo>
                        <a:lnTo>
                          <a:pt x="166" y="33"/>
                        </a:lnTo>
                        <a:lnTo>
                          <a:pt x="166" y="31"/>
                        </a:lnTo>
                        <a:lnTo>
                          <a:pt x="166" y="28"/>
                        </a:lnTo>
                        <a:lnTo>
                          <a:pt x="166" y="26"/>
                        </a:lnTo>
                        <a:lnTo>
                          <a:pt x="166" y="23"/>
                        </a:lnTo>
                        <a:lnTo>
                          <a:pt x="166" y="22"/>
                        </a:lnTo>
                        <a:lnTo>
                          <a:pt x="168" y="20"/>
                        </a:lnTo>
                        <a:lnTo>
                          <a:pt x="168" y="19"/>
                        </a:lnTo>
                        <a:lnTo>
                          <a:pt x="168" y="17"/>
                        </a:lnTo>
                        <a:lnTo>
                          <a:pt x="168" y="14"/>
                        </a:lnTo>
                        <a:lnTo>
                          <a:pt x="168" y="12"/>
                        </a:lnTo>
                        <a:lnTo>
                          <a:pt x="170" y="12"/>
                        </a:lnTo>
                        <a:lnTo>
                          <a:pt x="171" y="12"/>
                        </a:lnTo>
                        <a:lnTo>
                          <a:pt x="173" y="14"/>
                        </a:lnTo>
                        <a:lnTo>
                          <a:pt x="174" y="15"/>
                        </a:lnTo>
                        <a:lnTo>
                          <a:pt x="176" y="15"/>
                        </a:lnTo>
                        <a:lnTo>
                          <a:pt x="178" y="15"/>
                        </a:lnTo>
                        <a:lnTo>
                          <a:pt x="179" y="15"/>
                        </a:lnTo>
                        <a:lnTo>
                          <a:pt x="181" y="15"/>
                        </a:lnTo>
                        <a:lnTo>
                          <a:pt x="181" y="14"/>
                        </a:lnTo>
                        <a:lnTo>
                          <a:pt x="182" y="14"/>
                        </a:lnTo>
                        <a:lnTo>
                          <a:pt x="182" y="15"/>
                        </a:lnTo>
                        <a:lnTo>
                          <a:pt x="184" y="15"/>
                        </a:lnTo>
                        <a:lnTo>
                          <a:pt x="184" y="17"/>
                        </a:lnTo>
                        <a:lnTo>
                          <a:pt x="185" y="17"/>
                        </a:lnTo>
                        <a:lnTo>
                          <a:pt x="187" y="15"/>
                        </a:lnTo>
                        <a:lnTo>
                          <a:pt x="189" y="17"/>
                        </a:lnTo>
                        <a:lnTo>
                          <a:pt x="190" y="17"/>
                        </a:lnTo>
                        <a:lnTo>
                          <a:pt x="190" y="19"/>
                        </a:lnTo>
                        <a:lnTo>
                          <a:pt x="192" y="20"/>
                        </a:lnTo>
                        <a:lnTo>
                          <a:pt x="193" y="19"/>
                        </a:lnTo>
                        <a:lnTo>
                          <a:pt x="195" y="20"/>
                        </a:lnTo>
                        <a:lnTo>
                          <a:pt x="197" y="20"/>
                        </a:lnTo>
                        <a:lnTo>
                          <a:pt x="198" y="22"/>
                        </a:lnTo>
                        <a:lnTo>
                          <a:pt x="200" y="22"/>
                        </a:lnTo>
                        <a:lnTo>
                          <a:pt x="201" y="23"/>
                        </a:lnTo>
                        <a:lnTo>
                          <a:pt x="203" y="23"/>
                        </a:lnTo>
                        <a:lnTo>
                          <a:pt x="203" y="25"/>
                        </a:lnTo>
                        <a:lnTo>
                          <a:pt x="206" y="26"/>
                        </a:lnTo>
                        <a:lnTo>
                          <a:pt x="206" y="25"/>
                        </a:lnTo>
                        <a:lnTo>
                          <a:pt x="208" y="25"/>
                        </a:lnTo>
                        <a:lnTo>
                          <a:pt x="209" y="25"/>
                        </a:lnTo>
                        <a:lnTo>
                          <a:pt x="211" y="25"/>
                        </a:lnTo>
                        <a:lnTo>
                          <a:pt x="211" y="26"/>
                        </a:lnTo>
                        <a:lnTo>
                          <a:pt x="212" y="26"/>
                        </a:lnTo>
                        <a:lnTo>
                          <a:pt x="214" y="26"/>
                        </a:lnTo>
                        <a:lnTo>
                          <a:pt x="216" y="28"/>
                        </a:lnTo>
                        <a:lnTo>
                          <a:pt x="217" y="28"/>
                        </a:lnTo>
                        <a:lnTo>
                          <a:pt x="220" y="28"/>
                        </a:lnTo>
                        <a:lnTo>
                          <a:pt x="220" y="30"/>
                        </a:lnTo>
                        <a:lnTo>
                          <a:pt x="220" y="31"/>
                        </a:lnTo>
                        <a:lnTo>
                          <a:pt x="222" y="31"/>
                        </a:lnTo>
                        <a:lnTo>
                          <a:pt x="224" y="31"/>
                        </a:lnTo>
                        <a:lnTo>
                          <a:pt x="224" y="30"/>
                        </a:lnTo>
                        <a:lnTo>
                          <a:pt x="225" y="28"/>
                        </a:lnTo>
                        <a:lnTo>
                          <a:pt x="227" y="28"/>
                        </a:lnTo>
                        <a:lnTo>
                          <a:pt x="228" y="28"/>
                        </a:lnTo>
                        <a:lnTo>
                          <a:pt x="228" y="30"/>
                        </a:lnTo>
                        <a:lnTo>
                          <a:pt x="228" y="31"/>
                        </a:lnTo>
                        <a:lnTo>
                          <a:pt x="231" y="31"/>
                        </a:lnTo>
                        <a:lnTo>
                          <a:pt x="233" y="33"/>
                        </a:lnTo>
                        <a:lnTo>
                          <a:pt x="235" y="33"/>
                        </a:lnTo>
                        <a:lnTo>
                          <a:pt x="236" y="33"/>
                        </a:lnTo>
                        <a:lnTo>
                          <a:pt x="238" y="33"/>
                        </a:lnTo>
                        <a:lnTo>
                          <a:pt x="239" y="33"/>
                        </a:lnTo>
                        <a:lnTo>
                          <a:pt x="241" y="31"/>
                        </a:lnTo>
                        <a:lnTo>
                          <a:pt x="241" y="33"/>
                        </a:lnTo>
                        <a:lnTo>
                          <a:pt x="243" y="34"/>
                        </a:lnTo>
                        <a:lnTo>
                          <a:pt x="244" y="36"/>
                        </a:lnTo>
                        <a:lnTo>
                          <a:pt x="246" y="36"/>
                        </a:lnTo>
                        <a:lnTo>
                          <a:pt x="247" y="38"/>
                        </a:lnTo>
                        <a:lnTo>
                          <a:pt x="249" y="39"/>
                        </a:lnTo>
                        <a:lnTo>
                          <a:pt x="250" y="39"/>
                        </a:lnTo>
                        <a:lnTo>
                          <a:pt x="252" y="39"/>
                        </a:lnTo>
                        <a:lnTo>
                          <a:pt x="254" y="39"/>
                        </a:lnTo>
                        <a:lnTo>
                          <a:pt x="254" y="38"/>
                        </a:lnTo>
                        <a:lnTo>
                          <a:pt x="255" y="38"/>
                        </a:lnTo>
                        <a:lnTo>
                          <a:pt x="257" y="38"/>
                        </a:lnTo>
                        <a:lnTo>
                          <a:pt x="258" y="38"/>
                        </a:lnTo>
                        <a:lnTo>
                          <a:pt x="258" y="39"/>
                        </a:lnTo>
                        <a:lnTo>
                          <a:pt x="260" y="39"/>
                        </a:lnTo>
                        <a:lnTo>
                          <a:pt x="262" y="41"/>
                        </a:lnTo>
                        <a:lnTo>
                          <a:pt x="262" y="42"/>
                        </a:lnTo>
                        <a:lnTo>
                          <a:pt x="263" y="42"/>
                        </a:lnTo>
                        <a:lnTo>
                          <a:pt x="265" y="41"/>
                        </a:lnTo>
                        <a:lnTo>
                          <a:pt x="266" y="41"/>
                        </a:lnTo>
                        <a:lnTo>
                          <a:pt x="266" y="42"/>
                        </a:lnTo>
                        <a:lnTo>
                          <a:pt x="268" y="44"/>
                        </a:lnTo>
                        <a:lnTo>
                          <a:pt x="269" y="44"/>
                        </a:lnTo>
                        <a:lnTo>
                          <a:pt x="271" y="44"/>
                        </a:lnTo>
                        <a:lnTo>
                          <a:pt x="273" y="44"/>
                        </a:lnTo>
                        <a:lnTo>
                          <a:pt x="274" y="44"/>
                        </a:lnTo>
                        <a:lnTo>
                          <a:pt x="276" y="44"/>
                        </a:lnTo>
                        <a:lnTo>
                          <a:pt x="277" y="44"/>
                        </a:lnTo>
                        <a:lnTo>
                          <a:pt x="279" y="44"/>
                        </a:lnTo>
                        <a:lnTo>
                          <a:pt x="281" y="45"/>
                        </a:lnTo>
                        <a:lnTo>
                          <a:pt x="282" y="47"/>
                        </a:lnTo>
                        <a:lnTo>
                          <a:pt x="284" y="49"/>
                        </a:lnTo>
                        <a:lnTo>
                          <a:pt x="285" y="49"/>
                        </a:lnTo>
                        <a:lnTo>
                          <a:pt x="287" y="47"/>
                        </a:lnTo>
                        <a:lnTo>
                          <a:pt x="288" y="49"/>
                        </a:lnTo>
                        <a:lnTo>
                          <a:pt x="290" y="47"/>
                        </a:lnTo>
                        <a:lnTo>
                          <a:pt x="290" y="49"/>
                        </a:lnTo>
                        <a:lnTo>
                          <a:pt x="292" y="50"/>
                        </a:lnTo>
                        <a:lnTo>
                          <a:pt x="293" y="50"/>
                        </a:lnTo>
                        <a:lnTo>
                          <a:pt x="295" y="50"/>
                        </a:lnTo>
                        <a:lnTo>
                          <a:pt x="295" y="49"/>
                        </a:lnTo>
                        <a:lnTo>
                          <a:pt x="295" y="47"/>
                        </a:lnTo>
                        <a:lnTo>
                          <a:pt x="293" y="45"/>
                        </a:lnTo>
                        <a:lnTo>
                          <a:pt x="295" y="45"/>
                        </a:lnTo>
                        <a:lnTo>
                          <a:pt x="296" y="45"/>
                        </a:lnTo>
                        <a:lnTo>
                          <a:pt x="298" y="45"/>
                        </a:lnTo>
                        <a:lnTo>
                          <a:pt x="298" y="44"/>
                        </a:lnTo>
                        <a:lnTo>
                          <a:pt x="300" y="44"/>
                        </a:lnTo>
                        <a:lnTo>
                          <a:pt x="301" y="44"/>
                        </a:lnTo>
                        <a:lnTo>
                          <a:pt x="301" y="45"/>
                        </a:lnTo>
                        <a:lnTo>
                          <a:pt x="303" y="45"/>
                        </a:lnTo>
                        <a:lnTo>
                          <a:pt x="304" y="44"/>
                        </a:lnTo>
                        <a:lnTo>
                          <a:pt x="306" y="44"/>
                        </a:lnTo>
                        <a:lnTo>
                          <a:pt x="306" y="42"/>
                        </a:lnTo>
                        <a:lnTo>
                          <a:pt x="306" y="41"/>
                        </a:lnTo>
                        <a:lnTo>
                          <a:pt x="306" y="39"/>
                        </a:lnTo>
                        <a:lnTo>
                          <a:pt x="307" y="38"/>
                        </a:lnTo>
                        <a:lnTo>
                          <a:pt x="309" y="36"/>
                        </a:lnTo>
                        <a:lnTo>
                          <a:pt x="309" y="34"/>
                        </a:lnTo>
                        <a:lnTo>
                          <a:pt x="309" y="33"/>
                        </a:lnTo>
                        <a:lnTo>
                          <a:pt x="309" y="31"/>
                        </a:lnTo>
                        <a:lnTo>
                          <a:pt x="311" y="31"/>
                        </a:lnTo>
                        <a:lnTo>
                          <a:pt x="312" y="30"/>
                        </a:lnTo>
                        <a:lnTo>
                          <a:pt x="314" y="28"/>
                        </a:lnTo>
                        <a:lnTo>
                          <a:pt x="315" y="28"/>
                        </a:lnTo>
                        <a:lnTo>
                          <a:pt x="317" y="28"/>
                        </a:lnTo>
                        <a:lnTo>
                          <a:pt x="319" y="26"/>
                        </a:lnTo>
                        <a:lnTo>
                          <a:pt x="320" y="26"/>
                        </a:lnTo>
                        <a:lnTo>
                          <a:pt x="322" y="26"/>
                        </a:lnTo>
                        <a:lnTo>
                          <a:pt x="322" y="23"/>
                        </a:lnTo>
                        <a:lnTo>
                          <a:pt x="323" y="23"/>
                        </a:lnTo>
                        <a:lnTo>
                          <a:pt x="325" y="23"/>
                        </a:lnTo>
                        <a:lnTo>
                          <a:pt x="326" y="23"/>
                        </a:lnTo>
                        <a:lnTo>
                          <a:pt x="328" y="23"/>
                        </a:lnTo>
                        <a:lnTo>
                          <a:pt x="330" y="23"/>
                        </a:lnTo>
                        <a:lnTo>
                          <a:pt x="331" y="23"/>
                        </a:lnTo>
                        <a:lnTo>
                          <a:pt x="331" y="22"/>
                        </a:lnTo>
                        <a:lnTo>
                          <a:pt x="331" y="20"/>
                        </a:lnTo>
                        <a:lnTo>
                          <a:pt x="333" y="20"/>
                        </a:lnTo>
                        <a:lnTo>
                          <a:pt x="334" y="20"/>
                        </a:lnTo>
                        <a:lnTo>
                          <a:pt x="336" y="20"/>
                        </a:lnTo>
                        <a:lnTo>
                          <a:pt x="336" y="22"/>
                        </a:lnTo>
                        <a:lnTo>
                          <a:pt x="338" y="20"/>
                        </a:lnTo>
                        <a:lnTo>
                          <a:pt x="339" y="20"/>
                        </a:lnTo>
                        <a:lnTo>
                          <a:pt x="339" y="19"/>
                        </a:lnTo>
                        <a:lnTo>
                          <a:pt x="342" y="19"/>
                        </a:lnTo>
                        <a:lnTo>
                          <a:pt x="344" y="17"/>
                        </a:lnTo>
                        <a:lnTo>
                          <a:pt x="345" y="17"/>
                        </a:lnTo>
                        <a:lnTo>
                          <a:pt x="347" y="15"/>
                        </a:lnTo>
                        <a:lnTo>
                          <a:pt x="349" y="15"/>
                        </a:lnTo>
                        <a:lnTo>
                          <a:pt x="350" y="15"/>
                        </a:lnTo>
                        <a:lnTo>
                          <a:pt x="350" y="14"/>
                        </a:lnTo>
                        <a:lnTo>
                          <a:pt x="352" y="12"/>
                        </a:lnTo>
                        <a:lnTo>
                          <a:pt x="352" y="11"/>
                        </a:lnTo>
                        <a:lnTo>
                          <a:pt x="355" y="11"/>
                        </a:lnTo>
                        <a:lnTo>
                          <a:pt x="353" y="11"/>
                        </a:lnTo>
                        <a:lnTo>
                          <a:pt x="355" y="12"/>
                        </a:lnTo>
                        <a:lnTo>
                          <a:pt x="357" y="12"/>
                        </a:lnTo>
                        <a:lnTo>
                          <a:pt x="358" y="11"/>
                        </a:lnTo>
                        <a:lnTo>
                          <a:pt x="360" y="11"/>
                        </a:lnTo>
                        <a:lnTo>
                          <a:pt x="361" y="11"/>
                        </a:lnTo>
                        <a:lnTo>
                          <a:pt x="363" y="9"/>
                        </a:lnTo>
                        <a:lnTo>
                          <a:pt x="363" y="11"/>
                        </a:lnTo>
                        <a:lnTo>
                          <a:pt x="364" y="9"/>
                        </a:lnTo>
                        <a:lnTo>
                          <a:pt x="364" y="7"/>
                        </a:lnTo>
                        <a:lnTo>
                          <a:pt x="364" y="6"/>
                        </a:lnTo>
                        <a:lnTo>
                          <a:pt x="366" y="9"/>
                        </a:lnTo>
                        <a:lnTo>
                          <a:pt x="369" y="9"/>
                        </a:lnTo>
                        <a:lnTo>
                          <a:pt x="369" y="7"/>
                        </a:lnTo>
                        <a:lnTo>
                          <a:pt x="368" y="7"/>
                        </a:lnTo>
                        <a:lnTo>
                          <a:pt x="368" y="6"/>
                        </a:lnTo>
                        <a:lnTo>
                          <a:pt x="369" y="4"/>
                        </a:lnTo>
                        <a:lnTo>
                          <a:pt x="371" y="3"/>
                        </a:lnTo>
                        <a:lnTo>
                          <a:pt x="372" y="3"/>
                        </a:lnTo>
                        <a:lnTo>
                          <a:pt x="374" y="3"/>
                        </a:lnTo>
                        <a:lnTo>
                          <a:pt x="374" y="4"/>
                        </a:lnTo>
                        <a:lnTo>
                          <a:pt x="376" y="4"/>
                        </a:lnTo>
                        <a:lnTo>
                          <a:pt x="376" y="6"/>
                        </a:lnTo>
                        <a:lnTo>
                          <a:pt x="377" y="6"/>
                        </a:lnTo>
                        <a:lnTo>
                          <a:pt x="377" y="7"/>
                        </a:lnTo>
                        <a:lnTo>
                          <a:pt x="377" y="9"/>
                        </a:lnTo>
                        <a:lnTo>
                          <a:pt x="379" y="9"/>
                        </a:lnTo>
                        <a:lnTo>
                          <a:pt x="379" y="7"/>
                        </a:lnTo>
                        <a:lnTo>
                          <a:pt x="380" y="7"/>
                        </a:lnTo>
                        <a:lnTo>
                          <a:pt x="382" y="7"/>
                        </a:lnTo>
                        <a:lnTo>
                          <a:pt x="384" y="7"/>
                        </a:lnTo>
                        <a:lnTo>
                          <a:pt x="384" y="9"/>
                        </a:lnTo>
                        <a:lnTo>
                          <a:pt x="385" y="9"/>
                        </a:lnTo>
                        <a:lnTo>
                          <a:pt x="387" y="9"/>
                        </a:lnTo>
                        <a:lnTo>
                          <a:pt x="387" y="11"/>
                        </a:lnTo>
                        <a:lnTo>
                          <a:pt x="388" y="11"/>
                        </a:lnTo>
                        <a:lnTo>
                          <a:pt x="388" y="9"/>
                        </a:lnTo>
                        <a:lnTo>
                          <a:pt x="388" y="7"/>
                        </a:lnTo>
                        <a:lnTo>
                          <a:pt x="388" y="6"/>
                        </a:lnTo>
                        <a:lnTo>
                          <a:pt x="390" y="6"/>
                        </a:lnTo>
                        <a:lnTo>
                          <a:pt x="391" y="6"/>
                        </a:lnTo>
                        <a:lnTo>
                          <a:pt x="393" y="6"/>
                        </a:lnTo>
                        <a:lnTo>
                          <a:pt x="393" y="4"/>
                        </a:lnTo>
                        <a:lnTo>
                          <a:pt x="395" y="4"/>
                        </a:lnTo>
                        <a:lnTo>
                          <a:pt x="395" y="6"/>
                        </a:lnTo>
                        <a:lnTo>
                          <a:pt x="396" y="6"/>
                        </a:lnTo>
                        <a:lnTo>
                          <a:pt x="396" y="4"/>
                        </a:lnTo>
                        <a:lnTo>
                          <a:pt x="396" y="3"/>
                        </a:lnTo>
                        <a:lnTo>
                          <a:pt x="398" y="1"/>
                        </a:lnTo>
                        <a:lnTo>
                          <a:pt x="399" y="0"/>
                        </a:lnTo>
                        <a:lnTo>
                          <a:pt x="401" y="1"/>
                        </a:lnTo>
                        <a:lnTo>
                          <a:pt x="401" y="3"/>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47" name="Freeform 46"/>
                  <p:cNvSpPr>
                    <a:spLocks/>
                  </p:cNvSpPr>
                  <p:nvPr/>
                </p:nvSpPr>
                <p:spPr bwMode="auto">
                  <a:xfrm>
                    <a:off x="3862" y="1303"/>
                    <a:ext cx="1043" cy="936"/>
                  </a:xfrm>
                  <a:custGeom>
                    <a:avLst/>
                    <a:gdLst>
                      <a:gd name="T0" fmla="*/ 796 w 1043"/>
                      <a:gd name="T1" fmla="*/ 40 h 936"/>
                      <a:gd name="T2" fmla="*/ 856 w 1043"/>
                      <a:gd name="T3" fmla="*/ 73 h 936"/>
                      <a:gd name="T4" fmla="*/ 886 w 1043"/>
                      <a:gd name="T5" fmla="*/ 147 h 936"/>
                      <a:gd name="T6" fmla="*/ 949 w 1043"/>
                      <a:gd name="T7" fmla="*/ 222 h 936"/>
                      <a:gd name="T8" fmla="*/ 1002 w 1043"/>
                      <a:gd name="T9" fmla="*/ 231 h 936"/>
                      <a:gd name="T10" fmla="*/ 1033 w 1043"/>
                      <a:gd name="T11" fmla="*/ 235 h 936"/>
                      <a:gd name="T12" fmla="*/ 1021 w 1043"/>
                      <a:gd name="T13" fmla="*/ 290 h 936"/>
                      <a:gd name="T14" fmla="*/ 1013 w 1043"/>
                      <a:gd name="T15" fmla="*/ 326 h 936"/>
                      <a:gd name="T16" fmla="*/ 1003 w 1043"/>
                      <a:gd name="T17" fmla="*/ 379 h 936"/>
                      <a:gd name="T18" fmla="*/ 987 w 1043"/>
                      <a:gd name="T19" fmla="*/ 426 h 936"/>
                      <a:gd name="T20" fmla="*/ 981 w 1043"/>
                      <a:gd name="T21" fmla="*/ 491 h 936"/>
                      <a:gd name="T22" fmla="*/ 933 w 1043"/>
                      <a:gd name="T23" fmla="*/ 602 h 936"/>
                      <a:gd name="T24" fmla="*/ 954 w 1043"/>
                      <a:gd name="T25" fmla="*/ 657 h 936"/>
                      <a:gd name="T26" fmla="*/ 987 w 1043"/>
                      <a:gd name="T27" fmla="*/ 702 h 936"/>
                      <a:gd name="T28" fmla="*/ 1033 w 1043"/>
                      <a:gd name="T29" fmla="*/ 724 h 936"/>
                      <a:gd name="T30" fmla="*/ 1025 w 1043"/>
                      <a:gd name="T31" fmla="*/ 762 h 936"/>
                      <a:gd name="T32" fmla="*/ 1040 w 1043"/>
                      <a:gd name="T33" fmla="*/ 813 h 936"/>
                      <a:gd name="T34" fmla="*/ 1028 w 1043"/>
                      <a:gd name="T35" fmla="*/ 878 h 936"/>
                      <a:gd name="T36" fmla="*/ 1005 w 1043"/>
                      <a:gd name="T37" fmla="*/ 897 h 936"/>
                      <a:gd name="T38" fmla="*/ 979 w 1043"/>
                      <a:gd name="T39" fmla="*/ 897 h 936"/>
                      <a:gd name="T40" fmla="*/ 943 w 1043"/>
                      <a:gd name="T41" fmla="*/ 909 h 936"/>
                      <a:gd name="T42" fmla="*/ 911 w 1043"/>
                      <a:gd name="T43" fmla="*/ 931 h 936"/>
                      <a:gd name="T44" fmla="*/ 876 w 1043"/>
                      <a:gd name="T45" fmla="*/ 925 h 936"/>
                      <a:gd name="T46" fmla="*/ 838 w 1043"/>
                      <a:gd name="T47" fmla="*/ 917 h 936"/>
                      <a:gd name="T48" fmla="*/ 800 w 1043"/>
                      <a:gd name="T49" fmla="*/ 901 h 936"/>
                      <a:gd name="T50" fmla="*/ 772 w 1043"/>
                      <a:gd name="T51" fmla="*/ 879 h 936"/>
                      <a:gd name="T52" fmla="*/ 777 w 1043"/>
                      <a:gd name="T53" fmla="*/ 841 h 936"/>
                      <a:gd name="T54" fmla="*/ 758 w 1043"/>
                      <a:gd name="T55" fmla="*/ 802 h 936"/>
                      <a:gd name="T56" fmla="*/ 704 w 1043"/>
                      <a:gd name="T57" fmla="*/ 806 h 936"/>
                      <a:gd name="T58" fmla="*/ 710 w 1043"/>
                      <a:gd name="T59" fmla="*/ 855 h 936"/>
                      <a:gd name="T60" fmla="*/ 658 w 1043"/>
                      <a:gd name="T61" fmla="*/ 882 h 936"/>
                      <a:gd name="T62" fmla="*/ 612 w 1043"/>
                      <a:gd name="T63" fmla="*/ 884 h 936"/>
                      <a:gd name="T64" fmla="*/ 588 w 1043"/>
                      <a:gd name="T65" fmla="*/ 844 h 936"/>
                      <a:gd name="T66" fmla="*/ 567 w 1043"/>
                      <a:gd name="T67" fmla="*/ 824 h 936"/>
                      <a:gd name="T68" fmla="*/ 491 w 1043"/>
                      <a:gd name="T69" fmla="*/ 806 h 936"/>
                      <a:gd name="T70" fmla="*/ 469 w 1043"/>
                      <a:gd name="T71" fmla="*/ 835 h 936"/>
                      <a:gd name="T72" fmla="*/ 465 w 1043"/>
                      <a:gd name="T73" fmla="*/ 803 h 936"/>
                      <a:gd name="T74" fmla="*/ 458 w 1043"/>
                      <a:gd name="T75" fmla="*/ 746 h 936"/>
                      <a:gd name="T76" fmla="*/ 341 w 1043"/>
                      <a:gd name="T77" fmla="*/ 718 h 936"/>
                      <a:gd name="T78" fmla="*/ 317 w 1043"/>
                      <a:gd name="T79" fmla="*/ 684 h 936"/>
                      <a:gd name="T80" fmla="*/ 262 w 1043"/>
                      <a:gd name="T81" fmla="*/ 686 h 936"/>
                      <a:gd name="T82" fmla="*/ 213 w 1043"/>
                      <a:gd name="T83" fmla="*/ 615 h 936"/>
                      <a:gd name="T84" fmla="*/ 194 w 1043"/>
                      <a:gd name="T85" fmla="*/ 596 h 936"/>
                      <a:gd name="T86" fmla="*/ 156 w 1043"/>
                      <a:gd name="T87" fmla="*/ 570 h 936"/>
                      <a:gd name="T88" fmla="*/ 107 w 1043"/>
                      <a:gd name="T89" fmla="*/ 537 h 936"/>
                      <a:gd name="T90" fmla="*/ 103 w 1043"/>
                      <a:gd name="T91" fmla="*/ 499 h 936"/>
                      <a:gd name="T92" fmla="*/ 97 w 1043"/>
                      <a:gd name="T93" fmla="*/ 458 h 936"/>
                      <a:gd name="T94" fmla="*/ 70 w 1043"/>
                      <a:gd name="T95" fmla="*/ 434 h 936"/>
                      <a:gd name="T96" fmla="*/ 43 w 1043"/>
                      <a:gd name="T97" fmla="*/ 407 h 936"/>
                      <a:gd name="T98" fmla="*/ 35 w 1043"/>
                      <a:gd name="T99" fmla="*/ 368 h 936"/>
                      <a:gd name="T100" fmla="*/ 19 w 1043"/>
                      <a:gd name="T101" fmla="*/ 299 h 936"/>
                      <a:gd name="T102" fmla="*/ 8 w 1043"/>
                      <a:gd name="T103" fmla="*/ 265 h 936"/>
                      <a:gd name="T104" fmla="*/ 59 w 1043"/>
                      <a:gd name="T105" fmla="*/ 204 h 936"/>
                      <a:gd name="T106" fmla="*/ 105 w 1043"/>
                      <a:gd name="T107" fmla="*/ 158 h 936"/>
                      <a:gd name="T108" fmla="*/ 130 w 1043"/>
                      <a:gd name="T109" fmla="*/ 86 h 936"/>
                      <a:gd name="T110" fmla="*/ 252 w 1043"/>
                      <a:gd name="T111" fmla="*/ 124 h 936"/>
                      <a:gd name="T112" fmla="*/ 419 w 1043"/>
                      <a:gd name="T113" fmla="*/ 146 h 936"/>
                      <a:gd name="T114" fmla="*/ 515 w 1043"/>
                      <a:gd name="T115" fmla="*/ 122 h 936"/>
                      <a:gd name="T116" fmla="*/ 567 w 1043"/>
                      <a:gd name="T117" fmla="*/ 89 h 936"/>
                      <a:gd name="T118" fmla="*/ 637 w 1043"/>
                      <a:gd name="T119" fmla="*/ 79 h 936"/>
                      <a:gd name="T120" fmla="*/ 682 w 1043"/>
                      <a:gd name="T121" fmla="*/ 56 h 936"/>
                      <a:gd name="T122" fmla="*/ 739 w 1043"/>
                      <a:gd name="T123" fmla="*/ 35 h 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43" h="936">
                        <a:moveTo>
                          <a:pt x="761" y="0"/>
                        </a:moveTo>
                        <a:lnTo>
                          <a:pt x="765" y="0"/>
                        </a:lnTo>
                        <a:lnTo>
                          <a:pt x="772" y="0"/>
                        </a:lnTo>
                        <a:lnTo>
                          <a:pt x="780" y="0"/>
                        </a:lnTo>
                        <a:lnTo>
                          <a:pt x="789" y="0"/>
                        </a:lnTo>
                        <a:lnTo>
                          <a:pt x="794" y="0"/>
                        </a:lnTo>
                        <a:lnTo>
                          <a:pt x="792" y="5"/>
                        </a:lnTo>
                        <a:lnTo>
                          <a:pt x="794" y="6"/>
                        </a:lnTo>
                        <a:lnTo>
                          <a:pt x="794" y="8"/>
                        </a:lnTo>
                        <a:lnTo>
                          <a:pt x="794" y="10"/>
                        </a:lnTo>
                        <a:lnTo>
                          <a:pt x="792" y="11"/>
                        </a:lnTo>
                        <a:lnTo>
                          <a:pt x="792" y="13"/>
                        </a:lnTo>
                        <a:lnTo>
                          <a:pt x="789" y="14"/>
                        </a:lnTo>
                        <a:lnTo>
                          <a:pt x="788" y="14"/>
                        </a:lnTo>
                        <a:lnTo>
                          <a:pt x="784" y="16"/>
                        </a:lnTo>
                        <a:lnTo>
                          <a:pt x="783" y="16"/>
                        </a:lnTo>
                        <a:lnTo>
                          <a:pt x="786" y="17"/>
                        </a:lnTo>
                        <a:lnTo>
                          <a:pt x="789" y="19"/>
                        </a:lnTo>
                        <a:lnTo>
                          <a:pt x="791" y="21"/>
                        </a:lnTo>
                        <a:lnTo>
                          <a:pt x="792" y="21"/>
                        </a:lnTo>
                        <a:lnTo>
                          <a:pt x="792" y="25"/>
                        </a:lnTo>
                        <a:lnTo>
                          <a:pt x="792" y="27"/>
                        </a:lnTo>
                        <a:lnTo>
                          <a:pt x="792" y="29"/>
                        </a:lnTo>
                        <a:lnTo>
                          <a:pt x="789" y="30"/>
                        </a:lnTo>
                        <a:lnTo>
                          <a:pt x="789" y="32"/>
                        </a:lnTo>
                        <a:lnTo>
                          <a:pt x="789" y="33"/>
                        </a:lnTo>
                        <a:lnTo>
                          <a:pt x="789" y="37"/>
                        </a:lnTo>
                        <a:lnTo>
                          <a:pt x="794" y="38"/>
                        </a:lnTo>
                        <a:lnTo>
                          <a:pt x="796" y="40"/>
                        </a:lnTo>
                        <a:lnTo>
                          <a:pt x="797" y="40"/>
                        </a:lnTo>
                        <a:lnTo>
                          <a:pt x="797" y="41"/>
                        </a:lnTo>
                        <a:lnTo>
                          <a:pt x="799" y="43"/>
                        </a:lnTo>
                        <a:lnTo>
                          <a:pt x="799" y="44"/>
                        </a:lnTo>
                        <a:lnTo>
                          <a:pt x="800" y="44"/>
                        </a:lnTo>
                        <a:lnTo>
                          <a:pt x="802" y="44"/>
                        </a:lnTo>
                        <a:lnTo>
                          <a:pt x="805" y="46"/>
                        </a:lnTo>
                        <a:lnTo>
                          <a:pt x="807" y="46"/>
                        </a:lnTo>
                        <a:lnTo>
                          <a:pt x="810" y="46"/>
                        </a:lnTo>
                        <a:lnTo>
                          <a:pt x="811" y="46"/>
                        </a:lnTo>
                        <a:lnTo>
                          <a:pt x="813" y="46"/>
                        </a:lnTo>
                        <a:lnTo>
                          <a:pt x="813" y="44"/>
                        </a:lnTo>
                        <a:lnTo>
                          <a:pt x="815" y="44"/>
                        </a:lnTo>
                        <a:lnTo>
                          <a:pt x="818" y="43"/>
                        </a:lnTo>
                        <a:lnTo>
                          <a:pt x="819" y="43"/>
                        </a:lnTo>
                        <a:lnTo>
                          <a:pt x="823" y="44"/>
                        </a:lnTo>
                        <a:lnTo>
                          <a:pt x="826" y="46"/>
                        </a:lnTo>
                        <a:lnTo>
                          <a:pt x="829" y="49"/>
                        </a:lnTo>
                        <a:lnTo>
                          <a:pt x="830" y="51"/>
                        </a:lnTo>
                        <a:lnTo>
                          <a:pt x="832" y="52"/>
                        </a:lnTo>
                        <a:lnTo>
                          <a:pt x="834" y="56"/>
                        </a:lnTo>
                        <a:lnTo>
                          <a:pt x="835" y="57"/>
                        </a:lnTo>
                        <a:lnTo>
                          <a:pt x="835" y="60"/>
                        </a:lnTo>
                        <a:lnTo>
                          <a:pt x="835" y="62"/>
                        </a:lnTo>
                        <a:lnTo>
                          <a:pt x="835" y="63"/>
                        </a:lnTo>
                        <a:lnTo>
                          <a:pt x="837" y="65"/>
                        </a:lnTo>
                        <a:lnTo>
                          <a:pt x="843" y="67"/>
                        </a:lnTo>
                        <a:lnTo>
                          <a:pt x="851" y="70"/>
                        </a:lnTo>
                        <a:lnTo>
                          <a:pt x="856" y="73"/>
                        </a:lnTo>
                        <a:lnTo>
                          <a:pt x="862" y="75"/>
                        </a:lnTo>
                        <a:lnTo>
                          <a:pt x="865" y="76"/>
                        </a:lnTo>
                        <a:lnTo>
                          <a:pt x="868" y="79"/>
                        </a:lnTo>
                        <a:lnTo>
                          <a:pt x="872" y="84"/>
                        </a:lnTo>
                        <a:lnTo>
                          <a:pt x="873" y="87"/>
                        </a:lnTo>
                        <a:lnTo>
                          <a:pt x="875" y="92"/>
                        </a:lnTo>
                        <a:lnTo>
                          <a:pt x="876" y="95"/>
                        </a:lnTo>
                        <a:lnTo>
                          <a:pt x="876" y="101"/>
                        </a:lnTo>
                        <a:lnTo>
                          <a:pt x="876" y="106"/>
                        </a:lnTo>
                        <a:lnTo>
                          <a:pt x="878" y="109"/>
                        </a:lnTo>
                        <a:lnTo>
                          <a:pt x="880" y="113"/>
                        </a:lnTo>
                        <a:lnTo>
                          <a:pt x="881" y="114"/>
                        </a:lnTo>
                        <a:lnTo>
                          <a:pt x="883" y="114"/>
                        </a:lnTo>
                        <a:lnTo>
                          <a:pt x="886" y="114"/>
                        </a:lnTo>
                        <a:lnTo>
                          <a:pt x="889" y="116"/>
                        </a:lnTo>
                        <a:lnTo>
                          <a:pt x="891" y="116"/>
                        </a:lnTo>
                        <a:lnTo>
                          <a:pt x="889" y="117"/>
                        </a:lnTo>
                        <a:lnTo>
                          <a:pt x="887" y="119"/>
                        </a:lnTo>
                        <a:lnTo>
                          <a:pt x="886" y="122"/>
                        </a:lnTo>
                        <a:lnTo>
                          <a:pt x="886" y="124"/>
                        </a:lnTo>
                        <a:lnTo>
                          <a:pt x="883" y="127"/>
                        </a:lnTo>
                        <a:lnTo>
                          <a:pt x="883" y="130"/>
                        </a:lnTo>
                        <a:lnTo>
                          <a:pt x="881" y="130"/>
                        </a:lnTo>
                        <a:lnTo>
                          <a:pt x="881" y="132"/>
                        </a:lnTo>
                        <a:lnTo>
                          <a:pt x="881" y="133"/>
                        </a:lnTo>
                        <a:lnTo>
                          <a:pt x="881" y="138"/>
                        </a:lnTo>
                        <a:lnTo>
                          <a:pt x="883" y="143"/>
                        </a:lnTo>
                        <a:lnTo>
                          <a:pt x="886" y="146"/>
                        </a:lnTo>
                        <a:lnTo>
                          <a:pt x="886" y="147"/>
                        </a:lnTo>
                        <a:lnTo>
                          <a:pt x="886" y="151"/>
                        </a:lnTo>
                        <a:lnTo>
                          <a:pt x="886" y="152"/>
                        </a:lnTo>
                        <a:lnTo>
                          <a:pt x="884" y="154"/>
                        </a:lnTo>
                        <a:lnTo>
                          <a:pt x="886" y="155"/>
                        </a:lnTo>
                        <a:lnTo>
                          <a:pt x="887" y="157"/>
                        </a:lnTo>
                        <a:lnTo>
                          <a:pt x="895" y="162"/>
                        </a:lnTo>
                        <a:lnTo>
                          <a:pt x="900" y="165"/>
                        </a:lnTo>
                        <a:lnTo>
                          <a:pt x="900" y="166"/>
                        </a:lnTo>
                        <a:lnTo>
                          <a:pt x="905" y="170"/>
                        </a:lnTo>
                        <a:lnTo>
                          <a:pt x="908" y="173"/>
                        </a:lnTo>
                        <a:lnTo>
                          <a:pt x="910" y="176"/>
                        </a:lnTo>
                        <a:lnTo>
                          <a:pt x="911" y="177"/>
                        </a:lnTo>
                        <a:lnTo>
                          <a:pt x="914" y="179"/>
                        </a:lnTo>
                        <a:lnTo>
                          <a:pt x="919" y="181"/>
                        </a:lnTo>
                        <a:lnTo>
                          <a:pt x="921" y="185"/>
                        </a:lnTo>
                        <a:lnTo>
                          <a:pt x="925" y="192"/>
                        </a:lnTo>
                        <a:lnTo>
                          <a:pt x="927" y="198"/>
                        </a:lnTo>
                        <a:lnTo>
                          <a:pt x="930" y="208"/>
                        </a:lnTo>
                        <a:lnTo>
                          <a:pt x="932" y="211"/>
                        </a:lnTo>
                        <a:lnTo>
                          <a:pt x="933" y="214"/>
                        </a:lnTo>
                        <a:lnTo>
                          <a:pt x="935" y="214"/>
                        </a:lnTo>
                        <a:lnTo>
                          <a:pt x="937" y="219"/>
                        </a:lnTo>
                        <a:lnTo>
                          <a:pt x="938" y="220"/>
                        </a:lnTo>
                        <a:lnTo>
                          <a:pt x="940" y="222"/>
                        </a:lnTo>
                        <a:lnTo>
                          <a:pt x="941" y="222"/>
                        </a:lnTo>
                        <a:lnTo>
                          <a:pt x="943" y="222"/>
                        </a:lnTo>
                        <a:lnTo>
                          <a:pt x="949" y="225"/>
                        </a:lnTo>
                        <a:lnTo>
                          <a:pt x="949" y="223"/>
                        </a:lnTo>
                        <a:lnTo>
                          <a:pt x="949" y="222"/>
                        </a:lnTo>
                        <a:lnTo>
                          <a:pt x="949" y="220"/>
                        </a:lnTo>
                        <a:lnTo>
                          <a:pt x="951" y="220"/>
                        </a:lnTo>
                        <a:lnTo>
                          <a:pt x="952" y="220"/>
                        </a:lnTo>
                        <a:lnTo>
                          <a:pt x="956" y="222"/>
                        </a:lnTo>
                        <a:lnTo>
                          <a:pt x="957" y="222"/>
                        </a:lnTo>
                        <a:lnTo>
                          <a:pt x="959" y="222"/>
                        </a:lnTo>
                        <a:lnTo>
                          <a:pt x="960" y="222"/>
                        </a:lnTo>
                        <a:lnTo>
                          <a:pt x="962" y="219"/>
                        </a:lnTo>
                        <a:lnTo>
                          <a:pt x="963" y="219"/>
                        </a:lnTo>
                        <a:lnTo>
                          <a:pt x="965" y="217"/>
                        </a:lnTo>
                        <a:lnTo>
                          <a:pt x="967" y="217"/>
                        </a:lnTo>
                        <a:lnTo>
                          <a:pt x="968" y="217"/>
                        </a:lnTo>
                        <a:lnTo>
                          <a:pt x="970" y="216"/>
                        </a:lnTo>
                        <a:lnTo>
                          <a:pt x="973" y="217"/>
                        </a:lnTo>
                        <a:lnTo>
                          <a:pt x="975" y="217"/>
                        </a:lnTo>
                        <a:lnTo>
                          <a:pt x="976" y="219"/>
                        </a:lnTo>
                        <a:lnTo>
                          <a:pt x="976" y="220"/>
                        </a:lnTo>
                        <a:lnTo>
                          <a:pt x="978" y="220"/>
                        </a:lnTo>
                        <a:lnTo>
                          <a:pt x="979" y="222"/>
                        </a:lnTo>
                        <a:lnTo>
                          <a:pt x="987" y="220"/>
                        </a:lnTo>
                        <a:lnTo>
                          <a:pt x="987" y="222"/>
                        </a:lnTo>
                        <a:lnTo>
                          <a:pt x="990" y="223"/>
                        </a:lnTo>
                        <a:lnTo>
                          <a:pt x="992" y="225"/>
                        </a:lnTo>
                        <a:lnTo>
                          <a:pt x="995" y="225"/>
                        </a:lnTo>
                        <a:lnTo>
                          <a:pt x="997" y="225"/>
                        </a:lnTo>
                        <a:lnTo>
                          <a:pt x="997" y="227"/>
                        </a:lnTo>
                        <a:lnTo>
                          <a:pt x="998" y="230"/>
                        </a:lnTo>
                        <a:lnTo>
                          <a:pt x="1000" y="230"/>
                        </a:lnTo>
                        <a:lnTo>
                          <a:pt x="1002" y="231"/>
                        </a:lnTo>
                        <a:lnTo>
                          <a:pt x="1003" y="231"/>
                        </a:lnTo>
                        <a:lnTo>
                          <a:pt x="1005" y="230"/>
                        </a:lnTo>
                        <a:lnTo>
                          <a:pt x="1008" y="227"/>
                        </a:lnTo>
                        <a:lnTo>
                          <a:pt x="1008" y="225"/>
                        </a:lnTo>
                        <a:lnTo>
                          <a:pt x="1009" y="223"/>
                        </a:lnTo>
                        <a:lnTo>
                          <a:pt x="1011" y="222"/>
                        </a:lnTo>
                        <a:lnTo>
                          <a:pt x="1013" y="222"/>
                        </a:lnTo>
                        <a:lnTo>
                          <a:pt x="1017" y="220"/>
                        </a:lnTo>
                        <a:lnTo>
                          <a:pt x="1024" y="219"/>
                        </a:lnTo>
                        <a:lnTo>
                          <a:pt x="1027" y="217"/>
                        </a:lnTo>
                        <a:lnTo>
                          <a:pt x="1032" y="217"/>
                        </a:lnTo>
                        <a:lnTo>
                          <a:pt x="1035" y="216"/>
                        </a:lnTo>
                        <a:lnTo>
                          <a:pt x="1036" y="214"/>
                        </a:lnTo>
                        <a:lnTo>
                          <a:pt x="1038" y="216"/>
                        </a:lnTo>
                        <a:lnTo>
                          <a:pt x="1040" y="217"/>
                        </a:lnTo>
                        <a:lnTo>
                          <a:pt x="1040" y="219"/>
                        </a:lnTo>
                        <a:lnTo>
                          <a:pt x="1040" y="220"/>
                        </a:lnTo>
                        <a:lnTo>
                          <a:pt x="1038" y="220"/>
                        </a:lnTo>
                        <a:lnTo>
                          <a:pt x="1038" y="222"/>
                        </a:lnTo>
                        <a:lnTo>
                          <a:pt x="1036" y="222"/>
                        </a:lnTo>
                        <a:lnTo>
                          <a:pt x="1036" y="223"/>
                        </a:lnTo>
                        <a:lnTo>
                          <a:pt x="1035" y="225"/>
                        </a:lnTo>
                        <a:lnTo>
                          <a:pt x="1035" y="227"/>
                        </a:lnTo>
                        <a:lnTo>
                          <a:pt x="1035" y="228"/>
                        </a:lnTo>
                        <a:lnTo>
                          <a:pt x="1033" y="228"/>
                        </a:lnTo>
                        <a:lnTo>
                          <a:pt x="1033" y="230"/>
                        </a:lnTo>
                        <a:lnTo>
                          <a:pt x="1032" y="231"/>
                        </a:lnTo>
                        <a:lnTo>
                          <a:pt x="1032" y="233"/>
                        </a:lnTo>
                        <a:lnTo>
                          <a:pt x="1033" y="235"/>
                        </a:lnTo>
                        <a:lnTo>
                          <a:pt x="1033" y="236"/>
                        </a:lnTo>
                        <a:lnTo>
                          <a:pt x="1035" y="236"/>
                        </a:lnTo>
                        <a:lnTo>
                          <a:pt x="1035" y="238"/>
                        </a:lnTo>
                        <a:lnTo>
                          <a:pt x="1035" y="239"/>
                        </a:lnTo>
                        <a:lnTo>
                          <a:pt x="1035" y="241"/>
                        </a:lnTo>
                        <a:lnTo>
                          <a:pt x="1035" y="242"/>
                        </a:lnTo>
                        <a:lnTo>
                          <a:pt x="1035" y="244"/>
                        </a:lnTo>
                        <a:lnTo>
                          <a:pt x="1035" y="246"/>
                        </a:lnTo>
                        <a:lnTo>
                          <a:pt x="1033" y="247"/>
                        </a:lnTo>
                        <a:lnTo>
                          <a:pt x="1032" y="249"/>
                        </a:lnTo>
                        <a:lnTo>
                          <a:pt x="1030" y="254"/>
                        </a:lnTo>
                        <a:lnTo>
                          <a:pt x="1028" y="257"/>
                        </a:lnTo>
                        <a:lnTo>
                          <a:pt x="1027" y="260"/>
                        </a:lnTo>
                        <a:lnTo>
                          <a:pt x="1025" y="265"/>
                        </a:lnTo>
                        <a:lnTo>
                          <a:pt x="1022" y="268"/>
                        </a:lnTo>
                        <a:lnTo>
                          <a:pt x="1021" y="269"/>
                        </a:lnTo>
                        <a:lnTo>
                          <a:pt x="1017" y="269"/>
                        </a:lnTo>
                        <a:lnTo>
                          <a:pt x="1016" y="271"/>
                        </a:lnTo>
                        <a:lnTo>
                          <a:pt x="1016" y="273"/>
                        </a:lnTo>
                        <a:lnTo>
                          <a:pt x="1016" y="274"/>
                        </a:lnTo>
                        <a:lnTo>
                          <a:pt x="1016" y="276"/>
                        </a:lnTo>
                        <a:lnTo>
                          <a:pt x="1016" y="277"/>
                        </a:lnTo>
                        <a:lnTo>
                          <a:pt x="1016" y="279"/>
                        </a:lnTo>
                        <a:lnTo>
                          <a:pt x="1016" y="280"/>
                        </a:lnTo>
                        <a:lnTo>
                          <a:pt x="1016" y="282"/>
                        </a:lnTo>
                        <a:lnTo>
                          <a:pt x="1016" y="284"/>
                        </a:lnTo>
                        <a:lnTo>
                          <a:pt x="1019" y="287"/>
                        </a:lnTo>
                        <a:lnTo>
                          <a:pt x="1019" y="288"/>
                        </a:lnTo>
                        <a:lnTo>
                          <a:pt x="1021" y="290"/>
                        </a:lnTo>
                        <a:lnTo>
                          <a:pt x="1021" y="292"/>
                        </a:lnTo>
                        <a:lnTo>
                          <a:pt x="1022" y="292"/>
                        </a:lnTo>
                        <a:lnTo>
                          <a:pt x="1022" y="293"/>
                        </a:lnTo>
                        <a:lnTo>
                          <a:pt x="1022" y="295"/>
                        </a:lnTo>
                        <a:lnTo>
                          <a:pt x="1024" y="296"/>
                        </a:lnTo>
                        <a:lnTo>
                          <a:pt x="1024" y="298"/>
                        </a:lnTo>
                        <a:lnTo>
                          <a:pt x="1025" y="298"/>
                        </a:lnTo>
                        <a:lnTo>
                          <a:pt x="1028" y="301"/>
                        </a:lnTo>
                        <a:lnTo>
                          <a:pt x="1030" y="303"/>
                        </a:lnTo>
                        <a:lnTo>
                          <a:pt x="1032" y="304"/>
                        </a:lnTo>
                        <a:lnTo>
                          <a:pt x="1033" y="306"/>
                        </a:lnTo>
                        <a:lnTo>
                          <a:pt x="1033" y="307"/>
                        </a:lnTo>
                        <a:lnTo>
                          <a:pt x="1035" y="311"/>
                        </a:lnTo>
                        <a:lnTo>
                          <a:pt x="1036" y="311"/>
                        </a:lnTo>
                        <a:lnTo>
                          <a:pt x="1035" y="312"/>
                        </a:lnTo>
                        <a:lnTo>
                          <a:pt x="1035" y="314"/>
                        </a:lnTo>
                        <a:lnTo>
                          <a:pt x="1032" y="315"/>
                        </a:lnTo>
                        <a:lnTo>
                          <a:pt x="1032" y="317"/>
                        </a:lnTo>
                        <a:lnTo>
                          <a:pt x="1032" y="318"/>
                        </a:lnTo>
                        <a:lnTo>
                          <a:pt x="1032" y="320"/>
                        </a:lnTo>
                        <a:lnTo>
                          <a:pt x="1030" y="322"/>
                        </a:lnTo>
                        <a:lnTo>
                          <a:pt x="1030" y="323"/>
                        </a:lnTo>
                        <a:lnTo>
                          <a:pt x="1028" y="325"/>
                        </a:lnTo>
                        <a:lnTo>
                          <a:pt x="1028" y="326"/>
                        </a:lnTo>
                        <a:lnTo>
                          <a:pt x="1027" y="326"/>
                        </a:lnTo>
                        <a:lnTo>
                          <a:pt x="1025" y="328"/>
                        </a:lnTo>
                        <a:lnTo>
                          <a:pt x="1016" y="328"/>
                        </a:lnTo>
                        <a:lnTo>
                          <a:pt x="1014" y="326"/>
                        </a:lnTo>
                        <a:lnTo>
                          <a:pt x="1013" y="326"/>
                        </a:lnTo>
                        <a:lnTo>
                          <a:pt x="1011" y="326"/>
                        </a:lnTo>
                        <a:lnTo>
                          <a:pt x="1009" y="326"/>
                        </a:lnTo>
                        <a:lnTo>
                          <a:pt x="1008" y="326"/>
                        </a:lnTo>
                        <a:lnTo>
                          <a:pt x="1005" y="326"/>
                        </a:lnTo>
                        <a:lnTo>
                          <a:pt x="1003" y="325"/>
                        </a:lnTo>
                        <a:lnTo>
                          <a:pt x="1002" y="326"/>
                        </a:lnTo>
                        <a:lnTo>
                          <a:pt x="998" y="328"/>
                        </a:lnTo>
                        <a:lnTo>
                          <a:pt x="995" y="330"/>
                        </a:lnTo>
                        <a:lnTo>
                          <a:pt x="992" y="333"/>
                        </a:lnTo>
                        <a:lnTo>
                          <a:pt x="990" y="336"/>
                        </a:lnTo>
                        <a:lnTo>
                          <a:pt x="989" y="339"/>
                        </a:lnTo>
                        <a:lnTo>
                          <a:pt x="987" y="344"/>
                        </a:lnTo>
                        <a:lnTo>
                          <a:pt x="987" y="347"/>
                        </a:lnTo>
                        <a:lnTo>
                          <a:pt x="987" y="350"/>
                        </a:lnTo>
                        <a:lnTo>
                          <a:pt x="986" y="352"/>
                        </a:lnTo>
                        <a:lnTo>
                          <a:pt x="984" y="353"/>
                        </a:lnTo>
                        <a:lnTo>
                          <a:pt x="981" y="355"/>
                        </a:lnTo>
                        <a:lnTo>
                          <a:pt x="979" y="356"/>
                        </a:lnTo>
                        <a:lnTo>
                          <a:pt x="978" y="361"/>
                        </a:lnTo>
                        <a:lnTo>
                          <a:pt x="978" y="364"/>
                        </a:lnTo>
                        <a:lnTo>
                          <a:pt x="978" y="368"/>
                        </a:lnTo>
                        <a:lnTo>
                          <a:pt x="979" y="369"/>
                        </a:lnTo>
                        <a:lnTo>
                          <a:pt x="982" y="371"/>
                        </a:lnTo>
                        <a:lnTo>
                          <a:pt x="987" y="372"/>
                        </a:lnTo>
                        <a:lnTo>
                          <a:pt x="994" y="374"/>
                        </a:lnTo>
                        <a:lnTo>
                          <a:pt x="998" y="374"/>
                        </a:lnTo>
                        <a:lnTo>
                          <a:pt x="1002" y="375"/>
                        </a:lnTo>
                        <a:lnTo>
                          <a:pt x="1002" y="377"/>
                        </a:lnTo>
                        <a:lnTo>
                          <a:pt x="1003" y="379"/>
                        </a:lnTo>
                        <a:lnTo>
                          <a:pt x="1003" y="382"/>
                        </a:lnTo>
                        <a:lnTo>
                          <a:pt x="1003" y="383"/>
                        </a:lnTo>
                        <a:lnTo>
                          <a:pt x="1005" y="385"/>
                        </a:lnTo>
                        <a:lnTo>
                          <a:pt x="1006" y="385"/>
                        </a:lnTo>
                        <a:lnTo>
                          <a:pt x="1006" y="387"/>
                        </a:lnTo>
                        <a:lnTo>
                          <a:pt x="1006" y="388"/>
                        </a:lnTo>
                        <a:lnTo>
                          <a:pt x="1006" y="390"/>
                        </a:lnTo>
                        <a:lnTo>
                          <a:pt x="1005" y="391"/>
                        </a:lnTo>
                        <a:lnTo>
                          <a:pt x="1003" y="393"/>
                        </a:lnTo>
                        <a:lnTo>
                          <a:pt x="1002" y="394"/>
                        </a:lnTo>
                        <a:lnTo>
                          <a:pt x="1000" y="394"/>
                        </a:lnTo>
                        <a:lnTo>
                          <a:pt x="1000" y="396"/>
                        </a:lnTo>
                        <a:lnTo>
                          <a:pt x="998" y="396"/>
                        </a:lnTo>
                        <a:lnTo>
                          <a:pt x="998" y="398"/>
                        </a:lnTo>
                        <a:lnTo>
                          <a:pt x="997" y="399"/>
                        </a:lnTo>
                        <a:lnTo>
                          <a:pt x="997" y="401"/>
                        </a:lnTo>
                        <a:lnTo>
                          <a:pt x="995" y="401"/>
                        </a:lnTo>
                        <a:lnTo>
                          <a:pt x="994" y="402"/>
                        </a:lnTo>
                        <a:lnTo>
                          <a:pt x="992" y="404"/>
                        </a:lnTo>
                        <a:lnTo>
                          <a:pt x="992" y="406"/>
                        </a:lnTo>
                        <a:lnTo>
                          <a:pt x="990" y="407"/>
                        </a:lnTo>
                        <a:lnTo>
                          <a:pt x="989" y="409"/>
                        </a:lnTo>
                        <a:lnTo>
                          <a:pt x="989" y="410"/>
                        </a:lnTo>
                        <a:lnTo>
                          <a:pt x="989" y="412"/>
                        </a:lnTo>
                        <a:lnTo>
                          <a:pt x="987" y="414"/>
                        </a:lnTo>
                        <a:lnTo>
                          <a:pt x="987" y="418"/>
                        </a:lnTo>
                        <a:lnTo>
                          <a:pt x="987" y="421"/>
                        </a:lnTo>
                        <a:lnTo>
                          <a:pt x="987" y="425"/>
                        </a:lnTo>
                        <a:lnTo>
                          <a:pt x="987" y="426"/>
                        </a:lnTo>
                        <a:lnTo>
                          <a:pt x="986" y="428"/>
                        </a:lnTo>
                        <a:lnTo>
                          <a:pt x="986" y="429"/>
                        </a:lnTo>
                        <a:lnTo>
                          <a:pt x="984" y="429"/>
                        </a:lnTo>
                        <a:lnTo>
                          <a:pt x="981" y="431"/>
                        </a:lnTo>
                        <a:lnTo>
                          <a:pt x="978" y="434"/>
                        </a:lnTo>
                        <a:lnTo>
                          <a:pt x="976" y="436"/>
                        </a:lnTo>
                        <a:lnTo>
                          <a:pt x="975" y="437"/>
                        </a:lnTo>
                        <a:lnTo>
                          <a:pt x="971" y="439"/>
                        </a:lnTo>
                        <a:lnTo>
                          <a:pt x="968" y="439"/>
                        </a:lnTo>
                        <a:lnTo>
                          <a:pt x="967" y="440"/>
                        </a:lnTo>
                        <a:lnTo>
                          <a:pt x="965" y="444"/>
                        </a:lnTo>
                        <a:lnTo>
                          <a:pt x="963" y="445"/>
                        </a:lnTo>
                        <a:lnTo>
                          <a:pt x="963" y="447"/>
                        </a:lnTo>
                        <a:lnTo>
                          <a:pt x="963" y="448"/>
                        </a:lnTo>
                        <a:lnTo>
                          <a:pt x="967" y="450"/>
                        </a:lnTo>
                        <a:lnTo>
                          <a:pt x="968" y="455"/>
                        </a:lnTo>
                        <a:lnTo>
                          <a:pt x="971" y="459"/>
                        </a:lnTo>
                        <a:lnTo>
                          <a:pt x="973" y="461"/>
                        </a:lnTo>
                        <a:lnTo>
                          <a:pt x="975" y="463"/>
                        </a:lnTo>
                        <a:lnTo>
                          <a:pt x="976" y="464"/>
                        </a:lnTo>
                        <a:lnTo>
                          <a:pt x="978" y="466"/>
                        </a:lnTo>
                        <a:lnTo>
                          <a:pt x="978" y="467"/>
                        </a:lnTo>
                        <a:lnTo>
                          <a:pt x="978" y="472"/>
                        </a:lnTo>
                        <a:lnTo>
                          <a:pt x="978" y="475"/>
                        </a:lnTo>
                        <a:lnTo>
                          <a:pt x="979" y="478"/>
                        </a:lnTo>
                        <a:lnTo>
                          <a:pt x="978" y="482"/>
                        </a:lnTo>
                        <a:lnTo>
                          <a:pt x="978" y="486"/>
                        </a:lnTo>
                        <a:lnTo>
                          <a:pt x="979" y="490"/>
                        </a:lnTo>
                        <a:lnTo>
                          <a:pt x="981" y="491"/>
                        </a:lnTo>
                        <a:lnTo>
                          <a:pt x="982" y="493"/>
                        </a:lnTo>
                        <a:lnTo>
                          <a:pt x="986" y="494"/>
                        </a:lnTo>
                        <a:lnTo>
                          <a:pt x="987" y="494"/>
                        </a:lnTo>
                        <a:lnTo>
                          <a:pt x="987" y="496"/>
                        </a:lnTo>
                        <a:lnTo>
                          <a:pt x="986" y="499"/>
                        </a:lnTo>
                        <a:lnTo>
                          <a:pt x="981" y="502"/>
                        </a:lnTo>
                        <a:lnTo>
                          <a:pt x="975" y="510"/>
                        </a:lnTo>
                        <a:lnTo>
                          <a:pt x="973" y="512"/>
                        </a:lnTo>
                        <a:lnTo>
                          <a:pt x="971" y="515"/>
                        </a:lnTo>
                        <a:lnTo>
                          <a:pt x="971" y="520"/>
                        </a:lnTo>
                        <a:lnTo>
                          <a:pt x="970" y="523"/>
                        </a:lnTo>
                        <a:lnTo>
                          <a:pt x="965" y="526"/>
                        </a:lnTo>
                        <a:lnTo>
                          <a:pt x="962" y="529"/>
                        </a:lnTo>
                        <a:lnTo>
                          <a:pt x="962" y="531"/>
                        </a:lnTo>
                        <a:lnTo>
                          <a:pt x="959" y="531"/>
                        </a:lnTo>
                        <a:lnTo>
                          <a:pt x="956" y="532"/>
                        </a:lnTo>
                        <a:lnTo>
                          <a:pt x="952" y="535"/>
                        </a:lnTo>
                        <a:lnTo>
                          <a:pt x="949" y="540"/>
                        </a:lnTo>
                        <a:lnTo>
                          <a:pt x="948" y="545"/>
                        </a:lnTo>
                        <a:lnTo>
                          <a:pt x="946" y="550"/>
                        </a:lnTo>
                        <a:lnTo>
                          <a:pt x="944" y="558"/>
                        </a:lnTo>
                        <a:lnTo>
                          <a:pt x="944" y="562"/>
                        </a:lnTo>
                        <a:lnTo>
                          <a:pt x="943" y="570"/>
                        </a:lnTo>
                        <a:lnTo>
                          <a:pt x="938" y="581"/>
                        </a:lnTo>
                        <a:lnTo>
                          <a:pt x="937" y="591"/>
                        </a:lnTo>
                        <a:lnTo>
                          <a:pt x="935" y="596"/>
                        </a:lnTo>
                        <a:lnTo>
                          <a:pt x="935" y="597"/>
                        </a:lnTo>
                        <a:lnTo>
                          <a:pt x="933" y="600"/>
                        </a:lnTo>
                        <a:lnTo>
                          <a:pt x="933" y="602"/>
                        </a:lnTo>
                        <a:lnTo>
                          <a:pt x="935" y="607"/>
                        </a:lnTo>
                        <a:lnTo>
                          <a:pt x="935" y="613"/>
                        </a:lnTo>
                        <a:lnTo>
                          <a:pt x="935" y="615"/>
                        </a:lnTo>
                        <a:lnTo>
                          <a:pt x="933" y="615"/>
                        </a:lnTo>
                        <a:lnTo>
                          <a:pt x="935" y="616"/>
                        </a:lnTo>
                        <a:lnTo>
                          <a:pt x="935" y="618"/>
                        </a:lnTo>
                        <a:lnTo>
                          <a:pt x="937" y="619"/>
                        </a:lnTo>
                        <a:lnTo>
                          <a:pt x="937" y="621"/>
                        </a:lnTo>
                        <a:lnTo>
                          <a:pt x="938" y="623"/>
                        </a:lnTo>
                        <a:lnTo>
                          <a:pt x="940" y="624"/>
                        </a:lnTo>
                        <a:lnTo>
                          <a:pt x="943" y="627"/>
                        </a:lnTo>
                        <a:lnTo>
                          <a:pt x="944" y="627"/>
                        </a:lnTo>
                        <a:lnTo>
                          <a:pt x="946" y="629"/>
                        </a:lnTo>
                        <a:lnTo>
                          <a:pt x="952" y="629"/>
                        </a:lnTo>
                        <a:lnTo>
                          <a:pt x="956" y="632"/>
                        </a:lnTo>
                        <a:lnTo>
                          <a:pt x="956" y="634"/>
                        </a:lnTo>
                        <a:lnTo>
                          <a:pt x="957" y="635"/>
                        </a:lnTo>
                        <a:lnTo>
                          <a:pt x="957" y="637"/>
                        </a:lnTo>
                        <a:lnTo>
                          <a:pt x="957" y="640"/>
                        </a:lnTo>
                        <a:lnTo>
                          <a:pt x="957" y="642"/>
                        </a:lnTo>
                        <a:lnTo>
                          <a:pt x="957" y="643"/>
                        </a:lnTo>
                        <a:lnTo>
                          <a:pt x="957" y="646"/>
                        </a:lnTo>
                        <a:lnTo>
                          <a:pt x="957" y="648"/>
                        </a:lnTo>
                        <a:lnTo>
                          <a:pt x="957" y="650"/>
                        </a:lnTo>
                        <a:lnTo>
                          <a:pt x="956" y="650"/>
                        </a:lnTo>
                        <a:lnTo>
                          <a:pt x="956" y="651"/>
                        </a:lnTo>
                        <a:lnTo>
                          <a:pt x="956" y="653"/>
                        </a:lnTo>
                        <a:lnTo>
                          <a:pt x="956" y="656"/>
                        </a:lnTo>
                        <a:lnTo>
                          <a:pt x="954" y="657"/>
                        </a:lnTo>
                        <a:lnTo>
                          <a:pt x="954" y="659"/>
                        </a:lnTo>
                        <a:lnTo>
                          <a:pt x="954" y="661"/>
                        </a:lnTo>
                        <a:lnTo>
                          <a:pt x="954" y="662"/>
                        </a:lnTo>
                        <a:lnTo>
                          <a:pt x="954" y="664"/>
                        </a:lnTo>
                        <a:lnTo>
                          <a:pt x="956" y="664"/>
                        </a:lnTo>
                        <a:lnTo>
                          <a:pt x="956" y="667"/>
                        </a:lnTo>
                        <a:lnTo>
                          <a:pt x="957" y="669"/>
                        </a:lnTo>
                        <a:lnTo>
                          <a:pt x="957" y="670"/>
                        </a:lnTo>
                        <a:lnTo>
                          <a:pt x="959" y="672"/>
                        </a:lnTo>
                        <a:lnTo>
                          <a:pt x="960" y="673"/>
                        </a:lnTo>
                        <a:lnTo>
                          <a:pt x="960" y="675"/>
                        </a:lnTo>
                        <a:lnTo>
                          <a:pt x="962" y="678"/>
                        </a:lnTo>
                        <a:lnTo>
                          <a:pt x="963" y="680"/>
                        </a:lnTo>
                        <a:lnTo>
                          <a:pt x="965" y="681"/>
                        </a:lnTo>
                        <a:lnTo>
                          <a:pt x="967" y="684"/>
                        </a:lnTo>
                        <a:lnTo>
                          <a:pt x="967" y="686"/>
                        </a:lnTo>
                        <a:lnTo>
                          <a:pt x="968" y="686"/>
                        </a:lnTo>
                        <a:lnTo>
                          <a:pt x="970" y="688"/>
                        </a:lnTo>
                        <a:lnTo>
                          <a:pt x="970" y="689"/>
                        </a:lnTo>
                        <a:lnTo>
                          <a:pt x="971" y="691"/>
                        </a:lnTo>
                        <a:lnTo>
                          <a:pt x="973" y="692"/>
                        </a:lnTo>
                        <a:lnTo>
                          <a:pt x="975" y="694"/>
                        </a:lnTo>
                        <a:lnTo>
                          <a:pt x="976" y="695"/>
                        </a:lnTo>
                        <a:lnTo>
                          <a:pt x="978" y="697"/>
                        </a:lnTo>
                        <a:lnTo>
                          <a:pt x="979" y="697"/>
                        </a:lnTo>
                        <a:lnTo>
                          <a:pt x="982" y="699"/>
                        </a:lnTo>
                        <a:lnTo>
                          <a:pt x="984" y="700"/>
                        </a:lnTo>
                        <a:lnTo>
                          <a:pt x="986" y="700"/>
                        </a:lnTo>
                        <a:lnTo>
                          <a:pt x="987" y="702"/>
                        </a:lnTo>
                        <a:lnTo>
                          <a:pt x="989" y="702"/>
                        </a:lnTo>
                        <a:lnTo>
                          <a:pt x="990" y="703"/>
                        </a:lnTo>
                        <a:lnTo>
                          <a:pt x="992" y="703"/>
                        </a:lnTo>
                        <a:lnTo>
                          <a:pt x="994" y="703"/>
                        </a:lnTo>
                        <a:lnTo>
                          <a:pt x="995" y="703"/>
                        </a:lnTo>
                        <a:lnTo>
                          <a:pt x="997" y="705"/>
                        </a:lnTo>
                        <a:lnTo>
                          <a:pt x="998" y="705"/>
                        </a:lnTo>
                        <a:lnTo>
                          <a:pt x="1000" y="705"/>
                        </a:lnTo>
                        <a:lnTo>
                          <a:pt x="1003" y="707"/>
                        </a:lnTo>
                        <a:lnTo>
                          <a:pt x="1005" y="707"/>
                        </a:lnTo>
                        <a:lnTo>
                          <a:pt x="1006" y="707"/>
                        </a:lnTo>
                        <a:lnTo>
                          <a:pt x="1008" y="708"/>
                        </a:lnTo>
                        <a:lnTo>
                          <a:pt x="1011" y="710"/>
                        </a:lnTo>
                        <a:lnTo>
                          <a:pt x="1013" y="710"/>
                        </a:lnTo>
                        <a:lnTo>
                          <a:pt x="1014" y="710"/>
                        </a:lnTo>
                        <a:lnTo>
                          <a:pt x="1016" y="711"/>
                        </a:lnTo>
                        <a:lnTo>
                          <a:pt x="1017" y="711"/>
                        </a:lnTo>
                        <a:lnTo>
                          <a:pt x="1019" y="713"/>
                        </a:lnTo>
                        <a:lnTo>
                          <a:pt x="1022" y="714"/>
                        </a:lnTo>
                        <a:lnTo>
                          <a:pt x="1024" y="714"/>
                        </a:lnTo>
                        <a:lnTo>
                          <a:pt x="1025" y="716"/>
                        </a:lnTo>
                        <a:lnTo>
                          <a:pt x="1027" y="718"/>
                        </a:lnTo>
                        <a:lnTo>
                          <a:pt x="1028" y="718"/>
                        </a:lnTo>
                        <a:lnTo>
                          <a:pt x="1030" y="719"/>
                        </a:lnTo>
                        <a:lnTo>
                          <a:pt x="1030" y="721"/>
                        </a:lnTo>
                        <a:lnTo>
                          <a:pt x="1032" y="721"/>
                        </a:lnTo>
                        <a:lnTo>
                          <a:pt x="1032" y="722"/>
                        </a:lnTo>
                        <a:lnTo>
                          <a:pt x="1032" y="724"/>
                        </a:lnTo>
                        <a:lnTo>
                          <a:pt x="1033" y="724"/>
                        </a:lnTo>
                        <a:lnTo>
                          <a:pt x="1033" y="726"/>
                        </a:lnTo>
                        <a:lnTo>
                          <a:pt x="1035" y="726"/>
                        </a:lnTo>
                        <a:lnTo>
                          <a:pt x="1035" y="727"/>
                        </a:lnTo>
                        <a:lnTo>
                          <a:pt x="1038" y="727"/>
                        </a:lnTo>
                        <a:lnTo>
                          <a:pt x="1038" y="729"/>
                        </a:lnTo>
                        <a:lnTo>
                          <a:pt x="1040" y="730"/>
                        </a:lnTo>
                        <a:lnTo>
                          <a:pt x="1041" y="732"/>
                        </a:lnTo>
                        <a:lnTo>
                          <a:pt x="1043" y="732"/>
                        </a:lnTo>
                        <a:lnTo>
                          <a:pt x="1043" y="733"/>
                        </a:lnTo>
                        <a:lnTo>
                          <a:pt x="1041" y="735"/>
                        </a:lnTo>
                        <a:lnTo>
                          <a:pt x="1041" y="737"/>
                        </a:lnTo>
                        <a:lnTo>
                          <a:pt x="1041" y="738"/>
                        </a:lnTo>
                        <a:lnTo>
                          <a:pt x="1040" y="738"/>
                        </a:lnTo>
                        <a:lnTo>
                          <a:pt x="1040" y="740"/>
                        </a:lnTo>
                        <a:lnTo>
                          <a:pt x="1038" y="741"/>
                        </a:lnTo>
                        <a:lnTo>
                          <a:pt x="1038" y="743"/>
                        </a:lnTo>
                        <a:lnTo>
                          <a:pt x="1036" y="743"/>
                        </a:lnTo>
                        <a:lnTo>
                          <a:pt x="1036" y="745"/>
                        </a:lnTo>
                        <a:lnTo>
                          <a:pt x="1035" y="745"/>
                        </a:lnTo>
                        <a:lnTo>
                          <a:pt x="1035" y="748"/>
                        </a:lnTo>
                        <a:lnTo>
                          <a:pt x="1033" y="749"/>
                        </a:lnTo>
                        <a:lnTo>
                          <a:pt x="1032" y="751"/>
                        </a:lnTo>
                        <a:lnTo>
                          <a:pt x="1032" y="752"/>
                        </a:lnTo>
                        <a:lnTo>
                          <a:pt x="1030" y="754"/>
                        </a:lnTo>
                        <a:lnTo>
                          <a:pt x="1028" y="756"/>
                        </a:lnTo>
                        <a:lnTo>
                          <a:pt x="1028" y="757"/>
                        </a:lnTo>
                        <a:lnTo>
                          <a:pt x="1027" y="759"/>
                        </a:lnTo>
                        <a:lnTo>
                          <a:pt x="1025" y="760"/>
                        </a:lnTo>
                        <a:lnTo>
                          <a:pt x="1025" y="762"/>
                        </a:lnTo>
                        <a:lnTo>
                          <a:pt x="1025" y="764"/>
                        </a:lnTo>
                        <a:lnTo>
                          <a:pt x="1024" y="765"/>
                        </a:lnTo>
                        <a:lnTo>
                          <a:pt x="1022" y="767"/>
                        </a:lnTo>
                        <a:lnTo>
                          <a:pt x="1021" y="767"/>
                        </a:lnTo>
                        <a:lnTo>
                          <a:pt x="1019" y="768"/>
                        </a:lnTo>
                        <a:lnTo>
                          <a:pt x="1017" y="768"/>
                        </a:lnTo>
                        <a:lnTo>
                          <a:pt x="1016" y="770"/>
                        </a:lnTo>
                        <a:lnTo>
                          <a:pt x="1016" y="773"/>
                        </a:lnTo>
                        <a:lnTo>
                          <a:pt x="1016" y="775"/>
                        </a:lnTo>
                        <a:lnTo>
                          <a:pt x="1016" y="778"/>
                        </a:lnTo>
                        <a:lnTo>
                          <a:pt x="1017" y="781"/>
                        </a:lnTo>
                        <a:lnTo>
                          <a:pt x="1017" y="783"/>
                        </a:lnTo>
                        <a:lnTo>
                          <a:pt x="1019" y="784"/>
                        </a:lnTo>
                        <a:lnTo>
                          <a:pt x="1021" y="786"/>
                        </a:lnTo>
                        <a:lnTo>
                          <a:pt x="1021" y="787"/>
                        </a:lnTo>
                        <a:lnTo>
                          <a:pt x="1022" y="789"/>
                        </a:lnTo>
                        <a:lnTo>
                          <a:pt x="1024" y="791"/>
                        </a:lnTo>
                        <a:lnTo>
                          <a:pt x="1025" y="792"/>
                        </a:lnTo>
                        <a:lnTo>
                          <a:pt x="1027" y="794"/>
                        </a:lnTo>
                        <a:lnTo>
                          <a:pt x="1030" y="797"/>
                        </a:lnTo>
                        <a:lnTo>
                          <a:pt x="1032" y="797"/>
                        </a:lnTo>
                        <a:lnTo>
                          <a:pt x="1033" y="798"/>
                        </a:lnTo>
                        <a:lnTo>
                          <a:pt x="1035" y="802"/>
                        </a:lnTo>
                        <a:lnTo>
                          <a:pt x="1036" y="803"/>
                        </a:lnTo>
                        <a:lnTo>
                          <a:pt x="1038" y="805"/>
                        </a:lnTo>
                        <a:lnTo>
                          <a:pt x="1040" y="805"/>
                        </a:lnTo>
                        <a:lnTo>
                          <a:pt x="1040" y="806"/>
                        </a:lnTo>
                        <a:lnTo>
                          <a:pt x="1040" y="810"/>
                        </a:lnTo>
                        <a:lnTo>
                          <a:pt x="1040" y="813"/>
                        </a:lnTo>
                        <a:lnTo>
                          <a:pt x="1040" y="814"/>
                        </a:lnTo>
                        <a:lnTo>
                          <a:pt x="1038" y="816"/>
                        </a:lnTo>
                        <a:lnTo>
                          <a:pt x="1038" y="819"/>
                        </a:lnTo>
                        <a:lnTo>
                          <a:pt x="1038" y="821"/>
                        </a:lnTo>
                        <a:lnTo>
                          <a:pt x="1036" y="824"/>
                        </a:lnTo>
                        <a:lnTo>
                          <a:pt x="1036" y="827"/>
                        </a:lnTo>
                        <a:lnTo>
                          <a:pt x="1036" y="829"/>
                        </a:lnTo>
                        <a:lnTo>
                          <a:pt x="1035" y="832"/>
                        </a:lnTo>
                        <a:lnTo>
                          <a:pt x="1035" y="833"/>
                        </a:lnTo>
                        <a:lnTo>
                          <a:pt x="1035" y="836"/>
                        </a:lnTo>
                        <a:lnTo>
                          <a:pt x="1035" y="838"/>
                        </a:lnTo>
                        <a:lnTo>
                          <a:pt x="1035" y="841"/>
                        </a:lnTo>
                        <a:lnTo>
                          <a:pt x="1035" y="843"/>
                        </a:lnTo>
                        <a:lnTo>
                          <a:pt x="1035" y="846"/>
                        </a:lnTo>
                        <a:lnTo>
                          <a:pt x="1035" y="848"/>
                        </a:lnTo>
                        <a:lnTo>
                          <a:pt x="1033" y="849"/>
                        </a:lnTo>
                        <a:lnTo>
                          <a:pt x="1033" y="851"/>
                        </a:lnTo>
                        <a:lnTo>
                          <a:pt x="1033" y="854"/>
                        </a:lnTo>
                        <a:lnTo>
                          <a:pt x="1035" y="855"/>
                        </a:lnTo>
                        <a:lnTo>
                          <a:pt x="1033" y="859"/>
                        </a:lnTo>
                        <a:lnTo>
                          <a:pt x="1033" y="860"/>
                        </a:lnTo>
                        <a:lnTo>
                          <a:pt x="1033" y="863"/>
                        </a:lnTo>
                        <a:lnTo>
                          <a:pt x="1032" y="867"/>
                        </a:lnTo>
                        <a:lnTo>
                          <a:pt x="1032" y="868"/>
                        </a:lnTo>
                        <a:lnTo>
                          <a:pt x="1030" y="871"/>
                        </a:lnTo>
                        <a:lnTo>
                          <a:pt x="1030" y="873"/>
                        </a:lnTo>
                        <a:lnTo>
                          <a:pt x="1030" y="874"/>
                        </a:lnTo>
                        <a:lnTo>
                          <a:pt x="1028" y="876"/>
                        </a:lnTo>
                        <a:lnTo>
                          <a:pt x="1028" y="878"/>
                        </a:lnTo>
                        <a:lnTo>
                          <a:pt x="1027" y="879"/>
                        </a:lnTo>
                        <a:lnTo>
                          <a:pt x="1027" y="881"/>
                        </a:lnTo>
                        <a:lnTo>
                          <a:pt x="1027" y="882"/>
                        </a:lnTo>
                        <a:lnTo>
                          <a:pt x="1028" y="882"/>
                        </a:lnTo>
                        <a:lnTo>
                          <a:pt x="1028" y="884"/>
                        </a:lnTo>
                        <a:lnTo>
                          <a:pt x="1027" y="886"/>
                        </a:lnTo>
                        <a:lnTo>
                          <a:pt x="1027" y="887"/>
                        </a:lnTo>
                        <a:lnTo>
                          <a:pt x="1025" y="887"/>
                        </a:lnTo>
                        <a:lnTo>
                          <a:pt x="1024" y="887"/>
                        </a:lnTo>
                        <a:lnTo>
                          <a:pt x="1022" y="887"/>
                        </a:lnTo>
                        <a:lnTo>
                          <a:pt x="1021" y="889"/>
                        </a:lnTo>
                        <a:lnTo>
                          <a:pt x="1019" y="889"/>
                        </a:lnTo>
                        <a:lnTo>
                          <a:pt x="1019" y="887"/>
                        </a:lnTo>
                        <a:lnTo>
                          <a:pt x="1017" y="886"/>
                        </a:lnTo>
                        <a:lnTo>
                          <a:pt x="1016" y="887"/>
                        </a:lnTo>
                        <a:lnTo>
                          <a:pt x="1014" y="889"/>
                        </a:lnTo>
                        <a:lnTo>
                          <a:pt x="1014" y="890"/>
                        </a:lnTo>
                        <a:lnTo>
                          <a:pt x="1014" y="892"/>
                        </a:lnTo>
                        <a:lnTo>
                          <a:pt x="1013" y="892"/>
                        </a:lnTo>
                        <a:lnTo>
                          <a:pt x="1013" y="890"/>
                        </a:lnTo>
                        <a:lnTo>
                          <a:pt x="1011" y="890"/>
                        </a:lnTo>
                        <a:lnTo>
                          <a:pt x="1011" y="892"/>
                        </a:lnTo>
                        <a:lnTo>
                          <a:pt x="1009" y="892"/>
                        </a:lnTo>
                        <a:lnTo>
                          <a:pt x="1008" y="892"/>
                        </a:lnTo>
                        <a:lnTo>
                          <a:pt x="1006" y="892"/>
                        </a:lnTo>
                        <a:lnTo>
                          <a:pt x="1006" y="893"/>
                        </a:lnTo>
                        <a:lnTo>
                          <a:pt x="1006" y="895"/>
                        </a:lnTo>
                        <a:lnTo>
                          <a:pt x="1006" y="897"/>
                        </a:lnTo>
                        <a:lnTo>
                          <a:pt x="1005" y="897"/>
                        </a:lnTo>
                        <a:lnTo>
                          <a:pt x="1005" y="895"/>
                        </a:lnTo>
                        <a:lnTo>
                          <a:pt x="1003" y="895"/>
                        </a:lnTo>
                        <a:lnTo>
                          <a:pt x="1002" y="895"/>
                        </a:lnTo>
                        <a:lnTo>
                          <a:pt x="1002" y="893"/>
                        </a:lnTo>
                        <a:lnTo>
                          <a:pt x="1000" y="893"/>
                        </a:lnTo>
                        <a:lnTo>
                          <a:pt x="998" y="893"/>
                        </a:lnTo>
                        <a:lnTo>
                          <a:pt x="997" y="893"/>
                        </a:lnTo>
                        <a:lnTo>
                          <a:pt x="997" y="895"/>
                        </a:lnTo>
                        <a:lnTo>
                          <a:pt x="995" y="895"/>
                        </a:lnTo>
                        <a:lnTo>
                          <a:pt x="995" y="893"/>
                        </a:lnTo>
                        <a:lnTo>
                          <a:pt x="995" y="892"/>
                        </a:lnTo>
                        <a:lnTo>
                          <a:pt x="994" y="892"/>
                        </a:lnTo>
                        <a:lnTo>
                          <a:pt x="994" y="890"/>
                        </a:lnTo>
                        <a:lnTo>
                          <a:pt x="992" y="890"/>
                        </a:lnTo>
                        <a:lnTo>
                          <a:pt x="992" y="889"/>
                        </a:lnTo>
                        <a:lnTo>
                          <a:pt x="990" y="889"/>
                        </a:lnTo>
                        <a:lnTo>
                          <a:pt x="989" y="889"/>
                        </a:lnTo>
                        <a:lnTo>
                          <a:pt x="987" y="890"/>
                        </a:lnTo>
                        <a:lnTo>
                          <a:pt x="986" y="892"/>
                        </a:lnTo>
                        <a:lnTo>
                          <a:pt x="986" y="893"/>
                        </a:lnTo>
                        <a:lnTo>
                          <a:pt x="987" y="893"/>
                        </a:lnTo>
                        <a:lnTo>
                          <a:pt x="987" y="895"/>
                        </a:lnTo>
                        <a:lnTo>
                          <a:pt x="984" y="895"/>
                        </a:lnTo>
                        <a:lnTo>
                          <a:pt x="982" y="892"/>
                        </a:lnTo>
                        <a:lnTo>
                          <a:pt x="982" y="893"/>
                        </a:lnTo>
                        <a:lnTo>
                          <a:pt x="982" y="895"/>
                        </a:lnTo>
                        <a:lnTo>
                          <a:pt x="981" y="897"/>
                        </a:lnTo>
                        <a:lnTo>
                          <a:pt x="981" y="895"/>
                        </a:lnTo>
                        <a:lnTo>
                          <a:pt x="979" y="897"/>
                        </a:lnTo>
                        <a:lnTo>
                          <a:pt x="978" y="897"/>
                        </a:lnTo>
                        <a:lnTo>
                          <a:pt x="976" y="897"/>
                        </a:lnTo>
                        <a:lnTo>
                          <a:pt x="975" y="898"/>
                        </a:lnTo>
                        <a:lnTo>
                          <a:pt x="973" y="898"/>
                        </a:lnTo>
                        <a:lnTo>
                          <a:pt x="971" y="897"/>
                        </a:lnTo>
                        <a:lnTo>
                          <a:pt x="973" y="897"/>
                        </a:lnTo>
                        <a:lnTo>
                          <a:pt x="970" y="897"/>
                        </a:lnTo>
                        <a:lnTo>
                          <a:pt x="970" y="898"/>
                        </a:lnTo>
                        <a:lnTo>
                          <a:pt x="968" y="900"/>
                        </a:lnTo>
                        <a:lnTo>
                          <a:pt x="968" y="901"/>
                        </a:lnTo>
                        <a:lnTo>
                          <a:pt x="967" y="901"/>
                        </a:lnTo>
                        <a:lnTo>
                          <a:pt x="965" y="901"/>
                        </a:lnTo>
                        <a:lnTo>
                          <a:pt x="963" y="903"/>
                        </a:lnTo>
                        <a:lnTo>
                          <a:pt x="962" y="903"/>
                        </a:lnTo>
                        <a:lnTo>
                          <a:pt x="960" y="905"/>
                        </a:lnTo>
                        <a:lnTo>
                          <a:pt x="957" y="905"/>
                        </a:lnTo>
                        <a:lnTo>
                          <a:pt x="957" y="906"/>
                        </a:lnTo>
                        <a:lnTo>
                          <a:pt x="956" y="906"/>
                        </a:lnTo>
                        <a:lnTo>
                          <a:pt x="954" y="908"/>
                        </a:lnTo>
                        <a:lnTo>
                          <a:pt x="954" y="906"/>
                        </a:lnTo>
                        <a:lnTo>
                          <a:pt x="952" y="906"/>
                        </a:lnTo>
                        <a:lnTo>
                          <a:pt x="951" y="906"/>
                        </a:lnTo>
                        <a:lnTo>
                          <a:pt x="949" y="906"/>
                        </a:lnTo>
                        <a:lnTo>
                          <a:pt x="949" y="908"/>
                        </a:lnTo>
                        <a:lnTo>
                          <a:pt x="949" y="909"/>
                        </a:lnTo>
                        <a:lnTo>
                          <a:pt x="948" y="909"/>
                        </a:lnTo>
                        <a:lnTo>
                          <a:pt x="946" y="909"/>
                        </a:lnTo>
                        <a:lnTo>
                          <a:pt x="944" y="909"/>
                        </a:lnTo>
                        <a:lnTo>
                          <a:pt x="943" y="909"/>
                        </a:lnTo>
                        <a:lnTo>
                          <a:pt x="941" y="909"/>
                        </a:lnTo>
                        <a:lnTo>
                          <a:pt x="940" y="909"/>
                        </a:lnTo>
                        <a:lnTo>
                          <a:pt x="940" y="912"/>
                        </a:lnTo>
                        <a:lnTo>
                          <a:pt x="938" y="912"/>
                        </a:lnTo>
                        <a:lnTo>
                          <a:pt x="937" y="912"/>
                        </a:lnTo>
                        <a:lnTo>
                          <a:pt x="935" y="914"/>
                        </a:lnTo>
                        <a:lnTo>
                          <a:pt x="933" y="914"/>
                        </a:lnTo>
                        <a:lnTo>
                          <a:pt x="932" y="914"/>
                        </a:lnTo>
                        <a:lnTo>
                          <a:pt x="930" y="916"/>
                        </a:lnTo>
                        <a:lnTo>
                          <a:pt x="929" y="917"/>
                        </a:lnTo>
                        <a:lnTo>
                          <a:pt x="927" y="917"/>
                        </a:lnTo>
                        <a:lnTo>
                          <a:pt x="927" y="919"/>
                        </a:lnTo>
                        <a:lnTo>
                          <a:pt x="927" y="920"/>
                        </a:lnTo>
                        <a:lnTo>
                          <a:pt x="927" y="922"/>
                        </a:lnTo>
                        <a:lnTo>
                          <a:pt x="925" y="924"/>
                        </a:lnTo>
                        <a:lnTo>
                          <a:pt x="924" y="925"/>
                        </a:lnTo>
                        <a:lnTo>
                          <a:pt x="924" y="927"/>
                        </a:lnTo>
                        <a:lnTo>
                          <a:pt x="924" y="928"/>
                        </a:lnTo>
                        <a:lnTo>
                          <a:pt x="924" y="930"/>
                        </a:lnTo>
                        <a:lnTo>
                          <a:pt x="922" y="930"/>
                        </a:lnTo>
                        <a:lnTo>
                          <a:pt x="921" y="931"/>
                        </a:lnTo>
                        <a:lnTo>
                          <a:pt x="919" y="931"/>
                        </a:lnTo>
                        <a:lnTo>
                          <a:pt x="919" y="930"/>
                        </a:lnTo>
                        <a:lnTo>
                          <a:pt x="918" y="930"/>
                        </a:lnTo>
                        <a:lnTo>
                          <a:pt x="916" y="930"/>
                        </a:lnTo>
                        <a:lnTo>
                          <a:pt x="916" y="931"/>
                        </a:lnTo>
                        <a:lnTo>
                          <a:pt x="914" y="931"/>
                        </a:lnTo>
                        <a:lnTo>
                          <a:pt x="913" y="931"/>
                        </a:lnTo>
                        <a:lnTo>
                          <a:pt x="911" y="931"/>
                        </a:lnTo>
                        <a:lnTo>
                          <a:pt x="913" y="933"/>
                        </a:lnTo>
                        <a:lnTo>
                          <a:pt x="913" y="935"/>
                        </a:lnTo>
                        <a:lnTo>
                          <a:pt x="913" y="936"/>
                        </a:lnTo>
                        <a:lnTo>
                          <a:pt x="911" y="936"/>
                        </a:lnTo>
                        <a:lnTo>
                          <a:pt x="910" y="936"/>
                        </a:lnTo>
                        <a:lnTo>
                          <a:pt x="908" y="935"/>
                        </a:lnTo>
                        <a:lnTo>
                          <a:pt x="908" y="933"/>
                        </a:lnTo>
                        <a:lnTo>
                          <a:pt x="906" y="935"/>
                        </a:lnTo>
                        <a:lnTo>
                          <a:pt x="905" y="933"/>
                        </a:lnTo>
                        <a:lnTo>
                          <a:pt x="903" y="935"/>
                        </a:lnTo>
                        <a:lnTo>
                          <a:pt x="902" y="935"/>
                        </a:lnTo>
                        <a:lnTo>
                          <a:pt x="900" y="933"/>
                        </a:lnTo>
                        <a:lnTo>
                          <a:pt x="899" y="931"/>
                        </a:lnTo>
                        <a:lnTo>
                          <a:pt x="897" y="930"/>
                        </a:lnTo>
                        <a:lnTo>
                          <a:pt x="895" y="930"/>
                        </a:lnTo>
                        <a:lnTo>
                          <a:pt x="894" y="930"/>
                        </a:lnTo>
                        <a:lnTo>
                          <a:pt x="892" y="930"/>
                        </a:lnTo>
                        <a:lnTo>
                          <a:pt x="891" y="930"/>
                        </a:lnTo>
                        <a:lnTo>
                          <a:pt x="889" y="930"/>
                        </a:lnTo>
                        <a:lnTo>
                          <a:pt x="887" y="930"/>
                        </a:lnTo>
                        <a:lnTo>
                          <a:pt x="886" y="930"/>
                        </a:lnTo>
                        <a:lnTo>
                          <a:pt x="884" y="928"/>
                        </a:lnTo>
                        <a:lnTo>
                          <a:pt x="884" y="927"/>
                        </a:lnTo>
                        <a:lnTo>
                          <a:pt x="883" y="927"/>
                        </a:lnTo>
                        <a:lnTo>
                          <a:pt x="881" y="928"/>
                        </a:lnTo>
                        <a:lnTo>
                          <a:pt x="880" y="928"/>
                        </a:lnTo>
                        <a:lnTo>
                          <a:pt x="880" y="927"/>
                        </a:lnTo>
                        <a:lnTo>
                          <a:pt x="878" y="925"/>
                        </a:lnTo>
                        <a:lnTo>
                          <a:pt x="876" y="925"/>
                        </a:lnTo>
                        <a:lnTo>
                          <a:pt x="876" y="924"/>
                        </a:lnTo>
                        <a:lnTo>
                          <a:pt x="875" y="924"/>
                        </a:lnTo>
                        <a:lnTo>
                          <a:pt x="873" y="924"/>
                        </a:lnTo>
                        <a:lnTo>
                          <a:pt x="872" y="924"/>
                        </a:lnTo>
                        <a:lnTo>
                          <a:pt x="872" y="925"/>
                        </a:lnTo>
                        <a:lnTo>
                          <a:pt x="870" y="925"/>
                        </a:lnTo>
                        <a:lnTo>
                          <a:pt x="868" y="925"/>
                        </a:lnTo>
                        <a:lnTo>
                          <a:pt x="867" y="925"/>
                        </a:lnTo>
                        <a:lnTo>
                          <a:pt x="865" y="924"/>
                        </a:lnTo>
                        <a:lnTo>
                          <a:pt x="864" y="922"/>
                        </a:lnTo>
                        <a:lnTo>
                          <a:pt x="862" y="922"/>
                        </a:lnTo>
                        <a:lnTo>
                          <a:pt x="861" y="920"/>
                        </a:lnTo>
                        <a:lnTo>
                          <a:pt x="859" y="919"/>
                        </a:lnTo>
                        <a:lnTo>
                          <a:pt x="859" y="917"/>
                        </a:lnTo>
                        <a:lnTo>
                          <a:pt x="857" y="919"/>
                        </a:lnTo>
                        <a:lnTo>
                          <a:pt x="856" y="919"/>
                        </a:lnTo>
                        <a:lnTo>
                          <a:pt x="854" y="919"/>
                        </a:lnTo>
                        <a:lnTo>
                          <a:pt x="853" y="919"/>
                        </a:lnTo>
                        <a:lnTo>
                          <a:pt x="851" y="919"/>
                        </a:lnTo>
                        <a:lnTo>
                          <a:pt x="849" y="917"/>
                        </a:lnTo>
                        <a:lnTo>
                          <a:pt x="846" y="917"/>
                        </a:lnTo>
                        <a:lnTo>
                          <a:pt x="846" y="916"/>
                        </a:lnTo>
                        <a:lnTo>
                          <a:pt x="846" y="914"/>
                        </a:lnTo>
                        <a:lnTo>
                          <a:pt x="845" y="914"/>
                        </a:lnTo>
                        <a:lnTo>
                          <a:pt x="843" y="914"/>
                        </a:lnTo>
                        <a:lnTo>
                          <a:pt x="842" y="916"/>
                        </a:lnTo>
                        <a:lnTo>
                          <a:pt x="842" y="917"/>
                        </a:lnTo>
                        <a:lnTo>
                          <a:pt x="840" y="917"/>
                        </a:lnTo>
                        <a:lnTo>
                          <a:pt x="838" y="917"/>
                        </a:lnTo>
                        <a:lnTo>
                          <a:pt x="838" y="916"/>
                        </a:lnTo>
                        <a:lnTo>
                          <a:pt x="838" y="914"/>
                        </a:lnTo>
                        <a:lnTo>
                          <a:pt x="835" y="914"/>
                        </a:lnTo>
                        <a:lnTo>
                          <a:pt x="834" y="914"/>
                        </a:lnTo>
                        <a:lnTo>
                          <a:pt x="832" y="912"/>
                        </a:lnTo>
                        <a:lnTo>
                          <a:pt x="830" y="912"/>
                        </a:lnTo>
                        <a:lnTo>
                          <a:pt x="829" y="912"/>
                        </a:lnTo>
                        <a:lnTo>
                          <a:pt x="829" y="911"/>
                        </a:lnTo>
                        <a:lnTo>
                          <a:pt x="827" y="911"/>
                        </a:lnTo>
                        <a:lnTo>
                          <a:pt x="826" y="911"/>
                        </a:lnTo>
                        <a:lnTo>
                          <a:pt x="824" y="911"/>
                        </a:lnTo>
                        <a:lnTo>
                          <a:pt x="824" y="912"/>
                        </a:lnTo>
                        <a:lnTo>
                          <a:pt x="821" y="911"/>
                        </a:lnTo>
                        <a:lnTo>
                          <a:pt x="821" y="909"/>
                        </a:lnTo>
                        <a:lnTo>
                          <a:pt x="819" y="909"/>
                        </a:lnTo>
                        <a:lnTo>
                          <a:pt x="818" y="908"/>
                        </a:lnTo>
                        <a:lnTo>
                          <a:pt x="816" y="908"/>
                        </a:lnTo>
                        <a:lnTo>
                          <a:pt x="815" y="906"/>
                        </a:lnTo>
                        <a:lnTo>
                          <a:pt x="813" y="906"/>
                        </a:lnTo>
                        <a:lnTo>
                          <a:pt x="811" y="905"/>
                        </a:lnTo>
                        <a:lnTo>
                          <a:pt x="810" y="906"/>
                        </a:lnTo>
                        <a:lnTo>
                          <a:pt x="808" y="905"/>
                        </a:lnTo>
                        <a:lnTo>
                          <a:pt x="808" y="903"/>
                        </a:lnTo>
                        <a:lnTo>
                          <a:pt x="807" y="903"/>
                        </a:lnTo>
                        <a:lnTo>
                          <a:pt x="805" y="901"/>
                        </a:lnTo>
                        <a:lnTo>
                          <a:pt x="803" y="903"/>
                        </a:lnTo>
                        <a:lnTo>
                          <a:pt x="802" y="903"/>
                        </a:lnTo>
                        <a:lnTo>
                          <a:pt x="802" y="901"/>
                        </a:lnTo>
                        <a:lnTo>
                          <a:pt x="800" y="901"/>
                        </a:lnTo>
                        <a:lnTo>
                          <a:pt x="800" y="900"/>
                        </a:lnTo>
                        <a:lnTo>
                          <a:pt x="799" y="900"/>
                        </a:lnTo>
                        <a:lnTo>
                          <a:pt x="799" y="901"/>
                        </a:lnTo>
                        <a:lnTo>
                          <a:pt x="797" y="901"/>
                        </a:lnTo>
                        <a:lnTo>
                          <a:pt x="796" y="901"/>
                        </a:lnTo>
                        <a:lnTo>
                          <a:pt x="794" y="901"/>
                        </a:lnTo>
                        <a:lnTo>
                          <a:pt x="792" y="901"/>
                        </a:lnTo>
                        <a:lnTo>
                          <a:pt x="791" y="900"/>
                        </a:lnTo>
                        <a:lnTo>
                          <a:pt x="789" y="898"/>
                        </a:lnTo>
                        <a:lnTo>
                          <a:pt x="788" y="898"/>
                        </a:lnTo>
                        <a:lnTo>
                          <a:pt x="786" y="898"/>
                        </a:lnTo>
                        <a:lnTo>
                          <a:pt x="784" y="898"/>
                        </a:lnTo>
                        <a:lnTo>
                          <a:pt x="783" y="898"/>
                        </a:lnTo>
                        <a:lnTo>
                          <a:pt x="783" y="897"/>
                        </a:lnTo>
                        <a:lnTo>
                          <a:pt x="781" y="897"/>
                        </a:lnTo>
                        <a:lnTo>
                          <a:pt x="780" y="897"/>
                        </a:lnTo>
                        <a:lnTo>
                          <a:pt x="780" y="895"/>
                        </a:lnTo>
                        <a:lnTo>
                          <a:pt x="778" y="893"/>
                        </a:lnTo>
                        <a:lnTo>
                          <a:pt x="778" y="892"/>
                        </a:lnTo>
                        <a:lnTo>
                          <a:pt x="778" y="890"/>
                        </a:lnTo>
                        <a:lnTo>
                          <a:pt x="777" y="890"/>
                        </a:lnTo>
                        <a:lnTo>
                          <a:pt x="775" y="890"/>
                        </a:lnTo>
                        <a:lnTo>
                          <a:pt x="775" y="889"/>
                        </a:lnTo>
                        <a:lnTo>
                          <a:pt x="775" y="887"/>
                        </a:lnTo>
                        <a:lnTo>
                          <a:pt x="775" y="886"/>
                        </a:lnTo>
                        <a:lnTo>
                          <a:pt x="775" y="884"/>
                        </a:lnTo>
                        <a:lnTo>
                          <a:pt x="773" y="882"/>
                        </a:lnTo>
                        <a:lnTo>
                          <a:pt x="773" y="881"/>
                        </a:lnTo>
                        <a:lnTo>
                          <a:pt x="772" y="879"/>
                        </a:lnTo>
                        <a:lnTo>
                          <a:pt x="772" y="878"/>
                        </a:lnTo>
                        <a:lnTo>
                          <a:pt x="772" y="876"/>
                        </a:lnTo>
                        <a:lnTo>
                          <a:pt x="773" y="874"/>
                        </a:lnTo>
                        <a:lnTo>
                          <a:pt x="772" y="873"/>
                        </a:lnTo>
                        <a:lnTo>
                          <a:pt x="770" y="871"/>
                        </a:lnTo>
                        <a:lnTo>
                          <a:pt x="770" y="870"/>
                        </a:lnTo>
                        <a:lnTo>
                          <a:pt x="770" y="868"/>
                        </a:lnTo>
                        <a:lnTo>
                          <a:pt x="772" y="868"/>
                        </a:lnTo>
                        <a:lnTo>
                          <a:pt x="770" y="867"/>
                        </a:lnTo>
                        <a:lnTo>
                          <a:pt x="770" y="865"/>
                        </a:lnTo>
                        <a:lnTo>
                          <a:pt x="769" y="865"/>
                        </a:lnTo>
                        <a:lnTo>
                          <a:pt x="769" y="863"/>
                        </a:lnTo>
                        <a:lnTo>
                          <a:pt x="769" y="862"/>
                        </a:lnTo>
                        <a:lnTo>
                          <a:pt x="769" y="860"/>
                        </a:lnTo>
                        <a:lnTo>
                          <a:pt x="770" y="860"/>
                        </a:lnTo>
                        <a:lnTo>
                          <a:pt x="772" y="859"/>
                        </a:lnTo>
                        <a:lnTo>
                          <a:pt x="772" y="857"/>
                        </a:lnTo>
                        <a:lnTo>
                          <a:pt x="772" y="855"/>
                        </a:lnTo>
                        <a:lnTo>
                          <a:pt x="770" y="854"/>
                        </a:lnTo>
                        <a:lnTo>
                          <a:pt x="772" y="852"/>
                        </a:lnTo>
                        <a:lnTo>
                          <a:pt x="770" y="851"/>
                        </a:lnTo>
                        <a:lnTo>
                          <a:pt x="770" y="849"/>
                        </a:lnTo>
                        <a:lnTo>
                          <a:pt x="772" y="849"/>
                        </a:lnTo>
                        <a:lnTo>
                          <a:pt x="772" y="848"/>
                        </a:lnTo>
                        <a:lnTo>
                          <a:pt x="772" y="846"/>
                        </a:lnTo>
                        <a:lnTo>
                          <a:pt x="773" y="846"/>
                        </a:lnTo>
                        <a:lnTo>
                          <a:pt x="773" y="844"/>
                        </a:lnTo>
                        <a:lnTo>
                          <a:pt x="775" y="843"/>
                        </a:lnTo>
                        <a:lnTo>
                          <a:pt x="777" y="841"/>
                        </a:lnTo>
                        <a:lnTo>
                          <a:pt x="777" y="838"/>
                        </a:lnTo>
                        <a:lnTo>
                          <a:pt x="777" y="835"/>
                        </a:lnTo>
                        <a:lnTo>
                          <a:pt x="777" y="833"/>
                        </a:lnTo>
                        <a:lnTo>
                          <a:pt x="777" y="832"/>
                        </a:lnTo>
                        <a:lnTo>
                          <a:pt x="777" y="830"/>
                        </a:lnTo>
                        <a:lnTo>
                          <a:pt x="775" y="829"/>
                        </a:lnTo>
                        <a:lnTo>
                          <a:pt x="775" y="827"/>
                        </a:lnTo>
                        <a:lnTo>
                          <a:pt x="773" y="825"/>
                        </a:lnTo>
                        <a:lnTo>
                          <a:pt x="775" y="824"/>
                        </a:lnTo>
                        <a:lnTo>
                          <a:pt x="773" y="822"/>
                        </a:lnTo>
                        <a:lnTo>
                          <a:pt x="773" y="821"/>
                        </a:lnTo>
                        <a:lnTo>
                          <a:pt x="773" y="819"/>
                        </a:lnTo>
                        <a:lnTo>
                          <a:pt x="773" y="817"/>
                        </a:lnTo>
                        <a:lnTo>
                          <a:pt x="772" y="817"/>
                        </a:lnTo>
                        <a:lnTo>
                          <a:pt x="772" y="816"/>
                        </a:lnTo>
                        <a:lnTo>
                          <a:pt x="770" y="814"/>
                        </a:lnTo>
                        <a:lnTo>
                          <a:pt x="770" y="813"/>
                        </a:lnTo>
                        <a:lnTo>
                          <a:pt x="770" y="811"/>
                        </a:lnTo>
                        <a:lnTo>
                          <a:pt x="769" y="811"/>
                        </a:lnTo>
                        <a:lnTo>
                          <a:pt x="767" y="810"/>
                        </a:lnTo>
                        <a:lnTo>
                          <a:pt x="765" y="810"/>
                        </a:lnTo>
                        <a:lnTo>
                          <a:pt x="764" y="808"/>
                        </a:lnTo>
                        <a:lnTo>
                          <a:pt x="762" y="808"/>
                        </a:lnTo>
                        <a:lnTo>
                          <a:pt x="761" y="808"/>
                        </a:lnTo>
                        <a:lnTo>
                          <a:pt x="759" y="806"/>
                        </a:lnTo>
                        <a:lnTo>
                          <a:pt x="759" y="805"/>
                        </a:lnTo>
                        <a:lnTo>
                          <a:pt x="758" y="805"/>
                        </a:lnTo>
                        <a:lnTo>
                          <a:pt x="758" y="803"/>
                        </a:lnTo>
                        <a:lnTo>
                          <a:pt x="758" y="802"/>
                        </a:lnTo>
                        <a:lnTo>
                          <a:pt x="758" y="800"/>
                        </a:lnTo>
                        <a:lnTo>
                          <a:pt x="756" y="800"/>
                        </a:lnTo>
                        <a:lnTo>
                          <a:pt x="756" y="798"/>
                        </a:lnTo>
                        <a:lnTo>
                          <a:pt x="753" y="798"/>
                        </a:lnTo>
                        <a:lnTo>
                          <a:pt x="750" y="798"/>
                        </a:lnTo>
                        <a:lnTo>
                          <a:pt x="748" y="798"/>
                        </a:lnTo>
                        <a:lnTo>
                          <a:pt x="746" y="798"/>
                        </a:lnTo>
                        <a:lnTo>
                          <a:pt x="743" y="797"/>
                        </a:lnTo>
                        <a:lnTo>
                          <a:pt x="742" y="797"/>
                        </a:lnTo>
                        <a:lnTo>
                          <a:pt x="739" y="797"/>
                        </a:lnTo>
                        <a:lnTo>
                          <a:pt x="737" y="797"/>
                        </a:lnTo>
                        <a:lnTo>
                          <a:pt x="735" y="798"/>
                        </a:lnTo>
                        <a:lnTo>
                          <a:pt x="734" y="798"/>
                        </a:lnTo>
                        <a:lnTo>
                          <a:pt x="732" y="798"/>
                        </a:lnTo>
                        <a:lnTo>
                          <a:pt x="731" y="798"/>
                        </a:lnTo>
                        <a:lnTo>
                          <a:pt x="729" y="798"/>
                        </a:lnTo>
                        <a:lnTo>
                          <a:pt x="727" y="798"/>
                        </a:lnTo>
                        <a:lnTo>
                          <a:pt x="724" y="798"/>
                        </a:lnTo>
                        <a:lnTo>
                          <a:pt x="723" y="798"/>
                        </a:lnTo>
                        <a:lnTo>
                          <a:pt x="720" y="798"/>
                        </a:lnTo>
                        <a:lnTo>
                          <a:pt x="718" y="798"/>
                        </a:lnTo>
                        <a:lnTo>
                          <a:pt x="715" y="800"/>
                        </a:lnTo>
                        <a:lnTo>
                          <a:pt x="713" y="800"/>
                        </a:lnTo>
                        <a:lnTo>
                          <a:pt x="712" y="800"/>
                        </a:lnTo>
                        <a:lnTo>
                          <a:pt x="708" y="802"/>
                        </a:lnTo>
                        <a:lnTo>
                          <a:pt x="708" y="803"/>
                        </a:lnTo>
                        <a:lnTo>
                          <a:pt x="707" y="803"/>
                        </a:lnTo>
                        <a:lnTo>
                          <a:pt x="705" y="805"/>
                        </a:lnTo>
                        <a:lnTo>
                          <a:pt x="704" y="806"/>
                        </a:lnTo>
                        <a:lnTo>
                          <a:pt x="701" y="806"/>
                        </a:lnTo>
                        <a:lnTo>
                          <a:pt x="697" y="808"/>
                        </a:lnTo>
                        <a:lnTo>
                          <a:pt x="696" y="810"/>
                        </a:lnTo>
                        <a:lnTo>
                          <a:pt x="694" y="811"/>
                        </a:lnTo>
                        <a:lnTo>
                          <a:pt x="694" y="813"/>
                        </a:lnTo>
                        <a:lnTo>
                          <a:pt x="694" y="816"/>
                        </a:lnTo>
                        <a:lnTo>
                          <a:pt x="694" y="817"/>
                        </a:lnTo>
                        <a:lnTo>
                          <a:pt x="696" y="819"/>
                        </a:lnTo>
                        <a:lnTo>
                          <a:pt x="697" y="822"/>
                        </a:lnTo>
                        <a:lnTo>
                          <a:pt x="699" y="824"/>
                        </a:lnTo>
                        <a:lnTo>
                          <a:pt x="701" y="825"/>
                        </a:lnTo>
                        <a:lnTo>
                          <a:pt x="702" y="827"/>
                        </a:lnTo>
                        <a:lnTo>
                          <a:pt x="705" y="829"/>
                        </a:lnTo>
                        <a:lnTo>
                          <a:pt x="707" y="830"/>
                        </a:lnTo>
                        <a:lnTo>
                          <a:pt x="707" y="832"/>
                        </a:lnTo>
                        <a:lnTo>
                          <a:pt x="708" y="833"/>
                        </a:lnTo>
                        <a:lnTo>
                          <a:pt x="710" y="836"/>
                        </a:lnTo>
                        <a:lnTo>
                          <a:pt x="712" y="838"/>
                        </a:lnTo>
                        <a:lnTo>
                          <a:pt x="712" y="840"/>
                        </a:lnTo>
                        <a:lnTo>
                          <a:pt x="713" y="843"/>
                        </a:lnTo>
                        <a:lnTo>
                          <a:pt x="715" y="844"/>
                        </a:lnTo>
                        <a:lnTo>
                          <a:pt x="716" y="846"/>
                        </a:lnTo>
                        <a:lnTo>
                          <a:pt x="715" y="848"/>
                        </a:lnTo>
                        <a:lnTo>
                          <a:pt x="715" y="849"/>
                        </a:lnTo>
                        <a:lnTo>
                          <a:pt x="716" y="849"/>
                        </a:lnTo>
                        <a:lnTo>
                          <a:pt x="715" y="851"/>
                        </a:lnTo>
                        <a:lnTo>
                          <a:pt x="713" y="852"/>
                        </a:lnTo>
                        <a:lnTo>
                          <a:pt x="712" y="854"/>
                        </a:lnTo>
                        <a:lnTo>
                          <a:pt x="710" y="855"/>
                        </a:lnTo>
                        <a:lnTo>
                          <a:pt x="707" y="857"/>
                        </a:lnTo>
                        <a:lnTo>
                          <a:pt x="705" y="859"/>
                        </a:lnTo>
                        <a:lnTo>
                          <a:pt x="702" y="859"/>
                        </a:lnTo>
                        <a:lnTo>
                          <a:pt x="701" y="859"/>
                        </a:lnTo>
                        <a:lnTo>
                          <a:pt x="697" y="859"/>
                        </a:lnTo>
                        <a:lnTo>
                          <a:pt x="696" y="859"/>
                        </a:lnTo>
                        <a:lnTo>
                          <a:pt x="694" y="860"/>
                        </a:lnTo>
                        <a:lnTo>
                          <a:pt x="693" y="862"/>
                        </a:lnTo>
                        <a:lnTo>
                          <a:pt x="693" y="863"/>
                        </a:lnTo>
                        <a:lnTo>
                          <a:pt x="693" y="865"/>
                        </a:lnTo>
                        <a:lnTo>
                          <a:pt x="693" y="867"/>
                        </a:lnTo>
                        <a:lnTo>
                          <a:pt x="691" y="868"/>
                        </a:lnTo>
                        <a:lnTo>
                          <a:pt x="689" y="870"/>
                        </a:lnTo>
                        <a:lnTo>
                          <a:pt x="688" y="871"/>
                        </a:lnTo>
                        <a:lnTo>
                          <a:pt x="686" y="873"/>
                        </a:lnTo>
                        <a:lnTo>
                          <a:pt x="683" y="873"/>
                        </a:lnTo>
                        <a:lnTo>
                          <a:pt x="682" y="874"/>
                        </a:lnTo>
                        <a:lnTo>
                          <a:pt x="680" y="874"/>
                        </a:lnTo>
                        <a:lnTo>
                          <a:pt x="677" y="876"/>
                        </a:lnTo>
                        <a:lnTo>
                          <a:pt x="675" y="876"/>
                        </a:lnTo>
                        <a:lnTo>
                          <a:pt x="672" y="876"/>
                        </a:lnTo>
                        <a:lnTo>
                          <a:pt x="670" y="876"/>
                        </a:lnTo>
                        <a:lnTo>
                          <a:pt x="667" y="878"/>
                        </a:lnTo>
                        <a:lnTo>
                          <a:pt x="666" y="878"/>
                        </a:lnTo>
                        <a:lnTo>
                          <a:pt x="664" y="878"/>
                        </a:lnTo>
                        <a:lnTo>
                          <a:pt x="663" y="879"/>
                        </a:lnTo>
                        <a:lnTo>
                          <a:pt x="661" y="881"/>
                        </a:lnTo>
                        <a:lnTo>
                          <a:pt x="659" y="882"/>
                        </a:lnTo>
                        <a:lnTo>
                          <a:pt x="658" y="882"/>
                        </a:lnTo>
                        <a:lnTo>
                          <a:pt x="656" y="884"/>
                        </a:lnTo>
                        <a:lnTo>
                          <a:pt x="656" y="886"/>
                        </a:lnTo>
                        <a:lnTo>
                          <a:pt x="656" y="887"/>
                        </a:lnTo>
                        <a:lnTo>
                          <a:pt x="655" y="887"/>
                        </a:lnTo>
                        <a:lnTo>
                          <a:pt x="655" y="889"/>
                        </a:lnTo>
                        <a:lnTo>
                          <a:pt x="653" y="890"/>
                        </a:lnTo>
                        <a:lnTo>
                          <a:pt x="650" y="892"/>
                        </a:lnTo>
                        <a:lnTo>
                          <a:pt x="648" y="893"/>
                        </a:lnTo>
                        <a:lnTo>
                          <a:pt x="647" y="893"/>
                        </a:lnTo>
                        <a:lnTo>
                          <a:pt x="644" y="895"/>
                        </a:lnTo>
                        <a:lnTo>
                          <a:pt x="642" y="897"/>
                        </a:lnTo>
                        <a:lnTo>
                          <a:pt x="640" y="897"/>
                        </a:lnTo>
                        <a:lnTo>
                          <a:pt x="639" y="897"/>
                        </a:lnTo>
                        <a:lnTo>
                          <a:pt x="637" y="897"/>
                        </a:lnTo>
                        <a:lnTo>
                          <a:pt x="636" y="895"/>
                        </a:lnTo>
                        <a:lnTo>
                          <a:pt x="634" y="893"/>
                        </a:lnTo>
                        <a:lnTo>
                          <a:pt x="632" y="893"/>
                        </a:lnTo>
                        <a:lnTo>
                          <a:pt x="629" y="892"/>
                        </a:lnTo>
                        <a:lnTo>
                          <a:pt x="628" y="890"/>
                        </a:lnTo>
                        <a:lnTo>
                          <a:pt x="626" y="889"/>
                        </a:lnTo>
                        <a:lnTo>
                          <a:pt x="625" y="887"/>
                        </a:lnTo>
                        <a:lnTo>
                          <a:pt x="623" y="886"/>
                        </a:lnTo>
                        <a:lnTo>
                          <a:pt x="621" y="886"/>
                        </a:lnTo>
                        <a:lnTo>
                          <a:pt x="620" y="886"/>
                        </a:lnTo>
                        <a:lnTo>
                          <a:pt x="617" y="886"/>
                        </a:lnTo>
                        <a:lnTo>
                          <a:pt x="615" y="886"/>
                        </a:lnTo>
                        <a:lnTo>
                          <a:pt x="613" y="886"/>
                        </a:lnTo>
                        <a:lnTo>
                          <a:pt x="613" y="884"/>
                        </a:lnTo>
                        <a:lnTo>
                          <a:pt x="612" y="884"/>
                        </a:lnTo>
                        <a:lnTo>
                          <a:pt x="610" y="882"/>
                        </a:lnTo>
                        <a:lnTo>
                          <a:pt x="609" y="881"/>
                        </a:lnTo>
                        <a:lnTo>
                          <a:pt x="609" y="879"/>
                        </a:lnTo>
                        <a:lnTo>
                          <a:pt x="609" y="878"/>
                        </a:lnTo>
                        <a:lnTo>
                          <a:pt x="609" y="874"/>
                        </a:lnTo>
                        <a:lnTo>
                          <a:pt x="609" y="873"/>
                        </a:lnTo>
                        <a:lnTo>
                          <a:pt x="607" y="871"/>
                        </a:lnTo>
                        <a:lnTo>
                          <a:pt x="607" y="870"/>
                        </a:lnTo>
                        <a:lnTo>
                          <a:pt x="605" y="870"/>
                        </a:lnTo>
                        <a:lnTo>
                          <a:pt x="604" y="868"/>
                        </a:lnTo>
                        <a:lnTo>
                          <a:pt x="602" y="867"/>
                        </a:lnTo>
                        <a:lnTo>
                          <a:pt x="602" y="865"/>
                        </a:lnTo>
                        <a:lnTo>
                          <a:pt x="601" y="863"/>
                        </a:lnTo>
                        <a:lnTo>
                          <a:pt x="599" y="862"/>
                        </a:lnTo>
                        <a:lnTo>
                          <a:pt x="598" y="860"/>
                        </a:lnTo>
                        <a:lnTo>
                          <a:pt x="596" y="860"/>
                        </a:lnTo>
                        <a:lnTo>
                          <a:pt x="596" y="859"/>
                        </a:lnTo>
                        <a:lnTo>
                          <a:pt x="594" y="859"/>
                        </a:lnTo>
                        <a:lnTo>
                          <a:pt x="594" y="857"/>
                        </a:lnTo>
                        <a:lnTo>
                          <a:pt x="593" y="857"/>
                        </a:lnTo>
                        <a:lnTo>
                          <a:pt x="591" y="855"/>
                        </a:lnTo>
                        <a:lnTo>
                          <a:pt x="591" y="854"/>
                        </a:lnTo>
                        <a:lnTo>
                          <a:pt x="591" y="852"/>
                        </a:lnTo>
                        <a:lnTo>
                          <a:pt x="590" y="851"/>
                        </a:lnTo>
                        <a:lnTo>
                          <a:pt x="590" y="849"/>
                        </a:lnTo>
                        <a:lnTo>
                          <a:pt x="590" y="848"/>
                        </a:lnTo>
                        <a:lnTo>
                          <a:pt x="590" y="846"/>
                        </a:lnTo>
                        <a:lnTo>
                          <a:pt x="588" y="846"/>
                        </a:lnTo>
                        <a:lnTo>
                          <a:pt x="588" y="844"/>
                        </a:lnTo>
                        <a:lnTo>
                          <a:pt x="588" y="843"/>
                        </a:lnTo>
                        <a:lnTo>
                          <a:pt x="586" y="843"/>
                        </a:lnTo>
                        <a:lnTo>
                          <a:pt x="583" y="843"/>
                        </a:lnTo>
                        <a:lnTo>
                          <a:pt x="582" y="843"/>
                        </a:lnTo>
                        <a:lnTo>
                          <a:pt x="580" y="843"/>
                        </a:lnTo>
                        <a:lnTo>
                          <a:pt x="579" y="843"/>
                        </a:lnTo>
                        <a:lnTo>
                          <a:pt x="579" y="841"/>
                        </a:lnTo>
                        <a:lnTo>
                          <a:pt x="575" y="841"/>
                        </a:lnTo>
                        <a:lnTo>
                          <a:pt x="574" y="840"/>
                        </a:lnTo>
                        <a:lnTo>
                          <a:pt x="575" y="840"/>
                        </a:lnTo>
                        <a:lnTo>
                          <a:pt x="575" y="838"/>
                        </a:lnTo>
                        <a:lnTo>
                          <a:pt x="577" y="838"/>
                        </a:lnTo>
                        <a:lnTo>
                          <a:pt x="579" y="838"/>
                        </a:lnTo>
                        <a:lnTo>
                          <a:pt x="580" y="836"/>
                        </a:lnTo>
                        <a:lnTo>
                          <a:pt x="580" y="835"/>
                        </a:lnTo>
                        <a:lnTo>
                          <a:pt x="582" y="833"/>
                        </a:lnTo>
                        <a:lnTo>
                          <a:pt x="582" y="832"/>
                        </a:lnTo>
                        <a:lnTo>
                          <a:pt x="582" y="830"/>
                        </a:lnTo>
                        <a:lnTo>
                          <a:pt x="582" y="829"/>
                        </a:lnTo>
                        <a:lnTo>
                          <a:pt x="582" y="827"/>
                        </a:lnTo>
                        <a:lnTo>
                          <a:pt x="580" y="827"/>
                        </a:lnTo>
                        <a:lnTo>
                          <a:pt x="579" y="827"/>
                        </a:lnTo>
                        <a:lnTo>
                          <a:pt x="577" y="827"/>
                        </a:lnTo>
                        <a:lnTo>
                          <a:pt x="575" y="829"/>
                        </a:lnTo>
                        <a:lnTo>
                          <a:pt x="574" y="829"/>
                        </a:lnTo>
                        <a:lnTo>
                          <a:pt x="572" y="829"/>
                        </a:lnTo>
                        <a:lnTo>
                          <a:pt x="571" y="827"/>
                        </a:lnTo>
                        <a:lnTo>
                          <a:pt x="569" y="825"/>
                        </a:lnTo>
                        <a:lnTo>
                          <a:pt x="567" y="824"/>
                        </a:lnTo>
                        <a:lnTo>
                          <a:pt x="566" y="822"/>
                        </a:lnTo>
                        <a:lnTo>
                          <a:pt x="564" y="821"/>
                        </a:lnTo>
                        <a:lnTo>
                          <a:pt x="564" y="819"/>
                        </a:lnTo>
                        <a:lnTo>
                          <a:pt x="563" y="817"/>
                        </a:lnTo>
                        <a:lnTo>
                          <a:pt x="563" y="816"/>
                        </a:lnTo>
                        <a:lnTo>
                          <a:pt x="561" y="813"/>
                        </a:lnTo>
                        <a:lnTo>
                          <a:pt x="561" y="814"/>
                        </a:lnTo>
                        <a:lnTo>
                          <a:pt x="560" y="814"/>
                        </a:lnTo>
                        <a:lnTo>
                          <a:pt x="558" y="814"/>
                        </a:lnTo>
                        <a:lnTo>
                          <a:pt x="558" y="816"/>
                        </a:lnTo>
                        <a:lnTo>
                          <a:pt x="555" y="817"/>
                        </a:lnTo>
                        <a:lnTo>
                          <a:pt x="550" y="817"/>
                        </a:lnTo>
                        <a:lnTo>
                          <a:pt x="548" y="817"/>
                        </a:lnTo>
                        <a:lnTo>
                          <a:pt x="545" y="816"/>
                        </a:lnTo>
                        <a:lnTo>
                          <a:pt x="544" y="816"/>
                        </a:lnTo>
                        <a:lnTo>
                          <a:pt x="541" y="814"/>
                        </a:lnTo>
                        <a:lnTo>
                          <a:pt x="534" y="814"/>
                        </a:lnTo>
                        <a:lnTo>
                          <a:pt x="531" y="814"/>
                        </a:lnTo>
                        <a:lnTo>
                          <a:pt x="528" y="813"/>
                        </a:lnTo>
                        <a:lnTo>
                          <a:pt x="523" y="811"/>
                        </a:lnTo>
                        <a:lnTo>
                          <a:pt x="514" y="810"/>
                        </a:lnTo>
                        <a:lnTo>
                          <a:pt x="510" y="808"/>
                        </a:lnTo>
                        <a:lnTo>
                          <a:pt x="509" y="808"/>
                        </a:lnTo>
                        <a:lnTo>
                          <a:pt x="504" y="806"/>
                        </a:lnTo>
                        <a:lnTo>
                          <a:pt x="501" y="806"/>
                        </a:lnTo>
                        <a:lnTo>
                          <a:pt x="498" y="805"/>
                        </a:lnTo>
                        <a:lnTo>
                          <a:pt x="495" y="805"/>
                        </a:lnTo>
                        <a:lnTo>
                          <a:pt x="493" y="805"/>
                        </a:lnTo>
                        <a:lnTo>
                          <a:pt x="491" y="806"/>
                        </a:lnTo>
                        <a:lnTo>
                          <a:pt x="490" y="808"/>
                        </a:lnTo>
                        <a:lnTo>
                          <a:pt x="490" y="810"/>
                        </a:lnTo>
                        <a:lnTo>
                          <a:pt x="490" y="814"/>
                        </a:lnTo>
                        <a:lnTo>
                          <a:pt x="490" y="817"/>
                        </a:lnTo>
                        <a:lnTo>
                          <a:pt x="490" y="819"/>
                        </a:lnTo>
                        <a:lnTo>
                          <a:pt x="488" y="819"/>
                        </a:lnTo>
                        <a:lnTo>
                          <a:pt x="488" y="821"/>
                        </a:lnTo>
                        <a:lnTo>
                          <a:pt x="487" y="822"/>
                        </a:lnTo>
                        <a:lnTo>
                          <a:pt x="485" y="824"/>
                        </a:lnTo>
                        <a:lnTo>
                          <a:pt x="485" y="825"/>
                        </a:lnTo>
                        <a:lnTo>
                          <a:pt x="485" y="829"/>
                        </a:lnTo>
                        <a:lnTo>
                          <a:pt x="485" y="830"/>
                        </a:lnTo>
                        <a:lnTo>
                          <a:pt x="485" y="832"/>
                        </a:lnTo>
                        <a:lnTo>
                          <a:pt x="485" y="833"/>
                        </a:lnTo>
                        <a:lnTo>
                          <a:pt x="484" y="835"/>
                        </a:lnTo>
                        <a:lnTo>
                          <a:pt x="484" y="836"/>
                        </a:lnTo>
                        <a:lnTo>
                          <a:pt x="482" y="838"/>
                        </a:lnTo>
                        <a:lnTo>
                          <a:pt x="480" y="840"/>
                        </a:lnTo>
                        <a:lnTo>
                          <a:pt x="480" y="841"/>
                        </a:lnTo>
                        <a:lnTo>
                          <a:pt x="479" y="843"/>
                        </a:lnTo>
                        <a:lnTo>
                          <a:pt x="477" y="843"/>
                        </a:lnTo>
                        <a:lnTo>
                          <a:pt x="476" y="843"/>
                        </a:lnTo>
                        <a:lnTo>
                          <a:pt x="474" y="843"/>
                        </a:lnTo>
                        <a:lnTo>
                          <a:pt x="472" y="840"/>
                        </a:lnTo>
                        <a:lnTo>
                          <a:pt x="471" y="840"/>
                        </a:lnTo>
                        <a:lnTo>
                          <a:pt x="471" y="838"/>
                        </a:lnTo>
                        <a:lnTo>
                          <a:pt x="468" y="838"/>
                        </a:lnTo>
                        <a:lnTo>
                          <a:pt x="469" y="836"/>
                        </a:lnTo>
                        <a:lnTo>
                          <a:pt x="469" y="835"/>
                        </a:lnTo>
                        <a:lnTo>
                          <a:pt x="466" y="835"/>
                        </a:lnTo>
                        <a:lnTo>
                          <a:pt x="466" y="833"/>
                        </a:lnTo>
                        <a:lnTo>
                          <a:pt x="465" y="832"/>
                        </a:lnTo>
                        <a:lnTo>
                          <a:pt x="466" y="830"/>
                        </a:lnTo>
                        <a:lnTo>
                          <a:pt x="466" y="829"/>
                        </a:lnTo>
                        <a:lnTo>
                          <a:pt x="468" y="825"/>
                        </a:lnTo>
                        <a:lnTo>
                          <a:pt x="471" y="825"/>
                        </a:lnTo>
                        <a:lnTo>
                          <a:pt x="472" y="824"/>
                        </a:lnTo>
                        <a:lnTo>
                          <a:pt x="474" y="822"/>
                        </a:lnTo>
                        <a:lnTo>
                          <a:pt x="476" y="822"/>
                        </a:lnTo>
                        <a:lnTo>
                          <a:pt x="477" y="821"/>
                        </a:lnTo>
                        <a:lnTo>
                          <a:pt x="479" y="821"/>
                        </a:lnTo>
                        <a:lnTo>
                          <a:pt x="480" y="819"/>
                        </a:lnTo>
                        <a:lnTo>
                          <a:pt x="482" y="817"/>
                        </a:lnTo>
                        <a:lnTo>
                          <a:pt x="484" y="813"/>
                        </a:lnTo>
                        <a:lnTo>
                          <a:pt x="484" y="811"/>
                        </a:lnTo>
                        <a:lnTo>
                          <a:pt x="484" y="810"/>
                        </a:lnTo>
                        <a:lnTo>
                          <a:pt x="482" y="808"/>
                        </a:lnTo>
                        <a:lnTo>
                          <a:pt x="479" y="808"/>
                        </a:lnTo>
                        <a:lnTo>
                          <a:pt x="477" y="808"/>
                        </a:lnTo>
                        <a:lnTo>
                          <a:pt x="476" y="808"/>
                        </a:lnTo>
                        <a:lnTo>
                          <a:pt x="474" y="808"/>
                        </a:lnTo>
                        <a:lnTo>
                          <a:pt x="472" y="808"/>
                        </a:lnTo>
                        <a:lnTo>
                          <a:pt x="471" y="808"/>
                        </a:lnTo>
                        <a:lnTo>
                          <a:pt x="468" y="808"/>
                        </a:lnTo>
                        <a:lnTo>
                          <a:pt x="466" y="808"/>
                        </a:lnTo>
                        <a:lnTo>
                          <a:pt x="465" y="808"/>
                        </a:lnTo>
                        <a:lnTo>
                          <a:pt x="465" y="806"/>
                        </a:lnTo>
                        <a:lnTo>
                          <a:pt x="465" y="803"/>
                        </a:lnTo>
                        <a:lnTo>
                          <a:pt x="465" y="802"/>
                        </a:lnTo>
                        <a:lnTo>
                          <a:pt x="465" y="800"/>
                        </a:lnTo>
                        <a:lnTo>
                          <a:pt x="463" y="798"/>
                        </a:lnTo>
                        <a:lnTo>
                          <a:pt x="461" y="798"/>
                        </a:lnTo>
                        <a:lnTo>
                          <a:pt x="460" y="795"/>
                        </a:lnTo>
                        <a:lnTo>
                          <a:pt x="458" y="794"/>
                        </a:lnTo>
                        <a:lnTo>
                          <a:pt x="461" y="792"/>
                        </a:lnTo>
                        <a:lnTo>
                          <a:pt x="465" y="792"/>
                        </a:lnTo>
                        <a:lnTo>
                          <a:pt x="466" y="791"/>
                        </a:lnTo>
                        <a:lnTo>
                          <a:pt x="468" y="789"/>
                        </a:lnTo>
                        <a:lnTo>
                          <a:pt x="466" y="787"/>
                        </a:lnTo>
                        <a:lnTo>
                          <a:pt x="466" y="786"/>
                        </a:lnTo>
                        <a:lnTo>
                          <a:pt x="466" y="783"/>
                        </a:lnTo>
                        <a:lnTo>
                          <a:pt x="466" y="781"/>
                        </a:lnTo>
                        <a:lnTo>
                          <a:pt x="466" y="776"/>
                        </a:lnTo>
                        <a:lnTo>
                          <a:pt x="466" y="775"/>
                        </a:lnTo>
                        <a:lnTo>
                          <a:pt x="466" y="771"/>
                        </a:lnTo>
                        <a:lnTo>
                          <a:pt x="465" y="768"/>
                        </a:lnTo>
                        <a:lnTo>
                          <a:pt x="463" y="767"/>
                        </a:lnTo>
                        <a:lnTo>
                          <a:pt x="463" y="762"/>
                        </a:lnTo>
                        <a:lnTo>
                          <a:pt x="465" y="759"/>
                        </a:lnTo>
                        <a:lnTo>
                          <a:pt x="465" y="756"/>
                        </a:lnTo>
                        <a:lnTo>
                          <a:pt x="463" y="752"/>
                        </a:lnTo>
                        <a:lnTo>
                          <a:pt x="465" y="751"/>
                        </a:lnTo>
                        <a:lnTo>
                          <a:pt x="465" y="749"/>
                        </a:lnTo>
                        <a:lnTo>
                          <a:pt x="463" y="749"/>
                        </a:lnTo>
                        <a:lnTo>
                          <a:pt x="461" y="748"/>
                        </a:lnTo>
                        <a:lnTo>
                          <a:pt x="460" y="748"/>
                        </a:lnTo>
                        <a:lnTo>
                          <a:pt x="458" y="746"/>
                        </a:lnTo>
                        <a:lnTo>
                          <a:pt x="453" y="745"/>
                        </a:lnTo>
                        <a:lnTo>
                          <a:pt x="449" y="741"/>
                        </a:lnTo>
                        <a:lnTo>
                          <a:pt x="444" y="738"/>
                        </a:lnTo>
                        <a:lnTo>
                          <a:pt x="439" y="737"/>
                        </a:lnTo>
                        <a:lnTo>
                          <a:pt x="433" y="733"/>
                        </a:lnTo>
                        <a:lnTo>
                          <a:pt x="428" y="732"/>
                        </a:lnTo>
                        <a:lnTo>
                          <a:pt x="425" y="729"/>
                        </a:lnTo>
                        <a:lnTo>
                          <a:pt x="422" y="727"/>
                        </a:lnTo>
                        <a:lnTo>
                          <a:pt x="417" y="724"/>
                        </a:lnTo>
                        <a:lnTo>
                          <a:pt x="412" y="722"/>
                        </a:lnTo>
                        <a:lnTo>
                          <a:pt x="407" y="722"/>
                        </a:lnTo>
                        <a:lnTo>
                          <a:pt x="403" y="722"/>
                        </a:lnTo>
                        <a:lnTo>
                          <a:pt x="398" y="724"/>
                        </a:lnTo>
                        <a:lnTo>
                          <a:pt x="393" y="724"/>
                        </a:lnTo>
                        <a:lnTo>
                          <a:pt x="388" y="726"/>
                        </a:lnTo>
                        <a:lnTo>
                          <a:pt x="382" y="726"/>
                        </a:lnTo>
                        <a:lnTo>
                          <a:pt x="379" y="726"/>
                        </a:lnTo>
                        <a:lnTo>
                          <a:pt x="376" y="726"/>
                        </a:lnTo>
                        <a:lnTo>
                          <a:pt x="373" y="724"/>
                        </a:lnTo>
                        <a:lnTo>
                          <a:pt x="368" y="722"/>
                        </a:lnTo>
                        <a:lnTo>
                          <a:pt x="363" y="719"/>
                        </a:lnTo>
                        <a:lnTo>
                          <a:pt x="358" y="716"/>
                        </a:lnTo>
                        <a:lnTo>
                          <a:pt x="354" y="714"/>
                        </a:lnTo>
                        <a:lnTo>
                          <a:pt x="352" y="714"/>
                        </a:lnTo>
                        <a:lnTo>
                          <a:pt x="350" y="714"/>
                        </a:lnTo>
                        <a:lnTo>
                          <a:pt x="349" y="714"/>
                        </a:lnTo>
                        <a:lnTo>
                          <a:pt x="346" y="716"/>
                        </a:lnTo>
                        <a:lnTo>
                          <a:pt x="343" y="716"/>
                        </a:lnTo>
                        <a:lnTo>
                          <a:pt x="341" y="718"/>
                        </a:lnTo>
                        <a:lnTo>
                          <a:pt x="339" y="718"/>
                        </a:lnTo>
                        <a:lnTo>
                          <a:pt x="336" y="718"/>
                        </a:lnTo>
                        <a:lnTo>
                          <a:pt x="333" y="718"/>
                        </a:lnTo>
                        <a:lnTo>
                          <a:pt x="331" y="716"/>
                        </a:lnTo>
                        <a:lnTo>
                          <a:pt x="330" y="716"/>
                        </a:lnTo>
                        <a:lnTo>
                          <a:pt x="330" y="713"/>
                        </a:lnTo>
                        <a:lnTo>
                          <a:pt x="330" y="711"/>
                        </a:lnTo>
                        <a:lnTo>
                          <a:pt x="331" y="710"/>
                        </a:lnTo>
                        <a:lnTo>
                          <a:pt x="333" y="708"/>
                        </a:lnTo>
                        <a:lnTo>
                          <a:pt x="335" y="708"/>
                        </a:lnTo>
                        <a:lnTo>
                          <a:pt x="336" y="707"/>
                        </a:lnTo>
                        <a:lnTo>
                          <a:pt x="338" y="703"/>
                        </a:lnTo>
                        <a:lnTo>
                          <a:pt x="336" y="700"/>
                        </a:lnTo>
                        <a:lnTo>
                          <a:pt x="338" y="699"/>
                        </a:lnTo>
                        <a:lnTo>
                          <a:pt x="336" y="697"/>
                        </a:lnTo>
                        <a:lnTo>
                          <a:pt x="336" y="695"/>
                        </a:lnTo>
                        <a:lnTo>
                          <a:pt x="336" y="694"/>
                        </a:lnTo>
                        <a:lnTo>
                          <a:pt x="333" y="691"/>
                        </a:lnTo>
                        <a:lnTo>
                          <a:pt x="331" y="691"/>
                        </a:lnTo>
                        <a:lnTo>
                          <a:pt x="328" y="691"/>
                        </a:lnTo>
                        <a:lnTo>
                          <a:pt x="328" y="689"/>
                        </a:lnTo>
                        <a:lnTo>
                          <a:pt x="327" y="689"/>
                        </a:lnTo>
                        <a:lnTo>
                          <a:pt x="325" y="689"/>
                        </a:lnTo>
                        <a:lnTo>
                          <a:pt x="324" y="689"/>
                        </a:lnTo>
                        <a:lnTo>
                          <a:pt x="322" y="689"/>
                        </a:lnTo>
                        <a:lnTo>
                          <a:pt x="322" y="688"/>
                        </a:lnTo>
                        <a:lnTo>
                          <a:pt x="322" y="686"/>
                        </a:lnTo>
                        <a:lnTo>
                          <a:pt x="320" y="686"/>
                        </a:lnTo>
                        <a:lnTo>
                          <a:pt x="317" y="684"/>
                        </a:lnTo>
                        <a:lnTo>
                          <a:pt x="316" y="684"/>
                        </a:lnTo>
                        <a:lnTo>
                          <a:pt x="314" y="684"/>
                        </a:lnTo>
                        <a:lnTo>
                          <a:pt x="312" y="684"/>
                        </a:lnTo>
                        <a:lnTo>
                          <a:pt x="311" y="686"/>
                        </a:lnTo>
                        <a:lnTo>
                          <a:pt x="311" y="688"/>
                        </a:lnTo>
                        <a:lnTo>
                          <a:pt x="308" y="688"/>
                        </a:lnTo>
                        <a:lnTo>
                          <a:pt x="306" y="689"/>
                        </a:lnTo>
                        <a:lnTo>
                          <a:pt x="305" y="691"/>
                        </a:lnTo>
                        <a:lnTo>
                          <a:pt x="303" y="692"/>
                        </a:lnTo>
                        <a:lnTo>
                          <a:pt x="301" y="692"/>
                        </a:lnTo>
                        <a:lnTo>
                          <a:pt x="301" y="694"/>
                        </a:lnTo>
                        <a:lnTo>
                          <a:pt x="298" y="694"/>
                        </a:lnTo>
                        <a:lnTo>
                          <a:pt x="297" y="694"/>
                        </a:lnTo>
                        <a:lnTo>
                          <a:pt x="297" y="692"/>
                        </a:lnTo>
                        <a:lnTo>
                          <a:pt x="295" y="692"/>
                        </a:lnTo>
                        <a:lnTo>
                          <a:pt x="295" y="689"/>
                        </a:lnTo>
                        <a:lnTo>
                          <a:pt x="293" y="688"/>
                        </a:lnTo>
                        <a:lnTo>
                          <a:pt x="292" y="686"/>
                        </a:lnTo>
                        <a:lnTo>
                          <a:pt x="290" y="686"/>
                        </a:lnTo>
                        <a:lnTo>
                          <a:pt x="289" y="686"/>
                        </a:lnTo>
                        <a:lnTo>
                          <a:pt x="286" y="686"/>
                        </a:lnTo>
                        <a:lnTo>
                          <a:pt x="281" y="688"/>
                        </a:lnTo>
                        <a:lnTo>
                          <a:pt x="278" y="688"/>
                        </a:lnTo>
                        <a:lnTo>
                          <a:pt x="274" y="688"/>
                        </a:lnTo>
                        <a:lnTo>
                          <a:pt x="273" y="688"/>
                        </a:lnTo>
                        <a:lnTo>
                          <a:pt x="271" y="688"/>
                        </a:lnTo>
                        <a:lnTo>
                          <a:pt x="265" y="688"/>
                        </a:lnTo>
                        <a:lnTo>
                          <a:pt x="263" y="688"/>
                        </a:lnTo>
                        <a:lnTo>
                          <a:pt x="262" y="686"/>
                        </a:lnTo>
                        <a:lnTo>
                          <a:pt x="260" y="684"/>
                        </a:lnTo>
                        <a:lnTo>
                          <a:pt x="260" y="681"/>
                        </a:lnTo>
                        <a:lnTo>
                          <a:pt x="259" y="676"/>
                        </a:lnTo>
                        <a:lnTo>
                          <a:pt x="257" y="673"/>
                        </a:lnTo>
                        <a:lnTo>
                          <a:pt x="255" y="670"/>
                        </a:lnTo>
                        <a:lnTo>
                          <a:pt x="252" y="669"/>
                        </a:lnTo>
                        <a:lnTo>
                          <a:pt x="251" y="667"/>
                        </a:lnTo>
                        <a:lnTo>
                          <a:pt x="246" y="665"/>
                        </a:lnTo>
                        <a:lnTo>
                          <a:pt x="240" y="665"/>
                        </a:lnTo>
                        <a:lnTo>
                          <a:pt x="233" y="664"/>
                        </a:lnTo>
                        <a:lnTo>
                          <a:pt x="228" y="661"/>
                        </a:lnTo>
                        <a:lnTo>
                          <a:pt x="228" y="659"/>
                        </a:lnTo>
                        <a:lnTo>
                          <a:pt x="230" y="656"/>
                        </a:lnTo>
                        <a:lnTo>
                          <a:pt x="230" y="653"/>
                        </a:lnTo>
                        <a:lnTo>
                          <a:pt x="230" y="648"/>
                        </a:lnTo>
                        <a:lnTo>
                          <a:pt x="230" y="643"/>
                        </a:lnTo>
                        <a:lnTo>
                          <a:pt x="230" y="642"/>
                        </a:lnTo>
                        <a:lnTo>
                          <a:pt x="228" y="638"/>
                        </a:lnTo>
                        <a:lnTo>
                          <a:pt x="227" y="635"/>
                        </a:lnTo>
                        <a:lnTo>
                          <a:pt x="224" y="634"/>
                        </a:lnTo>
                        <a:lnTo>
                          <a:pt x="222" y="631"/>
                        </a:lnTo>
                        <a:lnTo>
                          <a:pt x="221" y="629"/>
                        </a:lnTo>
                        <a:lnTo>
                          <a:pt x="221" y="626"/>
                        </a:lnTo>
                        <a:lnTo>
                          <a:pt x="221" y="624"/>
                        </a:lnTo>
                        <a:lnTo>
                          <a:pt x="221" y="623"/>
                        </a:lnTo>
                        <a:lnTo>
                          <a:pt x="219" y="619"/>
                        </a:lnTo>
                        <a:lnTo>
                          <a:pt x="216" y="618"/>
                        </a:lnTo>
                        <a:lnTo>
                          <a:pt x="214" y="616"/>
                        </a:lnTo>
                        <a:lnTo>
                          <a:pt x="213" y="615"/>
                        </a:lnTo>
                        <a:lnTo>
                          <a:pt x="216" y="615"/>
                        </a:lnTo>
                        <a:lnTo>
                          <a:pt x="214" y="613"/>
                        </a:lnTo>
                        <a:lnTo>
                          <a:pt x="213" y="612"/>
                        </a:lnTo>
                        <a:lnTo>
                          <a:pt x="211" y="613"/>
                        </a:lnTo>
                        <a:lnTo>
                          <a:pt x="209" y="613"/>
                        </a:lnTo>
                        <a:lnTo>
                          <a:pt x="208" y="613"/>
                        </a:lnTo>
                        <a:lnTo>
                          <a:pt x="206" y="613"/>
                        </a:lnTo>
                        <a:lnTo>
                          <a:pt x="205" y="613"/>
                        </a:lnTo>
                        <a:lnTo>
                          <a:pt x="203" y="613"/>
                        </a:lnTo>
                        <a:lnTo>
                          <a:pt x="202" y="612"/>
                        </a:lnTo>
                        <a:lnTo>
                          <a:pt x="200" y="610"/>
                        </a:lnTo>
                        <a:lnTo>
                          <a:pt x="200" y="608"/>
                        </a:lnTo>
                        <a:lnTo>
                          <a:pt x="198" y="607"/>
                        </a:lnTo>
                        <a:lnTo>
                          <a:pt x="198" y="605"/>
                        </a:lnTo>
                        <a:lnTo>
                          <a:pt x="198" y="604"/>
                        </a:lnTo>
                        <a:lnTo>
                          <a:pt x="197" y="602"/>
                        </a:lnTo>
                        <a:lnTo>
                          <a:pt x="197" y="600"/>
                        </a:lnTo>
                        <a:lnTo>
                          <a:pt x="195" y="600"/>
                        </a:lnTo>
                        <a:lnTo>
                          <a:pt x="194" y="602"/>
                        </a:lnTo>
                        <a:lnTo>
                          <a:pt x="194" y="604"/>
                        </a:lnTo>
                        <a:lnTo>
                          <a:pt x="194" y="605"/>
                        </a:lnTo>
                        <a:lnTo>
                          <a:pt x="192" y="604"/>
                        </a:lnTo>
                        <a:lnTo>
                          <a:pt x="192" y="602"/>
                        </a:lnTo>
                        <a:lnTo>
                          <a:pt x="190" y="602"/>
                        </a:lnTo>
                        <a:lnTo>
                          <a:pt x="192" y="600"/>
                        </a:lnTo>
                        <a:lnTo>
                          <a:pt x="194" y="600"/>
                        </a:lnTo>
                        <a:lnTo>
                          <a:pt x="194" y="599"/>
                        </a:lnTo>
                        <a:lnTo>
                          <a:pt x="194" y="597"/>
                        </a:lnTo>
                        <a:lnTo>
                          <a:pt x="194" y="596"/>
                        </a:lnTo>
                        <a:lnTo>
                          <a:pt x="194" y="594"/>
                        </a:lnTo>
                        <a:lnTo>
                          <a:pt x="194" y="593"/>
                        </a:lnTo>
                        <a:lnTo>
                          <a:pt x="192" y="591"/>
                        </a:lnTo>
                        <a:lnTo>
                          <a:pt x="190" y="589"/>
                        </a:lnTo>
                        <a:lnTo>
                          <a:pt x="189" y="589"/>
                        </a:lnTo>
                        <a:lnTo>
                          <a:pt x="187" y="589"/>
                        </a:lnTo>
                        <a:lnTo>
                          <a:pt x="186" y="588"/>
                        </a:lnTo>
                        <a:lnTo>
                          <a:pt x="186" y="586"/>
                        </a:lnTo>
                        <a:lnTo>
                          <a:pt x="186" y="583"/>
                        </a:lnTo>
                        <a:lnTo>
                          <a:pt x="186" y="581"/>
                        </a:lnTo>
                        <a:lnTo>
                          <a:pt x="184" y="580"/>
                        </a:lnTo>
                        <a:lnTo>
                          <a:pt x="184" y="578"/>
                        </a:lnTo>
                        <a:lnTo>
                          <a:pt x="184" y="577"/>
                        </a:lnTo>
                        <a:lnTo>
                          <a:pt x="183" y="577"/>
                        </a:lnTo>
                        <a:lnTo>
                          <a:pt x="181" y="575"/>
                        </a:lnTo>
                        <a:lnTo>
                          <a:pt x="179" y="575"/>
                        </a:lnTo>
                        <a:lnTo>
                          <a:pt x="178" y="575"/>
                        </a:lnTo>
                        <a:lnTo>
                          <a:pt x="178" y="573"/>
                        </a:lnTo>
                        <a:lnTo>
                          <a:pt x="176" y="575"/>
                        </a:lnTo>
                        <a:lnTo>
                          <a:pt x="175" y="575"/>
                        </a:lnTo>
                        <a:lnTo>
                          <a:pt x="173" y="575"/>
                        </a:lnTo>
                        <a:lnTo>
                          <a:pt x="173" y="577"/>
                        </a:lnTo>
                        <a:lnTo>
                          <a:pt x="171" y="577"/>
                        </a:lnTo>
                        <a:lnTo>
                          <a:pt x="170" y="577"/>
                        </a:lnTo>
                        <a:lnTo>
                          <a:pt x="168" y="575"/>
                        </a:lnTo>
                        <a:lnTo>
                          <a:pt x="162" y="570"/>
                        </a:lnTo>
                        <a:lnTo>
                          <a:pt x="160" y="570"/>
                        </a:lnTo>
                        <a:lnTo>
                          <a:pt x="159" y="569"/>
                        </a:lnTo>
                        <a:lnTo>
                          <a:pt x="156" y="570"/>
                        </a:lnTo>
                        <a:lnTo>
                          <a:pt x="154" y="570"/>
                        </a:lnTo>
                        <a:lnTo>
                          <a:pt x="152" y="570"/>
                        </a:lnTo>
                        <a:lnTo>
                          <a:pt x="151" y="572"/>
                        </a:lnTo>
                        <a:lnTo>
                          <a:pt x="146" y="570"/>
                        </a:lnTo>
                        <a:lnTo>
                          <a:pt x="141" y="569"/>
                        </a:lnTo>
                        <a:lnTo>
                          <a:pt x="133" y="567"/>
                        </a:lnTo>
                        <a:lnTo>
                          <a:pt x="129" y="567"/>
                        </a:lnTo>
                        <a:lnTo>
                          <a:pt x="127" y="566"/>
                        </a:lnTo>
                        <a:lnTo>
                          <a:pt x="127" y="564"/>
                        </a:lnTo>
                        <a:lnTo>
                          <a:pt x="126" y="564"/>
                        </a:lnTo>
                        <a:lnTo>
                          <a:pt x="126" y="562"/>
                        </a:lnTo>
                        <a:lnTo>
                          <a:pt x="124" y="561"/>
                        </a:lnTo>
                        <a:lnTo>
                          <a:pt x="122" y="558"/>
                        </a:lnTo>
                        <a:lnTo>
                          <a:pt x="121" y="556"/>
                        </a:lnTo>
                        <a:lnTo>
                          <a:pt x="119" y="554"/>
                        </a:lnTo>
                        <a:lnTo>
                          <a:pt x="119" y="553"/>
                        </a:lnTo>
                        <a:lnTo>
                          <a:pt x="119" y="551"/>
                        </a:lnTo>
                        <a:lnTo>
                          <a:pt x="119" y="550"/>
                        </a:lnTo>
                        <a:lnTo>
                          <a:pt x="118" y="548"/>
                        </a:lnTo>
                        <a:lnTo>
                          <a:pt x="116" y="547"/>
                        </a:lnTo>
                        <a:lnTo>
                          <a:pt x="116" y="545"/>
                        </a:lnTo>
                        <a:lnTo>
                          <a:pt x="116" y="543"/>
                        </a:lnTo>
                        <a:lnTo>
                          <a:pt x="114" y="542"/>
                        </a:lnTo>
                        <a:lnTo>
                          <a:pt x="114" y="540"/>
                        </a:lnTo>
                        <a:lnTo>
                          <a:pt x="113" y="540"/>
                        </a:lnTo>
                        <a:lnTo>
                          <a:pt x="111" y="540"/>
                        </a:lnTo>
                        <a:lnTo>
                          <a:pt x="110" y="539"/>
                        </a:lnTo>
                        <a:lnTo>
                          <a:pt x="108" y="539"/>
                        </a:lnTo>
                        <a:lnTo>
                          <a:pt x="107" y="537"/>
                        </a:lnTo>
                        <a:lnTo>
                          <a:pt x="105" y="535"/>
                        </a:lnTo>
                        <a:lnTo>
                          <a:pt x="103" y="534"/>
                        </a:lnTo>
                        <a:lnTo>
                          <a:pt x="103" y="532"/>
                        </a:lnTo>
                        <a:lnTo>
                          <a:pt x="103" y="531"/>
                        </a:lnTo>
                        <a:lnTo>
                          <a:pt x="102" y="531"/>
                        </a:lnTo>
                        <a:lnTo>
                          <a:pt x="100" y="529"/>
                        </a:lnTo>
                        <a:lnTo>
                          <a:pt x="100" y="528"/>
                        </a:lnTo>
                        <a:lnTo>
                          <a:pt x="99" y="526"/>
                        </a:lnTo>
                        <a:lnTo>
                          <a:pt x="97" y="524"/>
                        </a:lnTo>
                        <a:lnTo>
                          <a:pt x="99" y="521"/>
                        </a:lnTo>
                        <a:lnTo>
                          <a:pt x="99" y="520"/>
                        </a:lnTo>
                        <a:lnTo>
                          <a:pt x="100" y="518"/>
                        </a:lnTo>
                        <a:lnTo>
                          <a:pt x="102" y="516"/>
                        </a:lnTo>
                        <a:lnTo>
                          <a:pt x="103" y="516"/>
                        </a:lnTo>
                        <a:lnTo>
                          <a:pt x="105" y="515"/>
                        </a:lnTo>
                        <a:lnTo>
                          <a:pt x="107" y="515"/>
                        </a:lnTo>
                        <a:lnTo>
                          <a:pt x="108" y="513"/>
                        </a:lnTo>
                        <a:lnTo>
                          <a:pt x="108" y="512"/>
                        </a:lnTo>
                        <a:lnTo>
                          <a:pt x="108" y="510"/>
                        </a:lnTo>
                        <a:lnTo>
                          <a:pt x="107" y="510"/>
                        </a:lnTo>
                        <a:lnTo>
                          <a:pt x="105" y="509"/>
                        </a:lnTo>
                        <a:lnTo>
                          <a:pt x="105" y="507"/>
                        </a:lnTo>
                        <a:lnTo>
                          <a:pt x="103" y="507"/>
                        </a:lnTo>
                        <a:lnTo>
                          <a:pt x="103" y="505"/>
                        </a:lnTo>
                        <a:lnTo>
                          <a:pt x="102" y="505"/>
                        </a:lnTo>
                        <a:lnTo>
                          <a:pt x="102" y="504"/>
                        </a:lnTo>
                        <a:lnTo>
                          <a:pt x="102" y="502"/>
                        </a:lnTo>
                        <a:lnTo>
                          <a:pt x="102" y="501"/>
                        </a:lnTo>
                        <a:lnTo>
                          <a:pt x="103" y="499"/>
                        </a:lnTo>
                        <a:lnTo>
                          <a:pt x="105" y="497"/>
                        </a:lnTo>
                        <a:lnTo>
                          <a:pt x="107" y="496"/>
                        </a:lnTo>
                        <a:lnTo>
                          <a:pt x="107" y="494"/>
                        </a:lnTo>
                        <a:lnTo>
                          <a:pt x="107" y="493"/>
                        </a:lnTo>
                        <a:lnTo>
                          <a:pt x="107" y="491"/>
                        </a:lnTo>
                        <a:lnTo>
                          <a:pt x="107" y="488"/>
                        </a:lnTo>
                        <a:lnTo>
                          <a:pt x="107" y="486"/>
                        </a:lnTo>
                        <a:lnTo>
                          <a:pt x="105" y="485"/>
                        </a:lnTo>
                        <a:lnTo>
                          <a:pt x="105" y="483"/>
                        </a:lnTo>
                        <a:lnTo>
                          <a:pt x="103" y="482"/>
                        </a:lnTo>
                        <a:lnTo>
                          <a:pt x="102" y="478"/>
                        </a:lnTo>
                        <a:lnTo>
                          <a:pt x="99" y="477"/>
                        </a:lnTo>
                        <a:lnTo>
                          <a:pt x="97" y="475"/>
                        </a:lnTo>
                        <a:lnTo>
                          <a:pt x="97" y="472"/>
                        </a:lnTo>
                        <a:lnTo>
                          <a:pt x="95" y="471"/>
                        </a:lnTo>
                        <a:lnTo>
                          <a:pt x="95" y="469"/>
                        </a:lnTo>
                        <a:lnTo>
                          <a:pt x="95" y="467"/>
                        </a:lnTo>
                        <a:lnTo>
                          <a:pt x="94" y="466"/>
                        </a:lnTo>
                        <a:lnTo>
                          <a:pt x="94" y="464"/>
                        </a:lnTo>
                        <a:lnTo>
                          <a:pt x="94" y="463"/>
                        </a:lnTo>
                        <a:lnTo>
                          <a:pt x="94" y="461"/>
                        </a:lnTo>
                        <a:lnTo>
                          <a:pt x="95" y="461"/>
                        </a:lnTo>
                        <a:lnTo>
                          <a:pt x="95" y="463"/>
                        </a:lnTo>
                        <a:lnTo>
                          <a:pt x="97" y="463"/>
                        </a:lnTo>
                        <a:lnTo>
                          <a:pt x="99" y="463"/>
                        </a:lnTo>
                        <a:lnTo>
                          <a:pt x="99" y="461"/>
                        </a:lnTo>
                        <a:lnTo>
                          <a:pt x="100" y="459"/>
                        </a:lnTo>
                        <a:lnTo>
                          <a:pt x="99" y="458"/>
                        </a:lnTo>
                        <a:lnTo>
                          <a:pt x="97" y="458"/>
                        </a:lnTo>
                        <a:lnTo>
                          <a:pt x="97" y="456"/>
                        </a:lnTo>
                        <a:lnTo>
                          <a:pt x="95" y="456"/>
                        </a:lnTo>
                        <a:lnTo>
                          <a:pt x="92" y="456"/>
                        </a:lnTo>
                        <a:lnTo>
                          <a:pt x="91" y="455"/>
                        </a:lnTo>
                        <a:lnTo>
                          <a:pt x="89" y="456"/>
                        </a:lnTo>
                        <a:lnTo>
                          <a:pt x="89" y="455"/>
                        </a:lnTo>
                        <a:lnTo>
                          <a:pt x="89" y="453"/>
                        </a:lnTo>
                        <a:lnTo>
                          <a:pt x="89" y="452"/>
                        </a:lnTo>
                        <a:lnTo>
                          <a:pt x="91" y="450"/>
                        </a:lnTo>
                        <a:lnTo>
                          <a:pt x="89" y="448"/>
                        </a:lnTo>
                        <a:lnTo>
                          <a:pt x="89" y="447"/>
                        </a:lnTo>
                        <a:lnTo>
                          <a:pt x="89" y="445"/>
                        </a:lnTo>
                        <a:lnTo>
                          <a:pt x="89" y="444"/>
                        </a:lnTo>
                        <a:lnTo>
                          <a:pt x="89" y="442"/>
                        </a:lnTo>
                        <a:lnTo>
                          <a:pt x="88" y="440"/>
                        </a:lnTo>
                        <a:lnTo>
                          <a:pt x="88" y="439"/>
                        </a:lnTo>
                        <a:lnTo>
                          <a:pt x="88" y="437"/>
                        </a:lnTo>
                        <a:lnTo>
                          <a:pt x="88" y="434"/>
                        </a:lnTo>
                        <a:lnTo>
                          <a:pt x="88" y="433"/>
                        </a:lnTo>
                        <a:lnTo>
                          <a:pt x="88" y="431"/>
                        </a:lnTo>
                        <a:lnTo>
                          <a:pt x="88" y="429"/>
                        </a:lnTo>
                        <a:lnTo>
                          <a:pt x="89" y="428"/>
                        </a:lnTo>
                        <a:lnTo>
                          <a:pt x="88" y="426"/>
                        </a:lnTo>
                        <a:lnTo>
                          <a:pt x="84" y="428"/>
                        </a:lnTo>
                        <a:lnTo>
                          <a:pt x="83" y="428"/>
                        </a:lnTo>
                        <a:lnTo>
                          <a:pt x="78" y="429"/>
                        </a:lnTo>
                        <a:lnTo>
                          <a:pt x="75" y="431"/>
                        </a:lnTo>
                        <a:lnTo>
                          <a:pt x="72" y="434"/>
                        </a:lnTo>
                        <a:lnTo>
                          <a:pt x="70" y="434"/>
                        </a:lnTo>
                        <a:lnTo>
                          <a:pt x="69" y="436"/>
                        </a:lnTo>
                        <a:lnTo>
                          <a:pt x="69" y="437"/>
                        </a:lnTo>
                        <a:lnTo>
                          <a:pt x="67" y="436"/>
                        </a:lnTo>
                        <a:lnTo>
                          <a:pt x="65" y="436"/>
                        </a:lnTo>
                        <a:lnTo>
                          <a:pt x="65" y="434"/>
                        </a:lnTo>
                        <a:lnTo>
                          <a:pt x="64" y="434"/>
                        </a:lnTo>
                        <a:lnTo>
                          <a:pt x="64" y="433"/>
                        </a:lnTo>
                        <a:lnTo>
                          <a:pt x="64" y="431"/>
                        </a:lnTo>
                        <a:lnTo>
                          <a:pt x="64" y="429"/>
                        </a:lnTo>
                        <a:lnTo>
                          <a:pt x="64" y="428"/>
                        </a:lnTo>
                        <a:lnTo>
                          <a:pt x="64" y="426"/>
                        </a:lnTo>
                        <a:lnTo>
                          <a:pt x="64" y="425"/>
                        </a:lnTo>
                        <a:lnTo>
                          <a:pt x="64" y="423"/>
                        </a:lnTo>
                        <a:lnTo>
                          <a:pt x="64" y="421"/>
                        </a:lnTo>
                        <a:lnTo>
                          <a:pt x="62" y="420"/>
                        </a:lnTo>
                        <a:lnTo>
                          <a:pt x="61" y="418"/>
                        </a:lnTo>
                        <a:lnTo>
                          <a:pt x="59" y="417"/>
                        </a:lnTo>
                        <a:lnTo>
                          <a:pt x="59" y="415"/>
                        </a:lnTo>
                        <a:lnTo>
                          <a:pt x="57" y="415"/>
                        </a:lnTo>
                        <a:lnTo>
                          <a:pt x="57" y="414"/>
                        </a:lnTo>
                        <a:lnTo>
                          <a:pt x="56" y="412"/>
                        </a:lnTo>
                        <a:lnTo>
                          <a:pt x="53" y="410"/>
                        </a:lnTo>
                        <a:lnTo>
                          <a:pt x="51" y="410"/>
                        </a:lnTo>
                        <a:lnTo>
                          <a:pt x="49" y="409"/>
                        </a:lnTo>
                        <a:lnTo>
                          <a:pt x="49" y="410"/>
                        </a:lnTo>
                        <a:lnTo>
                          <a:pt x="48" y="409"/>
                        </a:lnTo>
                        <a:lnTo>
                          <a:pt x="46" y="409"/>
                        </a:lnTo>
                        <a:lnTo>
                          <a:pt x="45" y="409"/>
                        </a:lnTo>
                        <a:lnTo>
                          <a:pt x="43" y="407"/>
                        </a:lnTo>
                        <a:lnTo>
                          <a:pt x="42" y="407"/>
                        </a:lnTo>
                        <a:lnTo>
                          <a:pt x="40" y="407"/>
                        </a:lnTo>
                        <a:lnTo>
                          <a:pt x="40" y="406"/>
                        </a:lnTo>
                        <a:lnTo>
                          <a:pt x="40" y="404"/>
                        </a:lnTo>
                        <a:lnTo>
                          <a:pt x="38" y="402"/>
                        </a:lnTo>
                        <a:lnTo>
                          <a:pt x="38" y="401"/>
                        </a:lnTo>
                        <a:lnTo>
                          <a:pt x="38" y="399"/>
                        </a:lnTo>
                        <a:lnTo>
                          <a:pt x="40" y="398"/>
                        </a:lnTo>
                        <a:lnTo>
                          <a:pt x="42" y="398"/>
                        </a:lnTo>
                        <a:lnTo>
                          <a:pt x="42" y="396"/>
                        </a:lnTo>
                        <a:lnTo>
                          <a:pt x="43" y="396"/>
                        </a:lnTo>
                        <a:lnTo>
                          <a:pt x="43" y="394"/>
                        </a:lnTo>
                        <a:lnTo>
                          <a:pt x="42" y="394"/>
                        </a:lnTo>
                        <a:lnTo>
                          <a:pt x="42" y="393"/>
                        </a:lnTo>
                        <a:lnTo>
                          <a:pt x="40" y="393"/>
                        </a:lnTo>
                        <a:lnTo>
                          <a:pt x="40" y="391"/>
                        </a:lnTo>
                        <a:lnTo>
                          <a:pt x="42" y="390"/>
                        </a:lnTo>
                        <a:lnTo>
                          <a:pt x="42" y="387"/>
                        </a:lnTo>
                        <a:lnTo>
                          <a:pt x="42" y="385"/>
                        </a:lnTo>
                        <a:lnTo>
                          <a:pt x="42" y="383"/>
                        </a:lnTo>
                        <a:lnTo>
                          <a:pt x="40" y="383"/>
                        </a:lnTo>
                        <a:lnTo>
                          <a:pt x="40" y="382"/>
                        </a:lnTo>
                        <a:lnTo>
                          <a:pt x="38" y="380"/>
                        </a:lnTo>
                        <a:lnTo>
                          <a:pt x="37" y="379"/>
                        </a:lnTo>
                        <a:lnTo>
                          <a:pt x="35" y="377"/>
                        </a:lnTo>
                        <a:lnTo>
                          <a:pt x="35" y="375"/>
                        </a:lnTo>
                        <a:lnTo>
                          <a:pt x="35" y="372"/>
                        </a:lnTo>
                        <a:lnTo>
                          <a:pt x="34" y="371"/>
                        </a:lnTo>
                        <a:lnTo>
                          <a:pt x="35" y="368"/>
                        </a:lnTo>
                        <a:lnTo>
                          <a:pt x="35" y="363"/>
                        </a:lnTo>
                        <a:lnTo>
                          <a:pt x="35" y="360"/>
                        </a:lnTo>
                        <a:lnTo>
                          <a:pt x="35" y="358"/>
                        </a:lnTo>
                        <a:lnTo>
                          <a:pt x="34" y="356"/>
                        </a:lnTo>
                        <a:lnTo>
                          <a:pt x="34" y="355"/>
                        </a:lnTo>
                        <a:lnTo>
                          <a:pt x="30" y="352"/>
                        </a:lnTo>
                        <a:lnTo>
                          <a:pt x="29" y="347"/>
                        </a:lnTo>
                        <a:lnTo>
                          <a:pt x="29" y="344"/>
                        </a:lnTo>
                        <a:lnTo>
                          <a:pt x="29" y="341"/>
                        </a:lnTo>
                        <a:lnTo>
                          <a:pt x="30" y="339"/>
                        </a:lnTo>
                        <a:lnTo>
                          <a:pt x="32" y="334"/>
                        </a:lnTo>
                        <a:lnTo>
                          <a:pt x="34" y="331"/>
                        </a:lnTo>
                        <a:lnTo>
                          <a:pt x="35" y="328"/>
                        </a:lnTo>
                        <a:lnTo>
                          <a:pt x="34" y="326"/>
                        </a:lnTo>
                        <a:lnTo>
                          <a:pt x="34" y="323"/>
                        </a:lnTo>
                        <a:lnTo>
                          <a:pt x="32" y="318"/>
                        </a:lnTo>
                        <a:lnTo>
                          <a:pt x="30" y="314"/>
                        </a:lnTo>
                        <a:lnTo>
                          <a:pt x="29" y="309"/>
                        </a:lnTo>
                        <a:lnTo>
                          <a:pt x="29" y="307"/>
                        </a:lnTo>
                        <a:lnTo>
                          <a:pt x="27" y="307"/>
                        </a:lnTo>
                        <a:lnTo>
                          <a:pt x="26" y="306"/>
                        </a:lnTo>
                        <a:lnTo>
                          <a:pt x="24" y="306"/>
                        </a:lnTo>
                        <a:lnTo>
                          <a:pt x="23" y="306"/>
                        </a:lnTo>
                        <a:lnTo>
                          <a:pt x="23" y="304"/>
                        </a:lnTo>
                        <a:lnTo>
                          <a:pt x="21" y="304"/>
                        </a:lnTo>
                        <a:lnTo>
                          <a:pt x="21" y="303"/>
                        </a:lnTo>
                        <a:lnTo>
                          <a:pt x="19" y="303"/>
                        </a:lnTo>
                        <a:lnTo>
                          <a:pt x="19" y="301"/>
                        </a:lnTo>
                        <a:lnTo>
                          <a:pt x="19" y="299"/>
                        </a:lnTo>
                        <a:lnTo>
                          <a:pt x="18" y="296"/>
                        </a:lnTo>
                        <a:lnTo>
                          <a:pt x="19" y="296"/>
                        </a:lnTo>
                        <a:lnTo>
                          <a:pt x="19" y="295"/>
                        </a:lnTo>
                        <a:lnTo>
                          <a:pt x="21" y="293"/>
                        </a:lnTo>
                        <a:lnTo>
                          <a:pt x="21" y="292"/>
                        </a:lnTo>
                        <a:lnTo>
                          <a:pt x="23" y="292"/>
                        </a:lnTo>
                        <a:lnTo>
                          <a:pt x="24" y="292"/>
                        </a:lnTo>
                        <a:lnTo>
                          <a:pt x="26" y="292"/>
                        </a:lnTo>
                        <a:lnTo>
                          <a:pt x="26" y="290"/>
                        </a:lnTo>
                        <a:lnTo>
                          <a:pt x="27" y="290"/>
                        </a:lnTo>
                        <a:lnTo>
                          <a:pt x="29" y="288"/>
                        </a:lnTo>
                        <a:lnTo>
                          <a:pt x="27" y="288"/>
                        </a:lnTo>
                        <a:lnTo>
                          <a:pt x="27" y="287"/>
                        </a:lnTo>
                        <a:lnTo>
                          <a:pt x="27" y="285"/>
                        </a:lnTo>
                        <a:lnTo>
                          <a:pt x="27" y="284"/>
                        </a:lnTo>
                        <a:lnTo>
                          <a:pt x="26" y="284"/>
                        </a:lnTo>
                        <a:lnTo>
                          <a:pt x="26" y="282"/>
                        </a:lnTo>
                        <a:lnTo>
                          <a:pt x="24" y="282"/>
                        </a:lnTo>
                        <a:lnTo>
                          <a:pt x="24" y="280"/>
                        </a:lnTo>
                        <a:lnTo>
                          <a:pt x="21" y="279"/>
                        </a:lnTo>
                        <a:lnTo>
                          <a:pt x="19" y="277"/>
                        </a:lnTo>
                        <a:lnTo>
                          <a:pt x="18" y="276"/>
                        </a:lnTo>
                        <a:lnTo>
                          <a:pt x="16" y="273"/>
                        </a:lnTo>
                        <a:lnTo>
                          <a:pt x="15" y="271"/>
                        </a:lnTo>
                        <a:lnTo>
                          <a:pt x="15" y="269"/>
                        </a:lnTo>
                        <a:lnTo>
                          <a:pt x="13" y="269"/>
                        </a:lnTo>
                        <a:lnTo>
                          <a:pt x="11" y="269"/>
                        </a:lnTo>
                        <a:lnTo>
                          <a:pt x="11" y="268"/>
                        </a:lnTo>
                        <a:lnTo>
                          <a:pt x="8" y="265"/>
                        </a:lnTo>
                        <a:lnTo>
                          <a:pt x="5" y="263"/>
                        </a:lnTo>
                        <a:lnTo>
                          <a:pt x="5" y="261"/>
                        </a:lnTo>
                        <a:lnTo>
                          <a:pt x="5" y="260"/>
                        </a:lnTo>
                        <a:lnTo>
                          <a:pt x="5" y="257"/>
                        </a:lnTo>
                        <a:lnTo>
                          <a:pt x="4" y="254"/>
                        </a:lnTo>
                        <a:lnTo>
                          <a:pt x="4" y="250"/>
                        </a:lnTo>
                        <a:lnTo>
                          <a:pt x="4" y="249"/>
                        </a:lnTo>
                        <a:lnTo>
                          <a:pt x="4" y="247"/>
                        </a:lnTo>
                        <a:lnTo>
                          <a:pt x="4" y="246"/>
                        </a:lnTo>
                        <a:lnTo>
                          <a:pt x="4" y="244"/>
                        </a:lnTo>
                        <a:lnTo>
                          <a:pt x="2" y="242"/>
                        </a:lnTo>
                        <a:lnTo>
                          <a:pt x="0" y="239"/>
                        </a:lnTo>
                        <a:lnTo>
                          <a:pt x="0" y="238"/>
                        </a:lnTo>
                        <a:lnTo>
                          <a:pt x="0" y="236"/>
                        </a:lnTo>
                        <a:lnTo>
                          <a:pt x="2" y="235"/>
                        </a:lnTo>
                        <a:lnTo>
                          <a:pt x="4" y="233"/>
                        </a:lnTo>
                        <a:lnTo>
                          <a:pt x="7" y="230"/>
                        </a:lnTo>
                        <a:lnTo>
                          <a:pt x="11" y="227"/>
                        </a:lnTo>
                        <a:lnTo>
                          <a:pt x="21" y="220"/>
                        </a:lnTo>
                        <a:lnTo>
                          <a:pt x="27" y="216"/>
                        </a:lnTo>
                        <a:lnTo>
                          <a:pt x="37" y="211"/>
                        </a:lnTo>
                        <a:lnTo>
                          <a:pt x="42" y="206"/>
                        </a:lnTo>
                        <a:lnTo>
                          <a:pt x="46" y="204"/>
                        </a:lnTo>
                        <a:lnTo>
                          <a:pt x="49" y="203"/>
                        </a:lnTo>
                        <a:lnTo>
                          <a:pt x="51" y="203"/>
                        </a:lnTo>
                        <a:lnTo>
                          <a:pt x="53" y="204"/>
                        </a:lnTo>
                        <a:lnTo>
                          <a:pt x="56" y="204"/>
                        </a:lnTo>
                        <a:lnTo>
                          <a:pt x="57" y="204"/>
                        </a:lnTo>
                        <a:lnTo>
                          <a:pt x="59" y="204"/>
                        </a:lnTo>
                        <a:lnTo>
                          <a:pt x="62" y="203"/>
                        </a:lnTo>
                        <a:lnTo>
                          <a:pt x="67" y="200"/>
                        </a:lnTo>
                        <a:lnTo>
                          <a:pt x="72" y="195"/>
                        </a:lnTo>
                        <a:lnTo>
                          <a:pt x="76" y="190"/>
                        </a:lnTo>
                        <a:lnTo>
                          <a:pt x="80" y="189"/>
                        </a:lnTo>
                        <a:lnTo>
                          <a:pt x="83" y="189"/>
                        </a:lnTo>
                        <a:lnTo>
                          <a:pt x="89" y="189"/>
                        </a:lnTo>
                        <a:lnTo>
                          <a:pt x="94" y="189"/>
                        </a:lnTo>
                        <a:lnTo>
                          <a:pt x="97" y="187"/>
                        </a:lnTo>
                        <a:lnTo>
                          <a:pt x="100" y="187"/>
                        </a:lnTo>
                        <a:lnTo>
                          <a:pt x="103" y="185"/>
                        </a:lnTo>
                        <a:lnTo>
                          <a:pt x="105" y="182"/>
                        </a:lnTo>
                        <a:lnTo>
                          <a:pt x="105" y="181"/>
                        </a:lnTo>
                        <a:lnTo>
                          <a:pt x="105" y="179"/>
                        </a:lnTo>
                        <a:lnTo>
                          <a:pt x="107" y="177"/>
                        </a:lnTo>
                        <a:lnTo>
                          <a:pt x="107" y="176"/>
                        </a:lnTo>
                        <a:lnTo>
                          <a:pt x="108" y="173"/>
                        </a:lnTo>
                        <a:lnTo>
                          <a:pt x="110" y="173"/>
                        </a:lnTo>
                        <a:lnTo>
                          <a:pt x="110" y="171"/>
                        </a:lnTo>
                        <a:lnTo>
                          <a:pt x="108" y="171"/>
                        </a:lnTo>
                        <a:lnTo>
                          <a:pt x="107" y="171"/>
                        </a:lnTo>
                        <a:lnTo>
                          <a:pt x="107" y="170"/>
                        </a:lnTo>
                        <a:lnTo>
                          <a:pt x="107" y="168"/>
                        </a:lnTo>
                        <a:lnTo>
                          <a:pt x="105" y="166"/>
                        </a:lnTo>
                        <a:lnTo>
                          <a:pt x="105" y="165"/>
                        </a:lnTo>
                        <a:lnTo>
                          <a:pt x="105" y="163"/>
                        </a:lnTo>
                        <a:lnTo>
                          <a:pt x="105" y="162"/>
                        </a:lnTo>
                        <a:lnTo>
                          <a:pt x="105" y="160"/>
                        </a:lnTo>
                        <a:lnTo>
                          <a:pt x="105" y="158"/>
                        </a:lnTo>
                        <a:lnTo>
                          <a:pt x="103" y="158"/>
                        </a:lnTo>
                        <a:lnTo>
                          <a:pt x="102" y="157"/>
                        </a:lnTo>
                        <a:lnTo>
                          <a:pt x="100" y="155"/>
                        </a:lnTo>
                        <a:lnTo>
                          <a:pt x="97" y="154"/>
                        </a:lnTo>
                        <a:lnTo>
                          <a:pt x="95" y="154"/>
                        </a:lnTo>
                        <a:lnTo>
                          <a:pt x="94" y="152"/>
                        </a:lnTo>
                        <a:lnTo>
                          <a:pt x="92" y="149"/>
                        </a:lnTo>
                        <a:lnTo>
                          <a:pt x="91" y="147"/>
                        </a:lnTo>
                        <a:lnTo>
                          <a:pt x="92" y="146"/>
                        </a:lnTo>
                        <a:lnTo>
                          <a:pt x="92" y="144"/>
                        </a:lnTo>
                        <a:lnTo>
                          <a:pt x="94" y="143"/>
                        </a:lnTo>
                        <a:lnTo>
                          <a:pt x="94" y="141"/>
                        </a:lnTo>
                        <a:lnTo>
                          <a:pt x="95" y="139"/>
                        </a:lnTo>
                        <a:lnTo>
                          <a:pt x="95" y="138"/>
                        </a:lnTo>
                        <a:lnTo>
                          <a:pt x="95" y="136"/>
                        </a:lnTo>
                        <a:lnTo>
                          <a:pt x="97" y="135"/>
                        </a:lnTo>
                        <a:lnTo>
                          <a:pt x="97" y="133"/>
                        </a:lnTo>
                        <a:lnTo>
                          <a:pt x="99" y="133"/>
                        </a:lnTo>
                        <a:lnTo>
                          <a:pt x="100" y="132"/>
                        </a:lnTo>
                        <a:lnTo>
                          <a:pt x="102" y="130"/>
                        </a:lnTo>
                        <a:lnTo>
                          <a:pt x="103" y="130"/>
                        </a:lnTo>
                        <a:lnTo>
                          <a:pt x="103" y="128"/>
                        </a:lnTo>
                        <a:lnTo>
                          <a:pt x="105" y="127"/>
                        </a:lnTo>
                        <a:lnTo>
                          <a:pt x="107" y="124"/>
                        </a:lnTo>
                        <a:lnTo>
                          <a:pt x="110" y="119"/>
                        </a:lnTo>
                        <a:lnTo>
                          <a:pt x="116" y="111"/>
                        </a:lnTo>
                        <a:lnTo>
                          <a:pt x="119" y="105"/>
                        </a:lnTo>
                        <a:lnTo>
                          <a:pt x="124" y="97"/>
                        </a:lnTo>
                        <a:lnTo>
                          <a:pt x="130" y="86"/>
                        </a:lnTo>
                        <a:lnTo>
                          <a:pt x="135" y="78"/>
                        </a:lnTo>
                        <a:lnTo>
                          <a:pt x="138" y="71"/>
                        </a:lnTo>
                        <a:lnTo>
                          <a:pt x="140" y="70"/>
                        </a:lnTo>
                        <a:lnTo>
                          <a:pt x="141" y="68"/>
                        </a:lnTo>
                        <a:lnTo>
                          <a:pt x="143" y="68"/>
                        </a:lnTo>
                        <a:lnTo>
                          <a:pt x="145" y="68"/>
                        </a:lnTo>
                        <a:lnTo>
                          <a:pt x="146" y="70"/>
                        </a:lnTo>
                        <a:lnTo>
                          <a:pt x="149" y="71"/>
                        </a:lnTo>
                        <a:lnTo>
                          <a:pt x="157" y="71"/>
                        </a:lnTo>
                        <a:lnTo>
                          <a:pt x="165" y="73"/>
                        </a:lnTo>
                        <a:lnTo>
                          <a:pt x="170" y="75"/>
                        </a:lnTo>
                        <a:lnTo>
                          <a:pt x="175" y="75"/>
                        </a:lnTo>
                        <a:lnTo>
                          <a:pt x="179" y="73"/>
                        </a:lnTo>
                        <a:lnTo>
                          <a:pt x="190" y="71"/>
                        </a:lnTo>
                        <a:lnTo>
                          <a:pt x="202" y="70"/>
                        </a:lnTo>
                        <a:lnTo>
                          <a:pt x="211" y="68"/>
                        </a:lnTo>
                        <a:lnTo>
                          <a:pt x="217" y="67"/>
                        </a:lnTo>
                        <a:lnTo>
                          <a:pt x="219" y="67"/>
                        </a:lnTo>
                        <a:lnTo>
                          <a:pt x="221" y="67"/>
                        </a:lnTo>
                        <a:lnTo>
                          <a:pt x="222" y="67"/>
                        </a:lnTo>
                        <a:lnTo>
                          <a:pt x="222" y="68"/>
                        </a:lnTo>
                        <a:lnTo>
                          <a:pt x="225" y="75"/>
                        </a:lnTo>
                        <a:lnTo>
                          <a:pt x="228" y="81"/>
                        </a:lnTo>
                        <a:lnTo>
                          <a:pt x="233" y="89"/>
                        </a:lnTo>
                        <a:lnTo>
                          <a:pt x="238" y="100"/>
                        </a:lnTo>
                        <a:lnTo>
                          <a:pt x="243" y="108"/>
                        </a:lnTo>
                        <a:lnTo>
                          <a:pt x="246" y="114"/>
                        </a:lnTo>
                        <a:lnTo>
                          <a:pt x="249" y="119"/>
                        </a:lnTo>
                        <a:lnTo>
                          <a:pt x="252" y="124"/>
                        </a:lnTo>
                        <a:lnTo>
                          <a:pt x="255" y="128"/>
                        </a:lnTo>
                        <a:lnTo>
                          <a:pt x="263" y="135"/>
                        </a:lnTo>
                        <a:lnTo>
                          <a:pt x="267" y="138"/>
                        </a:lnTo>
                        <a:lnTo>
                          <a:pt x="273" y="139"/>
                        </a:lnTo>
                        <a:lnTo>
                          <a:pt x="276" y="141"/>
                        </a:lnTo>
                        <a:lnTo>
                          <a:pt x="289" y="141"/>
                        </a:lnTo>
                        <a:lnTo>
                          <a:pt x="300" y="141"/>
                        </a:lnTo>
                        <a:lnTo>
                          <a:pt x="314" y="143"/>
                        </a:lnTo>
                        <a:lnTo>
                          <a:pt x="320" y="143"/>
                        </a:lnTo>
                        <a:lnTo>
                          <a:pt x="328" y="144"/>
                        </a:lnTo>
                        <a:lnTo>
                          <a:pt x="338" y="146"/>
                        </a:lnTo>
                        <a:lnTo>
                          <a:pt x="344" y="147"/>
                        </a:lnTo>
                        <a:lnTo>
                          <a:pt x="349" y="149"/>
                        </a:lnTo>
                        <a:lnTo>
                          <a:pt x="355" y="151"/>
                        </a:lnTo>
                        <a:lnTo>
                          <a:pt x="363" y="154"/>
                        </a:lnTo>
                        <a:lnTo>
                          <a:pt x="366" y="154"/>
                        </a:lnTo>
                        <a:lnTo>
                          <a:pt x="368" y="154"/>
                        </a:lnTo>
                        <a:lnTo>
                          <a:pt x="373" y="154"/>
                        </a:lnTo>
                        <a:lnTo>
                          <a:pt x="377" y="151"/>
                        </a:lnTo>
                        <a:lnTo>
                          <a:pt x="382" y="151"/>
                        </a:lnTo>
                        <a:lnTo>
                          <a:pt x="393" y="147"/>
                        </a:lnTo>
                        <a:lnTo>
                          <a:pt x="400" y="146"/>
                        </a:lnTo>
                        <a:lnTo>
                          <a:pt x="404" y="144"/>
                        </a:lnTo>
                        <a:lnTo>
                          <a:pt x="406" y="144"/>
                        </a:lnTo>
                        <a:lnTo>
                          <a:pt x="407" y="144"/>
                        </a:lnTo>
                        <a:lnTo>
                          <a:pt x="411" y="144"/>
                        </a:lnTo>
                        <a:lnTo>
                          <a:pt x="414" y="146"/>
                        </a:lnTo>
                        <a:lnTo>
                          <a:pt x="417" y="146"/>
                        </a:lnTo>
                        <a:lnTo>
                          <a:pt x="419" y="146"/>
                        </a:lnTo>
                        <a:lnTo>
                          <a:pt x="420" y="146"/>
                        </a:lnTo>
                        <a:lnTo>
                          <a:pt x="422" y="144"/>
                        </a:lnTo>
                        <a:lnTo>
                          <a:pt x="425" y="143"/>
                        </a:lnTo>
                        <a:lnTo>
                          <a:pt x="428" y="141"/>
                        </a:lnTo>
                        <a:lnTo>
                          <a:pt x="431" y="141"/>
                        </a:lnTo>
                        <a:lnTo>
                          <a:pt x="434" y="141"/>
                        </a:lnTo>
                        <a:lnTo>
                          <a:pt x="442" y="143"/>
                        </a:lnTo>
                        <a:lnTo>
                          <a:pt x="449" y="143"/>
                        </a:lnTo>
                        <a:lnTo>
                          <a:pt x="457" y="143"/>
                        </a:lnTo>
                        <a:lnTo>
                          <a:pt x="463" y="143"/>
                        </a:lnTo>
                        <a:lnTo>
                          <a:pt x="469" y="141"/>
                        </a:lnTo>
                        <a:lnTo>
                          <a:pt x="471" y="139"/>
                        </a:lnTo>
                        <a:lnTo>
                          <a:pt x="474" y="139"/>
                        </a:lnTo>
                        <a:lnTo>
                          <a:pt x="476" y="138"/>
                        </a:lnTo>
                        <a:lnTo>
                          <a:pt x="479" y="135"/>
                        </a:lnTo>
                        <a:lnTo>
                          <a:pt x="482" y="133"/>
                        </a:lnTo>
                        <a:lnTo>
                          <a:pt x="484" y="133"/>
                        </a:lnTo>
                        <a:lnTo>
                          <a:pt x="485" y="133"/>
                        </a:lnTo>
                        <a:lnTo>
                          <a:pt x="487" y="135"/>
                        </a:lnTo>
                        <a:lnTo>
                          <a:pt x="490" y="138"/>
                        </a:lnTo>
                        <a:lnTo>
                          <a:pt x="493" y="141"/>
                        </a:lnTo>
                        <a:lnTo>
                          <a:pt x="496" y="143"/>
                        </a:lnTo>
                        <a:lnTo>
                          <a:pt x="501" y="141"/>
                        </a:lnTo>
                        <a:lnTo>
                          <a:pt x="504" y="139"/>
                        </a:lnTo>
                        <a:lnTo>
                          <a:pt x="507" y="136"/>
                        </a:lnTo>
                        <a:lnTo>
                          <a:pt x="509" y="135"/>
                        </a:lnTo>
                        <a:lnTo>
                          <a:pt x="510" y="133"/>
                        </a:lnTo>
                        <a:lnTo>
                          <a:pt x="512" y="130"/>
                        </a:lnTo>
                        <a:lnTo>
                          <a:pt x="515" y="122"/>
                        </a:lnTo>
                        <a:lnTo>
                          <a:pt x="517" y="117"/>
                        </a:lnTo>
                        <a:lnTo>
                          <a:pt x="520" y="116"/>
                        </a:lnTo>
                        <a:lnTo>
                          <a:pt x="522" y="114"/>
                        </a:lnTo>
                        <a:lnTo>
                          <a:pt x="523" y="113"/>
                        </a:lnTo>
                        <a:lnTo>
                          <a:pt x="526" y="111"/>
                        </a:lnTo>
                        <a:lnTo>
                          <a:pt x="531" y="108"/>
                        </a:lnTo>
                        <a:lnTo>
                          <a:pt x="534" y="106"/>
                        </a:lnTo>
                        <a:lnTo>
                          <a:pt x="537" y="105"/>
                        </a:lnTo>
                        <a:lnTo>
                          <a:pt x="539" y="105"/>
                        </a:lnTo>
                        <a:lnTo>
                          <a:pt x="542" y="105"/>
                        </a:lnTo>
                        <a:lnTo>
                          <a:pt x="544" y="106"/>
                        </a:lnTo>
                        <a:lnTo>
                          <a:pt x="545" y="106"/>
                        </a:lnTo>
                        <a:lnTo>
                          <a:pt x="548" y="106"/>
                        </a:lnTo>
                        <a:lnTo>
                          <a:pt x="550" y="106"/>
                        </a:lnTo>
                        <a:lnTo>
                          <a:pt x="552" y="105"/>
                        </a:lnTo>
                        <a:lnTo>
                          <a:pt x="553" y="105"/>
                        </a:lnTo>
                        <a:lnTo>
                          <a:pt x="556" y="105"/>
                        </a:lnTo>
                        <a:lnTo>
                          <a:pt x="558" y="105"/>
                        </a:lnTo>
                        <a:lnTo>
                          <a:pt x="558" y="106"/>
                        </a:lnTo>
                        <a:lnTo>
                          <a:pt x="560" y="106"/>
                        </a:lnTo>
                        <a:lnTo>
                          <a:pt x="563" y="105"/>
                        </a:lnTo>
                        <a:lnTo>
                          <a:pt x="564" y="103"/>
                        </a:lnTo>
                        <a:lnTo>
                          <a:pt x="566" y="101"/>
                        </a:lnTo>
                        <a:lnTo>
                          <a:pt x="566" y="98"/>
                        </a:lnTo>
                        <a:lnTo>
                          <a:pt x="566" y="95"/>
                        </a:lnTo>
                        <a:lnTo>
                          <a:pt x="566" y="94"/>
                        </a:lnTo>
                        <a:lnTo>
                          <a:pt x="566" y="92"/>
                        </a:lnTo>
                        <a:lnTo>
                          <a:pt x="567" y="90"/>
                        </a:lnTo>
                        <a:lnTo>
                          <a:pt x="567" y="89"/>
                        </a:lnTo>
                        <a:lnTo>
                          <a:pt x="569" y="87"/>
                        </a:lnTo>
                        <a:lnTo>
                          <a:pt x="569" y="86"/>
                        </a:lnTo>
                        <a:lnTo>
                          <a:pt x="569" y="84"/>
                        </a:lnTo>
                        <a:lnTo>
                          <a:pt x="571" y="82"/>
                        </a:lnTo>
                        <a:lnTo>
                          <a:pt x="572" y="81"/>
                        </a:lnTo>
                        <a:lnTo>
                          <a:pt x="575" y="81"/>
                        </a:lnTo>
                        <a:lnTo>
                          <a:pt x="577" y="81"/>
                        </a:lnTo>
                        <a:lnTo>
                          <a:pt x="582" y="81"/>
                        </a:lnTo>
                        <a:lnTo>
                          <a:pt x="585" y="79"/>
                        </a:lnTo>
                        <a:lnTo>
                          <a:pt x="590" y="81"/>
                        </a:lnTo>
                        <a:lnTo>
                          <a:pt x="593" y="82"/>
                        </a:lnTo>
                        <a:lnTo>
                          <a:pt x="598" y="84"/>
                        </a:lnTo>
                        <a:lnTo>
                          <a:pt x="602" y="86"/>
                        </a:lnTo>
                        <a:lnTo>
                          <a:pt x="609" y="87"/>
                        </a:lnTo>
                        <a:lnTo>
                          <a:pt x="610" y="89"/>
                        </a:lnTo>
                        <a:lnTo>
                          <a:pt x="613" y="89"/>
                        </a:lnTo>
                        <a:lnTo>
                          <a:pt x="615" y="89"/>
                        </a:lnTo>
                        <a:lnTo>
                          <a:pt x="618" y="87"/>
                        </a:lnTo>
                        <a:lnTo>
                          <a:pt x="623" y="86"/>
                        </a:lnTo>
                        <a:lnTo>
                          <a:pt x="625" y="86"/>
                        </a:lnTo>
                        <a:lnTo>
                          <a:pt x="626" y="84"/>
                        </a:lnTo>
                        <a:lnTo>
                          <a:pt x="628" y="84"/>
                        </a:lnTo>
                        <a:lnTo>
                          <a:pt x="629" y="84"/>
                        </a:lnTo>
                        <a:lnTo>
                          <a:pt x="631" y="82"/>
                        </a:lnTo>
                        <a:lnTo>
                          <a:pt x="632" y="81"/>
                        </a:lnTo>
                        <a:lnTo>
                          <a:pt x="634" y="81"/>
                        </a:lnTo>
                        <a:lnTo>
                          <a:pt x="634" y="79"/>
                        </a:lnTo>
                        <a:lnTo>
                          <a:pt x="636" y="79"/>
                        </a:lnTo>
                        <a:lnTo>
                          <a:pt x="637" y="79"/>
                        </a:lnTo>
                        <a:lnTo>
                          <a:pt x="639" y="81"/>
                        </a:lnTo>
                        <a:lnTo>
                          <a:pt x="640" y="81"/>
                        </a:lnTo>
                        <a:lnTo>
                          <a:pt x="642" y="82"/>
                        </a:lnTo>
                        <a:lnTo>
                          <a:pt x="644" y="81"/>
                        </a:lnTo>
                        <a:lnTo>
                          <a:pt x="645" y="81"/>
                        </a:lnTo>
                        <a:lnTo>
                          <a:pt x="648" y="81"/>
                        </a:lnTo>
                        <a:lnTo>
                          <a:pt x="648" y="79"/>
                        </a:lnTo>
                        <a:lnTo>
                          <a:pt x="647" y="78"/>
                        </a:lnTo>
                        <a:lnTo>
                          <a:pt x="648" y="76"/>
                        </a:lnTo>
                        <a:lnTo>
                          <a:pt x="651" y="76"/>
                        </a:lnTo>
                        <a:lnTo>
                          <a:pt x="653" y="75"/>
                        </a:lnTo>
                        <a:lnTo>
                          <a:pt x="655" y="71"/>
                        </a:lnTo>
                        <a:lnTo>
                          <a:pt x="653" y="70"/>
                        </a:lnTo>
                        <a:lnTo>
                          <a:pt x="653" y="68"/>
                        </a:lnTo>
                        <a:lnTo>
                          <a:pt x="655" y="68"/>
                        </a:lnTo>
                        <a:lnTo>
                          <a:pt x="656" y="67"/>
                        </a:lnTo>
                        <a:lnTo>
                          <a:pt x="658" y="67"/>
                        </a:lnTo>
                        <a:lnTo>
                          <a:pt x="659" y="65"/>
                        </a:lnTo>
                        <a:lnTo>
                          <a:pt x="661" y="63"/>
                        </a:lnTo>
                        <a:lnTo>
                          <a:pt x="663" y="60"/>
                        </a:lnTo>
                        <a:lnTo>
                          <a:pt x="664" y="59"/>
                        </a:lnTo>
                        <a:lnTo>
                          <a:pt x="666" y="59"/>
                        </a:lnTo>
                        <a:lnTo>
                          <a:pt x="667" y="57"/>
                        </a:lnTo>
                        <a:lnTo>
                          <a:pt x="669" y="57"/>
                        </a:lnTo>
                        <a:lnTo>
                          <a:pt x="670" y="57"/>
                        </a:lnTo>
                        <a:lnTo>
                          <a:pt x="672" y="57"/>
                        </a:lnTo>
                        <a:lnTo>
                          <a:pt x="675" y="57"/>
                        </a:lnTo>
                        <a:lnTo>
                          <a:pt x="678" y="57"/>
                        </a:lnTo>
                        <a:lnTo>
                          <a:pt x="682" y="56"/>
                        </a:lnTo>
                        <a:lnTo>
                          <a:pt x="685" y="51"/>
                        </a:lnTo>
                        <a:lnTo>
                          <a:pt x="685" y="49"/>
                        </a:lnTo>
                        <a:lnTo>
                          <a:pt x="688" y="48"/>
                        </a:lnTo>
                        <a:lnTo>
                          <a:pt x="688" y="46"/>
                        </a:lnTo>
                        <a:lnTo>
                          <a:pt x="689" y="46"/>
                        </a:lnTo>
                        <a:lnTo>
                          <a:pt x="694" y="46"/>
                        </a:lnTo>
                        <a:lnTo>
                          <a:pt x="696" y="44"/>
                        </a:lnTo>
                        <a:lnTo>
                          <a:pt x="697" y="46"/>
                        </a:lnTo>
                        <a:lnTo>
                          <a:pt x="699" y="46"/>
                        </a:lnTo>
                        <a:lnTo>
                          <a:pt x="701" y="48"/>
                        </a:lnTo>
                        <a:lnTo>
                          <a:pt x="702" y="49"/>
                        </a:lnTo>
                        <a:lnTo>
                          <a:pt x="702" y="51"/>
                        </a:lnTo>
                        <a:lnTo>
                          <a:pt x="704" y="51"/>
                        </a:lnTo>
                        <a:lnTo>
                          <a:pt x="705" y="51"/>
                        </a:lnTo>
                        <a:lnTo>
                          <a:pt x="707" y="51"/>
                        </a:lnTo>
                        <a:lnTo>
                          <a:pt x="707" y="48"/>
                        </a:lnTo>
                        <a:lnTo>
                          <a:pt x="708" y="43"/>
                        </a:lnTo>
                        <a:lnTo>
                          <a:pt x="710" y="40"/>
                        </a:lnTo>
                        <a:lnTo>
                          <a:pt x="712" y="37"/>
                        </a:lnTo>
                        <a:lnTo>
                          <a:pt x="715" y="35"/>
                        </a:lnTo>
                        <a:lnTo>
                          <a:pt x="716" y="35"/>
                        </a:lnTo>
                        <a:lnTo>
                          <a:pt x="720" y="35"/>
                        </a:lnTo>
                        <a:lnTo>
                          <a:pt x="723" y="35"/>
                        </a:lnTo>
                        <a:lnTo>
                          <a:pt x="727" y="35"/>
                        </a:lnTo>
                        <a:lnTo>
                          <a:pt x="729" y="35"/>
                        </a:lnTo>
                        <a:lnTo>
                          <a:pt x="731" y="37"/>
                        </a:lnTo>
                        <a:lnTo>
                          <a:pt x="734" y="37"/>
                        </a:lnTo>
                        <a:lnTo>
                          <a:pt x="737" y="37"/>
                        </a:lnTo>
                        <a:lnTo>
                          <a:pt x="739" y="35"/>
                        </a:lnTo>
                        <a:lnTo>
                          <a:pt x="742" y="33"/>
                        </a:lnTo>
                        <a:lnTo>
                          <a:pt x="745" y="30"/>
                        </a:lnTo>
                        <a:lnTo>
                          <a:pt x="745" y="29"/>
                        </a:lnTo>
                        <a:lnTo>
                          <a:pt x="743" y="22"/>
                        </a:lnTo>
                        <a:lnTo>
                          <a:pt x="743" y="19"/>
                        </a:lnTo>
                        <a:lnTo>
                          <a:pt x="743" y="16"/>
                        </a:lnTo>
                        <a:lnTo>
                          <a:pt x="743" y="14"/>
                        </a:lnTo>
                        <a:lnTo>
                          <a:pt x="743" y="11"/>
                        </a:lnTo>
                        <a:lnTo>
                          <a:pt x="745" y="11"/>
                        </a:lnTo>
                        <a:lnTo>
                          <a:pt x="745" y="10"/>
                        </a:lnTo>
                        <a:lnTo>
                          <a:pt x="746" y="10"/>
                        </a:lnTo>
                        <a:lnTo>
                          <a:pt x="748" y="8"/>
                        </a:lnTo>
                        <a:lnTo>
                          <a:pt x="750" y="6"/>
                        </a:lnTo>
                        <a:lnTo>
                          <a:pt x="751" y="3"/>
                        </a:lnTo>
                        <a:lnTo>
                          <a:pt x="753" y="2"/>
                        </a:lnTo>
                        <a:lnTo>
                          <a:pt x="754" y="2"/>
                        </a:lnTo>
                        <a:lnTo>
                          <a:pt x="756" y="0"/>
                        </a:lnTo>
                        <a:lnTo>
                          <a:pt x="761" y="0"/>
                        </a:lnTo>
                        <a:close/>
                      </a:path>
                    </a:pathLst>
                  </a:custGeom>
                  <a:solidFill>
                    <a:srgbClr val="E1E1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48" name="Freeform 47"/>
                  <p:cNvSpPr>
                    <a:spLocks/>
                  </p:cNvSpPr>
                  <p:nvPr/>
                </p:nvSpPr>
                <p:spPr bwMode="auto">
                  <a:xfrm>
                    <a:off x="4347" y="1303"/>
                    <a:ext cx="558" cy="936"/>
                  </a:xfrm>
                  <a:custGeom>
                    <a:avLst/>
                    <a:gdLst>
                      <a:gd name="T0" fmla="*/ 301 w 558"/>
                      <a:gd name="T1" fmla="*/ 17 h 936"/>
                      <a:gd name="T2" fmla="*/ 315 w 558"/>
                      <a:gd name="T3" fmla="*/ 44 h 936"/>
                      <a:gd name="T4" fmla="*/ 350 w 558"/>
                      <a:gd name="T5" fmla="*/ 57 h 936"/>
                      <a:gd name="T6" fmla="*/ 393 w 558"/>
                      <a:gd name="T7" fmla="*/ 109 h 936"/>
                      <a:gd name="T8" fmla="*/ 398 w 558"/>
                      <a:gd name="T9" fmla="*/ 143 h 936"/>
                      <a:gd name="T10" fmla="*/ 436 w 558"/>
                      <a:gd name="T11" fmla="*/ 185 h 936"/>
                      <a:gd name="T12" fmla="*/ 467 w 558"/>
                      <a:gd name="T13" fmla="*/ 220 h 936"/>
                      <a:gd name="T14" fmla="*/ 502 w 558"/>
                      <a:gd name="T15" fmla="*/ 220 h 936"/>
                      <a:gd name="T16" fmla="*/ 532 w 558"/>
                      <a:gd name="T17" fmla="*/ 220 h 936"/>
                      <a:gd name="T18" fmla="*/ 548 w 558"/>
                      <a:gd name="T19" fmla="*/ 228 h 936"/>
                      <a:gd name="T20" fmla="*/ 542 w 558"/>
                      <a:gd name="T21" fmla="*/ 260 h 936"/>
                      <a:gd name="T22" fmla="*/ 536 w 558"/>
                      <a:gd name="T23" fmla="*/ 292 h 936"/>
                      <a:gd name="T24" fmla="*/ 547 w 558"/>
                      <a:gd name="T25" fmla="*/ 317 h 936"/>
                      <a:gd name="T26" fmla="*/ 517 w 558"/>
                      <a:gd name="T27" fmla="*/ 326 h 936"/>
                      <a:gd name="T28" fmla="*/ 497 w 558"/>
                      <a:gd name="T29" fmla="*/ 371 h 936"/>
                      <a:gd name="T30" fmla="*/ 515 w 558"/>
                      <a:gd name="T31" fmla="*/ 394 h 936"/>
                      <a:gd name="T32" fmla="*/ 502 w 558"/>
                      <a:gd name="T33" fmla="*/ 425 h 936"/>
                      <a:gd name="T34" fmla="*/ 483 w 558"/>
                      <a:gd name="T35" fmla="*/ 455 h 936"/>
                      <a:gd name="T36" fmla="*/ 502 w 558"/>
                      <a:gd name="T37" fmla="*/ 496 h 936"/>
                      <a:gd name="T38" fmla="*/ 459 w 558"/>
                      <a:gd name="T39" fmla="*/ 558 h 936"/>
                      <a:gd name="T40" fmla="*/ 453 w 558"/>
                      <a:gd name="T41" fmla="*/ 623 h 936"/>
                      <a:gd name="T42" fmla="*/ 471 w 558"/>
                      <a:gd name="T43" fmla="*/ 651 h 936"/>
                      <a:gd name="T44" fmla="*/ 480 w 558"/>
                      <a:gd name="T45" fmla="*/ 681 h 936"/>
                      <a:gd name="T46" fmla="*/ 505 w 558"/>
                      <a:gd name="T47" fmla="*/ 703 h 936"/>
                      <a:gd name="T48" fmla="*/ 537 w 558"/>
                      <a:gd name="T49" fmla="*/ 714 h 936"/>
                      <a:gd name="T50" fmla="*/ 556 w 558"/>
                      <a:gd name="T51" fmla="*/ 732 h 936"/>
                      <a:gd name="T52" fmla="*/ 545 w 558"/>
                      <a:gd name="T53" fmla="*/ 754 h 936"/>
                      <a:gd name="T54" fmla="*/ 532 w 558"/>
                      <a:gd name="T55" fmla="*/ 783 h 936"/>
                      <a:gd name="T56" fmla="*/ 555 w 558"/>
                      <a:gd name="T57" fmla="*/ 813 h 936"/>
                      <a:gd name="T58" fmla="*/ 548 w 558"/>
                      <a:gd name="T59" fmla="*/ 851 h 936"/>
                      <a:gd name="T60" fmla="*/ 543 w 558"/>
                      <a:gd name="T61" fmla="*/ 884 h 936"/>
                      <a:gd name="T62" fmla="*/ 526 w 558"/>
                      <a:gd name="T63" fmla="*/ 892 h 936"/>
                      <a:gd name="T64" fmla="*/ 510 w 558"/>
                      <a:gd name="T65" fmla="*/ 893 h 936"/>
                      <a:gd name="T66" fmla="*/ 496 w 558"/>
                      <a:gd name="T67" fmla="*/ 897 h 936"/>
                      <a:gd name="T68" fmla="*/ 475 w 558"/>
                      <a:gd name="T69" fmla="*/ 905 h 936"/>
                      <a:gd name="T70" fmla="*/ 455 w 558"/>
                      <a:gd name="T71" fmla="*/ 912 h 936"/>
                      <a:gd name="T72" fmla="*/ 437 w 558"/>
                      <a:gd name="T73" fmla="*/ 930 h 936"/>
                      <a:gd name="T74" fmla="*/ 421 w 558"/>
                      <a:gd name="T75" fmla="*/ 935 h 936"/>
                      <a:gd name="T76" fmla="*/ 396 w 558"/>
                      <a:gd name="T77" fmla="*/ 928 h 936"/>
                      <a:gd name="T78" fmla="*/ 374 w 558"/>
                      <a:gd name="T79" fmla="*/ 919 h 936"/>
                      <a:gd name="T80" fmla="*/ 353 w 558"/>
                      <a:gd name="T81" fmla="*/ 916 h 936"/>
                      <a:gd name="T82" fmla="*/ 330 w 558"/>
                      <a:gd name="T83" fmla="*/ 906 h 936"/>
                      <a:gd name="T84" fmla="*/ 309 w 558"/>
                      <a:gd name="T85" fmla="*/ 901 h 936"/>
                      <a:gd name="T86" fmla="*/ 290 w 558"/>
                      <a:gd name="T87" fmla="*/ 889 h 936"/>
                      <a:gd name="T88" fmla="*/ 284 w 558"/>
                      <a:gd name="T89" fmla="*/ 865 h 936"/>
                      <a:gd name="T90" fmla="*/ 290 w 558"/>
                      <a:gd name="T91" fmla="*/ 843 h 936"/>
                      <a:gd name="T92" fmla="*/ 285 w 558"/>
                      <a:gd name="T93" fmla="*/ 814 h 936"/>
                      <a:gd name="T94" fmla="*/ 268 w 558"/>
                      <a:gd name="T95" fmla="*/ 798 h 936"/>
                      <a:gd name="T96" fmla="*/ 233 w 558"/>
                      <a:gd name="T97" fmla="*/ 798 h 936"/>
                      <a:gd name="T98" fmla="*/ 212 w 558"/>
                      <a:gd name="T99" fmla="*/ 822 h 936"/>
                      <a:gd name="T100" fmla="*/ 230 w 558"/>
                      <a:gd name="T101" fmla="*/ 851 h 936"/>
                      <a:gd name="T102" fmla="*/ 203 w 558"/>
                      <a:gd name="T103" fmla="*/ 871 h 936"/>
                      <a:gd name="T104" fmla="*/ 171 w 558"/>
                      <a:gd name="T105" fmla="*/ 886 h 936"/>
                      <a:gd name="T106" fmla="*/ 143 w 558"/>
                      <a:gd name="T107" fmla="*/ 890 h 936"/>
                      <a:gd name="T108" fmla="*/ 122 w 558"/>
                      <a:gd name="T109" fmla="*/ 871 h 936"/>
                      <a:gd name="T110" fmla="*/ 105 w 558"/>
                      <a:gd name="T111" fmla="*/ 851 h 936"/>
                      <a:gd name="T112" fmla="*/ 92 w 558"/>
                      <a:gd name="T113" fmla="*/ 838 h 936"/>
                      <a:gd name="T114" fmla="*/ 82 w 558"/>
                      <a:gd name="T115" fmla="*/ 824 h 936"/>
                      <a:gd name="T116" fmla="*/ 49 w 558"/>
                      <a:gd name="T117" fmla="*/ 814 h 936"/>
                      <a:gd name="T118" fmla="*/ 5 w 558"/>
                      <a:gd name="T119" fmla="*/ 819 h 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8" h="936">
                        <a:moveTo>
                          <a:pt x="276" y="0"/>
                        </a:moveTo>
                        <a:lnTo>
                          <a:pt x="280" y="0"/>
                        </a:lnTo>
                        <a:lnTo>
                          <a:pt x="287" y="0"/>
                        </a:lnTo>
                        <a:lnTo>
                          <a:pt x="295" y="0"/>
                        </a:lnTo>
                        <a:lnTo>
                          <a:pt x="304" y="0"/>
                        </a:lnTo>
                        <a:lnTo>
                          <a:pt x="309" y="0"/>
                        </a:lnTo>
                        <a:lnTo>
                          <a:pt x="307" y="5"/>
                        </a:lnTo>
                        <a:lnTo>
                          <a:pt x="309" y="6"/>
                        </a:lnTo>
                        <a:lnTo>
                          <a:pt x="309" y="8"/>
                        </a:lnTo>
                        <a:lnTo>
                          <a:pt x="309" y="10"/>
                        </a:lnTo>
                        <a:lnTo>
                          <a:pt x="307" y="11"/>
                        </a:lnTo>
                        <a:lnTo>
                          <a:pt x="307" y="13"/>
                        </a:lnTo>
                        <a:lnTo>
                          <a:pt x="304" y="14"/>
                        </a:lnTo>
                        <a:lnTo>
                          <a:pt x="303" y="14"/>
                        </a:lnTo>
                        <a:lnTo>
                          <a:pt x="299" y="16"/>
                        </a:lnTo>
                        <a:lnTo>
                          <a:pt x="298" y="16"/>
                        </a:lnTo>
                        <a:lnTo>
                          <a:pt x="301" y="17"/>
                        </a:lnTo>
                        <a:lnTo>
                          <a:pt x="304" y="19"/>
                        </a:lnTo>
                        <a:lnTo>
                          <a:pt x="306" y="21"/>
                        </a:lnTo>
                        <a:lnTo>
                          <a:pt x="307" y="21"/>
                        </a:lnTo>
                        <a:lnTo>
                          <a:pt x="307" y="25"/>
                        </a:lnTo>
                        <a:lnTo>
                          <a:pt x="307" y="27"/>
                        </a:lnTo>
                        <a:lnTo>
                          <a:pt x="307" y="29"/>
                        </a:lnTo>
                        <a:lnTo>
                          <a:pt x="304" y="30"/>
                        </a:lnTo>
                        <a:lnTo>
                          <a:pt x="304" y="32"/>
                        </a:lnTo>
                        <a:lnTo>
                          <a:pt x="304" y="33"/>
                        </a:lnTo>
                        <a:lnTo>
                          <a:pt x="304" y="37"/>
                        </a:lnTo>
                        <a:lnTo>
                          <a:pt x="309" y="38"/>
                        </a:lnTo>
                        <a:lnTo>
                          <a:pt x="311" y="40"/>
                        </a:lnTo>
                        <a:lnTo>
                          <a:pt x="312" y="40"/>
                        </a:lnTo>
                        <a:lnTo>
                          <a:pt x="312" y="41"/>
                        </a:lnTo>
                        <a:lnTo>
                          <a:pt x="314" y="43"/>
                        </a:lnTo>
                        <a:lnTo>
                          <a:pt x="314" y="44"/>
                        </a:lnTo>
                        <a:lnTo>
                          <a:pt x="315" y="44"/>
                        </a:lnTo>
                        <a:lnTo>
                          <a:pt x="317" y="44"/>
                        </a:lnTo>
                        <a:lnTo>
                          <a:pt x="320" y="46"/>
                        </a:lnTo>
                        <a:lnTo>
                          <a:pt x="322" y="46"/>
                        </a:lnTo>
                        <a:lnTo>
                          <a:pt x="325" y="46"/>
                        </a:lnTo>
                        <a:lnTo>
                          <a:pt x="326" y="46"/>
                        </a:lnTo>
                        <a:lnTo>
                          <a:pt x="328" y="46"/>
                        </a:lnTo>
                        <a:lnTo>
                          <a:pt x="328" y="44"/>
                        </a:lnTo>
                        <a:lnTo>
                          <a:pt x="330" y="44"/>
                        </a:lnTo>
                        <a:lnTo>
                          <a:pt x="333" y="43"/>
                        </a:lnTo>
                        <a:lnTo>
                          <a:pt x="334" y="43"/>
                        </a:lnTo>
                        <a:lnTo>
                          <a:pt x="338" y="44"/>
                        </a:lnTo>
                        <a:lnTo>
                          <a:pt x="341" y="46"/>
                        </a:lnTo>
                        <a:lnTo>
                          <a:pt x="344" y="49"/>
                        </a:lnTo>
                        <a:lnTo>
                          <a:pt x="345" y="51"/>
                        </a:lnTo>
                        <a:lnTo>
                          <a:pt x="347" y="52"/>
                        </a:lnTo>
                        <a:lnTo>
                          <a:pt x="349" y="56"/>
                        </a:lnTo>
                        <a:lnTo>
                          <a:pt x="350" y="57"/>
                        </a:lnTo>
                        <a:lnTo>
                          <a:pt x="350" y="60"/>
                        </a:lnTo>
                        <a:lnTo>
                          <a:pt x="350" y="62"/>
                        </a:lnTo>
                        <a:lnTo>
                          <a:pt x="350" y="63"/>
                        </a:lnTo>
                        <a:lnTo>
                          <a:pt x="352" y="65"/>
                        </a:lnTo>
                        <a:lnTo>
                          <a:pt x="358" y="67"/>
                        </a:lnTo>
                        <a:lnTo>
                          <a:pt x="366" y="70"/>
                        </a:lnTo>
                        <a:lnTo>
                          <a:pt x="371" y="73"/>
                        </a:lnTo>
                        <a:lnTo>
                          <a:pt x="377" y="75"/>
                        </a:lnTo>
                        <a:lnTo>
                          <a:pt x="380" y="76"/>
                        </a:lnTo>
                        <a:lnTo>
                          <a:pt x="383" y="79"/>
                        </a:lnTo>
                        <a:lnTo>
                          <a:pt x="387" y="84"/>
                        </a:lnTo>
                        <a:lnTo>
                          <a:pt x="388" y="87"/>
                        </a:lnTo>
                        <a:lnTo>
                          <a:pt x="390" y="92"/>
                        </a:lnTo>
                        <a:lnTo>
                          <a:pt x="391" y="95"/>
                        </a:lnTo>
                        <a:lnTo>
                          <a:pt x="391" y="101"/>
                        </a:lnTo>
                        <a:lnTo>
                          <a:pt x="391" y="106"/>
                        </a:lnTo>
                        <a:lnTo>
                          <a:pt x="393" y="109"/>
                        </a:lnTo>
                        <a:lnTo>
                          <a:pt x="395" y="113"/>
                        </a:lnTo>
                        <a:lnTo>
                          <a:pt x="396" y="114"/>
                        </a:lnTo>
                        <a:lnTo>
                          <a:pt x="398" y="114"/>
                        </a:lnTo>
                        <a:lnTo>
                          <a:pt x="401" y="114"/>
                        </a:lnTo>
                        <a:lnTo>
                          <a:pt x="404" y="116"/>
                        </a:lnTo>
                        <a:lnTo>
                          <a:pt x="406" y="116"/>
                        </a:lnTo>
                        <a:lnTo>
                          <a:pt x="404" y="117"/>
                        </a:lnTo>
                        <a:lnTo>
                          <a:pt x="402" y="119"/>
                        </a:lnTo>
                        <a:lnTo>
                          <a:pt x="401" y="122"/>
                        </a:lnTo>
                        <a:lnTo>
                          <a:pt x="401" y="124"/>
                        </a:lnTo>
                        <a:lnTo>
                          <a:pt x="398" y="127"/>
                        </a:lnTo>
                        <a:lnTo>
                          <a:pt x="398" y="130"/>
                        </a:lnTo>
                        <a:lnTo>
                          <a:pt x="396" y="130"/>
                        </a:lnTo>
                        <a:lnTo>
                          <a:pt x="396" y="132"/>
                        </a:lnTo>
                        <a:lnTo>
                          <a:pt x="396" y="133"/>
                        </a:lnTo>
                        <a:lnTo>
                          <a:pt x="396" y="138"/>
                        </a:lnTo>
                        <a:lnTo>
                          <a:pt x="398" y="143"/>
                        </a:lnTo>
                        <a:lnTo>
                          <a:pt x="401" y="146"/>
                        </a:lnTo>
                        <a:lnTo>
                          <a:pt x="401" y="147"/>
                        </a:lnTo>
                        <a:lnTo>
                          <a:pt x="401" y="151"/>
                        </a:lnTo>
                        <a:lnTo>
                          <a:pt x="401" y="152"/>
                        </a:lnTo>
                        <a:lnTo>
                          <a:pt x="399" y="154"/>
                        </a:lnTo>
                        <a:lnTo>
                          <a:pt x="401" y="155"/>
                        </a:lnTo>
                        <a:lnTo>
                          <a:pt x="402" y="157"/>
                        </a:lnTo>
                        <a:lnTo>
                          <a:pt x="410" y="162"/>
                        </a:lnTo>
                        <a:lnTo>
                          <a:pt x="415" y="165"/>
                        </a:lnTo>
                        <a:lnTo>
                          <a:pt x="415" y="166"/>
                        </a:lnTo>
                        <a:lnTo>
                          <a:pt x="420" y="170"/>
                        </a:lnTo>
                        <a:lnTo>
                          <a:pt x="423" y="173"/>
                        </a:lnTo>
                        <a:lnTo>
                          <a:pt x="425" y="176"/>
                        </a:lnTo>
                        <a:lnTo>
                          <a:pt x="426" y="177"/>
                        </a:lnTo>
                        <a:lnTo>
                          <a:pt x="429" y="179"/>
                        </a:lnTo>
                        <a:lnTo>
                          <a:pt x="434" y="181"/>
                        </a:lnTo>
                        <a:lnTo>
                          <a:pt x="436" y="185"/>
                        </a:lnTo>
                        <a:lnTo>
                          <a:pt x="440" y="192"/>
                        </a:lnTo>
                        <a:lnTo>
                          <a:pt x="442" y="198"/>
                        </a:lnTo>
                        <a:lnTo>
                          <a:pt x="445" y="208"/>
                        </a:lnTo>
                        <a:lnTo>
                          <a:pt x="447" y="211"/>
                        </a:lnTo>
                        <a:lnTo>
                          <a:pt x="448" y="214"/>
                        </a:lnTo>
                        <a:lnTo>
                          <a:pt x="450" y="214"/>
                        </a:lnTo>
                        <a:lnTo>
                          <a:pt x="452" y="219"/>
                        </a:lnTo>
                        <a:lnTo>
                          <a:pt x="453" y="220"/>
                        </a:lnTo>
                        <a:lnTo>
                          <a:pt x="455" y="222"/>
                        </a:lnTo>
                        <a:lnTo>
                          <a:pt x="456" y="222"/>
                        </a:lnTo>
                        <a:lnTo>
                          <a:pt x="458" y="222"/>
                        </a:lnTo>
                        <a:lnTo>
                          <a:pt x="464" y="225"/>
                        </a:lnTo>
                        <a:lnTo>
                          <a:pt x="464" y="223"/>
                        </a:lnTo>
                        <a:lnTo>
                          <a:pt x="464" y="222"/>
                        </a:lnTo>
                        <a:lnTo>
                          <a:pt x="464" y="220"/>
                        </a:lnTo>
                        <a:lnTo>
                          <a:pt x="466" y="220"/>
                        </a:lnTo>
                        <a:lnTo>
                          <a:pt x="467" y="220"/>
                        </a:lnTo>
                        <a:lnTo>
                          <a:pt x="471" y="222"/>
                        </a:lnTo>
                        <a:lnTo>
                          <a:pt x="472" y="222"/>
                        </a:lnTo>
                        <a:lnTo>
                          <a:pt x="474" y="222"/>
                        </a:lnTo>
                        <a:lnTo>
                          <a:pt x="475" y="222"/>
                        </a:lnTo>
                        <a:lnTo>
                          <a:pt x="477" y="219"/>
                        </a:lnTo>
                        <a:lnTo>
                          <a:pt x="478" y="219"/>
                        </a:lnTo>
                        <a:lnTo>
                          <a:pt x="480" y="217"/>
                        </a:lnTo>
                        <a:lnTo>
                          <a:pt x="482" y="217"/>
                        </a:lnTo>
                        <a:lnTo>
                          <a:pt x="483" y="217"/>
                        </a:lnTo>
                        <a:lnTo>
                          <a:pt x="485" y="216"/>
                        </a:lnTo>
                        <a:lnTo>
                          <a:pt x="488" y="217"/>
                        </a:lnTo>
                        <a:lnTo>
                          <a:pt x="490" y="217"/>
                        </a:lnTo>
                        <a:lnTo>
                          <a:pt x="491" y="219"/>
                        </a:lnTo>
                        <a:lnTo>
                          <a:pt x="491" y="220"/>
                        </a:lnTo>
                        <a:lnTo>
                          <a:pt x="493" y="220"/>
                        </a:lnTo>
                        <a:lnTo>
                          <a:pt x="494" y="222"/>
                        </a:lnTo>
                        <a:lnTo>
                          <a:pt x="502" y="220"/>
                        </a:lnTo>
                        <a:lnTo>
                          <a:pt x="502" y="222"/>
                        </a:lnTo>
                        <a:lnTo>
                          <a:pt x="505" y="223"/>
                        </a:lnTo>
                        <a:lnTo>
                          <a:pt x="507" y="225"/>
                        </a:lnTo>
                        <a:lnTo>
                          <a:pt x="510" y="225"/>
                        </a:lnTo>
                        <a:lnTo>
                          <a:pt x="512" y="225"/>
                        </a:lnTo>
                        <a:lnTo>
                          <a:pt x="512" y="227"/>
                        </a:lnTo>
                        <a:lnTo>
                          <a:pt x="513" y="230"/>
                        </a:lnTo>
                        <a:lnTo>
                          <a:pt x="515" y="230"/>
                        </a:lnTo>
                        <a:lnTo>
                          <a:pt x="517" y="231"/>
                        </a:lnTo>
                        <a:lnTo>
                          <a:pt x="518" y="231"/>
                        </a:lnTo>
                        <a:lnTo>
                          <a:pt x="520" y="230"/>
                        </a:lnTo>
                        <a:lnTo>
                          <a:pt x="523" y="227"/>
                        </a:lnTo>
                        <a:lnTo>
                          <a:pt x="523" y="225"/>
                        </a:lnTo>
                        <a:lnTo>
                          <a:pt x="524" y="223"/>
                        </a:lnTo>
                        <a:lnTo>
                          <a:pt x="526" y="222"/>
                        </a:lnTo>
                        <a:lnTo>
                          <a:pt x="528" y="222"/>
                        </a:lnTo>
                        <a:lnTo>
                          <a:pt x="532" y="220"/>
                        </a:lnTo>
                        <a:lnTo>
                          <a:pt x="539" y="219"/>
                        </a:lnTo>
                        <a:lnTo>
                          <a:pt x="542" y="217"/>
                        </a:lnTo>
                        <a:lnTo>
                          <a:pt x="547" y="217"/>
                        </a:lnTo>
                        <a:lnTo>
                          <a:pt x="550" y="216"/>
                        </a:lnTo>
                        <a:lnTo>
                          <a:pt x="551" y="214"/>
                        </a:lnTo>
                        <a:lnTo>
                          <a:pt x="553" y="216"/>
                        </a:lnTo>
                        <a:lnTo>
                          <a:pt x="555" y="217"/>
                        </a:lnTo>
                        <a:lnTo>
                          <a:pt x="555" y="219"/>
                        </a:lnTo>
                        <a:lnTo>
                          <a:pt x="555" y="220"/>
                        </a:lnTo>
                        <a:lnTo>
                          <a:pt x="553" y="220"/>
                        </a:lnTo>
                        <a:lnTo>
                          <a:pt x="553" y="222"/>
                        </a:lnTo>
                        <a:lnTo>
                          <a:pt x="551" y="222"/>
                        </a:lnTo>
                        <a:lnTo>
                          <a:pt x="551" y="223"/>
                        </a:lnTo>
                        <a:lnTo>
                          <a:pt x="550" y="225"/>
                        </a:lnTo>
                        <a:lnTo>
                          <a:pt x="550" y="227"/>
                        </a:lnTo>
                        <a:lnTo>
                          <a:pt x="550" y="228"/>
                        </a:lnTo>
                        <a:lnTo>
                          <a:pt x="548" y="228"/>
                        </a:lnTo>
                        <a:lnTo>
                          <a:pt x="548" y="230"/>
                        </a:lnTo>
                        <a:lnTo>
                          <a:pt x="547" y="231"/>
                        </a:lnTo>
                        <a:lnTo>
                          <a:pt x="547" y="233"/>
                        </a:lnTo>
                        <a:lnTo>
                          <a:pt x="548" y="235"/>
                        </a:lnTo>
                        <a:lnTo>
                          <a:pt x="548" y="236"/>
                        </a:lnTo>
                        <a:lnTo>
                          <a:pt x="550" y="236"/>
                        </a:lnTo>
                        <a:lnTo>
                          <a:pt x="550" y="238"/>
                        </a:lnTo>
                        <a:lnTo>
                          <a:pt x="550" y="239"/>
                        </a:lnTo>
                        <a:lnTo>
                          <a:pt x="550" y="241"/>
                        </a:lnTo>
                        <a:lnTo>
                          <a:pt x="550" y="242"/>
                        </a:lnTo>
                        <a:lnTo>
                          <a:pt x="550" y="244"/>
                        </a:lnTo>
                        <a:lnTo>
                          <a:pt x="550" y="246"/>
                        </a:lnTo>
                        <a:lnTo>
                          <a:pt x="548" y="247"/>
                        </a:lnTo>
                        <a:lnTo>
                          <a:pt x="547" y="249"/>
                        </a:lnTo>
                        <a:lnTo>
                          <a:pt x="545" y="254"/>
                        </a:lnTo>
                        <a:lnTo>
                          <a:pt x="543" y="257"/>
                        </a:lnTo>
                        <a:lnTo>
                          <a:pt x="542" y="260"/>
                        </a:lnTo>
                        <a:lnTo>
                          <a:pt x="540" y="265"/>
                        </a:lnTo>
                        <a:lnTo>
                          <a:pt x="537" y="268"/>
                        </a:lnTo>
                        <a:lnTo>
                          <a:pt x="536" y="269"/>
                        </a:lnTo>
                        <a:lnTo>
                          <a:pt x="532" y="269"/>
                        </a:lnTo>
                        <a:lnTo>
                          <a:pt x="531" y="271"/>
                        </a:lnTo>
                        <a:lnTo>
                          <a:pt x="531" y="273"/>
                        </a:lnTo>
                        <a:lnTo>
                          <a:pt x="531" y="274"/>
                        </a:lnTo>
                        <a:lnTo>
                          <a:pt x="531" y="276"/>
                        </a:lnTo>
                        <a:lnTo>
                          <a:pt x="531" y="277"/>
                        </a:lnTo>
                        <a:lnTo>
                          <a:pt x="531" y="279"/>
                        </a:lnTo>
                        <a:lnTo>
                          <a:pt x="531" y="280"/>
                        </a:lnTo>
                        <a:lnTo>
                          <a:pt x="531" y="282"/>
                        </a:lnTo>
                        <a:lnTo>
                          <a:pt x="531" y="284"/>
                        </a:lnTo>
                        <a:lnTo>
                          <a:pt x="534" y="287"/>
                        </a:lnTo>
                        <a:lnTo>
                          <a:pt x="534" y="288"/>
                        </a:lnTo>
                        <a:lnTo>
                          <a:pt x="536" y="290"/>
                        </a:lnTo>
                        <a:lnTo>
                          <a:pt x="536" y="292"/>
                        </a:lnTo>
                        <a:lnTo>
                          <a:pt x="537" y="292"/>
                        </a:lnTo>
                        <a:lnTo>
                          <a:pt x="537" y="293"/>
                        </a:lnTo>
                        <a:lnTo>
                          <a:pt x="537" y="295"/>
                        </a:lnTo>
                        <a:lnTo>
                          <a:pt x="539" y="296"/>
                        </a:lnTo>
                        <a:lnTo>
                          <a:pt x="539" y="298"/>
                        </a:lnTo>
                        <a:lnTo>
                          <a:pt x="540" y="298"/>
                        </a:lnTo>
                        <a:lnTo>
                          <a:pt x="543" y="301"/>
                        </a:lnTo>
                        <a:lnTo>
                          <a:pt x="545" y="303"/>
                        </a:lnTo>
                        <a:lnTo>
                          <a:pt x="547" y="304"/>
                        </a:lnTo>
                        <a:lnTo>
                          <a:pt x="548" y="306"/>
                        </a:lnTo>
                        <a:lnTo>
                          <a:pt x="548" y="307"/>
                        </a:lnTo>
                        <a:lnTo>
                          <a:pt x="550" y="311"/>
                        </a:lnTo>
                        <a:lnTo>
                          <a:pt x="551" y="311"/>
                        </a:lnTo>
                        <a:lnTo>
                          <a:pt x="550" y="312"/>
                        </a:lnTo>
                        <a:lnTo>
                          <a:pt x="550" y="314"/>
                        </a:lnTo>
                        <a:lnTo>
                          <a:pt x="547" y="315"/>
                        </a:lnTo>
                        <a:lnTo>
                          <a:pt x="547" y="317"/>
                        </a:lnTo>
                        <a:lnTo>
                          <a:pt x="547" y="318"/>
                        </a:lnTo>
                        <a:lnTo>
                          <a:pt x="547" y="320"/>
                        </a:lnTo>
                        <a:lnTo>
                          <a:pt x="545" y="322"/>
                        </a:lnTo>
                        <a:lnTo>
                          <a:pt x="545" y="323"/>
                        </a:lnTo>
                        <a:lnTo>
                          <a:pt x="543" y="325"/>
                        </a:lnTo>
                        <a:lnTo>
                          <a:pt x="543" y="326"/>
                        </a:lnTo>
                        <a:lnTo>
                          <a:pt x="542" y="326"/>
                        </a:lnTo>
                        <a:lnTo>
                          <a:pt x="540" y="328"/>
                        </a:lnTo>
                        <a:lnTo>
                          <a:pt x="531" y="328"/>
                        </a:lnTo>
                        <a:lnTo>
                          <a:pt x="529" y="326"/>
                        </a:lnTo>
                        <a:lnTo>
                          <a:pt x="528" y="326"/>
                        </a:lnTo>
                        <a:lnTo>
                          <a:pt x="526" y="326"/>
                        </a:lnTo>
                        <a:lnTo>
                          <a:pt x="524" y="326"/>
                        </a:lnTo>
                        <a:lnTo>
                          <a:pt x="523" y="326"/>
                        </a:lnTo>
                        <a:lnTo>
                          <a:pt x="520" y="326"/>
                        </a:lnTo>
                        <a:lnTo>
                          <a:pt x="518" y="325"/>
                        </a:lnTo>
                        <a:lnTo>
                          <a:pt x="517" y="326"/>
                        </a:lnTo>
                        <a:lnTo>
                          <a:pt x="513" y="328"/>
                        </a:lnTo>
                        <a:lnTo>
                          <a:pt x="510" y="330"/>
                        </a:lnTo>
                        <a:lnTo>
                          <a:pt x="507" y="333"/>
                        </a:lnTo>
                        <a:lnTo>
                          <a:pt x="505" y="336"/>
                        </a:lnTo>
                        <a:lnTo>
                          <a:pt x="504" y="339"/>
                        </a:lnTo>
                        <a:lnTo>
                          <a:pt x="502" y="344"/>
                        </a:lnTo>
                        <a:lnTo>
                          <a:pt x="502" y="347"/>
                        </a:lnTo>
                        <a:lnTo>
                          <a:pt x="502" y="350"/>
                        </a:lnTo>
                        <a:lnTo>
                          <a:pt x="501" y="352"/>
                        </a:lnTo>
                        <a:lnTo>
                          <a:pt x="499" y="353"/>
                        </a:lnTo>
                        <a:lnTo>
                          <a:pt x="496" y="355"/>
                        </a:lnTo>
                        <a:lnTo>
                          <a:pt x="494" y="356"/>
                        </a:lnTo>
                        <a:lnTo>
                          <a:pt x="493" y="361"/>
                        </a:lnTo>
                        <a:lnTo>
                          <a:pt x="493" y="364"/>
                        </a:lnTo>
                        <a:lnTo>
                          <a:pt x="493" y="368"/>
                        </a:lnTo>
                        <a:lnTo>
                          <a:pt x="494" y="369"/>
                        </a:lnTo>
                        <a:lnTo>
                          <a:pt x="497" y="371"/>
                        </a:lnTo>
                        <a:lnTo>
                          <a:pt x="502" y="372"/>
                        </a:lnTo>
                        <a:lnTo>
                          <a:pt x="509" y="374"/>
                        </a:lnTo>
                        <a:lnTo>
                          <a:pt x="513" y="374"/>
                        </a:lnTo>
                        <a:lnTo>
                          <a:pt x="517" y="375"/>
                        </a:lnTo>
                        <a:lnTo>
                          <a:pt x="517" y="377"/>
                        </a:lnTo>
                        <a:lnTo>
                          <a:pt x="518" y="379"/>
                        </a:lnTo>
                        <a:lnTo>
                          <a:pt x="518" y="382"/>
                        </a:lnTo>
                        <a:lnTo>
                          <a:pt x="518" y="383"/>
                        </a:lnTo>
                        <a:lnTo>
                          <a:pt x="520" y="385"/>
                        </a:lnTo>
                        <a:lnTo>
                          <a:pt x="521" y="385"/>
                        </a:lnTo>
                        <a:lnTo>
                          <a:pt x="521" y="387"/>
                        </a:lnTo>
                        <a:lnTo>
                          <a:pt x="521" y="388"/>
                        </a:lnTo>
                        <a:lnTo>
                          <a:pt x="521" y="390"/>
                        </a:lnTo>
                        <a:lnTo>
                          <a:pt x="520" y="391"/>
                        </a:lnTo>
                        <a:lnTo>
                          <a:pt x="518" y="393"/>
                        </a:lnTo>
                        <a:lnTo>
                          <a:pt x="517" y="394"/>
                        </a:lnTo>
                        <a:lnTo>
                          <a:pt x="515" y="394"/>
                        </a:lnTo>
                        <a:lnTo>
                          <a:pt x="515" y="396"/>
                        </a:lnTo>
                        <a:lnTo>
                          <a:pt x="513" y="396"/>
                        </a:lnTo>
                        <a:lnTo>
                          <a:pt x="513" y="398"/>
                        </a:lnTo>
                        <a:lnTo>
                          <a:pt x="512" y="399"/>
                        </a:lnTo>
                        <a:lnTo>
                          <a:pt x="512" y="401"/>
                        </a:lnTo>
                        <a:lnTo>
                          <a:pt x="510" y="401"/>
                        </a:lnTo>
                        <a:lnTo>
                          <a:pt x="509" y="402"/>
                        </a:lnTo>
                        <a:lnTo>
                          <a:pt x="507" y="404"/>
                        </a:lnTo>
                        <a:lnTo>
                          <a:pt x="507" y="406"/>
                        </a:lnTo>
                        <a:lnTo>
                          <a:pt x="505" y="407"/>
                        </a:lnTo>
                        <a:lnTo>
                          <a:pt x="504" y="409"/>
                        </a:lnTo>
                        <a:lnTo>
                          <a:pt x="504" y="410"/>
                        </a:lnTo>
                        <a:lnTo>
                          <a:pt x="504" y="412"/>
                        </a:lnTo>
                        <a:lnTo>
                          <a:pt x="502" y="414"/>
                        </a:lnTo>
                        <a:lnTo>
                          <a:pt x="502" y="418"/>
                        </a:lnTo>
                        <a:lnTo>
                          <a:pt x="502" y="421"/>
                        </a:lnTo>
                        <a:lnTo>
                          <a:pt x="502" y="425"/>
                        </a:lnTo>
                        <a:lnTo>
                          <a:pt x="502" y="426"/>
                        </a:lnTo>
                        <a:lnTo>
                          <a:pt x="501" y="428"/>
                        </a:lnTo>
                        <a:lnTo>
                          <a:pt x="501" y="429"/>
                        </a:lnTo>
                        <a:lnTo>
                          <a:pt x="499" y="429"/>
                        </a:lnTo>
                        <a:lnTo>
                          <a:pt x="496" y="431"/>
                        </a:lnTo>
                        <a:lnTo>
                          <a:pt x="493" y="434"/>
                        </a:lnTo>
                        <a:lnTo>
                          <a:pt x="491" y="436"/>
                        </a:lnTo>
                        <a:lnTo>
                          <a:pt x="490" y="437"/>
                        </a:lnTo>
                        <a:lnTo>
                          <a:pt x="486" y="439"/>
                        </a:lnTo>
                        <a:lnTo>
                          <a:pt x="483" y="439"/>
                        </a:lnTo>
                        <a:lnTo>
                          <a:pt x="482" y="440"/>
                        </a:lnTo>
                        <a:lnTo>
                          <a:pt x="480" y="444"/>
                        </a:lnTo>
                        <a:lnTo>
                          <a:pt x="478" y="445"/>
                        </a:lnTo>
                        <a:lnTo>
                          <a:pt x="478" y="447"/>
                        </a:lnTo>
                        <a:lnTo>
                          <a:pt x="478" y="448"/>
                        </a:lnTo>
                        <a:lnTo>
                          <a:pt x="482" y="450"/>
                        </a:lnTo>
                        <a:lnTo>
                          <a:pt x="483" y="455"/>
                        </a:lnTo>
                        <a:lnTo>
                          <a:pt x="486" y="459"/>
                        </a:lnTo>
                        <a:lnTo>
                          <a:pt x="488" y="461"/>
                        </a:lnTo>
                        <a:lnTo>
                          <a:pt x="490" y="463"/>
                        </a:lnTo>
                        <a:lnTo>
                          <a:pt x="491" y="464"/>
                        </a:lnTo>
                        <a:lnTo>
                          <a:pt x="493" y="466"/>
                        </a:lnTo>
                        <a:lnTo>
                          <a:pt x="493" y="467"/>
                        </a:lnTo>
                        <a:lnTo>
                          <a:pt x="493" y="472"/>
                        </a:lnTo>
                        <a:lnTo>
                          <a:pt x="493" y="475"/>
                        </a:lnTo>
                        <a:lnTo>
                          <a:pt x="494" y="478"/>
                        </a:lnTo>
                        <a:lnTo>
                          <a:pt x="493" y="482"/>
                        </a:lnTo>
                        <a:lnTo>
                          <a:pt x="493" y="486"/>
                        </a:lnTo>
                        <a:lnTo>
                          <a:pt x="494" y="490"/>
                        </a:lnTo>
                        <a:lnTo>
                          <a:pt x="496" y="491"/>
                        </a:lnTo>
                        <a:lnTo>
                          <a:pt x="497" y="493"/>
                        </a:lnTo>
                        <a:lnTo>
                          <a:pt x="501" y="494"/>
                        </a:lnTo>
                        <a:lnTo>
                          <a:pt x="502" y="494"/>
                        </a:lnTo>
                        <a:lnTo>
                          <a:pt x="502" y="496"/>
                        </a:lnTo>
                        <a:lnTo>
                          <a:pt x="501" y="499"/>
                        </a:lnTo>
                        <a:lnTo>
                          <a:pt x="496" y="502"/>
                        </a:lnTo>
                        <a:lnTo>
                          <a:pt x="490" y="510"/>
                        </a:lnTo>
                        <a:lnTo>
                          <a:pt x="488" y="512"/>
                        </a:lnTo>
                        <a:lnTo>
                          <a:pt x="486" y="515"/>
                        </a:lnTo>
                        <a:lnTo>
                          <a:pt x="486" y="520"/>
                        </a:lnTo>
                        <a:lnTo>
                          <a:pt x="485" y="523"/>
                        </a:lnTo>
                        <a:lnTo>
                          <a:pt x="480" y="526"/>
                        </a:lnTo>
                        <a:lnTo>
                          <a:pt x="477" y="529"/>
                        </a:lnTo>
                        <a:lnTo>
                          <a:pt x="477" y="531"/>
                        </a:lnTo>
                        <a:lnTo>
                          <a:pt x="474" y="531"/>
                        </a:lnTo>
                        <a:lnTo>
                          <a:pt x="471" y="532"/>
                        </a:lnTo>
                        <a:lnTo>
                          <a:pt x="467" y="535"/>
                        </a:lnTo>
                        <a:lnTo>
                          <a:pt x="464" y="540"/>
                        </a:lnTo>
                        <a:lnTo>
                          <a:pt x="463" y="545"/>
                        </a:lnTo>
                        <a:lnTo>
                          <a:pt x="461" y="550"/>
                        </a:lnTo>
                        <a:lnTo>
                          <a:pt x="459" y="558"/>
                        </a:lnTo>
                        <a:lnTo>
                          <a:pt x="459" y="562"/>
                        </a:lnTo>
                        <a:lnTo>
                          <a:pt x="458" y="570"/>
                        </a:lnTo>
                        <a:lnTo>
                          <a:pt x="453" y="581"/>
                        </a:lnTo>
                        <a:lnTo>
                          <a:pt x="452" y="591"/>
                        </a:lnTo>
                        <a:lnTo>
                          <a:pt x="450" y="596"/>
                        </a:lnTo>
                        <a:lnTo>
                          <a:pt x="450" y="597"/>
                        </a:lnTo>
                        <a:lnTo>
                          <a:pt x="448" y="600"/>
                        </a:lnTo>
                        <a:lnTo>
                          <a:pt x="448" y="602"/>
                        </a:lnTo>
                        <a:lnTo>
                          <a:pt x="450" y="607"/>
                        </a:lnTo>
                        <a:lnTo>
                          <a:pt x="450" y="613"/>
                        </a:lnTo>
                        <a:lnTo>
                          <a:pt x="450" y="615"/>
                        </a:lnTo>
                        <a:lnTo>
                          <a:pt x="448" y="615"/>
                        </a:lnTo>
                        <a:lnTo>
                          <a:pt x="450" y="616"/>
                        </a:lnTo>
                        <a:lnTo>
                          <a:pt x="450" y="618"/>
                        </a:lnTo>
                        <a:lnTo>
                          <a:pt x="452" y="619"/>
                        </a:lnTo>
                        <a:lnTo>
                          <a:pt x="452" y="621"/>
                        </a:lnTo>
                        <a:lnTo>
                          <a:pt x="453" y="623"/>
                        </a:lnTo>
                        <a:lnTo>
                          <a:pt x="455" y="624"/>
                        </a:lnTo>
                        <a:lnTo>
                          <a:pt x="458" y="627"/>
                        </a:lnTo>
                        <a:lnTo>
                          <a:pt x="459" y="627"/>
                        </a:lnTo>
                        <a:lnTo>
                          <a:pt x="461" y="629"/>
                        </a:lnTo>
                        <a:lnTo>
                          <a:pt x="467" y="629"/>
                        </a:lnTo>
                        <a:lnTo>
                          <a:pt x="471" y="632"/>
                        </a:lnTo>
                        <a:lnTo>
                          <a:pt x="471" y="634"/>
                        </a:lnTo>
                        <a:lnTo>
                          <a:pt x="472" y="635"/>
                        </a:lnTo>
                        <a:lnTo>
                          <a:pt x="472" y="637"/>
                        </a:lnTo>
                        <a:lnTo>
                          <a:pt x="472" y="640"/>
                        </a:lnTo>
                        <a:lnTo>
                          <a:pt x="472" y="642"/>
                        </a:lnTo>
                        <a:lnTo>
                          <a:pt x="472" y="643"/>
                        </a:lnTo>
                        <a:lnTo>
                          <a:pt x="472" y="646"/>
                        </a:lnTo>
                        <a:lnTo>
                          <a:pt x="472" y="648"/>
                        </a:lnTo>
                        <a:lnTo>
                          <a:pt x="472" y="650"/>
                        </a:lnTo>
                        <a:lnTo>
                          <a:pt x="471" y="650"/>
                        </a:lnTo>
                        <a:lnTo>
                          <a:pt x="471" y="651"/>
                        </a:lnTo>
                        <a:lnTo>
                          <a:pt x="471" y="653"/>
                        </a:lnTo>
                        <a:lnTo>
                          <a:pt x="471" y="656"/>
                        </a:lnTo>
                        <a:lnTo>
                          <a:pt x="469" y="657"/>
                        </a:lnTo>
                        <a:lnTo>
                          <a:pt x="469" y="659"/>
                        </a:lnTo>
                        <a:lnTo>
                          <a:pt x="469" y="661"/>
                        </a:lnTo>
                        <a:lnTo>
                          <a:pt x="469" y="662"/>
                        </a:lnTo>
                        <a:lnTo>
                          <a:pt x="469" y="664"/>
                        </a:lnTo>
                        <a:lnTo>
                          <a:pt x="471" y="664"/>
                        </a:lnTo>
                        <a:lnTo>
                          <a:pt x="471" y="667"/>
                        </a:lnTo>
                        <a:lnTo>
                          <a:pt x="472" y="669"/>
                        </a:lnTo>
                        <a:lnTo>
                          <a:pt x="472" y="670"/>
                        </a:lnTo>
                        <a:lnTo>
                          <a:pt x="474" y="672"/>
                        </a:lnTo>
                        <a:lnTo>
                          <a:pt x="475" y="673"/>
                        </a:lnTo>
                        <a:lnTo>
                          <a:pt x="475" y="675"/>
                        </a:lnTo>
                        <a:lnTo>
                          <a:pt x="477" y="678"/>
                        </a:lnTo>
                        <a:lnTo>
                          <a:pt x="478" y="680"/>
                        </a:lnTo>
                        <a:lnTo>
                          <a:pt x="480" y="681"/>
                        </a:lnTo>
                        <a:lnTo>
                          <a:pt x="482" y="684"/>
                        </a:lnTo>
                        <a:lnTo>
                          <a:pt x="482" y="686"/>
                        </a:lnTo>
                        <a:lnTo>
                          <a:pt x="483" y="686"/>
                        </a:lnTo>
                        <a:lnTo>
                          <a:pt x="485" y="688"/>
                        </a:lnTo>
                        <a:lnTo>
                          <a:pt x="485" y="689"/>
                        </a:lnTo>
                        <a:lnTo>
                          <a:pt x="486" y="691"/>
                        </a:lnTo>
                        <a:lnTo>
                          <a:pt x="488" y="692"/>
                        </a:lnTo>
                        <a:lnTo>
                          <a:pt x="490" y="694"/>
                        </a:lnTo>
                        <a:lnTo>
                          <a:pt x="491" y="695"/>
                        </a:lnTo>
                        <a:lnTo>
                          <a:pt x="493" y="697"/>
                        </a:lnTo>
                        <a:lnTo>
                          <a:pt x="494" y="697"/>
                        </a:lnTo>
                        <a:lnTo>
                          <a:pt x="497" y="699"/>
                        </a:lnTo>
                        <a:lnTo>
                          <a:pt x="499" y="700"/>
                        </a:lnTo>
                        <a:lnTo>
                          <a:pt x="501" y="700"/>
                        </a:lnTo>
                        <a:lnTo>
                          <a:pt x="502" y="702"/>
                        </a:lnTo>
                        <a:lnTo>
                          <a:pt x="504" y="702"/>
                        </a:lnTo>
                        <a:lnTo>
                          <a:pt x="505" y="703"/>
                        </a:lnTo>
                        <a:lnTo>
                          <a:pt x="507" y="703"/>
                        </a:lnTo>
                        <a:lnTo>
                          <a:pt x="509" y="703"/>
                        </a:lnTo>
                        <a:lnTo>
                          <a:pt x="510" y="703"/>
                        </a:lnTo>
                        <a:lnTo>
                          <a:pt x="512" y="705"/>
                        </a:lnTo>
                        <a:lnTo>
                          <a:pt x="513" y="705"/>
                        </a:lnTo>
                        <a:lnTo>
                          <a:pt x="515" y="705"/>
                        </a:lnTo>
                        <a:lnTo>
                          <a:pt x="518" y="707"/>
                        </a:lnTo>
                        <a:lnTo>
                          <a:pt x="520" y="707"/>
                        </a:lnTo>
                        <a:lnTo>
                          <a:pt x="521" y="707"/>
                        </a:lnTo>
                        <a:lnTo>
                          <a:pt x="523" y="708"/>
                        </a:lnTo>
                        <a:lnTo>
                          <a:pt x="526" y="710"/>
                        </a:lnTo>
                        <a:lnTo>
                          <a:pt x="528" y="710"/>
                        </a:lnTo>
                        <a:lnTo>
                          <a:pt x="529" y="710"/>
                        </a:lnTo>
                        <a:lnTo>
                          <a:pt x="531" y="711"/>
                        </a:lnTo>
                        <a:lnTo>
                          <a:pt x="532" y="711"/>
                        </a:lnTo>
                        <a:lnTo>
                          <a:pt x="534" y="713"/>
                        </a:lnTo>
                        <a:lnTo>
                          <a:pt x="537" y="714"/>
                        </a:lnTo>
                        <a:lnTo>
                          <a:pt x="539" y="714"/>
                        </a:lnTo>
                        <a:lnTo>
                          <a:pt x="540" y="716"/>
                        </a:lnTo>
                        <a:lnTo>
                          <a:pt x="542" y="718"/>
                        </a:lnTo>
                        <a:lnTo>
                          <a:pt x="543" y="718"/>
                        </a:lnTo>
                        <a:lnTo>
                          <a:pt x="545" y="719"/>
                        </a:lnTo>
                        <a:lnTo>
                          <a:pt x="545" y="721"/>
                        </a:lnTo>
                        <a:lnTo>
                          <a:pt x="547" y="721"/>
                        </a:lnTo>
                        <a:lnTo>
                          <a:pt x="547" y="722"/>
                        </a:lnTo>
                        <a:lnTo>
                          <a:pt x="547" y="724"/>
                        </a:lnTo>
                        <a:lnTo>
                          <a:pt x="548" y="724"/>
                        </a:lnTo>
                        <a:lnTo>
                          <a:pt x="548" y="726"/>
                        </a:lnTo>
                        <a:lnTo>
                          <a:pt x="550" y="726"/>
                        </a:lnTo>
                        <a:lnTo>
                          <a:pt x="550" y="727"/>
                        </a:lnTo>
                        <a:lnTo>
                          <a:pt x="553" y="727"/>
                        </a:lnTo>
                        <a:lnTo>
                          <a:pt x="553" y="729"/>
                        </a:lnTo>
                        <a:lnTo>
                          <a:pt x="555" y="730"/>
                        </a:lnTo>
                        <a:lnTo>
                          <a:pt x="556" y="732"/>
                        </a:lnTo>
                        <a:lnTo>
                          <a:pt x="558" y="732"/>
                        </a:lnTo>
                        <a:lnTo>
                          <a:pt x="558" y="733"/>
                        </a:lnTo>
                        <a:lnTo>
                          <a:pt x="556" y="735"/>
                        </a:lnTo>
                        <a:lnTo>
                          <a:pt x="556" y="737"/>
                        </a:lnTo>
                        <a:lnTo>
                          <a:pt x="556" y="738"/>
                        </a:lnTo>
                        <a:lnTo>
                          <a:pt x="555" y="738"/>
                        </a:lnTo>
                        <a:lnTo>
                          <a:pt x="555" y="740"/>
                        </a:lnTo>
                        <a:lnTo>
                          <a:pt x="553" y="741"/>
                        </a:lnTo>
                        <a:lnTo>
                          <a:pt x="553" y="743"/>
                        </a:lnTo>
                        <a:lnTo>
                          <a:pt x="551" y="743"/>
                        </a:lnTo>
                        <a:lnTo>
                          <a:pt x="551" y="745"/>
                        </a:lnTo>
                        <a:lnTo>
                          <a:pt x="550" y="745"/>
                        </a:lnTo>
                        <a:lnTo>
                          <a:pt x="550" y="748"/>
                        </a:lnTo>
                        <a:lnTo>
                          <a:pt x="548" y="749"/>
                        </a:lnTo>
                        <a:lnTo>
                          <a:pt x="547" y="751"/>
                        </a:lnTo>
                        <a:lnTo>
                          <a:pt x="547" y="752"/>
                        </a:lnTo>
                        <a:lnTo>
                          <a:pt x="545" y="754"/>
                        </a:lnTo>
                        <a:lnTo>
                          <a:pt x="543" y="756"/>
                        </a:lnTo>
                        <a:lnTo>
                          <a:pt x="543" y="757"/>
                        </a:lnTo>
                        <a:lnTo>
                          <a:pt x="542" y="759"/>
                        </a:lnTo>
                        <a:lnTo>
                          <a:pt x="540" y="760"/>
                        </a:lnTo>
                        <a:lnTo>
                          <a:pt x="540" y="762"/>
                        </a:lnTo>
                        <a:lnTo>
                          <a:pt x="540" y="764"/>
                        </a:lnTo>
                        <a:lnTo>
                          <a:pt x="539" y="765"/>
                        </a:lnTo>
                        <a:lnTo>
                          <a:pt x="537" y="767"/>
                        </a:lnTo>
                        <a:lnTo>
                          <a:pt x="536" y="767"/>
                        </a:lnTo>
                        <a:lnTo>
                          <a:pt x="534" y="768"/>
                        </a:lnTo>
                        <a:lnTo>
                          <a:pt x="532" y="768"/>
                        </a:lnTo>
                        <a:lnTo>
                          <a:pt x="531" y="770"/>
                        </a:lnTo>
                        <a:lnTo>
                          <a:pt x="531" y="773"/>
                        </a:lnTo>
                        <a:lnTo>
                          <a:pt x="531" y="775"/>
                        </a:lnTo>
                        <a:lnTo>
                          <a:pt x="531" y="778"/>
                        </a:lnTo>
                        <a:lnTo>
                          <a:pt x="532" y="781"/>
                        </a:lnTo>
                        <a:lnTo>
                          <a:pt x="532" y="783"/>
                        </a:lnTo>
                        <a:lnTo>
                          <a:pt x="534" y="784"/>
                        </a:lnTo>
                        <a:lnTo>
                          <a:pt x="536" y="786"/>
                        </a:lnTo>
                        <a:lnTo>
                          <a:pt x="536" y="787"/>
                        </a:lnTo>
                        <a:lnTo>
                          <a:pt x="537" y="789"/>
                        </a:lnTo>
                        <a:lnTo>
                          <a:pt x="539" y="791"/>
                        </a:lnTo>
                        <a:lnTo>
                          <a:pt x="540" y="792"/>
                        </a:lnTo>
                        <a:lnTo>
                          <a:pt x="542" y="794"/>
                        </a:lnTo>
                        <a:lnTo>
                          <a:pt x="545" y="797"/>
                        </a:lnTo>
                        <a:lnTo>
                          <a:pt x="547" y="797"/>
                        </a:lnTo>
                        <a:lnTo>
                          <a:pt x="548" y="798"/>
                        </a:lnTo>
                        <a:lnTo>
                          <a:pt x="550" y="802"/>
                        </a:lnTo>
                        <a:lnTo>
                          <a:pt x="551" y="803"/>
                        </a:lnTo>
                        <a:lnTo>
                          <a:pt x="553" y="805"/>
                        </a:lnTo>
                        <a:lnTo>
                          <a:pt x="555" y="805"/>
                        </a:lnTo>
                        <a:lnTo>
                          <a:pt x="555" y="806"/>
                        </a:lnTo>
                        <a:lnTo>
                          <a:pt x="555" y="810"/>
                        </a:lnTo>
                        <a:lnTo>
                          <a:pt x="555" y="813"/>
                        </a:lnTo>
                        <a:lnTo>
                          <a:pt x="555" y="814"/>
                        </a:lnTo>
                        <a:lnTo>
                          <a:pt x="553" y="816"/>
                        </a:lnTo>
                        <a:lnTo>
                          <a:pt x="553" y="819"/>
                        </a:lnTo>
                        <a:lnTo>
                          <a:pt x="553" y="821"/>
                        </a:lnTo>
                        <a:lnTo>
                          <a:pt x="551" y="824"/>
                        </a:lnTo>
                        <a:lnTo>
                          <a:pt x="551" y="827"/>
                        </a:lnTo>
                        <a:lnTo>
                          <a:pt x="551" y="829"/>
                        </a:lnTo>
                        <a:lnTo>
                          <a:pt x="550" y="832"/>
                        </a:lnTo>
                        <a:lnTo>
                          <a:pt x="550" y="833"/>
                        </a:lnTo>
                        <a:lnTo>
                          <a:pt x="550" y="836"/>
                        </a:lnTo>
                        <a:lnTo>
                          <a:pt x="550" y="838"/>
                        </a:lnTo>
                        <a:lnTo>
                          <a:pt x="550" y="841"/>
                        </a:lnTo>
                        <a:lnTo>
                          <a:pt x="550" y="843"/>
                        </a:lnTo>
                        <a:lnTo>
                          <a:pt x="550" y="846"/>
                        </a:lnTo>
                        <a:lnTo>
                          <a:pt x="550" y="848"/>
                        </a:lnTo>
                        <a:lnTo>
                          <a:pt x="548" y="849"/>
                        </a:lnTo>
                        <a:lnTo>
                          <a:pt x="548" y="851"/>
                        </a:lnTo>
                        <a:lnTo>
                          <a:pt x="548" y="854"/>
                        </a:lnTo>
                        <a:lnTo>
                          <a:pt x="550" y="855"/>
                        </a:lnTo>
                        <a:lnTo>
                          <a:pt x="548" y="859"/>
                        </a:lnTo>
                        <a:lnTo>
                          <a:pt x="548" y="860"/>
                        </a:lnTo>
                        <a:lnTo>
                          <a:pt x="548" y="863"/>
                        </a:lnTo>
                        <a:lnTo>
                          <a:pt x="547" y="867"/>
                        </a:lnTo>
                        <a:lnTo>
                          <a:pt x="547" y="868"/>
                        </a:lnTo>
                        <a:lnTo>
                          <a:pt x="545" y="871"/>
                        </a:lnTo>
                        <a:lnTo>
                          <a:pt x="545" y="873"/>
                        </a:lnTo>
                        <a:lnTo>
                          <a:pt x="545" y="874"/>
                        </a:lnTo>
                        <a:lnTo>
                          <a:pt x="543" y="876"/>
                        </a:lnTo>
                        <a:lnTo>
                          <a:pt x="543" y="878"/>
                        </a:lnTo>
                        <a:lnTo>
                          <a:pt x="542" y="879"/>
                        </a:lnTo>
                        <a:lnTo>
                          <a:pt x="542" y="881"/>
                        </a:lnTo>
                        <a:lnTo>
                          <a:pt x="542" y="882"/>
                        </a:lnTo>
                        <a:lnTo>
                          <a:pt x="543" y="882"/>
                        </a:lnTo>
                        <a:lnTo>
                          <a:pt x="543" y="884"/>
                        </a:lnTo>
                        <a:lnTo>
                          <a:pt x="542" y="886"/>
                        </a:lnTo>
                        <a:lnTo>
                          <a:pt x="542" y="887"/>
                        </a:lnTo>
                        <a:lnTo>
                          <a:pt x="540" y="887"/>
                        </a:lnTo>
                        <a:lnTo>
                          <a:pt x="539" y="887"/>
                        </a:lnTo>
                        <a:lnTo>
                          <a:pt x="537" y="887"/>
                        </a:lnTo>
                        <a:lnTo>
                          <a:pt x="536" y="889"/>
                        </a:lnTo>
                        <a:lnTo>
                          <a:pt x="534" y="889"/>
                        </a:lnTo>
                        <a:lnTo>
                          <a:pt x="534" y="887"/>
                        </a:lnTo>
                        <a:lnTo>
                          <a:pt x="532" y="886"/>
                        </a:lnTo>
                        <a:lnTo>
                          <a:pt x="531" y="887"/>
                        </a:lnTo>
                        <a:lnTo>
                          <a:pt x="529" y="889"/>
                        </a:lnTo>
                        <a:lnTo>
                          <a:pt x="529" y="890"/>
                        </a:lnTo>
                        <a:lnTo>
                          <a:pt x="529" y="892"/>
                        </a:lnTo>
                        <a:lnTo>
                          <a:pt x="528" y="892"/>
                        </a:lnTo>
                        <a:lnTo>
                          <a:pt x="528" y="890"/>
                        </a:lnTo>
                        <a:lnTo>
                          <a:pt x="526" y="890"/>
                        </a:lnTo>
                        <a:lnTo>
                          <a:pt x="526" y="892"/>
                        </a:lnTo>
                        <a:lnTo>
                          <a:pt x="524" y="892"/>
                        </a:lnTo>
                        <a:lnTo>
                          <a:pt x="523" y="892"/>
                        </a:lnTo>
                        <a:lnTo>
                          <a:pt x="521" y="892"/>
                        </a:lnTo>
                        <a:lnTo>
                          <a:pt x="521" y="893"/>
                        </a:lnTo>
                        <a:lnTo>
                          <a:pt x="521" y="895"/>
                        </a:lnTo>
                        <a:lnTo>
                          <a:pt x="521" y="897"/>
                        </a:lnTo>
                        <a:lnTo>
                          <a:pt x="520" y="897"/>
                        </a:lnTo>
                        <a:lnTo>
                          <a:pt x="520" y="895"/>
                        </a:lnTo>
                        <a:lnTo>
                          <a:pt x="518" y="895"/>
                        </a:lnTo>
                        <a:lnTo>
                          <a:pt x="517" y="895"/>
                        </a:lnTo>
                        <a:lnTo>
                          <a:pt x="517" y="893"/>
                        </a:lnTo>
                        <a:lnTo>
                          <a:pt x="515" y="893"/>
                        </a:lnTo>
                        <a:lnTo>
                          <a:pt x="513" y="893"/>
                        </a:lnTo>
                        <a:lnTo>
                          <a:pt x="512" y="893"/>
                        </a:lnTo>
                        <a:lnTo>
                          <a:pt x="512" y="895"/>
                        </a:lnTo>
                        <a:lnTo>
                          <a:pt x="510" y="895"/>
                        </a:lnTo>
                        <a:lnTo>
                          <a:pt x="510" y="893"/>
                        </a:lnTo>
                        <a:lnTo>
                          <a:pt x="510" y="892"/>
                        </a:lnTo>
                        <a:lnTo>
                          <a:pt x="509" y="892"/>
                        </a:lnTo>
                        <a:lnTo>
                          <a:pt x="509" y="890"/>
                        </a:lnTo>
                        <a:lnTo>
                          <a:pt x="507" y="890"/>
                        </a:lnTo>
                        <a:lnTo>
                          <a:pt x="507" y="889"/>
                        </a:lnTo>
                        <a:lnTo>
                          <a:pt x="505" y="889"/>
                        </a:lnTo>
                        <a:lnTo>
                          <a:pt x="504" y="889"/>
                        </a:lnTo>
                        <a:lnTo>
                          <a:pt x="502" y="890"/>
                        </a:lnTo>
                        <a:lnTo>
                          <a:pt x="501" y="892"/>
                        </a:lnTo>
                        <a:lnTo>
                          <a:pt x="501" y="893"/>
                        </a:lnTo>
                        <a:lnTo>
                          <a:pt x="502" y="893"/>
                        </a:lnTo>
                        <a:lnTo>
                          <a:pt x="502" y="895"/>
                        </a:lnTo>
                        <a:lnTo>
                          <a:pt x="499" y="895"/>
                        </a:lnTo>
                        <a:lnTo>
                          <a:pt x="497" y="892"/>
                        </a:lnTo>
                        <a:lnTo>
                          <a:pt x="497" y="893"/>
                        </a:lnTo>
                        <a:lnTo>
                          <a:pt x="497" y="895"/>
                        </a:lnTo>
                        <a:lnTo>
                          <a:pt x="496" y="897"/>
                        </a:lnTo>
                        <a:lnTo>
                          <a:pt x="496" y="895"/>
                        </a:lnTo>
                        <a:lnTo>
                          <a:pt x="494" y="897"/>
                        </a:lnTo>
                        <a:lnTo>
                          <a:pt x="493" y="897"/>
                        </a:lnTo>
                        <a:lnTo>
                          <a:pt x="491" y="897"/>
                        </a:lnTo>
                        <a:lnTo>
                          <a:pt x="490" y="898"/>
                        </a:lnTo>
                        <a:lnTo>
                          <a:pt x="488" y="898"/>
                        </a:lnTo>
                        <a:lnTo>
                          <a:pt x="486" y="897"/>
                        </a:lnTo>
                        <a:lnTo>
                          <a:pt x="488" y="897"/>
                        </a:lnTo>
                        <a:lnTo>
                          <a:pt x="485" y="897"/>
                        </a:lnTo>
                        <a:lnTo>
                          <a:pt x="485" y="898"/>
                        </a:lnTo>
                        <a:lnTo>
                          <a:pt x="483" y="900"/>
                        </a:lnTo>
                        <a:lnTo>
                          <a:pt x="483" y="901"/>
                        </a:lnTo>
                        <a:lnTo>
                          <a:pt x="482" y="901"/>
                        </a:lnTo>
                        <a:lnTo>
                          <a:pt x="480" y="901"/>
                        </a:lnTo>
                        <a:lnTo>
                          <a:pt x="478" y="903"/>
                        </a:lnTo>
                        <a:lnTo>
                          <a:pt x="477" y="903"/>
                        </a:lnTo>
                        <a:lnTo>
                          <a:pt x="475" y="905"/>
                        </a:lnTo>
                        <a:lnTo>
                          <a:pt x="472" y="905"/>
                        </a:lnTo>
                        <a:lnTo>
                          <a:pt x="472" y="906"/>
                        </a:lnTo>
                        <a:lnTo>
                          <a:pt x="471" y="906"/>
                        </a:lnTo>
                        <a:lnTo>
                          <a:pt x="469" y="908"/>
                        </a:lnTo>
                        <a:lnTo>
                          <a:pt x="469" y="906"/>
                        </a:lnTo>
                        <a:lnTo>
                          <a:pt x="467" y="906"/>
                        </a:lnTo>
                        <a:lnTo>
                          <a:pt x="466" y="906"/>
                        </a:lnTo>
                        <a:lnTo>
                          <a:pt x="464" y="906"/>
                        </a:lnTo>
                        <a:lnTo>
                          <a:pt x="464" y="908"/>
                        </a:lnTo>
                        <a:lnTo>
                          <a:pt x="464" y="909"/>
                        </a:lnTo>
                        <a:lnTo>
                          <a:pt x="463" y="909"/>
                        </a:lnTo>
                        <a:lnTo>
                          <a:pt x="461" y="909"/>
                        </a:lnTo>
                        <a:lnTo>
                          <a:pt x="459" y="909"/>
                        </a:lnTo>
                        <a:lnTo>
                          <a:pt x="458" y="909"/>
                        </a:lnTo>
                        <a:lnTo>
                          <a:pt x="456" y="909"/>
                        </a:lnTo>
                        <a:lnTo>
                          <a:pt x="455" y="909"/>
                        </a:lnTo>
                        <a:lnTo>
                          <a:pt x="455" y="912"/>
                        </a:lnTo>
                        <a:lnTo>
                          <a:pt x="453" y="912"/>
                        </a:lnTo>
                        <a:lnTo>
                          <a:pt x="452" y="912"/>
                        </a:lnTo>
                        <a:lnTo>
                          <a:pt x="450" y="914"/>
                        </a:lnTo>
                        <a:lnTo>
                          <a:pt x="448" y="914"/>
                        </a:lnTo>
                        <a:lnTo>
                          <a:pt x="447" y="914"/>
                        </a:lnTo>
                        <a:lnTo>
                          <a:pt x="445" y="916"/>
                        </a:lnTo>
                        <a:lnTo>
                          <a:pt x="444" y="917"/>
                        </a:lnTo>
                        <a:lnTo>
                          <a:pt x="442" y="917"/>
                        </a:lnTo>
                        <a:lnTo>
                          <a:pt x="442" y="919"/>
                        </a:lnTo>
                        <a:lnTo>
                          <a:pt x="442" y="920"/>
                        </a:lnTo>
                        <a:lnTo>
                          <a:pt x="442" y="922"/>
                        </a:lnTo>
                        <a:lnTo>
                          <a:pt x="440" y="924"/>
                        </a:lnTo>
                        <a:lnTo>
                          <a:pt x="439" y="925"/>
                        </a:lnTo>
                        <a:lnTo>
                          <a:pt x="439" y="927"/>
                        </a:lnTo>
                        <a:lnTo>
                          <a:pt x="439" y="928"/>
                        </a:lnTo>
                        <a:lnTo>
                          <a:pt x="439" y="930"/>
                        </a:lnTo>
                        <a:lnTo>
                          <a:pt x="437" y="930"/>
                        </a:lnTo>
                        <a:lnTo>
                          <a:pt x="436" y="931"/>
                        </a:lnTo>
                        <a:lnTo>
                          <a:pt x="434" y="931"/>
                        </a:lnTo>
                        <a:lnTo>
                          <a:pt x="434" y="930"/>
                        </a:lnTo>
                        <a:lnTo>
                          <a:pt x="433" y="930"/>
                        </a:lnTo>
                        <a:lnTo>
                          <a:pt x="431" y="930"/>
                        </a:lnTo>
                        <a:lnTo>
                          <a:pt x="431" y="931"/>
                        </a:lnTo>
                        <a:lnTo>
                          <a:pt x="429" y="931"/>
                        </a:lnTo>
                        <a:lnTo>
                          <a:pt x="428" y="931"/>
                        </a:lnTo>
                        <a:lnTo>
                          <a:pt x="426" y="931"/>
                        </a:lnTo>
                        <a:lnTo>
                          <a:pt x="428" y="933"/>
                        </a:lnTo>
                        <a:lnTo>
                          <a:pt x="428" y="935"/>
                        </a:lnTo>
                        <a:lnTo>
                          <a:pt x="428" y="936"/>
                        </a:lnTo>
                        <a:lnTo>
                          <a:pt x="426" y="936"/>
                        </a:lnTo>
                        <a:lnTo>
                          <a:pt x="425" y="936"/>
                        </a:lnTo>
                        <a:lnTo>
                          <a:pt x="423" y="935"/>
                        </a:lnTo>
                        <a:lnTo>
                          <a:pt x="423" y="933"/>
                        </a:lnTo>
                        <a:lnTo>
                          <a:pt x="421" y="935"/>
                        </a:lnTo>
                        <a:lnTo>
                          <a:pt x="420" y="933"/>
                        </a:lnTo>
                        <a:lnTo>
                          <a:pt x="418" y="935"/>
                        </a:lnTo>
                        <a:lnTo>
                          <a:pt x="417" y="935"/>
                        </a:lnTo>
                        <a:lnTo>
                          <a:pt x="415" y="933"/>
                        </a:lnTo>
                        <a:lnTo>
                          <a:pt x="414" y="931"/>
                        </a:lnTo>
                        <a:lnTo>
                          <a:pt x="412" y="930"/>
                        </a:lnTo>
                        <a:lnTo>
                          <a:pt x="410" y="930"/>
                        </a:lnTo>
                        <a:lnTo>
                          <a:pt x="409" y="930"/>
                        </a:lnTo>
                        <a:lnTo>
                          <a:pt x="407" y="930"/>
                        </a:lnTo>
                        <a:lnTo>
                          <a:pt x="406" y="930"/>
                        </a:lnTo>
                        <a:lnTo>
                          <a:pt x="404" y="930"/>
                        </a:lnTo>
                        <a:lnTo>
                          <a:pt x="402" y="930"/>
                        </a:lnTo>
                        <a:lnTo>
                          <a:pt x="401" y="930"/>
                        </a:lnTo>
                        <a:lnTo>
                          <a:pt x="399" y="928"/>
                        </a:lnTo>
                        <a:lnTo>
                          <a:pt x="399" y="927"/>
                        </a:lnTo>
                        <a:lnTo>
                          <a:pt x="398" y="927"/>
                        </a:lnTo>
                        <a:lnTo>
                          <a:pt x="396" y="928"/>
                        </a:lnTo>
                        <a:lnTo>
                          <a:pt x="395" y="928"/>
                        </a:lnTo>
                        <a:lnTo>
                          <a:pt x="395" y="927"/>
                        </a:lnTo>
                        <a:lnTo>
                          <a:pt x="393" y="925"/>
                        </a:lnTo>
                        <a:lnTo>
                          <a:pt x="391" y="925"/>
                        </a:lnTo>
                        <a:lnTo>
                          <a:pt x="391" y="924"/>
                        </a:lnTo>
                        <a:lnTo>
                          <a:pt x="390" y="924"/>
                        </a:lnTo>
                        <a:lnTo>
                          <a:pt x="388" y="924"/>
                        </a:lnTo>
                        <a:lnTo>
                          <a:pt x="387" y="924"/>
                        </a:lnTo>
                        <a:lnTo>
                          <a:pt x="387" y="925"/>
                        </a:lnTo>
                        <a:lnTo>
                          <a:pt x="385" y="925"/>
                        </a:lnTo>
                        <a:lnTo>
                          <a:pt x="383" y="925"/>
                        </a:lnTo>
                        <a:lnTo>
                          <a:pt x="382" y="925"/>
                        </a:lnTo>
                        <a:lnTo>
                          <a:pt x="380" y="924"/>
                        </a:lnTo>
                        <a:lnTo>
                          <a:pt x="379" y="922"/>
                        </a:lnTo>
                        <a:lnTo>
                          <a:pt x="377" y="922"/>
                        </a:lnTo>
                        <a:lnTo>
                          <a:pt x="376" y="920"/>
                        </a:lnTo>
                        <a:lnTo>
                          <a:pt x="374" y="919"/>
                        </a:lnTo>
                        <a:lnTo>
                          <a:pt x="374" y="917"/>
                        </a:lnTo>
                        <a:lnTo>
                          <a:pt x="372" y="919"/>
                        </a:lnTo>
                        <a:lnTo>
                          <a:pt x="371" y="919"/>
                        </a:lnTo>
                        <a:lnTo>
                          <a:pt x="369" y="919"/>
                        </a:lnTo>
                        <a:lnTo>
                          <a:pt x="368" y="919"/>
                        </a:lnTo>
                        <a:lnTo>
                          <a:pt x="366" y="919"/>
                        </a:lnTo>
                        <a:lnTo>
                          <a:pt x="364" y="917"/>
                        </a:lnTo>
                        <a:lnTo>
                          <a:pt x="361" y="917"/>
                        </a:lnTo>
                        <a:lnTo>
                          <a:pt x="361" y="916"/>
                        </a:lnTo>
                        <a:lnTo>
                          <a:pt x="361" y="914"/>
                        </a:lnTo>
                        <a:lnTo>
                          <a:pt x="360" y="914"/>
                        </a:lnTo>
                        <a:lnTo>
                          <a:pt x="358" y="914"/>
                        </a:lnTo>
                        <a:lnTo>
                          <a:pt x="357" y="916"/>
                        </a:lnTo>
                        <a:lnTo>
                          <a:pt x="357" y="917"/>
                        </a:lnTo>
                        <a:lnTo>
                          <a:pt x="355" y="917"/>
                        </a:lnTo>
                        <a:lnTo>
                          <a:pt x="353" y="917"/>
                        </a:lnTo>
                        <a:lnTo>
                          <a:pt x="353" y="916"/>
                        </a:lnTo>
                        <a:lnTo>
                          <a:pt x="353" y="914"/>
                        </a:lnTo>
                        <a:lnTo>
                          <a:pt x="350" y="914"/>
                        </a:lnTo>
                        <a:lnTo>
                          <a:pt x="349" y="914"/>
                        </a:lnTo>
                        <a:lnTo>
                          <a:pt x="347" y="912"/>
                        </a:lnTo>
                        <a:lnTo>
                          <a:pt x="345" y="912"/>
                        </a:lnTo>
                        <a:lnTo>
                          <a:pt x="344" y="912"/>
                        </a:lnTo>
                        <a:lnTo>
                          <a:pt x="344" y="911"/>
                        </a:lnTo>
                        <a:lnTo>
                          <a:pt x="342" y="911"/>
                        </a:lnTo>
                        <a:lnTo>
                          <a:pt x="341" y="911"/>
                        </a:lnTo>
                        <a:lnTo>
                          <a:pt x="339" y="911"/>
                        </a:lnTo>
                        <a:lnTo>
                          <a:pt x="339" y="912"/>
                        </a:lnTo>
                        <a:lnTo>
                          <a:pt x="336" y="911"/>
                        </a:lnTo>
                        <a:lnTo>
                          <a:pt x="336" y="909"/>
                        </a:lnTo>
                        <a:lnTo>
                          <a:pt x="334" y="909"/>
                        </a:lnTo>
                        <a:lnTo>
                          <a:pt x="333" y="908"/>
                        </a:lnTo>
                        <a:lnTo>
                          <a:pt x="331" y="908"/>
                        </a:lnTo>
                        <a:lnTo>
                          <a:pt x="330" y="906"/>
                        </a:lnTo>
                        <a:lnTo>
                          <a:pt x="328" y="906"/>
                        </a:lnTo>
                        <a:lnTo>
                          <a:pt x="326" y="905"/>
                        </a:lnTo>
                        <a:lnTo>
                          <a:pt x="325" y="906"/>
                        </a:lnTo>
                        <a:lnTo>
                          <a:pt x="323" y="905"/>
                        </a:lnTo>
                        <a:lnTo>
                          <a:pt x="323" y="903"/>
                        </a:lnTo>
                        <a:lnTo>
                          <a:pt x="322" y="903"/>
                        </a:lnTo>
                        <a:lnTo>
                          <a:pt x="320" y="901"/>
                        </a:lnTo>
                        <a:lnTo>
                          <a:pt x="318" y="903"/>
                        </a:lnTo>
                        <a:lnTo>
                          <a:pt x="317" y="903"/>
                        </a:lnTo>
                        <a:lnTo>
                          <a:pt x="317" y="901"/>
                        </a:lnTo>
                        <a:lnTo>
                          <a:pt x="315" y="901"/>
                        </a:lnTo>
                        <a:lnTo>
                          <a:pt x="315" y="900"/>
                        </a:lnTo>
                        <a:lnTo>
                          <a:pt x="314" y="900"/>
                        </a:lnTo>
                        <a:lnTo>
                          <a:pt x="314" y="901"/>
                        </a:lnTo>
                        <a:lnTo>
                          <a:pt x="312" y="901"/>
                        </a:lnTo>
                        <a:lnTo>
                          <a:pt x="311" y="901"/>
                        </a:lnTo>
                        <a:lnTo>
                          <a:pt x="309" y="901"/>
                        </a:lnTo>
                        <a:lnTo>
                          <a:pt x="307" y="901"/>
                        </a:lnTo>
                        <a:lnTo>
                          <a:pt x="306" y="900"/>
                        </a:lnTo>
                        <a:lnTo>
                          <a:pt x="304" y="898"/>
                        </a:lnTo>
                        <a:lnTo>
                          <a:pt x="303" y="898"/>
                        </a:lnTo>
                        <a:lnTo>
                          <a:pt x="301" y="898"/>
                        </a:lnTo>
                        <a:lnTo>
                          <a:pt x="299" y="898"/>
                        </a:lnTo>
                        <a:lnTo>
                          <a:pt x="298" y="898"/>
                        </a:lnTo>
                        <a:lnTo>
                          <a:pt x="298" y="897"/>
                        </a:lnTo>
                        <a:lnTo>
                          <a:pt x="296" y="897"/>
                        </a:lnTo>
                        <a:lnTo>
                          <a:pt x="295" y="897"/>
                        </a:lnTo>
                        <a:lnTo>
                          <a:pt x="295" y="895"/>
                        </a:lnTo>
                        <a:lnTo>
                          <a:pt x="293" y="893"/>
                        </a:lnTo>
                        <a:lnTo>
                          <a:pt x="293" y="892"/>
                        </a:lnTo>
                        <a:lnTo>
                          <a:pt x="293" y="890"/>
                        </a:lnTo>
                        <a:lnTo>
                          <a:pt x="292" y="890"/>
                        </a:lnTo>
                        <a:lnTo>
                          <a:pt x="290" y="890"/>
                        </a:lnTo>
                        <a:lnTo>
                          <a:pt x="290" y="889"/>
                        </a:lnTo>
                        <a:lnTo>
                          <a:pt x="290" y="887"/>
                        </a:lnTo>
                        <a:lnTo>
                          <a:pt x="290" y="886"/>
                        </a:lnTo>
                        <a:lnTo>
                          <a:pt x="290" y="884"/>
                        </a:lnTo>
                        <a:lnTo>
                          <a:pt x="288" y="882"/>
                        </a:lnTo>
                        <a:lnTo>
                          <a:pt x="288" y="881"/>
                        </a:lnTo>
                        <a:lnTo>
                          <a:pt x="287" y="879"/>
                        </a:lnTo>
                        <a:lnTo>
                          <a:pt x="287" y="878"/>
                        </a:lnTo>
                        <a:lnTo>
                          <a:pt x="287" y="876"/>
                        </a:lnTo>
                        <a:lnTo>
                          <a:pt x="288" y="874"/>
                        </a:lnTo>
                        <a:lnTo>
                          <a:pt x="287" y="873"/>
                        </a:lnTo>
                        <a:lnTo>
                          <a:pt x="285" y="871"/>
                        </a:lnTo>
                        <a:lnTo>
                          <a:pt x="285" y="870"/>
                        </a:lnTo>
                        <a:lnTo>
                          <a:pt x="285" y="868"/>
                        </a:lnTo>
                        <a:lnTo>
                          <a:pt x="287" y="868"/>
                        </a:lnTo>
                        <a:lnTo>
                          <a:pt x="285" y="867"/>
                        </a:lnTo>
                        <a:lnTo>
                          <a:pt x="285" y="865"/>
                        </a:lnTo>
                        <a:lnTo>
                          <a:pt x="284" y="865"/>
                        </a:lnTo>
                        <a:lnTo>
                          <a:pt x="284" y="863"/>
                        </a:lnTo>
                        <a:lnTo>
                          <a:pt x="284" y="862"/>
                        </a:lnTo>
                        <a:lnTo>
                          <a:pt x="284" y="860"/>
                        </a:lnTo>
                        <a:lnTo>
                          <a:pt x="285" y="860"/>
                        </a:lnTo>
                        <a:lnTo>
                          <a:pt x="287" y="859"/>
                        </a:lnTo>
                        <a:lnTo>
                          <a:pt x="287" y="857"/>
                        </a:lnTo>
                        <a:lnTo>
                          <a:pt x="287" y="855"/>
                        </a:lnTo>
                        <a:lnTo>
                          <a:pt x="285" y="854"/>
                        </a:lnTo>
                        <a:lnTo>
                          <a:pt x="287" y="852"/>
                        </a:lnTo>
                        <a:lnTo>
                          <a:pt x="285" y="851"/>
                        </a:lnTo>
                        <a:lnTo>
                          <a:pt x="285" y="849"/>
                        </a:lnTo>
                        <a:lnTo>
                          <a:pt x="287" y="849"/>
                        </a:lnTo>
                        <a:lnTo>
                          <a:pt x="287" y="848"/>
                        </a:lnTo>
                        <a:lnTo>
                          <a:pt x="287" y="846"/>
                        </a:lnTo>
                        <a:lnTo>
                          <a:pt x="288" y="846"/>
                        </a:lnTo>
                        <a:lnTo>
                          <a:pt x="288" y="844"/>
                        </a:lnTo>
                        <a:lnTo>
                          <a:pt x="290" y="843"/>
                        </a:lnTo>
                        <a:lnTo>
                          <a:pt x="292" y="841"/>
                        </a:lnTo>
                        <a:lnTo>
                          <a:pt x="292" y="838"/>
                        </a:lnTo>
                        <a:lnTo>
                          <a:pt x="292" y="835"/>
                        </a:lnTo>
                        <a:lnTo>
                          <a:pt x="292" y="833"/>
                        </a:lnTo>
                        <a:lnTo>
                          <a:pt x="292" y="832"/>
                        </a:lnTo>
                        <a:lnTo>
                          <a:pt x="292" y="830"/>
                        </a:lnTo>
                        <a:lnTo>
                          <a:pt x="290" y="829"/>
                        </a:lnTo>
                        <a:lnTo>
                          <a:pt x="290" y="827"/>
                        </a:lnTo>
                        <a:lnTo>
                          <a:pt x="288" y="825"/>
                        </a:lnTo>
                        <a:lnTo>
                          <a:pt x="290" y="824"/>
                        </a:lnTo>
                        <a:lnTo>
                          <a:pt x="288" y="822"/>
                        </a:lnTo>
                        <a:lnTo>
                          <a:pt x="288" y="821"/>
                        </a:lnTo>
                        <a:lnTo>
                          <a:pt x="288" y="819"/>
                        </a:lnTo>
                        <a:lnTo>
                          <a:pt x="288" y="817"/>
                        </a:lnTo>
                        <a:lnTo>
                          <a:pt x="287" y="817"/>
                        </a:lnTo>
                        <a:lnTo>
                          <a:pt x="287" y="816"/>
                        </a:lnTo>
                        <a:lnTo>
                          <a:pt x="285" y="814"/>
                        </a:lnTo>
                        <a:lnTo>
                          <a:pt x="285" y="813"/>
                        </a:lnTo>
                        <a:lnTo>
                          <a:pt x="285" y="811"/>
                        </a:lnTo>
                        <a:lnTo>
                          <a:pt x="284" y="811"/>
                        </a:lnTo>
                        <a:lnTo>
                          <a:pt x="282" y="810"/>
                        </a:lnTo>
                        <a:lnTo>
                          <a:pt x="280" y="810"/>
                        </a:lnTo>
                        <a:lnTo>
                          <a:pt x="279" y="808"/>
                        </a:lnTo>
                        <a:lnTo>
                          <a:pt x="277" y="808"/>
                        </a:lnTo>
                        <a:lnTo>
                          <a:pt x="276" y="808"/>
                        </a:lnTo>
                        <a:lnTo>
                          <a:pt x="274" y="806"/>
                        </a:lnTo>
                        <a:lnTo>
                          <a:pt x="274" y="805"/>
                        </a:lnTo>
                        <a:lnTo>
                          <a:pt x="273" y="805"/>
                        </a:lnTo>
                        <a:lnTo>
                          <a:pt x="273" y="803"/>
                        </a:lnTo>
                        <a:lnTo>
                          <a:pt x="273" y="802"/>
                        </a:lnTo>
                        <a:lnTo>
                          <a:pt x="273" y="800"/>
                        </a:lnTo>
                        <a:lnTo>
                          <a:pt x="271" y="800"/>
                        </a:lnTo>
                        <a:lnTo>
                          <a:pt x="271" y="798"/>
                        </a:lnTo>
                        <a:lnTo>
                          <a:pt x="268" y="798"/>
                        </a:lnTo>
                        <a:lnTo>
                          <a:pt x="265" y="798"/>
                        </a:lnTo>
                        <a:lnTo>
                          <a:pt x="263" y="798"/>
                        </a:lnTo>
                        <a:lnTo>
                          <a:pt x="261" y="798"/>
                        </a:lnTo>
                        <a:lnTo>
                          <a:pt x="258" y="797"/>
                        </a:lnTo>
                        <a:lnTo>
                          <a:pt x="257" y="797"/>
                        </a:lnTo>
                        <a:lnTo>
                          <a:pt x="254" y="797"/>
                        </a:lnTo>
                        <a:lnTo>
                          <a:pt x="252" y="797"/>
                        </a:lnTo>
                        <a:lnTo>
                          <a:pt x="250" y="798"/>
                        </a:lnTo>
                        <a:lnTo>
                          <a:pt x="249" y="798"/>
                        </a:lnTo>
                        <a:lnTo>
                          <a:pt x="247" y="798"/>
                        </a:lnTo>
                        <a:lnTo>
                          <a:pt x="246" y="798"/>
                        </a:lnTo>
                        <a:lnTo>
                          <a:pt x="244" y="798"/>
                        </a:lnTo>
                        <a:lnTo>
                          <a:pt x="242" y="798"/>
                        </a:lnTo>
                        <a:lnTo>
                          <a:pt x="239" y="798"/>
                        </a:lnTo>
                        <a:lnTo>
                          <a:pt x="238" y="798"/>
                        </a:lnTo>
                        <a:lnTo>
                          <a:pt x="235" y="798"/>
                        </a:lnTo>
                        <a:lnTo>
                          <a:pt x="233" y="798"/>
                        </a:lnTo>
                        <a:lnTo>
                          <a:pt x="230" y="800"/>
                        </a:lnTo>
                        <a:lnTo>
                          <a:pt x="228" y="800"/>
                        </a:lnTo>
                        <a:lnTo>
                          <a:pt x="227" y="800"/>
                        </a:lnTo>
                        <a:lnTo>
                          <a:pt x="223" y="802"/>
                        </a:lnTo>
                        <a:lnTo>
                          <a:pt x="223" y="803"/>
                        </a:lnTo>
                        <a:lnTo>
                          <a:pt x="222" y="803"/>
                        </a:lnTo>
                        <a:lnTo>
                          <a:pt x="220" y="805"/>
                        </a:lnTo>
                        <a:lnTo>
                          <a:pt x="219" y="806"/>
                        </a:lnTo>
                        <a:lnTo>
                          <a:pt x="216" y="806"/>
                        </a:lnTo>
                        <a:lnTo>
                          <a:pt x="212" y="808"/>
                        </a:lnTo>
                        <a:lnTo>
                          <a:pt x="211" y="810"/>
                        </a:lnTo>
                        <a:lnTo>
                          <a:pt x="209" y="811"/>
                        </a:lnTo>
                        <a:lnTo>
                          <a:pt x="209" y="813"/>
                        </a:lnTo>
                        <a:lnTo>
                          <a:pt x="209" y="816"/>
                        </a:lnTo>
                        <a:lnTo>
                          <a:pt x="209" y="817"/>
                        </a:lnTo>
                        <a:lnTo>
                          <a:pt x="211" y="819"/>
                        </a:lnTo>
                        <a:lnTo>
                          <a:pt x="212" y="822"/>
                        </a:lnTo>
                        <a:lnTo>
                          <a:pt x="214" y="824"/>
                        </a:lnTo>
                        <a:lnTo>
                          <a:pt x="216" y="825"/>
                        </a:lnTo>
                        <a:lnTo>
                          <a:pt x="217" y="827"/>
                        </a:lnTo>
                        <a:lnTo>
                          <a:pt x="220" y="829"/>
                        </a:lnTo>
                        <a:lnTo>
                          <a:pt x="222" y="830"/>
                        </a:lnTo>
                        <a:lnTo>
                          <a:pt x="222" y="832"/>
                        </a:lnTo>
                        <a:lnTo>
                          <a:pt x="223" y="833"/>
                        </a:lnTo>
                        <a:lnTo>
                          <a:pt x="225" y="836"/>
                        </a:lnTo>
                        <a:lnTo>
                          <a:pt x="227" y="838"/>
                        </a:lnTo>
                        <a:lnTo>
                          <a:pt x="227" y="840"/>
                        </a:lnTo>
                        <a:lnTo>
                          <a:pt x="228" y="843"/>
                        </a:lnTo>
                        <a:lnTo>
                          <a:pt x="230" y="844"/>
                        </a:lnTo>
                        <a:lnTo>
                          <a:pt x="231" y="846"/>
                        </a:lnTo>
                        <a:lnTo>
                          <a:pt x="230" y="848"/>
                        </a:lnTo>
                        <a:lnTo>
                          <a:pt x="230" y="849"/>
                        </a:lnTo>
                        <a:lnTo>
                          <a:pt x="231" y="849"/>
                        </a:lnTo>
                        <a:lnTo>
                          <a:pt x="230" y="851"/>
                        </a:lnTo>
                        <a:lnTo>
                          <a:pt x="228" y="852"/>
                        </a:lnTo>
                        <a:lnTo>
                          <a:pt x="227" y="854"/>
                        </a:lnTo>
                        <a:lnTo>
                          <a:pt x="225" y="855"/>
                        </a:lnTo>
                        <a:lnTo>
                          <a:pt x="222" y="857"/>
                        </a:lnTo>
                        <a:lnTo>
                          <a:pt x="220" y="859"/>
                        </a:lnTo>
                        <a:lnTo>
                          <a:pt x="217" y="859"/>
                        </a:lnTo>
                        <a:lnTo>
                          <a:pt x="216" y="859"/>
                        </a:lnTo>
                        <a:lnTo>
                          <a:pt x="212" y="859"/>
                        </a:lnTo>
                        <a:lnTo>
                          <a:pt x="211" y="859"/>
                        </a:lnTo>
                        <a:lnTo>
                          <a:pt x="209" y="860"/>
                        </a:lnTo>
                        <a:lnTo>
                          <a:pt x="208" y="862"/>
                        </a:lnTo>
                        <a:lnTo>
                          <a:pt x="208" y="863"/>
                        </a:lnTo>
                        <a:lnTo>
                          <a:pt x="208" y="865"/>
                        </a:lnTo>
                        <a:lnTo>
                          <a:pt x="208" y="867"/>
                        </a:lnTo>
                        <a:lnTo>
                          <a:pt x="206" y="868"/>
                        </a:lnTo>
                        <a:lnTo>
                          <a:pt x="204" y="870"/>
                        </a:lnTo>
                        <a:lnTo>
                          <a:pt x="203" y="871"/>
                        </a:lnTo>
                        <a:lnTo>
                          <a:pt x="201" y="873"/>
                        </a:lnTo>
                        <a:lnTo>
                          <a:pt x="198" y="873"/>
                        </a:lnTo>
                        <a:lnTo>
                          <a:pt x="197" y="874"/>
                        </a:lnTo>
                        <a:lnTo>
                          <a:pt x="195" y="874"/>
                        </a:lnTo>
                        <a:lnTo>
                          <a:pt x="192" y="876"/>
                        </a:lnTo>
                        <a:lnTo>
                          <a:pt x="190" y="876"/>
                        </a:lnTo>
                        <a:lnTo>
                          <a:pt x="187" y="876"/>
                        </a:lnTo>
                        <a:lnTo>
                          <a:pt x="185" y="876"/>
                        </a:lnTo>
                        <a:lnTo>
                          <a:pt x="182" y="878"/>
                        </a:lnTo>
                        <a:lnTo>
                          <a:pt x="181" y="878"/>
                        </a:lnTo>
                        <a:lnTo>
                          <a:pt x="179" y="878"/>
                        </a:lnTo>
                        <a:lnTo>
                          <a:pt x="178" y="879"/>
                        </a:lnTo>
                        <a:lnTo>
                          <a:pt x="176" y="881"/>
                        </a:lnTo>
                        <a:lnTo>
                          <a:pt x="174" y="882"/>
                        </a:lnTo>
                        <a:lnTo>
                          <a:pt x="173" y="882"/>
                        </a:lnTo>
                        <a:lnTo>
                          <a:pt x="171" y="884"/>
                        </a:lnTo>
                        <a:lnTo>
                          <a:pt x="171" y="886"/>
                        </a:lnTo>
                        <a:lnTo>
                          <a:pt x="171" y="887"/>
                        </a:lnTo>
                        <a:lnTo>
                          <a:pt x="170" y="887"/>
                        </a:lnTo>
                        <a:lnTo>
                          <a:pt x="170" y="889"/>
                        </a:lnTo>
                        <a:lnTo>
                          <a:pt x="168" y="890"/>
                        </a:lnTo>
                        <a:lnTo>
                          <a:pt x="165" y="892"/>
                        </a:lnTo>
                        <a:lnTo>
                          <a:pt x="163" y="893"/>
                        </a:lnTo>
                        <a:lnTo>
                          <a:pt x="162" y="893"/>
                        </a:lnTo>
                        <a:lnTo>
                          <a:pt x="159" y="895"/>
                        </a:lnTo>
                        <a:lnTo>
                          <a:pt x="157" y="897"/>
                        </a:lnTo>
                        <a:lnTo>
                          <a:pt x="155" y="897"/>
                        </a:lnTo>
                        <a:lnTo>
                          <a:pt x="154" y="897"/>
                        </a:lnTo>
                        <a:lnTo>
                          <a:pt x="152" y="897"/>
                        </a:lnTo>
                        <a:lnTo>
                          <a:pt x="151" y="895"/>
                        </a:lnTo>
                        <a:lnTo>
                          <a:pt x="149" y="893"/>
                        </a:lnTo>
                        <a:lnTo>
                          <a:pt x="147" y="893"/>
                        </a:lnTo>
                        <a:lnTo>
                          <a:pt x="144" y="892"/>
                        </a:lnTo>
                        <a:lnTo>
                          <a:pt x="143" y="890"/>
                        </a:lnTo>
                        <a:lnTo>
                          <a:pt x="141" y="889"/>
                        </a:lnTo>
                        <a:lnTo>
                          <a:pt x="140" y="887"/>
                        </a:lnTo>
                        <a:lnTo>
                          <a:pt x="138" y="886"/>
                        </a:lnTo>
                        <a:lnTo>
                          <a:pt x="136" y="886"/>
                        </a:lnTo>
                        <a:lnTo>
                          <a:pt x="135" y="886"/>
                        </a:lnTo>
                        <a:lnTo>
                          <a:pt x="132" y="886"/>
                        </a:lnTo>
                        <a:lnTo>
                          <a:pt x="130" y="886"/>
                        </a:lnTo>
                        <a:lnTo>
                          <a:pt x="128" y="886"/>
                        </a:lnTo>
                        <a:lnTo>
                          <a:pt x="128" y="884"/>
                        </a:lnTo>
                        <a:lnTo>
                          <a:pt x="127" y="884"/>
                        </a:lnTo>
                        <a:lnTo>
                          <a:pt x="125" y="882"/>
                        </a:lnTo>
                        <a:lnTo>
                          <a:pt x="124" y="881"/>
                        </a:lnTo>
                        <a:lnTo>
                          <a:pt x="124" y="879"/>
                        </a:lnTo>
                        <a:lnTo>
                          <a:pt x="124" y="878"/>
                        </a:lnTo>
                        <a:lnTo>
                          <a:pt x="124" y="874"/>
                        </a:lnTo>
                        <a:lnTo>
                          <a:pt x="124" y="873"/>
                        </a:lnTo>
                        <a:lnTo>
                          <a:pt x="122" y="871"/>
                        </a:lnTo>
                        <a:lnTo>
                          <a:pt x="122" y="870"/>
                        </a:lnTo>
                        <a:lnTo>
                          <a:pt x="120" y="870"/>
                        </a:lnTo>
                        <a:lnTo>
                          <a:pt x="119" y="868"/>
                        </a:lnTo>
                        <a:lnTo>
                          <a:pt x="117" y="867"/>
                        </a:lnTo>
                        <a:lnTo>
                          <a:pt x="117" y="865"/>
                        </a:lnTo>
                        <a:lnTo>
                          <a:pt x="116" y="863"/>
                        </a:lnTo>
                        <a:lnTo>
                          <a:pt x="114" y="862"/>
                        </a:lnTo>
                        <a:lnTo>
                          <a:pt x="113" y="860"/>
                        </a:lnTo>
                        <a:lnTo>
                          <a:pt x="111" y="860"/>
                        </a:lnTo>
                        <a:lnTo>
                          <a:pt x="111" y="859"/>
                        </a:lnTo>
                        <a:lnTo>
                          <a:pt x="109" y="859"/>
                        </a:lnTo>
                        <a:lnTo>
                          <a:pt x="109" y="857"/>
                        </a:lnTo>
                        <a:lnTo>
                          <a:pt x="108" y="857"/>
                        </a:lnTo>
                        <a:lnTo>
                          <a:pt x="106" y="855"/>
                        </a:lnTo>
                        <a:lnTo>
                          <a:pt x="106" y="854"/>
                        </a:lnTo>
                        <a:lnTo>
                          <a:pt x="106" y="852"/>
                        </a:lnTo>
                        <a:lnTo>
                          <a:pt x="105" y="851"/>
                        </a:lnTo>
                        <a:lnTo>
                          <a:pt x="105" y="849"/>
                        </a:lnTo>
                        <a:lnTo>
                          <a:pt x="105" y="848"/>
                        </a:lnTo>
                        <a:lnTo>
                          <a:pt x="105" y="846"/>
                        </a:lnTo>
                        <a:lnTo>
                          <a:pt x="103" y="846"/>
                        </a:lnTo>
                        <a:lnTo>
                          <a:pt x="103" y="844"/>
                        </a:lnTo>
                        <a:lnTo>
                          <a:pt x="103" y="843"/>
                        </a:lnTo>
                        <a:lnTo>
                          <a:pt x="101" y="843"/>
                        </a:lnTo>
                        <a:lnTo>
                          <a:pt x="98" y="843"/>
                        </a:lnTo>
                        <a:lnTo>
                          <a:pt x="97" y="843"/>
                        </a:lnTo>
                        <a:lnTo>
                          <a:pt x="95" y="843"/>
                        </a:lnTo>
                        <a:lnTo>
                          <a:pt x="94" y="843"/>
                        </a:lnTo>
                        <a:lnTo>
                          <a:pt x="94" y="841"/>
                        </a:lnTo>
                        <a:lnTo>
                          <a:pt x="90" y="841"/>
                        </a:lnTo>
                        <a:lnTo>
                          <a:pt x="89" y="840"/>
                        </a:lnTo>
                        <a:lnTo>
                          <a:pt x="90" y="840"/>
                        </a:lnTo>
                        <a:lnTo>
                          <a:pt x="90" y="838"/>
                        </a:lnTo>
                        <a:lnTo>
                          <a:pt x="92" y="838"/>
                        </a:lnTo>
                        <a:lnTo>
                          <a:pt x="94" y="838"/>
                        </a:lnTo>
                        <a:lnTo>
                          <a:pt x="95" y="836"/>
                        </a:lnTo>
                        <a:lnTo>
                          <a:pt x="95" y="835"/>
                        </a:lnTo>
                        <a:lnTo>
                          <a:pt x="97" y="833"/>
                        </a:lnTo>
                        <a:lnTo>
                          <a:pt x="97" y="832"/>
                        </a:lnTo>
                        <a:lnTo>
                          <a:pt x="97" y="830"/>
                        </a:lnTo>
                        <a:lnTo>
                          <a:pt x="97" y="829"/>
                        </a:lnTo>
                        <a:lnTo>
                          <a:pt x="97" y="827"/>
                        </a:lnTo>
                        <a:lnTo>
                          <a:pt x="95" y="827"/>
                        </a:lnTo>
                        <a:lnTo>
                          <a:pt x="94" y="827"/>
                        </a:lnTo>
                        <a:lnTo>
                          <a:pt x="92" y="827"/>
                        </a:lnTo>
                        <a:lnTo>
                          <a:pt x="90" y="829"/>
                        </a:lnTo>
                        <a:lnTo>
                          <a:pt x="89" y="829"/>
                        </a:lnTo>
                        <a:lnTo>
                          <a:pt x="87" y="829"/>
                        </a:lnTo>
                        <a:lnTo>
                          <a:pt x="86" y="827"/>
                        </a:lnTo>
                        <a:lnTo>
                          <a:pt x="84" y="825"/>
                        </a:lnTo>
                        <a:lnTo>
                          <a:pt x="82" y="824"/>
                        </a:lnTo>
                        <a:lnTo>
                          <a:pt x="81" y="822"/>
                        </a:lnTo>
                        <a:lnTo>
                          <a:pt x="79" y="821"/>
                        </a:lnTo>
                        <a:lnTo>
                          <a:pt x="79" y="819"/>
                        </a:lnTo>
                        <a:lnTo>
                          <a:pt x="78" y="817"/>
                        </a:lnTo>
                        <a:lnTo>
                          <a:pt x="78" y="816"/>
                        </a:lnTo>
                        <a:lnTo>
                          <a:pt x="76" y="813"/>
                        </a:lnTo>
                        <a:lnTo>
                          <a:pt x="76" y="814"/>
                        </a:lnTo>
                        <a:lnTo>
                          <a:pt x="75" y="814"/>
                        </a:lnTo>
                        <a:lnTo>
                          <a:pt x="73" y="814"/>
                        </a:lnTo>
                        <a:lnTo>
                          <a:pt x="73" y="816"/>
                        </a:lnTo>
                        <a:lnTo>
                          <a:pt x="70" y="817"/>
                        </a:lnTo>
                        <a:lnTo>
                          <a:pt x="65" y="817"/>
                        </a:lnTo>
                        <a:lnTo>
                          <a:pt x="63" y="817"/>
                        </a:lnTo>
                        <a:lnTo>
                          <a:pt x="60" y="816"/>
                        </a:lnTo>
                        <a:lnTo>
                          <a:pt x="59" y="816"/>
                        </a:lnTo>
                        <a:lnTo>
                          <a:pt x="56" y="814"/>
                        </a:lnTo>
                        <a:lnTo>
                          <a:pt x="49" y="814"/>
                        </a:lnTo>
                        <a:lnTo>
                          <a:pt x="46" y="814"/>
                        </a:lnTo>
                        <a:lnTo>
                          <a:pt x="43" y="813"/>
                        </a:lnTo>
                        <a:lnTo>
                          <a:pt x="38" y="811"/>
                        </a:lnTo>
                        <a:lnTo>
                          <a:pt x="29" y="810"/>
                        </a:lnTo>
                        <a:lnTo>
                          <a:pt x="25" y="808"/>
                        </a:lnTo>
                        <a:lnTo>
                          <a:pt x="24" y="808"/>
                        </a:lnTo>
                        <a:lnTo>
                          <a:pt x="19" y="806"/>
                        </a:lnTo>
                        <a:lnTo>
                          <a:pt x="16" y="806"/>
                        </a:lnTo>
                        <a:lnTo>
                          <a:pt x="13" y="805"/>
                        </a:lnTo>
                        <a:lnTo>
                          <a:pt x="10" y="805"/>
                        </a:lnTo>
                        <a:lnTo>
                          <a:pt x="8" y="805"/>
                        </a:lnTo>
                        <a:lnTo>
                          <a:pt x="6" y="806"/>
                        </a:lnTo>
                        <a:lnTo>
                          <a:pt x="5" y="808"/>
                        </a:lnTo>
                        <a:lnTo>
                          <a:pt x="5" y="810"/>
                        </a:lnTo>
                        <a:lnTo>
                          <a:pt x="5" y="814"/>
                        </a:lnTo>
                        <a:lnTo>
                          <a:pt x="5" y="817"/>
                        </a:lnTo>
                        <a:lnTo>
                          <a:pt x="5" y="819"/>
                        </a:lnTo>
                        <a:lnTo>
                          <a:pt x="3" y="819"/>
                        </a:lnTo>
                        <a:lnTo>
                          <a:pt x="3" y="821"/>
                        </a:lnTo>
                        <a:lnTo>
                          <a:pt x="2" y="822"/>
                        </a:lnTo>
                        <a:lnTo>
                          <a:pt x="0" y="824"/>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49" name="Freeform 48"/>
                  <p:cNvSpPr>
                    <a:spLocks/>
                  </p:cNvSpPr>
                  <p:nvPr/>
                </p:nvSpPr>
                <p:spPr bwMode="auto">
                  <a:xfrm>
                    <a:off x="3862" y="1303"/>
                    <a:ext cx="761" cy="843"/>
                  </a:xfrm>
                  <a:custGeom>
                    <a:avLst/>
                    <a:gdLst>
                      <a:gd name="T0" fmla="*/ 477 w 761"/>
                      <a:gd name="T1" fmla="*/ 843 h 843"/>
                      <a:gd name="T2" fmla="*/ 466 w 761"/>
                      <a:gd name="T3" fmla="*/ 829 h 843"/>
                      <a:gd name="T4" fmla="*/ 482 w 761"/>
                      <a:gd name="T5" fmla="*/ 808 h 843"/>
                      <a:gd name="T6" fmla="*/ 465 w 761"/>
                      <a:gd name="T7" fmla="*/ 800 h 843"/>
                      <a:gd name="T8" fmla="*/ 466 w 761"/>
                      <a:gd name="T9" fmla="*/ 776 h 843"/>
                      <a:gd name="T10" fmla="*/ 460 w 761"/>
                      <a:gd name="T11" fmla="*/ 748 h 843"/>
                      <a:gd name="T12" fmla="*/ 403 w 761"/>
                      <a:gd name="T13" fmla="*/ 722 h 843"/>
                      <a:gd name="T14" fmla="*/ 350 w 761"/>
                      <a:gd name="T15" fmla="*/ 714 h 843"/>
                      <a:gd name="T16" fmla="*/ 333 w 761"/>
                      <a:gd name="T17" fmla="*/ 708 h 843"/>
                      <a:gd name="T18" fmla="*/ 327 w 761"/>
                      <a:gd name="T19" fmla="*/ 689 h 843"/>
                      <a:gd name="T20" fmla="*/ 308 w 761"/>
                      <a:gd name="T21" fmla="*/ 688 h 843"/>
                      <a:gd name="T22" fmla="*/ 290 w 761"/>
                      <a:gd name="T23" fmla="*/ 686 h 843"/>
                      <a:gd name="T24" fmla="*/ 259 w 761"/>
                      <a:gd name="T25" fmla="*/ 676 h 843"/>
                      <a:gd name="T26" fmla="*/ 230 w 761"/>
                      <a:gd name="T27" fmla="*/ 643 h 843"/>
                      <a:gd name="T28" fmla="*/ 213 w 761"/>
                      <a:gd name="T29" fmla="*/ 615 h 843"/>
                      <a:gd name="T30" fmla="*/ 198 w 761"/>
                      <a:gd name="T31" fmla="*/ 607 h 843"/>
                      <a:gd name="T32" fmla="*/ 194 w 761"/>
                      <a:gd name="T33" fmla="*/ 600 h 843"/>
                      <a:gd name="T34" fmla="*/ 186 w 761"/>
                      <a:gd name="T35" fmla="*/ 581 h 843"/>
                      <a:gd name="T36" fmla="*/ 171 w 761"/>
                      <a:gd name="T37" fmla="*/ 577 h 843"/>
                      <a:gd name="T38" fmla="*/ 129 w 761"/>
                      <a:gd name="T39" fmla="*/ 567 h 843"/>
                      <a:gd name="T40" fmla="*/ 116 w 761"/>
                      <a:gd name="T41" fmla="*/ 547 h 843"/>
                      <a:gd name="T42" fmla="*/ 103 w 761"/>
                      <a:gd name="T43" fmla="*/ 531 h 843"/>
                      <a:gd name="T44" fmla="*/ 108 w 761"/>
                      <a:gd name="T45" fmla="*/ 513 h 843"/>
                      <a:gd name="T46" fmla="*/ 105 w 761"/>
                      <a:gd name="T47" fmla="*/ 497 h 843"/>
                      <a:gd name="T48" fmla="*/ 97 w 761"/>
                      <a:gd name="T49" fmla="*/ 472 h 843"/>
                      <a:gd name="T50" fmla="*/ 100 w 761"/>
                      <a:gd name="T51" fmla="*/ 459 h 843"/>
                      <a:gd name="T52" fmla="*/ 89 w 761"/>
                      <a:gd name="T53" fmla="*/ 447 h 843"/>
                      <a:gd name="T54" fmla="*/ 84 w 761"/>
                      <a:gd name="T55" fmla="*/ 428 h 843"/>
                      <a:gd name="T56" fmla="*/ 64 w 761"/>
                      <a:gd name="T57" fmla="*/ 431 h 843"/>
                      <a:gd name="T58" fmla="*/ 56 w 761"/>
                      <a:gd name="T59" fmla="*/ 412 h 843"/>
                      <a:gd name="T60" fmla="*/ 38 w 761"/>
                      <a:gd name="T61" fmla="*/ 402 h 843"/>
                      <a:gd name="T62" fmla="*/ 42 w 761"/>
                      <a:gd name="T63" fmla="*/ 387 h 843"/>
                      <a:gd name="T64" fmla="*/ 35 w 761"/>
                      <a:gd name="T65" fmla="*/ 360 h 843"/>
                      <a:gd name="T66" fmla="*/ 34 w 761"/>
                      <a:gd name="T67" fmla="*/ 323 h 843"/>
                      <a:gd name="T68" fmla="*/ 19 w 761"/>
                      <a:gd name="T69" fmla="*/ 301 h 843"/>
                      <a:gd name="T70" fmla="*/ 27 w 761"/>
                      <a:gd name="T71" fmla="*/ 288 h 843"/>
                      <a:gd name="T72" fmla="*/ 15 w 761"/>
                      <a:gd name="T73" fmla="*/ 269 h 843"/>
                      <a:gd name="T74" fmla="*/ 4 w 761"/>
                      <a:gd name="T75" fmla="*/ 246 h 843"/>
                      <a:gd name="T76" fmla="*/ 42 w 761"/>
                      <a:gd name="T77" fmla="*/ 206 h 843"/>
                      <a:gd name="T78" fmla="*/ 83 w 761"/>
                      <a:gd name="T79" fmla="*/ 189 h 843"/>
                      <a:gd name="T80" fmla="*/ 110 w 761"/>
                      <a:gd name="T81" fmla="*/ 171 h 843"/>
                      <a:gd name="T82" fmla="*/ 100 w 761"/>
                      <a:gd name="T83" fmla="*/ 155 h 843"/>
                      <a:gd name="T84" fmla="*/ 97 w 761"/>
                      <a:gd name="T85" fmla="*/ 135 h 843"/>
                      <a:gd name="T86" fmla="*/ 130 w 761"/>
                      <a:gd name="T87" fmla="*/ 86 h 843"/>
                      <a:gd name="T88" fmla="*/ 179 w 761"/>
                      <a:gd name="T89" fmla="*/ 73 h 843"/>
                      <a:gd name="T90" fmla="*/ 243 w 761"/>
                      <a:gd name="T91" fmla="*/ 108 h 843"/>
                      <a:gd name="T92" fmla="*/ 328 w 761"/>
                      <a:gd name="T93" fmla="*/ 144 h 843"/>
                      <a:gd name="T94" fmla="*/ 404 w 761"/>
                      <a:gd name="T95" fmla="*/ 144 h 843"/>
                      <a:gd name="T96" fmla="*/ 442 w 761"/>
                      <a:gd name="T97" fmla="*/ 143 h 843"/>
                      <a:gd name="T98" fmla="*/ 490 w 761"/>
                      <a:gd name="T99" fmla="*/ 138 h 843"/>
                      <a:gd name="T100" fmla="*/ 523 w 761"/>
                      <a:gd name="T101" fmla="*/ 113 h 843"/>
                      <a:gd name="T102" fmla="*/ 556 w 761"/>
                      <a:gd name="T103" fmla="*/ 105 h 843"/>
                      <a:gd name="T104" fmla="*/ 569 w 761"/>
                      <a:gd name="T105" fmla="*/ 87 h 843"/>
                      <a:gd name="T106" fmla="*/ 609 w 761"/>
                      <a:gd name="T107" fmla="*/ 87 h 843"/>
                      <a:gd name="T108" fmla="*/ 634 w 761"/>
                      <a:gd name="T109" fmla="*/ 79 h 843"/>
                      <a:gd name="T110" fmla="*/ 653 w 761"/>
                      <a:gd name="T111" fmla="*/ 75 h 843"/>
                      <a:gd name="T112" fmla="*/ 669 w 761"/>
                      <a:gd name="T113" fmla="*/ 57 h 843"/>
                      <a:gd name="T114" fmla="*/ 697 w 761"/>
                      <a:gd name="T115" fmla="*/ 46 h 843"/>
                      <a:gd name="T116" fmla="*/ 716 w 761"/>
                      <a:gd name="T117" fmla="*/ 35 h 843"/>
                      <a:gd name="T118" fmla="*/ 743 w 761"/>
                      <a:gd name="T119" fmla="*/ 19 h 843"/>
                      <a:gd name="T120" fmla="*/ 761 w 761"/>
                      <a:gd name="T121" fmla="*/ 0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61" h="843">
                        <a:moveTo>
                          <a:pt x="485" y="824"/>
                        </a:moveTo>
                        <a:lnTo>
                          <a:pt x="485" y="825"/>
                        </a:lnTo>
                        <a:lnTo>
                          <a:pt x="485" y="829"/>
                        </a:lnTo>
                        <a:lnTo>
                          <a:pt x="485" y="830"/>
                        </a:lnTo>
                        <a:lnTo>
                          <a:pt x="485" y="832"/>
                        </a:lnTo>
                        <a:lnTo>
                          <a:pt x="485" y="833"/>
                        </a:lnTo>
                        <a:lnTo>
                          <a:pt x="484" y="835"/>
                        </a:lnTo>
                        <a:lnTo>
                          <a:pt x="484" y="836"/>
                        </a:lnTo>
                        <a:lnTo>
                          <a:pt x="482" y="838"/>
                        </a:lnTo>
                        <a:lnTo>
                          <a:pt x="480" y="840"/>
                        </a:lnTo>
                        <a:lnTo>
                          <a:pt x="480" y="841"/>
                        </a:lnTo>
                        <a:lnTo>
                          <a:pt x="479" y="843"/>
                        </a:lnTo>
                        <a:lnTo>
                          <a:pt x="477" y="843"/>
                        </a:lnTo>
                        <a:lnTo>
                          <a:pt x="476" y="843"/>
                        </a:lnTo>
                        <a:lnTo>
                          <a:pt x="474" y="843"/>
                        </a:lnTo>
                        <a:lnTo>
                          <a:pt x="472" y="840"/>
                        </a:lnTo>
                        <a:lnTo>
                          <a:pt x="471" y="840"/>
                        </a:lnTo>
                        <a:lnTo>
                          <a:pt x="471" y="838"/>
                        </a:lnTo>
                        <a:lnTo>
                          <a:pt x="468" y="838"/>
                        </a:lnTo>
                        <a:lnTo>
                          <a:pt x="469" y="836"/>
                        </a:lnTo>
                        <a:lnTo>
                          <a:pt x="469" y="835"/>
                        </a:lnTo>
                        <a:lnTo>
                          <a:pt x="466" y="835"/>
                        </a:lnTo>
                        <a:lnTo>
                          <a:pt x="466" y="833"/>
                        </a:lnTo>
                        <a:lnTo>
                          <a:pt x="465" y="832"/>
                        </a:lnTo>
                        <a:lnTo>
                          <a:pt x="466" y="830"/>
                        </a:lnTo>
                        <a:lnTo>
                          <a:pt x="466" y="829"/>
                        </a:lnTo>
                        <a:lnTo>
                          <a:pt x="468" y="825"/>
                        </a:lnTo>
                        <a:lnTo>
                          <a:pt x="471" y="825"/>
                        </a:lnTo>
                        <a:lnTo>
                          <a:pt x="472" y="824"/>
                        </a:lnTo>
                        <a:lnTo>
                          <a:pt x="474" y="822"/>
                        </a:lnTo>
                        <a:lnTo>
                          <a:pt x="476" y="822"/>
                        </a:lnTo>
                        <a:lnTo>
                          <a:pt x="477" y="821"/>
                        </a:lnTo>
                        <a:lnTo>
                          <a:pt x="479" y="821"/>
                        </a:lnTo>
                        <a:lnTo>
                          <a:pt x="480" y="819"/>
                        </a:lnTo>
                        <a:lnTo>
                          <a:pt x="482" y="817"/>
                        </a:lnTo>
                        <a:lnTo>
                          <a:pt x="484" y="813"/>
                        </a:lnTo>
                        <a:lnTo>
                          <a:pt x="484" y="811"/>
                        </a:lnTo>
                        <a:lnTo>
                          <a:pt x="484" y="810"/>
                        </a:lnTo>
                        <a:lnTo>
                          <a:pt x="482" y="808"/>
                        </a:lnTo>
                        <a:lnTo>
                          <a:pt x="479" y="808"/>
                        </a:lnTo>
                        <a:lnTo>
                          <a:pt x="477" y="808"/>
                        </a:lnTo>
                        <a:lnTo>
                          <a:pt x="476" y="808"/>
                        </a:lnTo>
                        <a:lnTo>
                          <a:pt x="474" y="808"/>
                        </a:lnTo>
                        <a:lnTo>
                          <a:pt x="472" y="808"/>
                        </a:lnTo>
                        <a:lnTo>
                          <a:pt x="471" y="808"/>
                        </a:lnTo>
                        <a:lnTo>
                          <a:pt x="468" y="808"/>
                        </a:lnTo>
                        <a:lnTo>
                          <a:pt x="466" y="808"/>
                        </a:lnTo>
                        <a:lnTo>
                          <a:pt x="465" y="808"/>
                        </a:lnTo>
                        <a:lnTo>
                          <a:pt x="465" y="806"/>
                        </a:lnTo>
                        <a:lnTo>
                          <a:pt x="465" y="803"/>
                        </a:lnTo>
                        <a:lnTo>
                          <a:pt x="465" y="802"/>
                        </a:lnTo>
                        <a:lnTo>
                          <a:pt x="465" y="800"/>
                        </a:lnTo>
                        <a:lnTo>
                          <a:pt x="463" y="798"/>
                        </a:lnTo>
                        <a:lnTo>
                          <a:pt x="461" y="798"/>
                        </a:lnTo>
                        <a:lnTo>
                          <a:pt x="460" y="795"/>
                        </a:lnTo>
                        <a:lnTo>
                          <a:pt x="458" y="794"/>
                        </a:lnTo>
                        <a:lnTo>
                          <a:pt x="461" y="792"/>
                        </a:lnTo>
                        <a:lnTo>
                          <a:pt x="465" y="792"/>
                        </a:lnTo>
                        <a:lnTo>
                          <a:pt x="466" y="791"/>
                        </a:lnTo>
                        <a:lnTo>
                          <a:pt x="468" y="789"/>
                        </a:lnTo>
                        <a:lnTo>
                          <a:pt x="466" y="787"/>
                        </a:lnTo>
                        <a:lnTo>
                          <a:pt x="466" y="786"/>
                        </a:lnTo>
                        <a:lnTo>
                          <a:pt x="466" y="783"/>
                        </a:lnTo>
                        <a:lnTo>
                          <a:pt x="466" y="781"/>
                        </a:lnTo>
                        <a:lnTo>
                          <a:pt x="466" y="776"/>
                        </a:lnTo>
                        <a:lnTo>
                          <a:pt x="466" y="775"/>
                        </a:lnTo>
                        <a:lnTo>
                          <a:pt x="466" y="771"/>
                        </a:lnTo>
                        <a:lnTo>
                          <a:pt x="465" y="768"/>
                        </a:lnTo>
                        <a:lnTo>
                          <a:pt x="463" y="767"/>
                        </a:lnTo>
                        <a:lnTo>
                          <a:pt x="463" y="762"/>
                        </a:lnTo>
                        <a:lnTo>
                          <a:pt x="465" y="759"/>
                        </a:lnTo>
                        <a:lnTo>
                          <a:pt x="465" y="756"/>
                        </a:lnTo>
                        <a:lnTo>
                          <a:pt x="463" y="752"/>
                        </a:lnTo>
                        <a:lnTo>
                          <a:pt x="465" y="751"/>
                        </a:lnTo>
                        <a:lnTo>
                          <a:pt x="465" y="749"/>
                        </a:lnTo>
                        <a:lnTo>
                          <a:pt x="463" y="749"/>
                        </a:lnTo>
                        <a:lnTo>
                          <a:pt x="461" y="748"/>
                        </a:lnTo>
                        <a:lnTo>
                          <a:pt x="460" y="748"/>
                        </a:lnTo>
                        <a:lnTo>
                          <a:pt x="458" y="746"/>
                        </a:lnTo>
                        <a:lnTo>
                          <a:pt x="453" y="745"/>
                        </a:lnTo>
                        <a:lnTo>
                          <a:pt x="449" y="741"/>
                        </a:lnTo>
                        <a:lnTo>
                          <a:pt x="444" y="738"/>
                        </a:lnTo>
                        <a:lnTo>
                          <a:pt x="439" y="737"/>
                        </a:lnTo>
                        <a:lnTo>
                          <a:pt x="433" y="733"/>
                        </a:lnTo>
                        <a:lnTo>
                          <a:pt x="428" y="732"/>
                        </a:lnTo>
                        <a:lnTo>
                          <a:pt x="425" y="729"/>
                        </a:lnTo>
                        <a:lnTo>
                          <a:pt x="422" y="727"/>
                        </a:lnTo>
                        <a:lnTo>
                          <a:pt x="417" y="724"/>
                        </a:lnTo>
                        <a:lnTo>
                          <a:pt x="412" y="722"/>
                        </a:lnTo>
                        <a:lnTo>
                          <a:pt x="407" y="722"/>
                        </a:lnTo>
                        <a:lnTo>
                          <a:pt x="403" y="722"/>
                        </a:lnTo>
                        <a:lnTo>
                          <a:pt x="398" y="724"/>
                        </a:lnTo>
                        <a:lnTo>
                          <a:pt x="393" y="724"/>
                        </a:lnTo>
                        <a:lnTo>
                          <a:pt x="388" y="726"/>
                        </a:lnTo>
                        <a:lnTo>
                          <a:pt x="382" y="726"/>
                        </a:lnTo>
                        <a:lnTo>
                          <a:pt x="379" y="726"/>
                        </a:lnTo>
                        <a:lnTo>
                          <a:pt x="376" y="726"/>
                        </a:lnTo>
                        <a:lnTo>
                          <a:pt x="373" y="724"/>
                        </a:lnTo>
                        <a:lnTo>
                          <a:pt x="368" y="722"/>
                        </a:lnTo>
                        <a:lnTo>
                          <a:pt x="363" y="719"/>
                        </a:lnTo>
                        <a:lnTo>
                          <a:pt x="358" y="716"/>
                        </a:lnTo>
                        <a:lnTo>
                          <a:pt x="354" y="714"/>
                        </a:lnTo>
                        <a:lnTo>
                          <a:pt x="352" y="714"/>
                        </a:lnTo>
                        <a:lnTo>
                          <a:pt x="350" y="714"/>
                        </a:lnTo>
                        <a:lnTo>
                          <a:pt x="349" y="714"/>
                        </a:lnTo>
                        <a:lnTo>
                          <a:pt x="346" y="716"/>
                        </a:lnTo>
                        <a:lnTo>
                          <a:pt x="343" y="716"/>
                        </a:lnTo>
                        <a:lnTo>
                          <a:pt x="341" y="718"/>
                        </a:lnTo>
                        <a:lnTo>
                          <a:pt x="339" y="718"/>
                        </a:lnTo>
                        <a:lnTo>
                          <a:pt x="336" y="718"/>
                        </a:lnTo>
                        <a:lnTo>
                          <a:pt x="333" y="718"/>
                        </a:lnTo>
                        <a:lnTo>
                          <a:pt x="331" y="716"/>
                        </a:lnTo>
                        <a:lnTo>
                          <a:pt x="330" y="716"/>
                        </a:lnTo>
                        <a:lnTo>
                          <a:pt x="330" y="713"/>
                        </a:lnTo>
                        <a:lnTo>
                          <a:pt x="330" y="711"/>
                        </a:lnTo>
                        <a:lnTo>
                          <a:pt x="331" y="710"/>
                        </a:lnTo>
                        <a:lnTo>
                          <a:pt x="333" y="708"/>
                        </a:lnTo>
                        <a:lnTo>
                          <a:pt x="335" y="708"/>
                        </a:lnTo>
                        <a:lnTo>
                          <a:pt x="336" y="707"/>
                        </a:lnTo>
                        <a:lnTo>
                          <a:pt x="338" y="703"/>
                        </a:lnTo>
                        <a:lnTo>
                          <a:pt x="336" y="700"/>
                        </a:lnTo>
                        <a:lnTo>
                          <a:pt x="338" y="699"/>
                        </a:lnTo>
                        <a:lnTo>
                          <a:pt x="336" y="697"/>
                        </a:lnTo>
                        <a:lnTo>
                          <a:pt x="336" y="695"/>
                        </a:lnTo>
                        <a:lnTo>
                          <a:pt x="336" y="694"/>
                        </a:lnTo>
                        <a:lnTo>
                          <a:pt x="333" y="691"/>
                        </a:lnTo>
                        <a:lnTo>
                          <a:pt x="331" y="691"/>
                        </a:lnTo>
                        <a:lnTo>
                          <a:pt x="328" y="691"/>
                        </a:lnTo>
                        <a:lnTo>
                          <a:pt x="328" y="689"/>
                        </a:lnTo>
                        <a:lnTo>
                          <a:pt x="327" y="689"/>
                        </a:lnTo>
                        <a:lnTo>
                          <a:pt x="325" y="689"/>
                        </a:lnTo>
                        <a:lnTo>
                          <a:pt x="324" y="689"/>
                        </a:lnTo>
                        <a:lnTo>
                          <a:pt x="322" y="689"/>
                        </a:lnTo>
                        <a:lnTo>
                          <a:pt x="322" y="688"/>
                        </a:lnTo>
                        <a:lnTo>
                          <a:pt x="322" y="686"/>
                        </a:lnTo>
                        <a:lnTo>
                          <a:pt x="320" y="686"/>
                        </a:lnTo>
                        <a:lnTo>
                          <a:pt x="317" y="684"/>
                        </a:lnTo>
                        <a:lnTo>
                          <a:pt x="316" y="684"/>
                        </a:lnTo>
                        <a:lnTo>
                          <a:pt x="314" y="684"/>
                        </a:lnTo>
                        <a:lnTo>
                          <a:pt x="312" y="684"/>
                        </a:lnTo>
                        <a:lnTo>
                          <a:pt x="311" y="686"/>
                        </a:lnTo>
                        <a:lnTo>
                          <a:pt x="311" y="688"/>
                        </a:lnTo>
                        <a:lnTo>
                          <a:pt x="308" y="688"/>
                        </a:lnTo>
                        <a:lnTo>
                          <a:pt x="306" y="689"/>
                        </a:lnTo>
                        <a:lnTo>
                          <a:pt x="305" y="691"/>
                        </a:lnTo>
                        <a:lnTo>
                          <a:pt x="303" y="692"/>
                        </a:lnTo>
                        <a:lnTo>
                          <a:pt x="301" y="692"/>
                        </a:lnTo>
                        <a:lnTo>
                          <a:pt x="301" y="694"/>
                        </a:lnTo>
                        <a:lnTo>
                          <a:pt x="298" y="694"/>
                        </a:lnTo>
                        <a:lnTo>
                          <a:pt x="297" y="694"/>
                        </a:lnTo>
                        <a:lnTo>
                          <a:pt x="297" y="692"/>
                        </a:lnTo>
                        <a:lnTo>
                          <a:pt x="295" y="692"/>
                        </a:lnTo>
                        <a:lnTo>
                          <a:pt x="295" y="689"/>
                        </a:lnTo>
                        <a:lnTo>
                          <a:pt x="293" y="688"/>
                        </a:lnTo>
                        <a:lnTo>
                          <a:pt x="292" y="686"/>
                        </a:lnTo>
                        <a:lnTo>
                          <a:pt x="290" y="686"/>
                        </a:lnTo>
                        <a:lnTo>
                          <a:pt x="289" y="686"/>
                        </a:lnTo>
                        <a:lnTo>
                          <a:pt x="286" y="686"/>
                        </a:lnTo>
                        <a:lnTo>
                          <a:pt x="281" y="688"/>
                        </a:lnTo>
                        <a:lnTo>
                          <a:pt x="278" y="688"/>
                        </a:lnTo>
                        <a:lnTo>
                          <a:pt x="274" y="688"/>
                        </a:lnTo>
                        <a:lnTo>
                          <a:pt x="273" y="688"/>
                        </a:lnTo>
                        <a:lnTo>
                          <a:pt x="271" y="688"/>
                        </a:lnTo>
                        <a:lnTo>
                          <a:pt x="265" y="688"/>
                        </a:lnTo>
                        <a:lnTo>
                          <a:pt x="263" y="688"/>
                        </a:lnTo>
                        <a:lnTo>
                          <a:pt x="262" y="686"/>
                        </a:lnTo>
                        <a:lnTo>
                          <a:pt x="260" y="684"/>
                        </a:lnTo>
                        <a:lnTo>
                          <a:pt x="260" y="681"/>
                        </a:lnTo>
                        <a:lnTo>
                          <a:pt x="259" y="676"/>
                        </a:lnTo>
                        <a:lnTo>
                          <a:pt x="257" y="673"/>
                        </a:lnTo>
                        <a:lnTo>
                          <a:pt x="255" y="670"/>
                        </a:lnTo>
                        <a:lnTo>
                          <a:pt x="252" y="669"/>
                        </a:lnTo>
                        <a:lnTo>
                          <a:pt x="251" y="667"/>
                        </a:lnTo>
                        <a:lnTo>
                          <a:pt x="246" y="665"/>
                        </a:lnTo>
                        <a:lnTo>
                          <a:pt x="240" y="665"/>
                        </a:lnTo>
                        <a:lnTo>
                          <a:pt x="233" y="664"/>
                        </a:lnTo>
                        <a:lnTo>
                          <a:pt x="228" y="661"/>
                        </a:lnTo>
                        <a:lnTo>
                          <a:pt x="228" y="659"/>
                        </a:lnTo>
                        <a:lnTo>
                          <a:pt x="230" y="656"/>
                        </a:lnTo>
                        <a:lnTo>
                          <a:pt x="230" y="653"/>
                        </a:lnTo>
                        <a:lnTo>
                          <a:pt x="230" y="648"/>
                        </a:lnTo>
                        <a:lnTo>
                          <a:pt x="230" y="643"/>
                        </a:lnTo>
                        <a:lnTo>
                          <a:pt x="230" y="642"/>
                        </a:lnTo>
                        <a:lnTo>
                          <a:pt x="228" y="638"/>
                        </a:lnTo>
                        <a:lnTo>
                          <a:pt x="227" y="635"/>
                        </a:lnTo>
                        <a:lnTo>
                          <a:pt x="224" y="634"/>
                        </a:lnTo>
                        <a:lnTo>
                          <a:pt x="222" y="631"/>
                        </a:lnTo>
                        <a:lnTo>
                          <a:pt x="221" y="629"/>
                        </a:lnTo>
                        <a:lnTo>
                          <a:pt x="221" y="626"/>
                        </a:lnTo>
                        <a:lnTo>
                          <a:pt x="221" y="624"/>
                        </a:lnTo>
                        <a:lnTo>
                          <a:pt x="221" y="623"/>
                        </a:lnTo>
                        <a:lnTo>
                          <a:pt x="219" y="619"/>
                        </a:lnTo>
                        <a:lnTo>
                          <a:pt x="216" y="618"/>
                        </a:lnTo>
                        <a:lnTo>
                          <a:pt x="214" y="616"/>
                        </a:lnTo>
                        <a:lnTo>
                          <a:pt x="213" y="615"/>
                        </a:lnTo>
                        <a:lnTo>
                          <a:pt x="216" y="615"/>
                        </a:lnTo>
                        <a:lnTo>
                          <a:pt x="214" y="613"/>
                        </a:lnTo>
                        <a:lnTo>
                          <a:pt x="213" y="612"/>
                        </a:lnTo>
                        <a:lnTo>
                          <a:pt x="211" y="613"/>
                        </a:lnTo>
                        <a:lnTo>
                          <a:pt x="209" y="613"/>
                        </a:lnTo>
                        <a:lnTo>
                          <a:pt x="208" y="613"/>
                        </a:lnTo>
                        <a:lnTo>
                          <a:pt x="206" y="613"/>
                        </a:lnTo>
                        <a:lnTo>
                          <a:pt x="205" y="613"/>
                        </a:lnTo>
                        <a:lnTo>
                          <a:pt x="203" y="613"/>
                        </a:lnTo>
                        <a:lnTo>
                          <a:pt x="202" y="612"/>
                        </a:lnTo>
                        <a:lnTo>
                          <a:pt x="200" y="610"/>
                        </a:lnTo>
                        <a:lnTo>
                          <a:pt x="200" y="608"/>
                        </a:lnTo>
                        <a:lnTo>
                          <a:pt x="198" y="607"/>
                        </a:lnTo>
                        <a:lnTo>
                          <a:pt x="198" y="605"/>
                        </a:lnTo>
                        <a:lnTo>
                          <a:pt x="198" y="604"/>
                        </a:lnTo>
                        <a:lnTo>
                          <a:pt x="197" y="602"/>
                        </a:lnTo>
                        <a:lnTo>
                          <a:pt x="197" y="600"/>
                        </a:lnTo>
                        <a:lnTo>
                          <a:pt x="195" y="600"/>
                        </a:lnTo>
                        <a:lnTo>
                          <a:pt x="194" y="602"/>
                        </a:lnTo>
                        <a:lnTo>
                          <a:pt x="194" y="604"/>
                        </a:lnTo>
                        <a:lnTo>
                          <a:pt x="194" y="605"/>
                        </a:lnTo>
                        <a:lnTo>
                          <a:pt x="192" y="604"/>
                        </a:lnTo>
                        <a:lnTo>
                          <a:pt x="192" y="602"/>
                        </a:lnTo>
                        <a:lnTo>
                          <a:pt x="190" y="602"/>
                        </a:lnTo>
                        <a:lnTo>
                          <a:pt x="192" y="600"/>
                        </a:lnTo>
                        <a:lnTo>
                          <a:pt x="194" y="600"/>
                        </a:lnTo>
                        <a:lnTo>
                          <a:pt x="194" y="599"/>
                        </a:lnTo>
                        <a:lnTo>
                          <a:pt x="194" y="597"/>
                        </a:lnTo>
                        <a:lnTo>
                          <a:pt x="194" y="596"/>
                        </a:lnTo>
                        <a:lnTo>
                          <a:pt x="194" y="594"/>
                        </a:lnTo>
                        <a:lnTo>
                          <a:pt x="194" y="593"/>
                        </a:lnTo>
                        <a:lnTo>
                          <a:pt x="192" y="591"/>
                        </a:lnTo>
                        <a:lnTo>
                          <a:pt x="190" y="589"/>
                        </a:lnTo>
                        <a:lnTo>
                          <a:pt x="189" y="589"/>
                        </a:lnTo>
                        <a:lnTo>
                          <a:pt x="187" y="589"/>
                        </a:lnTo>
                        <a:lnTo>
                          <a:pt x="186" y="588"/>
                        </a:lnTo>
                        <a:lnTo>
                          <a:pt x="186" y="586"/>
                        </a:lnTo>
                        <a:lnTo>
                          <a:pt x="186" y="583"/>
                        </a:lnTo>
                        <a:lnTo>
                          <a:pt x="186" y="581"/>
                        </a:lnTo>
                        <a:lnTo>
                          <a:pt x="184" y="580"/>
                        </a:lnTo>
                        <a:lnTo>
                          <a:pt x="184" y="578"/>
                        </a:lnTo>
                        <a:lnTo>
                          <a:pt x="184" y="577"/>
                        </a:lnTo>
                        <a:lnTo>
                          <a:pt x="183" y="577"/>
                        </a:lnTo>
                        <a:lnTo>
                          <a:pt x="181" y="575"/>
                        </a:lnTo>
                        <a:lnTo>
                          <a:pt x="179" y="575"/>
                        </a:lnTo>
                        <a:lnTo>
                          <a:pt x="178" y="575"/>
                        </a:lnTo>
                        <a:lnTo>
                          <a:pt x="178" y="573"/>
                        </a:lnTo>
                        <a:lnTo>
                          <a:pt x="176" y="575"/>
                        </a:lnTo>
                        <a:lnTo>
                          <a:pt x="175" y="575"/>
                        </a:lnTo>
                        <a:lnTo>
                          <a:pt x="173" y="575"/>
                        </a:lnTo>
                        <a:lnTo>
                          <a:pt x="173" y="577"/>
                        </a:lnTo>
                        <a:lnTo>
                          <a:pt x="171" y="577"/>
                        </a:lnTo>
                        <a:lnTo>
                          <a:pt x="170" y="577"/>
                        </a:lnTo>
                        <a:lnTo>
                          <a:pt x="168" y="575"/>
                        </a:lnTo>
                        <a:lnTo>
                          <a:pt x="162" y="570"/>
                        </a:lnTo>
                        <a:lnTo>
                          <a:pt x="160" y="570"/>
                        </a:lnTo>
                        <a:lnTo>
                          <a:pt x="159" y="569"/>
                        </a:lnTo>
                        <a:lnTo>
                          <a:pt x="156" y="570"/>
                        </a:lnTo>
                        <a:lnTo>
                          <a:pt x="154" y="570"/>
                        </a:lnTo>
                        <a:lnTo>
                          <a:pt x="152" y="570"/>
                        </a:lnTo>
                        <a:lnTo>
                          <a:pt x="151" y="572"/>
                        </a:lnTo>
                        <a:lnTo>
                          <a:pt x="146" y="570"/>
                        </a:lnTo>
                        <a:lnTo>
                          <a:pt x="141" y="569"/>
                        </a:lnTo>
                        <a:lnTo>
                          <a:pt x="133" y="567"/>
                        </a:lnTo>
                        <a:lnTo>
                          <a:pt x="129" y="567"/>
                        </a:lnTo>
                        <a:lnTo>
                          <a:pt x="127" y="566"/>
                        </a:lnTo>
                        <a:lnTo>
                          <a:pt x="127" y="564"/>
                        </a:lnTo>
                        <a:lnTo>
                          <a:pt x="126" y="564"/>
                        </a:lnTo>
                        <a:lnTo>
                          <a:pt x="126" y="562"/>
                        </a:lnTo>
                        <a:lnTo>
                          <a:pt x="124" y="561"/>
                        </a:lnTo>
                        <a:lnTo>
                          <a:pt x="122" y="558"/>
                        </a:lnTo>
                        <a:lnTo>
                          <a:pt x="121" y="556"/>
                        </a:lnTo>
                        <a:lnTo>
                          <a:pt x="119" y="554"/>
                        </a:lnTo>
                        <a:lnTo>
                          <a:pt x="119" y="553"/>
                        </a:lnTo>
                        <a:lnTo>
                          <a:pt x="119" y="551"/>
                        </a:lnTo>
                        <a:lnTo>
                          <a:pt x="119" y="550"/>
                        </a:lnTo>
                        <a:lnTo>
                          <a:pt x="118" y="548"/>
                        </a:lnTo>
                        <a:lnTo>
                          <a:pt x="116" y="547"/>
                        </a:lnTo>
                        <a:lnTo>
                          <a:pt x="116" y="545"/>
                        </a:lnTo>
                        <a:lnTo>
                          <a:pt x="116" y="543"/>
                        </a:lnTo>
                        <a:lnTo>
                          <a:pt x="114" y="542"/>
                        </a:lnTo>
                        <a:lnTo>
                          <a:pt x="114" y="540"/>
                        </a:lnTo>
                        <a:lnTo>
                          <a:pt x="113" y="540"/>
                        </a:lnTo>
                        <a:lnTo>
                          <a:pt x="111" y="540"/>
                        </a:lnTo>
                        <a:lnTo>
                          <a:pt x="110" y="539"/>
                        </a:lnTo>
                        <a:lnTo>
                          <a:pt x="108" y="539"/>
                        </a:lnTo>
                        <a:lnTo>
                          <a:pt x="107" y="537"/>
                        </a:lnTo>
                        <a:lnTo>
                          <a:pt x="105" y="535"/>
                        </a:lnTo>
                        <a:lnTo>
                          <a:pt x="103" y="534"/>
                        </a:lnTo>
                        <a:lnTo>
                          <a:pt x="103" y="532"/>
                        </a:lnTo>
                        <a:lnTo>
                          <a:pt x="103" y="531"/>
                        </a:lnTo>
                        <a:lnTo>
                          <a:pt x="102" y="531"/>
                        </a:lnTo>
                        <a:lnTo>
                          <a:pt x="100" y="529"/>
                        </a:lnTo>
                        <a:lnTo>
                          <a:pt x="100" y="528"/>
                        </a:lnTo>
                        <a:lnTo>
                          <a:pt x="99" y="526"/>
                        </a:lnTo>
                        <a:lnTo>
                          <a:pt x="97" y="524"/>
                        </a:lnTo>
                        <a:lnTo>
                          <a:pt x="99" y="521"/>
                        </a:lnTo>
                        <a:lnTo>
                          <a:pt x="99" y="520"/>
                        </a:lnTo>
                        <a:lnTo>
                          <a:pt x="100" y="518"/>
                        </a:lnTo>
                        <a:lnTo>
                          <a:pt x="102" y="516"/>
                        </a:lnTo>
                        <a:lnTo>
                          <a:pt x="103" y="516"/>
                        </a:lnTo>
                        <a:lnTo>
                          <a:pt x="105" y="515"/>
                        </a:lnTo>
                        <a:lnTo>
                          <a:pt x="107" y="515"/>
                        </a:lnTo>
                        <a:lnTo>
                          <a:pt x="108" y="513"/>
                        </a:lnTo>
                        <a:lnTo>
                          <a:pt x="108" y="512"/>
                        </a:lnTo>
                        <a:lnTo>
                          <a:pt x="108" y="510"/>
                        </a:lnTo>
                        <a:lnTo>
                          <a:pt x="107" y="510"/>
                        </a:lnTo>
                        <a:lnTo>
                          <a:pt x="105" y="509"/>
                        </a:lnTo>
                        <a:lnTo>
                          <a:pt x="105" y="507"/>
                        </a:lnTo>
                        <a:lnTo>
                          <a:pt x="103" y="507"/>
                        </a:lnTo>
                        <a:lnTo>
                          <a:pt x="103" y="505"/>
                        </a:lnTo>
                        <a:lnTo>
                          <a:pt x="102" y="505"/>
                        </a:lnTo>
                        <a:lnTo>
                          <a:pt x="102" y="504"/>
                        </a:lnTo>
                        <a:lnTo>
                          <a:pt x="102" y="502"/>
                        </a:lnTo>
                        <a:lnTo>
                          <a:pt x="102" y="501"/>
                        </a:lnTo>
                        <a:lnTo>
                          <a:pt x="103" y="499"/>
                        </a:lnTo>
                        <a:lnTo>
                          <a:pt x="105" y="497"/>
                        </a:lnTo>
                        <a:lnTo>
                          <a:pt x="107" y="496"/>
                        </a:lnTo>
                        <a:lnTo>
                          <a:pt x="107" y="494"/>
                        </a:lnTo>
                        <a:lnTo>
                          <a:pt x="107" y="493"/>
                        </a:lnTo>
                        <a:lnTo>
                          <a:pt x="107" y="491"/>
                        </a:lnTo>
                        <a:lnTo>
                          <a:pt x="107" y="488"/>
                        </a:lnTo>
                        <a:lnTo>
                          <a:pt x="107" y="486"/>
                        </a:lnTo>
                        <a:lnTo>
                          <a:pt x="105" y="485"/>
                        </a:lnTo>
                        <a:lnTo>
                          <a:pt x="105" y="483"/>
                        </a:lnTo>
                        <a:lnTo>
                          <a:pt x="103" y="482"/>
                        </a:lnTo>
                        <a:lnTo>
                          <a:pt x="102" y="478"/>
                        </a:lnTo>
                        <a:lnTo>
                          <a:pt x="99" y="477"/>
                        </a:lnTo>
                        <a:lnTo>
                          <a:pt x="97" y="475"/>
                        </a:lnTo>
                        <a:lnTo>
                          <a:pt x="97" y="472"/>
                        </a:lnTo>
                        <a:lnTo>
                          <a:pt x="95" y="471"/>
                        </a:lnTo>
                        <a:lnTo>
                          <a:pt x="95" y="469"/>
                        </a:lnTo>
                        <a:lnTo>
                          <a:pt x="95" y="467"/>
                        </a:lnTo>
                        <a:lnTo>
                          <a:pt x="94" y="466"/>
                        </a:lnTo>
                        <a:lnTo>
                          <a:pt x="94" y="464"/>
                        </a:lnTo>
                        <a:lnTo>
                          <a:pt x="94" y="463"/>
                        </a:lnTo>
                        <a:lnTo>
                          <a:pt x="94" y="461"/>
                        </a:lnTo>
                        <a:lnTo>
                          <a:pt x="95" y="461"/>
                        </a:lnTo>
                        <a:lnTo>
                          <a:pt x="95" y="463"/>
                        </a:lnTo>
                        <a:lnTo>
                          <a:pt x="97" y="463"/>
                        </a:lnTo>
                        <a:lnTo>
                          <a:pt x="99" y="463"/>
                        </a:lnTo>
                        <a:lnTo>
                          <a:pt x="99" y="461"/>
                        </a:lnTo>
                        <a:lnTo>
                          <a:pt x="100" y="459"/>
                        </a:lnTo>
                        <a:lnTo>
                          <a:pt x="99" y="458"/>
                        </a:lnTo>
                        <a:lnTo>
                          <a:pt x="97" y="458"/>
                        </a:lnTo>
                        <a:lnTo>
                          <a:pt x="97" y="456"/>
                        </a:lnTo>
                        <a:lnTo>
                          <a:pt x="95" y="456"/>
                        </a:lnTo>
                        <a:lnTo>
                          <a:pt x="92" y="456"/>
                        </a:lnTo>
                        <a:lnTo>
                          <a:pt x="91" y="455"/>
                        </a:lnTo>
                        <a:lnTo>
                          <a:pt x="89" y="456"/>
                        </a:lnTo>
                        <a:lnTo>
                          <a:pt x="89" y="455"/>
                        </a:lnTo>
                        <a:lnTo>
                          <a:pt x="89" y="453"/>
                        </a:lnTo>
                        <a:lnTo>
                          <a:pt x="89" y="452"/>
                        </a:lnTo>
                        <a:lnTo>
                          <a:pt x="91" y="450"/>
                        </a:lnTo>
                        <a:lnTo>
                          <a:pt x="89" y="448"/>
                        </a:lnTo>
                        <a:lnTo>
                          <a:pt x="89" y="447"/>
                        </a:lnTo>
                        <a:lnTo>
                          <a:pt x="89" y="445"/>
                        </a:lnTo>
                        <a:lnTo>
                          <a:pt x="89" y="444"/>
                        </a:lnTo>
                        <a:lnTo>
                          <a:pt x="89" y="442"/>
                        </a:lnTo>
                        <a:lnTo>
                          <a:pt x="88" y="440"/>
                        </a:lnTo>
                        <a:lnTo>
                          <a:pt x="88" y="439"/>
                        </a:lnTo>
                        <a:lnTo>
                          <a:pt x="88" y="437"/>
                        </a:lnTo>
                        <a:lnTo>
                          <a:pt x="88" y="434"/>
                        </a:lnTo>
                        <a:lnTo>
                          <a:pt x="88" y="433"/>
                        </a:lnTo>
                        <a:lnTo>
                          <a:pt x="88" y="431"/>
                        </a:lnTo>
                        <a:lnTo>
                          <a:pt x="88" y="429"/>
                        </a:lnTo>
                        <a:lnTo>
                          <a:pt x="89" y="428"/>
                        </a:lnTo>
                        <a:lnTo>
                          <a:pt x="88" y="426"/>
                        </a:lnTo>
                        <a:lnTo>
                          <a:pt x="84" y="428"/>
                        </a:lnTo>
                        <a:lnTo>
                          <a:pt x="83" y="428"/>
                        </a:lnTo>
                        <a:lnTo>
                          <a:pt x="78" y="429"/>
                        </a:lnTo>
                        <a:lnTo>
                          <a:pt x="75" y="431"/>
                        </a:lnTo>
                        <a:lnTo>
                          <a:pt x="72" y="434"/>
                        </a:lnTo>
                        <a:lnTo>
                          <a:pt x="70" y="434"/>
                        </a:lnTo>
                        <a:lnTo>
                          <a:pt x="69" y="436"/>
                        </a:lnTo>
                        <a:lnTo>
                          <a:pt x="69" y="437"/>
                        </a:lnTo>
                        <a:lnTo>
                          <a:pt x="67" y="436"/>
                        </a:lnTo>
                        <a:lnTo>
                          <a:pt x="65" y="436"/>
                        </a:lnTo>
                        <a:lnTo>
                          <a:pt x="65" y="434"/>
                        </a:lnTo>
                        <a:lnTo>
                          <a:pt x="64" y="434"/>
                        </a:lnTo>
                        <a:lnTo>
                          <a:pt x="64" y="433"/>
                        </a:lnTo>
                        <a:lnTo>
                          <a:pt x="64" y="431"/>
                        </a:lnTo>
                        <a:lnTo>
                          <a:pt x="64" y="429"/>
                        </a:lnTo>
                        <a:lnTo>
                          <a:pt x="64" y="428"/>
                        </a:lnTo>
                        <a:lnTo>
                          <a:pt x="64" y="426"/>
                        </a:lnTo>
                        <a:lnTo>
                          <a:pt x="64" y="425"/>
                        </a:lnTo>
                        <a:lnTo>
                          <a:pt x="64" y="423"/>
                        </a:lnTo>
                        <a:lnTo>
                          <a:pt x="64" y="421"/>
                        </a:lnTo>
                        <a:lnTo>
                          <a:pt x="62" y="420"/>
                        </a:lnTo>
                        <a:lnTo>
                          <a:pt x="61" y="418"/>
                        </a:lnTo>
                        <a:lnTo>
                          <a:pt x="59" y="417"/>
                        </a:lnTo>
                        <a:lnTo>
                          <a:pt x="59" y="415"/>
                        </a:lnTo>
                        <a:lnTo>
                          <a:pt x="57" y="415"/>
                        </a:lnTo>
                        <a:lnTo>
                          <a:pt x="57" y="414"/>
                        </a:lnTo>
                        <a:lnTo>
                          <a:pt x="56" y="412"/>
                        </a:lnTo>
                        <a:lnTo>
                          <a:pt x="53" y="410"/>
                        </a:lnTo>
                        <a:lnTo>
                          <a:pt x="51" y="410"/>
                        </a:lnTo>
                        <a:lnTo>
                          <a:pt x="49" y="409"/>
                        </a:lnTo>
                        <a:lnTo>
                          <a:pt x="49" y="410"/>
                        </a:lnTo>
                        <a:lnTo>
                          <a:pt x="48" y="409"/>
                        </a:lnTo>
                        <a:lnTo>
                          <a:pt x="46" y="409"/>
                        </a:lnTo>
                        <a:lnTo>
                          <a:pt x="45" y="409"/>
                        </a:lnTo>
                        <a:lnTo>
                          <a:pt x="43" y="407"/>
                        </a:lnTo>
                        <a:lnTo>
                          <a:pt x="42" y="407"/>
                        </a:lnTo>
                        <a:lnTo>
                          <a:pt x="40" y="407"/>
                        </a:lnTo>
                        <a:lnTo>
                          <a:pt x="40" y="406"/>
                        </a:lnTo>
                        <a:lnTo>
                          <a:pt x="40" y="404"/>
                        </a:lnTo>
                        <a:lnTo>
                          <a:pt x="38" y="402"/>
                        </a:lnTo>
                        <a:lnTo>
                          <a:pt x="38" y="401"/>
                        </a:lnTo>
                        <a:lnTo>
                          <a:pt x="38" y="399"/>
                        </a:lnTo>
                        <a:lnTo>
                          <a:pt x="40" y="398"/>
                        </a:lnTo>
                        <a:lnTo>
                          <a:pt x="42" y="398"/>
                        </a:lnTo>
                        <a:lnTo>
                          <a:pt x="42" y="396"/>
                        </a:lnTo>
                        <a:lnTo>
                          <a:pt x="43" y="396"/>
                        </a:lnTo>
                        <a:lnTo>
                          <a:pt x="43" y="394"/>
                        </a:lnTo>
                        <a:lnTo>
                          <a:pt x="42" y="394"/>
                        </a:lnTo>
                        <a:lnTo>
                          <a:pt x="42" y="393"/>
                        </a:lnTo>
                        <a:lnTo>
                          <a:pt x="40" y="393"/>
                        </a:lnTo>
                        <a:lnTo>
                          <a:pt x="40" y="391"/>
                        </a:lnTo>
                        <a:lnTo>
                          <a:pt x="42" y="390"/>
                        </a:lnTo>
                        <a:lnTo>
                          <a:pt x="42" y="387"/>
                        </a:lnTo>
                        <a:lnTo>
                          <a:pt x="42" y="385"/>
                        </a:lnTo>
                        <a:lnTo>
                          <a:pt x="42" y="383"/>
                        </a:lnTo>
                        <a:lnTo>
                          <a:pt x="40" y="383"/>
                        </a:lnTo>
                        <a:lnTo>
                          <a:pt x="40" y="382"/>
                        </a:lnTo>
                        <a:lnTo>
                          <a:pt x="38" y="380"/>
                        </a:lnTo>
                        <a:lnTo>
                          <a:pt x="37" y="379"/>
                        </a:lnTo>
                        <a:lnTo>
                          <a:pt x="35" y="377"/>
                        </a:lnTo>
                        <a:lnTo>
                          <a:pt x="35" y="375"/>
                        </a:lnTo>
                        <a:lnTo>
                          <a:pt x="35" y="372"/>
                        </a:lnTo>
                        <a:lnTo>
                          <a:pt x="34" y="371"/>
                        </a:lnTo>
                        <a:lnTo>
                          <a:pt x="35" y="368"/>
                        </a:lnTo>
                        <a:lnTo>
                          <a:pt x="35" y="363"/>
                        </a:lnTo>
                        <a:lnTo>
                          <a:pt x="35" y="360"/>
                        </a:lnTo>
                        <a:lnTo>
                          <a:pt x="35" y="358"/>
                        </a:lnTo>
                        <a:lnTo>
                          <a:pt x="34" y="356"/>
                        </a:lnTo>
                        <a:lnTo>
                          <a:pt x="34" y="355"/>
                        </a:lnTo>
                        <a:lnTo>
                          <a:pt x="30" y="352"/>
                        </a:lnTo>
                        <a:lnTo>
                          <a:pt x="29" y="347"/>
                        </a:lnTo>
                        <a:lnTo>
                          <a:pt x="29" y="344"/>
                        </a:lnTo>
                        <a:lnTo>
                          <a:pt x="29" y="341"/>
                        </a:lnTo>
                        <a:lnTo>
                          <a:pt x="30" y="339"/>
                        </a:lnTo>
                        <a:lnTo>
                          <a:pt x="32" y="334"/>
                        </a:lnTo>
                        <a:lnTo>
                          <a:pt x="34" y="331"/>
                        </a:lnTo>
                        <a:lnTo>
                          <a:pt x="35" y="328"/>
                        </a:lnTo>
                        <a:lnTo>
                          <a:pt x="34" y="326"/>
                        </a:lnTo>
                        <a:lnTo>
                          <a:pt x="34" y="323"/>
                        </a:lnTo>
                        <a:lnTo>
                          <a:pt x="32" y="318"/>
                        </a:lnTo>
                        <a:lnTo>
                          <a:pt x="30" y="314"/>
                        </a:lnTo>
                        <a:lnTo>
                          <a:pt x="29" y="309"/>
                        </a:lnTo>
                        <a:lnTo>
                          <a:pt x="29" y="307"/>
                        </a:lnTo>
                        <a:lnTo>
                          <a:pt x="27" y="307"/>
                        </a:lnTo>
                        <a:lnTo>
                          <a:pt x="26" y="306"/>
                        </a:lnTo>
                        <a:lnTo>
                          <a:pt x="24" y="306"/>
                        </a:lnTo>
                        <a:lnTo>
                          <a:pt x="23" y="306"/>
                        </a:lnTo>
                        <a:lnTo>
                          <a:pt x="23" y="304"/>
                        </a:lnTo>
                        <a:lnTo>
                          <a:pt x="21" y="304"/>
                        </a:lnTo>
                        <a:lnTo>
                          <a:pt x="21" y="303"/>
                        </a:lnTo>
                        <a:lnTo>
                          <a:pt x="19" y="303"/>
                        </a:lnTo>
                        <a:lnTo>
                          <a:pt x="19" y="301"/>
                        </a:lnTo>
                        <a:lnTo>
                          <a:pt x="19" y="299"/>
                        </a:lnTo>
                        <a:lnTo>
                          <a:pt x="18" y="296"/>
                        </a:lnTo>
                        <a:lnTo>
                          <a:pt x="19" y="296"/>
                        </a:lnTo>
                        <a:lnTo>
                          <a:pt x="19" y="295"/>
                        </a:lnTo>
                        <a:lnTo>
                          <a:pt x="21" y="293"/>
                        </a:lnTo>
                        <a:lnTo>
                          <a:pt x="21" y="292"/>
                        </a:lnTo>
                        <a:lnTo>
                          <a:pt x="23" y="292"/>
                        </a:lnTo>
                        <a:lnTo>
                          <a:pt x="24" y="292"/>
                        </a:lnTo>
                        <a:lnTo>
                          <a:pt x="26" y="292"/>
                        </a:lnTo>
                        <a:lnTo>
                          <a:pt x="26" y="290"/>
                        </a:lnTo>
                        <a:lnTo>
                          <a:pt x="27" y="290"/>
                        </a:lnTo>
                        <a:lnTo>
                          <a:pt x="29" y="288"/>
                        </a:lnTo>
                        <a:lnTo>
                          <a:pt x="27" y="288"/>
                        </a:lnTo>
                        <a:lnTo>
                          <a:pt x="27" y="287"/>
                        </a:lnTo>
                        <a:lnTo>
                          <a:pt x="27" y="285"/>
                        </a:lnTo>
                        <a:lnTo>
                          <a:pt x="27" y="284"/>
                        </a:lnTo>
                        <a:lnTo>
                          <a:pt x="26" y="284"/>
                        </a:lnTo>
                        <a:lnTo>
                          <a:pt x="26" y="282"/>
                        </a:lnTo>
                        <a:lnTo>
                          <a:pt x="24" y="282"/>
                        </a:lnTo>
                        <a:lnTo>
                          <a:pt x="24" y="280"/>
                        </a:lnTo>
                        <a:lnTo>
                          <a:pt x="21" y="279"/>
                        </a:lnTo>
                        <a:lnTo>
                          <a:pt x="19" y="277"/>
                        </a:lnTo>
                        <a:lnTo>
                          <a:pt x="18" y="276"/>
                        </a:lnTo>
                        <a:lnTo>
                          <a:pt x="16" y="273"/>
                        </a:lnTo>
                        <a:lnTo>
                          <a:pt x="15" y="271"/>
                        </a:lnTo>
                        <a:lnTo>
                          <a:pt x="15" y="269"/>
                        </a:lnTo>
                        <a:lnTo>
                          <a:pt x="13" y="269"/>
                        </a:lnTo>
                        <a:lnTo>
                          <a:pt x="11" y="269"/>
                        </a:lnTo>
                        <a:lnTo>
                          <a:pt x="11" y="268"/>
                        </a:lnTo>
                        <a:lnTo>
                          <a:pt x="8" y="265"/>
                        </a:lnTo>
                        <a:lnTo>
                          <a:pt x="5" y="263"/>
                        </a:lnTo>
                        <a:lnTo>
                          <a:pt x="5" y="261"/>
                        </a:lnTo>
                        <a:lnTo>
                          <a:pt x="5" y="260"/>
                        </a:lnTo>
                        <a:lnTo>
                          <a:pt x="5" y="257"/>
                        </a:lnTo>
                        <a:lnTo>
                          <a:pt x="4" y="254"/>
                        </a:lnTo>
                        <a:lnTo>
                          <a:pt x="4" y="250"/>
                        </a:lnTo>
                        <a:lnTo>
                          <a:pt x="4" y="249"/>
                        </a:lnTo>
                        <a:lnTo>
                          <a:pt x="4" y="247"/>
                        </a:lnTo>
                        <a:lnTo>
                          <a:pt x="4" y="246"/>
                        </a:lnTo>
                        <a:lnTo>
                          <a:pt x="4" y="244"/>
                        </a:lnTo>
                        <a:lnTo>
                          <a:pt x="2" y="242"/>
                        </a:lnTo>
                        <a:lnTo>
                          <a:pt x="0" y="239"/>
                        </a:lnTo>
                        <a:lnTo>
                          <a:pt x="0" y="238"/>
                        </a:lnTo>
                        <a:lnTo>
                          <a:pt x="0" y="236"/>
                        </a:lnTo>
                        <a:lnTo>
                          <a:pt x="2" y="235"/>
                        </a:lnTo>
                        <a:lnTo>
                          <a:pt x="4" y="233"/>
                        </a:lnTo>
                        <a:lnTo>
                          <a:pt x="7" y="230"/>
                        </a:lnTo>
                        <a:lnTo>
                          <a:pt x="11" y="227"/>
                        </a:lnTo>
                        <a:lnTo>
                          <a:pt x="21" y="220"/>
                        </a:lnTo>
                        <a:lnTo>
                          <a:pt x="27" y="216"/>
                        </a:lnTo>
                        <a:lnTo>
                          <a:pt x="37" y="211"/>
                        </a:lnTo>
                        <a:lnTo>
                          <a:pt x="42" y="206"/>
                        </a:lnTo>
                        <a:lnTo>
                          <a:pt x="46" y="204"/>
                        </a:lnTo>
                        <a:lnTo>
                          <a:pt x="49" y="203"/>
                        </a:lnTo>
                        <a:lnTo>
                          <a:pt x="51" y="203"/>
                        </a:lnTo>
                        <a:lnTo>
                          <a:pt x="53" y="204"/>
                        </a:lnTo>
                        <a:lnTo>
                          <a:pt x="56" y="204"/>
                        </a:lnTo>
                        <a:lnTo>
                          <a:pt x="57" y="204"/>
                        </a:lnTo>
                        <a:lnTo>
                          <a:pt x="59" y="204"/>
                        </a:lnTo>
                        <a:lnTo>
                          <a:pt x="62" y="203"/>
                        </a:lnTo>
                        <a:lnTo>
                          <a:pt x="67" y="200"/>
                        </a:lnTo>
                        <a:lnTo>
                          <a:pt x="72" y="195"/>
                        </a:lnTo>
                        <a:lnTo>
                          <a:pt x="76" y="190"/>
                        </a:lnTo>
                        <a:lnTo>
                          <a:pt x="80" y="189"/>
                        </a:lnTo>
                        <a:lnTo>
                          <a:pt x="83" y="189"/>
                        </a:lnTo>
                        <a:lnTo>
                          <a:pt x="89" y="189"/>
                        </a:lnTo>
                        <a:lnTo>
                          <a:pt x="94" y="189"/>
                        </a:lnTo>
                        <a:lnTo>
                          <a:pt x="97" y="187"/>
                        </a:lnTo>
                        <a:lnTo>
                          <a:pt x="100" y="187"/>
                        </a:lnTo>
                        <a:lnTo>
                          <a:pt x="103" y="185"/>
                        </a:lnTo>
                        <a:lnTo>
                          <a:pt x="105" y="182"/>
                        </a:lnTo>
                        <a:lnTo>
                          <a:pt x="105" y="181"/>
                        </a:lnTo>
                        <a:lnTo>
                          <a:pt x="105" y="179"/>
                        </a:lnTo>
                        <a:lnTo>
                          <a:pt x="107" y="177"/>
                        </a:lnTo>
                        <a:lnTo>
                          <a:pt x="107" y="176"/>
                        </a:lnTo>
                        <a:lnTo>
                          <a:pt x="108" y="173"/>
                        </a:lnTo>
                        <a:lnTo>
                          <a:pt x="110" y="173"/>
                        </a:lnTo>
                        <a:lnTo>
                          <a:pt x="110" y="171"/>
                        </a:lnTo>
                        <a:lnTo>
                          <a:pt x="108" y="171"/>
                        </a:lnTo>
                        <a:lnTo>
                          <a:pt x="107" y="171"/>
                        </a:lnTo>
                        <a:lnTo>
                          <a:pt x="107" y="170"/>
                        </a:lnTo>
                        <a:lnTo>
                          <a:pt x="107" y="168"/>
                        </a:lnTo>
                        <a:lnTo>
                          <a:pt x="105" y="166"/>
                        </a:lnTo>
                        <a:lnTo>
                          <a:pt x="105" y="165"/>
                        </a:lnTo>
                        <a:lnTo>
                          <a:pt x="105" y="163"/>
                        </a:lnTo>
                        <a:lnTo>
                          <a:pt x="105" y="162"/>
                        </a:lnTo>
                        <a:lnTo>
                          <a:pt x="105" y="160"/>
                        </a:lnTo>
                        <a:lnTo>
                          <a:pt x="105" y="158"/>
                        </a:lnTo>
                        <a:lnTo>
                          <a:pt x="103" y="158"/>
                        </a:lnTo>
                        <a:lnTo>
                          <a:pt x="102" y="157"/>
                        </a:lnTo>
                        <a:lnTo>
                          <a:pt x="100" y="155"/>
                        </a:lnTo>
                        <a:lnTo>
                          <a:pt x="97" y="154"/>
                        </a:lnTo>
                        <a:lnTo>
                          <a:pt x="95" y="154"/>
                        </a:lnTo>
                        <a:lnTo>
                          <a:pt x="94" y="152"/>
                        </a:lnTo>
                        <a:lnTo>
                          <a:pt x="92" y="149"/>
                        </a:lnTo>
                        <a:lnTo>
                          <a:pt x="91" y="147"/>
                        </a:lnTo>
                        <a:lnTo>
                          <a:pt x="92" y="146"/>
                        </a:lnTo>
                        <a:lnTo>
                          <a:pt x="92" y="144"/>
                        </a:lnTo>
                        <a:lnTo>
                          <a:pt x="94" y="143"/>
                        </a:lnTo>
                        <a:lnTo>
                          <a:pt x="94" y="141"/>
                        </a:lnTo>
                        <a:lnTo>
                          <a:pt x="95" y="139"/>
                        </a:lnTo>
                        <a:lnTo>
                          <a:pt x="95" y="138"/>
                        </a:lnTo>
                        <a:lnTo>
                          <a:pt x="95" y="136"/>
                        </a:lnTo>
                        <a:lnTo>
                          <a:pt x="97" y="135"/>
                        </a:lnTo>
                        <a:lnTo>
                          <a:pt x="97" y="133"/>
                        </a:lnTo>
                        <a:lnTo>
                          <a:pt x="99" y="133"/>
                        </a:lnTo>
                        <a:lnTo>
                          <a:pt x="100" y="132"/>
                        </a:lnTo>
                        <a:lnTo>
                          <a:pt x="102" y="130"/>
                        </a:lnTo>
                        <a:lnTo>
                          <a:pt x="103" y="130"/>
                        </a:lnTo>
                        <a:lnTo>
                          <a:pt x="103" y="128"/>
                        </a:lnTo>
                        <a:lnTo>
                          <a:pt x="105" y="127"/>
                        </a:lnTo>
                        <a:lnTo>
                          <a:pt x="107" y="124"/>
                        </a:lnTo>
                        <a:lnTo>
                          <a:pt x="110" y="119"/>
                        </a:lnTo>
                        <a:lnTo>
                          <a:pt x="116" y="111"/>
                        </a:lnTo>
                        <a:lnTo>
                          <a:pt x="119" y="105"/>
                        </a:lnTo>
                        <a:lnTo>
                          <a:pt x="124" y="97"/>
                        </a:lnTo>
                        <a:lnTo>
                          <a:pt x="130" y="86"/>
                        </a:lnTo>
                        <a:lnTo>
                          <a:pt x="135" y="78"/>
                        </a:lnTo>
                        <a:lnTo>
                          <a:pt x="138" y="71"/>
                        </a:lnTo>
                        <a:lnTo>
                          <a:pt x="140" y="70"/>
                        </a:lnTo>
                        <a:lnTo>
                          <a:pt x="141" y="68"/>
                        </a:lnTo>
                        <a:lnTo>
                          <a:pt x="143" y="68"/>
                        </a:lnTo>
                        <a:lnTo>
                          <a:pt x="145" y="68"/>
                        </a:lnTo>
                        <a:lnTo>
                          <a:pt x="146" y="70"/>
                        </a:lnTo>
                        <a:lnTo>
                          <a:pt x="149" y="71"/>
                        </a:lnTo>
                        <a:lnTo>
                          <a:pt x="157" y="71"/>
                        </a:lnTo>
                        <a:lnTo>
                          <a:pt x="165" y="73"/>
                        </a:lnTo>
                        <a:lnTo>
                          <a:pt x="170" y="75"/>
                        </a:lnTo>
                        <a:lnTo>
                          <a:pt x="175" y="75"/>
                        </a:lnTo>
                        <a:lnTo>
                          <a:pt x="179" y="73"/>
                        </a:lnTo>
                        <a:lnTo>
                          <a:pt x="190" y="71"/>
                        </a:lnTo>
                        <a:lnTo>
                          <a:pt x="202" y="70"/>
                        </a:lnTo>
                        <a:lnTo>
                          <a:pt x="211" y="68"/>
                        </a:lnTo>
                        <a:lnTo>
                          <a:pt x="217" y="67"/>
                        </a:lnTo>
                        <a:lnTo>
                          <a:pt x="219" y="67"/>
                        </a:lnTo>
                        <a:lnTo>
                          <a:pt x="221" y="67"/>
                        </a:lnTo>
                        <a:lnTo>
                          <a:pt x="222" y="67"/>
                        </a:lnTo>
                        <a:lnTo>
                          <a:pt x="222" y="68"/>
                        </a:lnTo>
                        <a:lnTo>
                          <a:pt x="225" y="75"/>
                        </a:lnTo>
                        <a:lnTo>
                          <a:pt x="228" y="81"/>
                        </a:lnTo>
                        <a:lnTo>
                          <a:pt x="233" y="89"/>
                        </a:lnTo>
                        <a:lnTo>
                          <a:pt x="238" y="100"/>
                        </a:lnTo>
                        <a:lnTo>
                          <a:pt x="243" y="108"/>
                        </a:lnTo>
                        <a:lnTo>
                          <a:pt x="246" y="114"/>
                        </a:lnTo>
                        <a:lnTo>
                          <a:pt x="249" y="119"/>
                        </a:lnTo>
                        <a:lnTo>
                          <a:pt x="252" y="124"/>
                        </a:lnTo>
                        <a:lnTo>
                          <a:pt x="255" y="128"/>
                        </a:lnTo>
                        <a:lnTo>
                          <a:pt x="263" y="135"/>
                        </a:lnTo>
                        <a:lnTo>
                          <a:pt x="267" y="138"/>
                        </a:lnTo>
                        <a:lnTo>
                          <a:pt x="273" y="139"/>
                        </a:lnTo>
                        <a:lnTo>
                          <a:pt x="276" y="141"/>
                        </a:lnTo>
                        <a:lnTo>
                          <a:pt x="289" y="141"/>
                        </a:lnTo>
                        <a:lnTo>
                          <a:pt x="300" y="141"/>
                        </a:lnTo>
                        <a:lnTo>
                          <a:pt x="314" y="143"/>
                        </a:lnTo>
                        <a:lnTo>
                          <a:pt x="320" y="143"/>
                        </a:lnTo>
                        <a:lnTo>
                          <a:pt x="328" y="144"/>
                        </a:lnTo>
                        <a:lnTo>
                          <a:pt x="338" y="146"/>
                        </a:lnTo>
                        <a:lnTo>
                          <a:pt x="344" y="147"/>
                        </a:lnTo>
                        <a:lnTo>
                          <a:pt x="349" y="149"/>
                        </a:lnTo>
                        <a:lnTo>
                          <a:pt x="355" y="151"/>
                        </a:lnTo>
                        <a:lnTo>
                          <a:pt x="363" y="154"/>
                        </a:lnTo>
                        <a:lnTo>
                          <a:pt x="366" y="154"/>
                        </a:lnTo>
                        <a:lnTo>
                          <a:pt x="368" y="154"/>
                        </a:lnTo>
                        <a:lnTo>
                          <a:pt x="373" y="154"/>
                        </a:lnTo>
                        <a:lnTo>
                          <a:pt x="377" y="151"/>
                        </a:lnTo>
                        <a:lnTo>
                          <a:pt x="382" y="151"/>
                        </a:lnTo>
                        <a:lnTo>
                          <a:pt x="393" y="147"/>
                        </a:lnTo>
                        <a:lnTo>
                          <a:pt x="400" y="146"/>
                        </a:lnTo>
                        <a:lnTo>
                          <a:pt x="404" y="144"/>
                        </a:lnTo>
                        <a:lnTo>
                          <a:pt x="406" y="144"/>
                        </a:lnTo>
                        <a:lnTo>
                          <a:pt x="407" y="144"/>
                        </a:lnTo>
                        <a:lnTo>
                          <a:pt x="411" y="144"/>
                        </a:lnTo>
                        <a:lnTo>
                          <a:pt x="414" y="146"/>
                        </a:lnTo>
                        <a:lnTo>
                          <a:pt x="417" y="146"/>
                        </a:lnTo>
                        <a:lnTo>
                          <a:pt x="419" y="146"/>
                        </a:lnTo>
                        <a:lnTo>
                          <a:pt x="420" y="146"/>
                        </a:lnTo>
                        <a:lnTo>
                          <a:pt x="422" y="144"/>
                        </a:lnTo>
                        <a:lnTo>
                          <a:pt x="425" y="143"/>
                        </a:lnTo>
                        <a:lnTo>
                          <a:pt x="428" y="141"/>
                        </a:lnTo>
                        <a:lnTo>
                          <a:pt x="431" y="141"/>
                        </a:lnTo>
                        <a:lnTo>
                          <a:pt x="434" y="141"/>
                        </a:lnTo>
                        <a:lnTo>
                          <a:pt x="442" y="143"/>
                        </a:lnTo>
                        <a:lnTo>
                          <a:pt x="449" y="143"/>
                        </a:lnTo>
                        <a:lnTo>
                          <a:pt x="457" y="143"/>
                        </a:lnTo>
                        <a:lnTo>
                          <a:pt x="463" y="143"/>
                        </a:lnTo>
                        <a:lnTo>
                          <a:pt x="469" y="141"/>
                        </a:lnTo>
                        <a:lnTo>
                          <a:pt x="471" y="139"/>
                        </a:lnTo>
                        <a:lnTo>
                          <a:pt x="474" y="139"/>
                        </a:lnTo>
                        <a:lnTo>
                          <a:pt x="476" y="138"/>
                        </a:lnTo>
                        <a:lnTo>
                          <a:pt x="479" y="135"/>
                        </a:lnTo>
                        <a:lnTo>
                          <a:pt x="482" y="133"/>
                        </a:lnTo>
                        <a:lnTo>
                          <a:pt x="484" y="133"/>
                        </a:lnTo>
                        <a:lnTo>
                          <a:pt x="485" y="133"/>
                        </a:lnTo>
                        <a:lnTo>
                          <a:pt x="487" y="135"/>
                        </a:lnTo>
                        <a:lnTo>
                          <a:pt x="490" y="138"/>
                        </a:lnTo>
                        <a:lnTo>
                          <a:pt x="493" y="141"/>
                        </a:lnTo>
                        <a:lnTo>
                          <a:pt x="496" y="143"/>
                        </a:lnTo>
                        <a:lnTo>
                          <a:pt x="501" y="141"/>
                        </a:lnTo>
                        <a:lnTo>
                          <a:pt x="504" y="139"/>
                        </a:lnTo>
                        <a:lnTo>
                          <a:pt x="507" y="136"/>
                        </a:lnTo>
                        <a:lnTo>
                          <a:pt x="509" y="135"/>
                        </a:lnTo>
                        <a:lnTo>
                          <a:pt x="510" y="133"/>
                        </a:lnTo>
                        <a:lnTo>
                          <a:pt x="512" y="130"/>
                        </a:lnTo>
                        <a:lnTo>
                          <a:pt x="515" y="122"/>
                        </a:lnTo>
                        <a:lnTo>
                          <a:pt x="517" y="117"/>
                        </a:lnTo>
                        <a:lnTo>
                          <a:pt x="520" y="116"/>
                        </a:lnTo>
                        <a:lnTo>
                          <a:pt x="522" y="114"/>
                        </a:lnTo>
                        <a:lnTo>
                          <a:pt x="523" y="113"/>
                        </a:lnTo>
                        <a:lnTo>
                          <a:pt x="526" y="111"/>
                        </a:lnTo>
                        <a:lnTo>
                          <a:pt x="531" y="108"/>
                        </a:lnTo>
                        <a:lnTo>
                          <a:pt x="534" y="106"/>
                        </a:lnTo>
                        <a:lnTo>
                          <a:pt x="537" y="105"/>
                        </a:lnTo>
                        <a:lnTo>
                          <a:pt x="539" y="105"/>
                        </a:lnTo>
                        <a:lnTo>
                          <a:pt x="542" y="105"/>
                        </a:lnTo>
                        <a:lnTo>
                          <a:pt x="544" y="106"/>
                        </a:lnTo>
                        <a:lnTo>
                          <a:pt x="545" y="106"/>
                        </a:lnTo>
                        <a:lnTo>
                          <a:pt x="548" y="106"/>
                        </a:lnTo>
                        <a:lnTo>
                          <a:pt x="550" y="106"/>
                        </a:lnTo>
                        <a:lnTo>
                          <a:pt x="552" y="105"/>
                        </a:lnTo>
                        <a:lnTo>
                          <a:pt x="553" y="105"/>
                        </a:lnTo>
                        <a:lnTo>
                          <a:pt x="556" y="105"/>
                        </a:lnTo>
                        <a:lnTo>
                          <a:pt x="558" y="105"/>
                        </a:lnTo>
                        <a:lnTo>
                          <a:pt x="558" y="106"/>
                        </a:lnTo>
                        <a:lnTo>
                          <a:pt x="560" y="106"/>
                        </a:lnTo>
                        <a:lnTo>
                          <a:pt x="563" y="105"/>
                        </a:lnTo>
                        <a:lnTo>
                          <a:pt x="564" y="103"/>
                        </a:lnTo>
                        <a:lnTo>
                          <a:pt x="566" y="101"/>
                        </a:lnTo>
                        <a:lnTo>
                          <a:pt x="566" y="98"/>
                        </a:lnTo>
                        <a:lnTo>
                          <a:pt x="566" y="95"/>
                        </a:lnTo>
                        <a:lnTo>
                          <a:pt x="566" y="94"/>
                        </a:lnTo>
                        <a:lnTo>
                          <a:pt x="566" y="92"/>
                        </a:lnTo>
                        <a:lnTo>
                          <a:pt x="567" y="90"/>
                        </a:lnTo>
                        <a:lnTo>
                          <a:pt x="567" y="89"/>
                        </a:lnTo>
                        <a:lnTo>
                          <a:pt x="569" y="87"/>
                        </a:lnTo>
                        <a:lnTo>
                          <a:pt x="569" y="86"/>
                        </a:lnTo>
                        <a:lnTo>
                          <a:pt x="569" y="84"/>
                        </a:lnTo>
                        <a:lnTo>
                          <a:pt x="571" y="82"/>
                        </a:lnTo>
                        <a:lnTo>
                          <a:pt x="572" y="81"/>
                        </a:lnTo>
                        <a:lnTo>
                          <a:pt x="575" y="81"/>
                        </a:lnTo>
                        <a:lnTo>
                          <a:pt x="577" y="81"/>
                        </a:lnTo>
                        <a:lnTo>
                          <a:pt x="582" y="81"/>
                        </a:lnTo>
                        <a:lnTo>
                          <a:pt x="585" y="79"/>
                        </a:lnTo>
                        <a:lnTo>
                          <a:pt x="590" y="81"/>
                        </a:lnTo>
                        <a:lnTo>
                          <a:pt x="593" y="82"/>
                        </a:lnTo>
                        <a:lnTo>
                          <a:pt x="598" y="84"/>
                        </a:lnTo>
                        <a:lnTo>
                          <a:pt x="602" y="86"/>
                        </a:lnTo>
                        <a:lnTo>
                          <a:pt x="609" y="87"/>
                        </a:lnTo>
                        <a:lnTo>
                          <a:pt x="610" y="89"/>
                        </a:lnTo>
                        <a:lnTo>
                          <a:pt x="613" y="89"/>
                        </a:lnTo>
                        <a:lnTo>
                          <a:pt x="615" y="89"/>
                        </a:lnTo>
                        <a:lnTo>
                          <a:pt x="618" y="87"/>
                        </a:lnTo>
                        <a:lnTo>
                          <a:pt x="623" y="86"/>
                        </a:lnTo>
                        <a:lnTo>
                          <a:pt x="625" y="86"/>
                        </a:lnTo>
                        <a:lnTo>
                          <a:pt x="626" y="84"/>
                        </a:lnTo>
                        <a:lnTo>
                          <a:pt x="628" y="84"/>
                        </a:lnTo>
                        <a:lnTo>
                          <a:pt x="629" y="84"/>
                        </a:lnTo>
                        <a:lnTo>
                          <a:pt x="631" y="82"/>
                        </a:lnTo>
                        <a:lnTo>
                          <a:pt x="632" y="81"/>
                        </a:lnTo>
                        <a:lnTo>
                          <a:pt x="634" y="81"/>
                        </a:lnTo>
                        <a:lnTo>
                          <a:pt x="634" y="79"/>
                        </a:lnTo>
                        <a:lnTo>
                          <a:pt x="636" y="79"/>
                        </a:lnTo>
                        <a:lnTo>
                          <a:pt x="637" y="79"/>
                        </a:lnTo>
                        <a:lnTo>
                          <a:pt x="639" y="81"/>
                        </a:lnTo>
                        <a:lnTo>
                          <a:pt x="640" y="81"/>
                        </a:lnTo>
                        <a:lnTo>
                          <a:pt x="642" y="82"/>
                        </a:lnTo>
                        <a:lnTo>
                          <a:pt x="644" y="81"/>
                        </a:lnTo>
                        <a:lnTo>
                          <a:pt x="645" y="81"/>
                        </a:lnTo>
                        <a:lnTo>
                          <a:pt x="648" y="81"/>
                        </a:lnTo>
                        <a:lnTo>
                          <a:pt x="648" y="79"/>
                        </a:lnTo>
                        <a:lnTo>
                          <a:pt x="647" y="78"/>
                        </a:lnTo>
                        <a:lnTo>
                          <a:pt x="648" y="76"/>
                        </a:lnTo>
                        <a:lnTo>
                          <a:pt x="651" y="76"/>
                        </a:lnTo>
                        <a:lnTo>
                          <a:pt x="653" y="75"/>
                        </a:lnTo>
                        <a:lnTo>
                          <a:pt x="655" y="71"/>
                        </a:lnTo>
                        <a:lnTo>
                          <a:pt x="653" y="70"/>
                        </a:lnTo>
                        <a:lnTo>
                          <a:pt x="653" y="68"/>
                        </a:lnTo>
                        <a:lnTo>
                          <a:pt x="655" y="68"/>
                        </a:lnTo>
                        <a:lnTo>
                          <a:pt x="656" y="67"/>
                        </a:lnTo>
                        <a:lnTo>
                          <a:pt x="658" y="67"/>
                        </a:lnTo>
                        <a:lnTo>
                          <a:pt x="659" y="65"/>
                        </a:lnTo>
                        <a:lnTo>
                          <a:pt x="661" y="63"/>
                        </a:lnTo>
                        <a:lnTo>
                          <a:pt x="663" y="60"/>
                        </a:lnTo>
                        <a:lnTo>
                          <a:pt x="664" y="59"/>
                        </a:lnTo>
                        <a:lnTo>
                          <a:pt x="666" y="59"/>
                        </a:lnTo>
                        <a:lnTo>
                          <a:pt x="667" y="57"/>
                        </a:lnTo>
                        <a:lnTo>
                          <a:pt x="669" y="57"/>
                        </a:lnTo>
                        <a:lnTo>
                          <a:pt x="670" y="57"/>
                        </a:lnTo>
                        <a:lnTo>
                          <a:pt x="672" y="57"/>
                        </a:lnTo>
                        <a:lnTo>
                          <a:pt x="675" y="57"/>
                        </a:lnTo>
                        <a:lnTo>
                          <a:pt x="678" y="57"/>
                        </a:lnTo>
                        <a:lnTo>
                          <a:pt x="682" y="56"/>
                        </a:lnTo>
                        <a:lnTo>
                          <a:pt x="685" y="51"/>
                        </a:lnTo>
                        <a:lnTo>
                          <a:pt x="685" y="49"/>
                        </a:lnTo>
                        <a:lnTo>
                          <a:pt x="688" y="48"/>
                        </a:lnTo>
                        <a:lnTo>
                          <a:pt x="688" y="46"/>
                        </a:lnTo>
                        <a:lnTo>
                          <a:pt x="689" y="46"/>
                        </a:lnTo>
                        <a:lnTo>
                          <a:pt x="694" y="46"/>
                        </a:lnTo>
                        <a:lnTo>
                          <a:pt x="696" y="44"/>
                        </a:lnTo>
                        <a:lnTo>
                          <a:pt x="697" y="46"/>
                        </a:lnTo>
                        <a:lnTo>
                          <a:pt x="699" y="46"/>
                        </a:lnTo>
                        <a:lnTo>
                          <a:pt x="701" y="48"/>
                        </a:lnTo>
                        <a:lnTo>
                          <a:pt x="702" y="49"/>
                        </a:lnTo>
                        <a:lnTo>
                          <a:pt x="702" y="51"/>
                        </a:lnTo>
                        <a:lnTo>
                          <a:pt x="704" y="51"/>
                        </a:lnTo>
                        <a:lnTo>
                          <a:pt x="705" y="51"/>
                        </a:lnTo>
                        <a:lnTo>
                          <a:pt x="707" y="51"/>
                        </a:lnTo>
                        <a:lnTo>
                          <a:pt x="707" y="48"/>
                        </a:lnTo>
                        <a:lnTo>
                          <a:pt x="708" y="43"/>
                        </a:lnTo>
                        <a:lnTo>
                          <a:pt x="710" y="40"/>
                        </a:lnTo>
                        <a:lnTo>
                          <a:pt x="712" y="37"/>
                        </a:lnTo>
                        <a:lnTo>
                          <a:pt x="715" y="35"/>
                        </a:lnTo>
                        <a:lnTo>
                          <a:pt x="716" y="35"/>
                        </a:lnTo>
                        <a:lnTo>
                          <a:pt x="720" y="35"/>
                        </a:lnTo>
                        <a:lnTo>
                          <a:pt x="723" y="35"/>
                        </a:lnTo>
                        <a:lnTo>
                          <a:pt x="727" y="35"/>
                        </a:lnTo>
                        <a:lnTo>
                          <a:pt x="729" y="35"/>
                        </a:lnTo>
                        <a:lnTo>
                          <a:pt x="731" y="37"/>
                        </a:lnTo>
                        <a:lnTo>
                          <a:pt x="734" y="37"/>
                        </a:lnTo>
                        <a:lnTo>
                          <a:pt x="737" y="37"/>
                        </a:lnTo>
                        <a:lnTo>
                          <a:pt x="739" y="35"/>
                        </a:lnTo>
                        <a:lnTo>
                          <a:pt x="742" y="33"/>
                        </a:lnTo>
                        <a:lnTo>
                          <a:pt x="745" y="30"/>
                        </a:lnTo>
                        <a:lnTo>
                          <a:pt x="745" y="29"/>
                        </a:lnTo>
                        <a:lnTo>
                          <a:pt x="743" y="22"/>
                        </a:lnTo>
                        <a:lnTo>
                          <a:pt x="743" y="19"/>
                        </a:lnTo>
                        <a:lnTo>
                          <a:pt x="743" y="16"/>
                        </a:lnTo>
                        <a:lnTo>
                          <a:pt x="743" y="14"/>
                        </a:lnTo>
                        <a:lnTo>
                          <a:pt x="743" y="11"/>
                        </a:lnTo>
                        <a:lnTo>
                          <a:pt x="745" y="11"/>
                        </a:lnTo>
                        <a:lnTo>
                          <a:pt x="745" y="10"/>
                        </a:lnTo>
                        <a:lnTo>
                          <a:pt x="746" y="10"/>
                        </a:lnTo>
                        <a:lnTo>
                          <a:pt x="748" y="8"/>
                        </a:lnTo>
                        <a:lnTo>
                          <a:pt x="750" y="6"/>
                        </a:lnTo>
                        <a:lnTo>
                          <a:pt x="751" y="3"/>
                        </a:lnTo>
                        <a:lnTo>
                          <a:pt x="753" y="2"/>
                        </a:lnTo>
                        <a:lnTo>
                          <a:pt x="754" y="2"/>
                        </a:lnTo>
                        <a:lnTo>
                          <a:pt x="756" y="0"/>
                        </a:lnTo>
                        <a:lnTo>
                          <a:pt x="761" y="0"/>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50" name="Freeform 49"/>
                  <p:cNvSpPr>
                    <a:spLocks/>
                  </p:cNvSpPr>
                  <p:nvPr/>
                </p:nvSpPr>
                <p:spPr bwMode="auto">
                  <a:xfrm>
                    <a:off x="3232" y="2016"/>
                    <a:ext cx="998" cy="1150"/>
                  </a:xfrm>
                  <a:custGeom>
                    <a:avLst/>
                    <a:gdLst>
                      <a:gd name="T0" fmla="*/ 244 w 998"/>
                      <a:gd name="T1" fmla="*/ 85 h 1150"/>
                      <a:gd name="T2" fmla="*/ 287 w 998"/>
                      <a:gd name="T3" fmla="*/ 104 h 1150"/>
                      <a:gd name="T4" fmla="*/ 485 w 998"/>
                      <a:gd name="T5" fmla="*/ 84 h 1150"/>
                      <a:gd name="T6" fmla="*/ 572 w 998"/>
                      <a:gd name="T7" fmla="*/ 84 h 1150"/>
                      <a:gd name="T8" fmla="*/ 615 w 998"/>
                      <a:gd name="T9" fmla="*/ 97 h 1150"/>
                      <a:gd name="T10" fmla="*/ 667 w 998"/>
                      <a:gd name="T11" fmla="*/ 141 h 1150"/>
                      <a:gd name="T12" fmla="*/ 662 w 998"/>
                      <a:gd name="T13" fmla="*/ 242 h 1150"/>
                      <a:gd name="T14" fmla="*/ 572 w 998"/>
                      <a:gd name="T15" fmla="*/ 228 h 1150"/>
                      <a:gd name="T16" fmla="*/ 540 w 998"/>
                      <a:gd name="T17" fmla="*/ 334 h 1150"/>
                      <a:gd name="T18" fmla="*/ 599 w 998"/>
                      <a:gd name="T19" fmla="*/ 306 h 1150"/>
                      <a:gd name="T20" fmla="*/ 691 w 998"/>
                      <a:gd name="T21" fmla="*/ 328 h 1150"/>
                      <a:gd name="T22" fmla="*/ 679 w 998"/>
                      <a:gd name="T23" fmla="*/ 402 h 1150"/>
                      <a:gd name="T24" fmla="*/ 586 w 998"/>
                      <a:gd name="T25" fmla="*/ 443 h 1150"/>
                      <a:gd name="T26" fmla="*/ 542 w 998"/>
                      <a:gd name="T27" fmla="*/ 513 h 1150"/>
                      <a:gd name="T28" fmla="*/ 583 w 998"/>
                      <a:gd name="T29" fmla="*/ 557 h 1150"/>
                      <a:gd name="T30" fmla="*/ 651 w 998"/>
                      <a:gd name="T31" fmla="*/ 564 h 1150"/>
                      <a:gd name="T32" fmla="*/ 695 w 998"/>
                      <a:gd name="T33" fmla="*/ 542 h 1150"/>
                      <a:gd name="T34" fmla="*/ 721 w 998"/>
                      <a:gd name="T35" fmla="*/ 581 h 1150"/>
                      <a:gd name="T36" fmla="*/ 762 w 998"/>
                      <a:gd name="T37" fmla="*/ 613 h 1150"/>
                      <a:gd name="T38" fmla="*/ 792 w 998"/>
                      <a:gd name="T39" fmla="*/ 653 h 1150"/>
                      <a:gd name="T40" fmla="*/ 838 w 998"/>
                      <a:gd name="T41" fmla="*/ 668 h 1150"/>
                      <a:gd name="T42" fmla="*/ 858 w 998"/>
                      <a:gd name="T43" fmla="*/ 694 h 1150"/>
                      <a:gd name="T44" fmla="*/ 900 w 998"/>
                      <a:gd name="T45" fmla="*/ 711 h 1150"/>
                      <a:gd name="T46" fmla="*/ 919 w 998"/>
                      <a:gd name="T47" fmla="*/ 743 h 1150"/>
                      <a:gd name="T48" fmla="*/ 947 w 998"/>
                      <a:gd name="T49" fmla="*/ 767 h 1150"/>
                      <a:gd name="T50" fmla="*/ 985 w 998"/>
                      <a:gd name="T51" fmla="*/ 786 h 1150"/>
                      <a:gd name="T52" fmla="*/ 961 w 998"/>
                      <a:gd name="T53" fmla="*/ 824 h 1150"/>
                      <a:gd name="T54" fmla="*/ 881 w 998"/>
                      <a:gd name="T55" fmla="*/ 877 h 1150"/>
                      <a:gd name="T56" fmla="*/ 824 w 998"/>
                      <a:gd name="T57" fmla="*/ 920 h 1150"/>
                      <a:gd name="T58" fmla="*/ 797 w 998"/>
                      <a:gd name="T59" fmla="*/ 1007 h 1150"/>
                      <a:gd name="T60" fmla="*/ 806 w 998"/>
                      <a:gd name="T61" fmla="*/ 1044 h 1150"/>
                      <a:gd name="T62" fmla="*/ 839 w 998"/>
                      <a:gd name="T63" fmla="*/ 1060 h 1150"/>
                      <a:gd name="T64" fmla="*/ 871 w 998"/>
                      <a:gd name="T65" fmla="*/ 1074 h 1150"/>
                      <a:gd name="T66" fmla="*/ 898 w 998"/>
                      <a:gd name="T67" fmla="*/ 1094 h 1150"/>
                      <a:gd name="T68" fmla="*/ 928 w 998"/>
                      <a:gd name="T69" fmla="*/ 1104 h 1150"/>
                      <a:gd name="T70" fmla="*/ 825 w 998"/>
                      <a:gd name="T71" fmla="*/ 1137 h 1150"/>
                      <a:gd name="T72" fmla="*/ 575 w 998"/>
                      <a:gd name="T73" fmla="*/ 1147 h 1150"/>
                      <a:gd name="T74" fmla="*/ 345 w 998"/>
                      <a:gd name="T75" fmla="*/ 1144 h 1150"/>
                      <a:gd name="T76" fmla="*/ 138 w 998"/>
                      <a:gd name="T77" fmla="*/ 1123 h 1150"/>
                      <a:gd name="T78" fmla="*/ 196 w 998"/>
                      <a:gd name="T79" fmla="*/ 1080 h 1150"/>
                      <a:gd name="T80" fmla="*/ 147 w 998"/>
                      <a:gd name="T81" fmla="*/ 1015 h 1150"/>
                      <a:gd name="T82" fmla="*/ 87 w 998"/>
                      <a:gd name="T83" fmla="*/ 1045 h 1150"/>
                      <a:gd name="T84" fmla="*/ 76 w 998"/>
                      <a:gd name="T85" fmla="*/ 976 h 1150"/>
                      <a:gd name="T86" fmla="*/ 138 w 998"/>
                      <a:gd name="T87" fmla="*/ 930 h 1150"/>
                      <a:gd name="T88" fmla="*/ 198 w 998"/>
                      <a:gd name="T89" fmla="*/ 904 h 1150"/>
                      <a:gd name="T90" fmla="*/ 241 w 998"/>
                      <a:gd name="T91" fmla="*/ 892 h 1150"/>
                      <a:gd name="T92" fmla="*/ 198 w 998"/>
                      <a:gd name="T93" fmla="*/ 849 h 1150"/>
                      <a:gd name="T94" fmla="*/ 144 w 998"/>
                      <a:gd name="T95" fmla="*/ 763 h 1150"/>
                      <a:gd name="T96" fmla="*/ 100 w 998"/>
                      <a:gd name="T97" fmla="*/ 681 h 1150"/>
                      <a:gd name="T98" fmla="*/ 46 w 998"/>
                      <a:gd name="T99" fmla="*/ 672 h 1150"/>
                      <a:gd name="T100" fmla="*/ 14 w 998"/>
                      <a:gd name="T101" fmla="*/ 632 h 1150"/>
                      <a:gd name="T102" fmla="*/ 63 w 998"/>
                      <a:gd name="T103" fmla="*/ 599 h 1150"/>
                      <a:gd name="T104" fmla="*/ 40 w 998"/>
                      <a:gd name="T105" fmla="*/ 545 h 1150"/>
                      <a:gd name="T106" fmla="*/ 19 w 998"/>
                      <a:gd name="T107" fmla="*/ 505 h 1150"/>
                      <a:gd name="T108" fmla="*/ 14 w 998"/>
                      <a:gd name="T109" fmla="*/ 464 h 1150"/>
                      <a:gd name="T110" fmla="*/ 73 w 998"/>
                      <a:gd name="T111" fmla="*/ 478 h 1150"/>
                      <a:gd name="T112" fmla="*/ 68 w 998"/>
                      <a:gd name="T113" fmla="*/ 418 h 1150"/>
                      <a:gd name="T114" fmla="*/ 41 w 998"/>
                      <a:gd name="T115" fmla="*/ 366 h 1150"/>
                      <a:gd name="T116" fmla="*/ 47 w 998"/>
                      <a:gd name="T117" fmla="*/ 309 h 1150"/>
                      <a:gd name="T118" fmla="*/ 68 w 998"/>
                      <a:gd name="T119" fmla="*/ 266 h 1150"/>
                      <a:gd name="T120" fmla="*/ 100 w 998"/>
                      <a:gd name="T121" fmla="*/ 138 h 1150"/>
                      <a:gd name="T122" fmla="*/ 150 w 998"/>
                      <a:gd name="T123" fmla="*/ 85 h 1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8" h="1150">
                        <a:moveTo>
                          <a:pt x="234" y="0"/>
                        </a:moveTo>
                        <a:lnTo>
                          <a:pt x="236" y="0"/>
                        </a:lnTo>
                        <a:lnTo>
                          <a:pt x="238" y="1"/>
                        </a:lnTo>
                        <a:lnTo>
                          <a:pt x="241" y="1"/>
                        </a:lnTo>
                        <a:lnTo>
                          <a:pt x="242" y="3"/>
                        </a:lnTo>
                        <a:lnTo>
                          <a:pt x="247" y="5"/>
                        </a:lnTo>
                        <a:lnTo>
                          <a:pt x="252" y="5"/>
                        </a:lnTo>
                        <a:lnTo>
                          <a:pt x="255" y="8"/>
                        </a:lnTo>
                        <a:lnTo>
                          <a:pt x="257" y="9"/>
                        </a:lnTo>
                        <a:lnTo>
                          <a:pt x="258" y="11"/>
                        </a:lnTo>
                        <a:lnTo>
                          <a:pt x="260" y="16"/>
                        </a:lnTo>
                        <a:lnTo>
                          <a:pt x="260" y="19"/>
                        </a:lnTo>
                        <a:lnTo>
                          <a:pt x="261" y="20"/>
                        </a:lnTo>
                        <a:lnTo>
                          <a:pt x="263" y="24"/>
                        </a:lnTo>
                        <a:lnTo>
                          <a:pt x="266" y="30"/>
                        </a:lnTo>
                        <a:lnTo>
                          <a:pt x="269" y="36"/>
                        </a:lnTo>
                        <a:lnTo>
                          <a:pt x="269" y="39"/>
                        </a:lnTo>
                        <a:lnTo>
                          <a:pt x="271" y="41"/>
                        </a:lnTo>
                        <a:lnTo>
                          <a:pt x="266" y="44"/>
                        </a:lnTo>
                        <a:lnTo>
                          <a:pt x="260" y="47"/>
                        </a:lnTo>
                        <a:lnTo>
                          <a:pt x="253" y="49"/>
                        </a:lnTo>
                        <a:lnTo>
                          <a:pt x="249" y="52"/>
                        </a:lnTo>
                        <a:lnTo>
                          <a:pt x="247" y="54"/>
                        </a:lnTo>
                        <a:lnTo>
                          <a:pt x="245" y="54"/>
                        </a:lnTo>
                        <a:lnTo>
                          <a:pt x="245" y="55"/>
                        </a:lnTo>
                        <a:lnTo>
                          <a:pt x="244" y="65"/>
                        </a:lnTo>
                        <a:lnTo>
                          <a:pt x="244" y="76"/>
                        </a:lnTo>
                        <a:lnTo>
                          <a:pt x="244" y="81"/>
                        </a:lnTo>
                        <a:lnTo>
                          <a:pt x="244" y="82"/>
                        </a:lnTo>
                        <a:lnTo>
                          <a:pt x="244" y="85"/>
                        </a:lnTo>
                        <a:lnTo>
                          <a:pt x="245" y="87"/>
                        </a:lnTo>
                        <a:lnTo>
                          <a:pt x="247" y="90"/>
                        </a:lnTo>
                        <a:lnTo>
                          <a:pt x="249" y="92"/>
                        </a:lnTo>
                        <a:lnTo>
                          <a:pt x="250" y="92"/>
                        </a:lnTo>
                        <a:lnTo>
                          <a:pt x="252" y="92"/>
                        </a:lnTo>
                        <a:lnTo>
                          <a:pt x="253" y="90"/>
                        </a:lnTo>
                        <a:lnTo>
                          <a:pt x="255" y="90"/>
                        </a:lnTo>
                        <a:lnTo>
                          <a:pt x="257" y="90"/>
                        </a:lnTo>
                        <a:lnTo>
                          <a:pt x="257" y="89"/>
                        </a:lnTo>
                        <a:lnTo>
                          <a:pt x="258" y="89"/>
                        </a:lnTo>
                        <a:lnTo>
                          <a:pt x="261" y="89"/>
                        </a:lnTo>
                        <a:lnTo>
                          <a:pt x="264" y="89"/>
                        </a:lnTo>
                        <a:lnTo>
                          <a:pt x="269" y="89"/>
                        </a:lnTo>
                        <a:lnTo>
                          <a:pt x="272" y="89"/>
                        </a:lnTo>
                        <a:lnTo>
                          <a:pt x="276" y="89"/>
                        </a:lnTo>
                        <a:lnTo>
                          <a:pt x="282" y="87"/>
                        </a:lnTo>
                        <a:lnTo>
                          <a:pt x="290" y="87"/>
                        </a:lnTo>
                        <a:lnTo>
                          <a:pt x="296" y="85"/>
                        </a:lnTo>
                        <a:lnTo>
                          <a:pt x="301" y="85"/>
                        </a:lnTo>
                        <a:lnTo>
                          <a:pt x="304" y="85"/>
                        </a:lnTo>
                        <a:lnTo>
                          <a:pt x="306" y="89"/>
                        </a:lnTo>
                        <a:lnTo>
                          <a:pt x="304" y="95"/>
                        </a:lnTo>
                        <a:lnTo>
                          <a:pt x="302" y="98"/>
                        </a:lnTo>
                        <a:lnTo>
                          <a:pt x="301" y="100"/>
                        </a:lnTo>
                        <a:lnTo>
                          <a:pt x="299" y="101"/>
                        </a:lnTo>
                        <a:lnTo>
                          <a:pt x="298" y="103"/>
                        </a:lnTo>
                        <a:lnTo>
                          <a:pt x="296" y="103"/>
                        </a:lnTo>
                        <a:lnTo>
                          <a:pt x="295" y="104"/>
                        </a:lnTo>
                        <a:lnTo>
                          <a:pt x="290" y="104"/>
                        </a:lnTo>
                        <a:lnTo>
                          <a:pt x="287" y="104"/>
                        </a:lnTo>
                        <a:lnTo>
                          <a:pt x="282" y="106"/>
                        </a:lnTo>
                        <a:lnTo>
                          <a:pt x="280" y="106"/>
                        </a:lnTo>
                        <a:lnTo>
                          <a:pt x="279" y="106"/>
                        </a:lnTo>
                        <a:lnTo>
                          <a:pt x="276" y="106"/>
                        </a:lnTo>
                        <a:lnTo>
                          <a:pt x="276" y="114"/>
                        </a:lnTo>
                        <a:lnTo>
                          <a:pt x="276" y="120"/>
                        </a:lnTo>
                        <a:lnTo>
                          <a:pt x="276" y="125"/>
                        </a:lnTo>
                        <a:lnTo>
                          <a:pt x="276" y="127"/>
                        </a:lnTo>
                        <a:lnTo>
                          <a:pt x="276" y="128"/>
                        </a:lnTo>
                        <a:lnTo>
                          <a:pt x="276" y="133"/>
                        </a:lnTo>
                        <a:lnTo>
                          <a:pt x="276" y="136"/>
                        </a:lnTo>
                        <a:lnTo>
                          <a:pt x="276" y="139"/>
                        </a:lnTo>
                        <a:lnTo>
                          <a:pt x="293" y="135"/>
                        </a:lnTo>
                        <a:lnTo>
                          <a:pt x="306" y="131"/>
                        </a:lnTo>
                        <a:lnTo>
                          <a:pt x="322" y="128"/>
                        </a:lnTo>
                        <a:lnTo>
                          <a:pt x="372" y="114"/>
                        </a:lnTo>
                        <a:lnTo>
                          <a:pt x="388" y="108"/>
                        </a:lnTo>
                        <a:lnTo>
                          <a:pt x="396" y="104"/>
                        </a:lnTo>
                        <a:lnTo>
                          <a:pt x="423" y="97"/>
                        </a:lnTo>
                        <a:lnTo>
                          <a:pt x="448" y="89"/>
                        </a:lnTo>
                        <a:lnTo>
                          <a:pt x="462" y="89"/>
                        </a:lnTo>
                        <a:lnTo>
                          <a:pt x="469" y="87"/>
                        </a:lnTo>
                        <a:lnTo>
                          <a:pt x="474" y="87"/>
                        </a:lnTo>
                        <a:lnTo>
                          <a:pt x="475" y="87"/>
                        </a:lnTo>
                        <a:lnTo>
                          <a:pt x="475" y="85"/>
                        </a:lnTo>
                        <a:lnTo>
                          <a:pt x="477" y="84"/>
                        </a:lnTo>
                        <a:lnTo>
                          <a:pt x="480" y="82"/>
                        </a:lnTo>
                        <a:lnTo>
                          <a:pt x="481" y="82"/>
                        </a:lnTo>
                        <a:lnTo>
                          <a:pt x="483" y="82"/>
                        </a:lnTo>
                        <a:lnTo>
                          <a:pt x="485" y="84"/>
                        </a:lnTo>
                        <a:lnTo>
                          <a:pt x="489" y="85"/>
                        </a:lnTo>
                        <a:lnTo>
                          <a:pt x="494" y="87"/>
                        </a:lnTo>
                        <a:lnTo>
                          <a:pt x="502" y="92"/>
                        </a:lnTo>
                        <a:lnTo>
                          <a:pt x="505" y="93"/>
                        </a:lnTo>
                        <a:lnTo>
                          <a:pt x="508" y="95"/>
                        </a:lnTo>
                        <a:lnTo>
                          <a:pt x="510" y="95"/>
                        </a:lnTo>
                        <a:lnTo>
                          <a:pt x="512" y="93"/>
                        </a:lnTo>
                        <a:lnTo>
                          <a:pt x="513" y="95"/>
                        </a:lnTo>
                        <a:lnTo>
                          <a:pt x="515" y="93"/>
                        </a:lnTo>
                        <a:lnTo>
                          <a:pt x="516" y="93"/>
                        </a:lnTo>
                        <a:lnTo>
                          <a:pt x="516" y="95"/>
                        </a:lnTo>
                        <a:lnTo>
                          <a:pt x="518" y="95"/>
                        </a:lnTo>
                        <a:lnTo>
                          <a:pt x="520" y="93"/>
                        </a:lnTo>
                        <a:lnTo>
                          <a:pt x="524" y="92"/>
                        </a:lnTo>
                        <a:lnTo>
                          <a:pt x="526" y="92"/>
                        </a:lnTo>
                        <a:lnTo>
                          <a:pt x="526" y="90"/>
                        </a:lnTo>
                        <a:lnTo>
                          <a:pt x="526" y="89"/>
                        </a:lnTo>
                        <a:lnTo>
                          <a:pt x="526" y="87"/>
                        </a:lnTo>
                        <a:lnTo>
                          <a:pt x="526" y="85"/>
                        </a:lnTo>
                        <a:lnTo>
                          <a:pt x="527" y="84"/>
                        </a:lnTo>
                        <a:lnTo>
                          <a:pt x="531" y="84"/>
                        </a:lnTo>
                        <a:lnTo>
                          <a:pt x="532" y="82"/>
                        </a:lnTo>
                        <a:lnTo>
                          <a:pt x="537" y="82"/>
                        </a:lnTo>
                        <a:lnTo>
                          <a:pt x="543" y="84"/>
                        </a:lnTo>
                        <a:lnTo>
                          <a:pt x="546" y="84"/>
                        </a:lnTo>
                        <a:lnTo>
                          <a:pt x="553" y="85"/>
                        </a:lnTo>
                        <a:lnTo>
                          <a:pt x="558" y="85"/>
                        </a:lnTo>
                        <a:lnTo>
                          <a:pt x="564" y="84"/>
                        </a:lnTo>
                        <a:lnTo>
                          <a:pt x="570" y="84"/>
                        </a:lnTo>
                        <a:lnTo>
                          <a:pt x="572" y="84"/>
                        </a:lnTo>
                        <a:lnTo>
                          <a:pt x="575" y="84"/>
                        </a:lnTo>
                        <a:lnTo>
                          <a:pt x="577" y="84"/>
                        </a:lnTo>
                        <a:lnTo>
                          <a:pt x="578" y="84"/>
                        </a:lnTo>
                        <a:lnTo>
                          <a:pt x="580" y="84"/>
                        </a:lnTo>
                        <a:lnTo>
                          <a:pt x="581" y="84"/>
                        </a:lnTo>
                        <a:lnTo>
                          <a:pt x="581" y="85"/>
                        </a:lnTo>
                        <a:lnTo>
                          <a:pt x="583" y="85"/>
                        </a:lnTo>
                        <a:lnTo>
                          <a:pt x="583" y="87"/>
                        </a:lnTo>
                        <a:lnTo>
                          <a:pt x="586" y="89"/>
                        </a:lnTo>
                        <a:lnTo>
                          <a:pt x="586" y="90"/>
                        </a:lnTo>
                        <a:lnTo>
                          <a:pt x="584" y="93"/>
                        </a:lnTo>
                        <a:lnTo>
                          <a:pt x="583" y="98"/>
                        </a:lnTo>
                        <a:lnTo>
                          <a:pt x="581" y="101"/>
                        </a:lnTo>
                        <a:lnTo>
                          <a:pt x="583" y="103"/>
                        </a:lnTo>
                        <a:lnTo>
                          <a:pt x="584" y="103"/>
                        </a:lnTo>
                        <a:lnTo>
                          <a:pt x="584" y="104"/>
                        </a:lnTo>
                        <a:lnTo>
                          <a:pt x="586" y="104"/>
                        </a:lnTo>
                        <a:lnTo>
                          <a:pt x="588" y="103"/>
                        </a:lnTo>
                        <a:lnTo>
                          <a:pt x="591" y="103"/>
                        </a:lnTo>
                        <a:lnTo>
                          <a:pt x="594" y="101"/>
                        </a:lnTo>
                        <a:lnTo>
                          <a:pt x="597" y="100"/>
                        </a:lnTo>
                        <a:lnTo>
                          <a:pt x="599" y="98"/>
                        </a:lnTo>
                        <a:lnTo>
                          <a:pt x="602" y="97"/>
                        </a:lnTo>
                        <a:lnTo>
                          <a:pt x="605" y="93"/>
                        </a:lnTo>
                        <a:lnTo>
                          <a:pt x="607" y="92"/>
                        </a:lnTo>
                        <a:lnTo>
                          <a:pt x="608" y="93"/>
                        </a:lnTo>
                        <a:lnTo>
                          <a:pt x="610" y="93"/>
                        </a:lnTo>
                        <a:lnTo>
                          <a:pt x="611" y="93"/>
                        </a:lnTo>
                        <a:lnTo>
                          <a:pt x="615" y="95"/>
                        </a:lnTo>
                        <a:lnTo>
                          <a:pt x="615" y="97"/>
                        </a:lnTo>
                        <a:lnTo>
                          <a:pt x="616" y="98"/>
                        </a:lnTo>
                        <a:lnTo>
                          <a:pt x="618" y="98"/>
                        </a:lnTo>
                        <a:lnTo>
                          <a:pt x="619" y="100"/>
                        </a:lnTo>
                        <a:lnTo>
                          <a:pt x="619" y="101"/>
                        </a:lnTo>
                        <a:lnTo>
                          <a:pt x="619" y="103"/>
                        </a:lnTo>
                        <a:lnTo>
                          <a:pt x="619" y="104"/>
                        </a:lnTo>
                        <a:lnTo>
                          <a:pt x="616" y="106"/>
                        </a:lnTo>
                        <a:lnTo>
                          <a:pt x="613" y="111"/>
                        </a:lnTo>
                        <a:lnTo>
                          <a:pt x="611" y="112"/>
                        </a:lnTo>
                        <a:lnTo>
                          <a:pt x="610" y="114"/>
                        </a:lnTo>
                        <a:lnTo>
                          <a:pt x="610" y="116"/>
                        </a:lnTo>
                        <a:lnTo>
                          <a:pt x="610" y="117"/>
                        </a:lnTo>
                        <a:lnTo>
                          <a:pt x="613" y="119"/>
                        </a:lnTo>
                        <a:lnTo>
                          <a:pt x="616" y="120"/>
                        </a:lnTo>
                        <a:lnTo>
                          <a:pt x="618" y="120"/>
                        </a:lnTo>
                        <a:lnTo>
                          <a:pt x="621" y="122"/>
                        </a:lnTo>
                        <a:lnTo>
                          <a:pt x="624" y="123"/>
                        </a:lnTo>
                        <a:lnTo>
                          <a:pt x="629" y="125"/>
                        </a:lnTo>
                        <a:lnTo>
                          <a:pt x="632" y="125"/>
                        </a:lnTo>
                        <a:lnTo>
                          <a:pt x="635" y="127"/>
                        </a:lnTo>
                        <a:lnTo>
                          <a:pt x="638" y="128"/>
                        </a:lnTo>
                        <a:lnTo>
                          <a:pt x="643" y="130"/>
                        </a:lnTo>
                        <a:lnTo>
                          <a:pt x="646" y="133"/>
                        </a:lnTo>
                        <a:lnTo>
                          <a:pt x="649" y="136"/>
                        </a:lnTo>
                        <a:lnTo>
                          <a:pt x="654" y="138"/>
                        </a:lnTo>
                        <a:lnTo>
                          <a:pt x="656" y="139"/>
                        </a:lnTo>
                        <a:lnTo>
                          <a:pt x="659" y="141"/>
                        </a:lnTo>
                        <a:lnTo>
                          <a:pt x="662" y="141"/>
                        </a:lnTo>
                        <a:lnTo>
                          <a:pt x="664" y="141"/>
                        </a:lnTo>
                        <a:lnTo>
                          <a:pt x="667" y="141"/>
                        </a:lnTo>
                        <a:lnTo>
                          <a:pt x="668" y="141"/>
                        </a:lnTo>
                        <a:lnTo>
                          <a:pt x="670" y="141"/>
                        </a:lnTo>
                        <a:lnTo>
                          <a:pt x="672" y="142"/>
                        </a:lnTo>
                        <a:lnTo>
                          <a:pt x="673" y="146"/>
                        </a:lnTo>
                        <a:lnTo>
                          <a:pt x="675" y="150"/>
                        </a:lnTo>
                        <a:lnTo>
                          <a:pt x="676" y="157"/>
                        </a:lnTo>
                        <a:lnTo>
                          <a:pt x="678" y="161"/>
                        </a:lnTo>
                        <a:lnTo>
                          <a:pt x="681" y="163"/>
                        </a:lnTo>
                        <a:lnTo>
                          <a:pt x="683" y="166"/>
                        </a:lnTo>
                        <a:lnTo>
                          <a:pt x="683" y="168"/>
                        </a:lnTo>
                        <a:lnTo>
                          <a:pt x="684" y="169"/>
                        </a:lnTo>
                        <a:lnTo>
                          <a:pt x="686" y="174"/>
                        </a:lnTo>
                        <a:lnTo>
                          <a:pt x="686" y="179"/>
                        </a:lnTo>
                        <a:lnTo>
                          <a:pt x="687" y="184"/>
                        </a:lnTo>
                        <a:lnTo>
                          <a:pt x="691" y="190"/>
                        </a:lnTo>
                        <a:lnTo>
                          <a:pt x="697" y="201"/>
                        </a:lnTo>
                        <a:lnTo>
                          <a:pt x="700" y="207"/>
                        </a:lnTo>
                        <a:lnTo>
                          <a:pt x="702" y="211"/>
                        </a:lnTo>
                        <a:lnTo>
                          <a:pt x="703" y="214"/>
                        </a:lnTo>
                        <a:lnTo>
                          <a:pt x="703" y="215"/>
                        </a:lnTo>
                        <a:lnTo>
                          <a:pt x="705" y="217"/>
                        </a:lnTo>
                        <a:lnTo>
                          <a:pt x="703" y="218"/>
                        </a:lnTo>
                        <a:lnTo>
                          <a:pt x="699" y="222"/>
                        </a:lnTo>
                        <a:lnTo>
                          <a:pt x="695" y="225"/>
                        </a:lnTo>
                        <a:lnTo>
                          <a:pt x="689" y="230"/>
                        </a:lnTo>
                        <a:lnTo>
                          <a:pt x="686" y="231"/>
                        </a:lnTo>
                        <a:lnTo>
                          <a:pt x="678" y="234"/>
                        </a:lnTo>
                        <a:lnTo>
                          <a:pt x="672" y="237"/>
                        </a:lnTo>
                        <a:lnTo>
                          <a:pt x="667" y="239"/>
                        </a:lnTo>
                        <a:lnTo>
                          <a:pt x="662" y="242"/>
                        </a:lnTo>
                        <a:lnTo>
                          <a:pt x="659" y="242"/>
                        </a:lnTo>
                        <a:lnTo>
                          <a:pt x="656" y="244"/>
                        </a:lnTo>
                        <a:lnTo>
                          <a:pt x="653" y="242"/>
                        </a:lnTo>
                        <a:lnTo>
                          <a:pt x="651" y="242"/>
                        </a:lnTo>
                        <a:lnTo>
                          <a:pt x="648" y="239"/>
                        </a:lnTo>
                        <a:lnTo>
                          <a:pt x="646" y="237"/>
                        </a:lnTo>
                        <a:lnTo>
                          <a:pt x="645" y="236"/>
                        </a:lnTo>
                        <a:lnTo>
                          <a:pt x="641" y="233"/>
                        </a:lnTo>
                        <a:lnTo>
                          <a:pt x="638" y="230"/>
                        </a:lnTo>
                        <a:lnTo>
                          <a:pt x="635" y="228"/>
                        </a:lnTo>
                        <a:lnTo>
                          <a:pt x="630" y="225"/>
                        </a:lnTo>
                        <a:lnTo>
                          <a:pt x="627" y="223"/>
                        </a:lnTo>
                        <a:lnTo>
                          <a:pt x="626" y="223"/>
                        </a:lnTo>
                        <a:lnTo>
                          <a:pt x="622" y="222"/>
                        </a:lnTo>
                        <a:lnTo>
                          <a:pt x="619" y="222"/>
                        </a:lnTo>
                        <a:lnTo>
                          <a:pt x="616" y="223"/>
                        </a:lnTo>
                        <a:lnTo>
                          <a:pt x="613" y="223"/>
                        </a:lnTo>
                        <a:lnTo>
                          <a:pt x="610" y="223"/>
                        </a:lnTo>
                        <a:lnTo>
                          <a:pt x="605" y="223"/>
                        </a:lnTo>
                        <a:lnTo>
                          <a:pt x="602" y="223"/>
                        </a:lnTo>
                        <a:lnTo>
                          <a:pt x="600" y="223"/>
                        </a:lnTo>
                        <a:lnTo>
                          <a:pt x="597" y="223"/>
                        </a:lnTo>
                        <a:lnTo>
                          <a:pt x="594" y="225"/>
                        </a:lnTo>
                        <a:lnTo>
                          <a:pt x="591" y="225"/>
                        </a:lnTo>
                        <a:lnTo>
                          <a:pt x="588" y="226"/>
                        </a:lnTo>
                        <a:lnTo>
                          <a:pt x="584" y="226"/>
                        </a:lnTo>
                        <a:lnTo>
                          <a:pt x="581" y="228"/>
                        </a:lnTo>
                        <a:lnTo>
                          <a:pt x="578" y="228"/>
                        </a:lnTo>
                        <a:lnTo>
                          <a:pt x="575" y="228"/>
                        </a:lnTo>
                        <a:lnTo>
                          <a:pt x="572" y="228"/>
                        </a:lnTo>
                        <a:lnTo>
                          <a:pt x="572" y="230"/>
                        </a:lnTo>
                        <a:lnTo>
                          <a:pt x="570" y="233"/>
                        </a:lnTo>
                        <a:lnTo>
                          <a:pt x="569" y="234"/>
                        </a:lnTo>
                        <a:lnTo>
                          <a:pt x="569" y="237"/>
                        </a:lnTo>
                        <a:lnTo>
                          <a:pt x="569" y="242"/>
                        </a:lnTo>
                        <a:lnTo>
                          <a:pt x="569" y="244"/>
                        </a:lnTo>
                        <a:lnTo>
                          <a:pt x="567" y="245"/>
                        </a:lnTo>
                        <a:lnTo>
                          <a:pt x="565" y="249"/>
                        </a:lnTo>
                        <a:lnTo>
                          <a:pt x="559" y="255"/>
                        </a:lnTo>
                        <a:lnTo>
                          <a:pt x="554" y="260"/>
                        </a:lnTo>
                        <a:lnTo>
                          <a:pt x="551" y="263"/>
                        </a:lnTo>
                        <a:lnTo>
                          <a:pt x="551" y="264"/>
                        </a:lnTo>
                        <a:lnTo>
                          <a:pt x="550" y="277"/>
                        </a:lnTo>
                        <a:lnTo>
                          <a:pt x="550" y="283"/>
                        </a:lnTo>
                        <a:lnTo>
                          <a:pt x="550" y="287"/>
                        </a:lnTo>
                        <a:lnTo>
                          <a:pt x="546" y="291"/>
                        </a:lnTo>
                        <a:lnTo>
                          <a:pt x="540" y="298"/>
                        </a:lnTo>
                        <a:lnTo>
                          <a:pt x="534" y="304"/>
                        </a:lnTo>
                        <a:lnTo>
                          <a:pt x="527" y="310"/>
                        </a:lnTo>
                        <a:lnTo>
                          <a:pt x="523" y="315"/>
                        </a:lnTo>
                        <a:lnTo>
                          <a:pt x="521" y="317"/>
                        </a:lnTo>
                        <a:lnTo>
                          <a:pt x="524" y="325"/>
                        </a:lnTo>
                        <a:lnTo>
                          <a:pt x="526" y="325"/>
                        </a:lnTo>
                        <a:lnTo>
                          <a:pt x="527" y="326"/>
                        </a:lnTo>
                        <a:lnTo>
                          <a:pt x="529" y="328"/>
                        </a:lnTo>
                        <a:lnTo>
                          <a:pt x="531" y="328"/>
                        </a:lnTo>
                        <a:lnTo>
                          <a:pt x="535" y="333"/>
                        </a:lnTo>
                        <a:lnTo>
                          <a:pt x="537" y="333"/>
                        </a:lnTo>
                        <a:lnTo>
                          <a:pt x="539" y="334"/>
                        </a:lnTo>
                        <a:lnTo>
                          <a:pt x="540" y="334"/>
                        </a:lnTo>
                        <a:lnTo>
                          <a:pt x="543" y="336"/>
                        </a:lnTo>
                        <a:lnTo>
                          <a:pt x="546" y="334"/>
                        </a:lnTo>
                        <a:lnTo>
                          <a:pt x="548" y="334"/>
                        </a:lnTo>
                        <a:lnTo>
                          <a:pt x="550" y="334"/>
                        </a:lnTo>
                        <a:lnTo>
                          <a:pt x="551" y="334"/>
                        </a:lnTo>
                        <a:lnTo>
                          <a:pt x="556" y="336"/>
                        </a:lnTo>
                        <a:lnTo>
                          <a:pt x="559" y="336"/>
                        </a:lnTo>
                        <a:lnTo>
                          <a:pt x="562" y="336"/>
                        </a:lnTo>
                        <a:lnTo>
                          <a:pt x="565" y="336"/>
                        </a:lnTo>
                        <a:lnTo>
                          <a:pt x="567" y="336"/>
                        </a:lnTo>
                        <a:lnTo>
                          <a:pt x="567" y="334"/>
                        </a:lnTo>
                        <a:lnTo>
                          <a:pt x="565" y="333"/>
                        </a:lnTo>
                        <a:lnTo>
                          <a:pt x="565" y="331"/>
                        </a:lnTo>
                        <a:lnTo>
                          <a:pt x="567" y="328"/>
                        </a:lnTo>
                        <a:lnTo>
                          <a:pt x="572" y="328"/>
                        </a:lnTo>
                        <a:lnTo>
                          <a:pt x="572" y="329"/>
                        </a:lnTo>
                        <a:lnTo>
                          <a:pt x="573" y="329"/>
                        </a:lnTo>
                        <a:lnTo>
                          <a:pt x="577" y="329"/>
                        </a:lnTo>
                        <a:lnTo>
                          <a:pt x="578" y="329"/>
                        </a:lnTo>
                        <a:lnTo>
                          <a:pt x="580" y="329"/>
                        </a:lnTo>
                        <a:lnTo>
                          <a:pt x="583" y="326"/>
                        </a:lnTo>
                        <a:lnTo>
                          <a:pt x="584" y="326"/>
                        </a:lnTo>
                        <a:lnTo>
                          <a:pt x="584" y="325"/>
                        </a:lnTo>
                        <a:lnTo>
                          <a:pt x="584" y="323"/>
                        </a:lnTo>
                        <a:lnTo>
                          <a:pt x="586" y="321"/>
                        </a:lnTo>
                        <a:lnTo>
                          <a:pt x="591" y="318"/>
                        </a:lnTo>
                        <a:lnTo>
                          <a:pt x="594" y="314"/>
                        </a:lnTo>
                        <a:lnTo>
                          <a:pt x="596" y="310"/>
                        </a:lnTo>
                        <a:lnTo>
                          <a:pt x="599" y="307"/>
                        </a:lnTo>
                        <a:lnTo>
                          <a:pt x="599" y="306"/>
                        </a:lnTo>
                        <a:lnTo>
                          <a:pt x="602" y="304"/>
                        </a:lnTo>
                        <a:lnTo>
                          <a:pt x="605" y="302"/>
                        </a:lnTo>
                        <a:lnTo>
                          <a:pt x="608" y="302"/>
                        </a:lnTo>
                        <a:lnTo>
                          <a:pt x="621" y="301"/>
                        </a:lnTo>
                        <a:lnTo>
                          <a:pt x="641" y="296"/>
                        </a:lnTo>
                        <a:lnTo>
                          <a:pt x="659" y="295"/>
                        </a:lnTo>
                        <a:lnTo>
                          <a:pt x="686" y="290"/>
                        </a:lnTo>
                        <a:lnTo>
                          <a:pt x="687" y="290"/>
                        </a:lnTo>
                        <a:lnTo>
                          <a:pt x="689" y="291"/>
                        </a:lnTo>
                        <a:lnTo>
                          <a:pt x="691" y="293"/>
                        </a:lnTo>
                        <a:lnTo>
                          <a:pt x="692" y="296"/>
                        </a:lnTo>
                        <a:lnTo>
                          <a:pt x="695" y="298"/>
                        </a:lnTo>
                        <a:lnTo>
                          <a:pt x="697" y="301"/>
                        </a:lnTo>
                        <a:lnTo>
                          <a:pt x="700" y="304"/>
                        </a:lnTo>
                        <a:lnTo>
                          <a:pt x="702" y="307"/>
                        </a:lnTo>
                        <a:lnTo>
                          <a:pt x="703" y="309"/>
                        </a:lnTo>
                        <a:lnTo>
                          <a:pt x="705" y="310"/>
                        </a:lnTo>
                        <a:lnTo>
                          <a:pt x="705" y="312"/>
                        </a:lnTo>
                        <a:lnTo>
                          <a:pt x="703" y="312"/>
                        </a:lnTo>
                        <a:lnTo>
                          <a:pt x="703" y="314"/>
                        </a:lnTo>
                        <a:lnTo>
                          <a:pt x="700" y="314"/>
                        </a:lnTo>
                        <a:lnTo>
                          <a:pt x="699" y="315"/>
                        </a:lnTo>
                        <a:lnTo>
                          <a:pt x="694" y="317"/>
                        </a:lnTo>
                        <a:lnTo>
                          <a:pt x="687" y="318"/>
                        </a:lnTo>
                        <a:lnTo>
                          <a:pt x="686" y="320"/>
                        </a:lnTo>
                        <a:lnTo>
                          <a:pt x="684" y="321"/>
                        </a:lnTo>
                        <a:lnTo>
                          <a:pt x="684" y="323"/>
                        </a:lnTo>
                        <a:lnTo>
                          <a:pt x="686" y="325"/>
                        </a:lnTo>
                        <a:lnTo>
                          <a:pt x="689" y="326"/>
                        </a:lnTo>
                        <a:lnTo>
                          <a:pt x="691" y="328"/>
                        </a:lnTo>
                        <a:lnTo>
                          <a:pt x="694" y="328"/>
                        </a:lnTo>
                        <a:lnTo>
                          <a:pt x="697" y="329"/>
                        </a:lnTo>
                        <a:lnTo>
                          <a:pt x="702" y="331"/>
                        </a:lnTo>
                        <a:lnTo>
                          <a:pt x="703" y="333"/>
                        </a:lnTo>
                        <a:lnTo>
                          <a:pt x="703" y="336"/>
                        </a:lnTo>
                        <a:lnTo>
                          <a:pt x="705" y="339"/>
                        </a:lnTo>
                        <a:lnTo>
                          <a:pt x="705" y="342"/>
                        </a:lnTo>
                        <a:lnTo>
                          <a:pt x="705" y="348"/>
                        </a:lnTo>
                        <a:lnTo>
                          <a:pt x="703" y="353"/>
                        </a:lnTo>
                        <a:lnTo>
                          <a:pt x="703" y="356"/>
                        </a:lnTo>
                        <a:lnTo>
                          <a:pt x="705" y="359"/>
                        </a:lnTo>
                        <a:lnTo>
                          <a:pt x="705" y="361"/>
                        </a:lnTo>
                        <a:lnTo>
                          <a:pt x="705" y="366"/>
                        </a:lnTo>
                        <a:lnTo>
                          <a:pt x="703" y="369"/>
                        </a:lnTo>
                        <a:lnTo>
                          <a:pt x="703" y="372"/>
                        </a:lnTo>
                        <a:lnTo>
                          <a:pt x="702" y="374"/>
                        </a:lnTo>
                        <a:lnTo>
                          <a:pt x="700" y="375"/>
                        </a:lnTo>
                        <a:lnTo>
                          <a:pt x="699" y="375"/>
                        </a:lnTo>
                        <a:lnTo>
                          <a:pt x="695" y="377"/>
                        </a:lnTo>
                        <a:lnTo>
                          <a:pt x="692" y="377"/>
                        </a:lnTo>
                        <a:lnTo>
                          <a:pt x="689" y="378"/>
                        </a:lnTo>
                        <a:lnTo>
                          <a:pt x="686" y="378"/>
                        </a:lnTo>
                        <a:lnTo>
                          <a:pt x="684" y="380"/>
                        </a:lnTo>
                        <a:lnTo>
                          <a:pt x="683" y="383"/>
                        </a:lnTo>
                        <a:lnTo>
                          <a:pt x="681" y="386"/>
                        </a:lnTo>
                        <a:lnTo>
                          <a:pt x="679" y="388"/>
                        </a:lnTo>
                        <a:lnTo>
                          <a:pt x="679" y="391"/>
                        </a:lnTo>
                        <a:lnTo>
                          <a:pt x="679" y="393"/>
                        </a:lnTo>
                        <a:lnTo>
                          <a:pt x="679" y="397"/>
                        </a:lnTo>
                        <a:lnTo>
                          <a:pt x="679" y="402"/>
                        </a:lnTo>
                        <a:lnTo>
                          <a:pt x="679" y="407"/>
                        </a:lnTo>
                        <a:lnTo>
                          <a:pt x="679" y="420"/>
                        </a:lnTo>
                        <a:lnTo>
                          <a:pt x="675" y="421"/>
                        </a:lnTo>
                        <a:lnTo>
                          <a:pt x="670" y="421"/>
                        </a:lnTo>
                        <a:lnTo>
                          <a:pt x="662" y="421"/>
                        </a:lnTo>
                        <a:lnTo>
                          <a:pt x="649" y="421"/>
                        </a:lnTo>
                        <a:lnTo>
                          <a:pt x="641" y="421"/>
                        </a:lnTo>
                        <a:lnTo>
                          <a:pt x="630" y="421"/>
                        </a:lnTo>
                        <a:lnTo>
                          <a:pt x="626" y="421"/>
                        </a:lnTo>
                        <a:lnTo>
                          <a:pt x="622" y="421"/>
                        </a:lnTo>
                        <a:lnTo>
                          <a:pt x="621" y="421"/>
                        </a:lnTo>
                        <a:lnTo>
                          <a:pt x="619" y="421"/>
                        </a:lnTo>
                        <a:lnTo>
                          <a:pt x="618" y="423"/>
                        </a:lnTo>
                        <a:lnTo>
                          <a:pt x="618" y="426"/>
                        </a:lnTo>
                        <a:lnTo>
                          <a:pt x="618" y="428"/>
                        </a:lnTo>
                        <a:lnTo>
                          <a:pt x="616" y="429"/>
                        </a:lnTo>
                        <a:lnTo>
                          <a:pt x="616" y="431"/>
                        </a:lnTo>
                        <a:lnTo>
                          <a:pt x="615" y="432"/>
                        </a:lnTo>
                        <a:lnTo>
                          <a:pt x="613" y="436"/>
                        </a:lnTo>
                        <a:lnTo>
                          <a:pt x="610" y="437"/>
                        </a:lnTo>
                        <a:lnTo>
                          <a:pt x="608" y="437"/>
                        </a:lnTo>
                        <a:lnTo>
                          <a:pt x="607" y="437"/>
                        </a:lnTo>
                        <a:lnTo>
                          <a:pt x="605" y="437"/>
                        </a:lnTo>
                        <a:lnTo>
                          <a:pt x="603" y="437"/>
                        </a:lnTo>
                        <a:lnTo>
                          <a:pt x="600" y="437"/>
                        </a:lnTo>
                        <a:lnTo>
                          <a:pt x="599" y="437"/>
                        </a:lnTo>
                        <a:lnTo>
                          <a:pt x="597" y="437"/>
                        </a:lnTo>
                        <a:lnTo>
                          <a:pt x="597" y="439"/>
                        </a:lnTo>
                        <a:lnTo>
                          <a:pt x="592" y="442"/>
                        </a:lnTo>
                        <a:lnTo>
                          <a:pt x="586" y="443"/>
                        </a:lnTo>
                        <a:lnTo>
                          <a:pt x="584" y="443"/>
                        </a:lnTo>
                        <a:lnTo>
                          <a:pt x="583" y="443"/>
                        </a:lnTo>
                        <a:lnTo>
                          <a:pt x="583" y="442"/>
                        </a:lnTo>
                        <a:lnTo>
                          <a:pt x="581" y="442"/>
                        </a:lnTo>
                        <a:lnTo>
                          <a:pt x="581" y="445"/>
                        </a:lnTo>
                        <a:lnTo>
                          <a:pt x="581" y="447"/>
                        </a:lnTo>
                        <a:lnTo>
                          <a:pt x="583" y="448"/>
                        </a:lnTo>
                        <a:lnTo>
                          <a:pt x="586" y="453"/>
                        </a:lnTo>
                        <a:lnTo>
                          <a:pt x="588" y="455"/>
                        </a:lnTo>
                        <a:lnTo>
                          <a:pt x="589" y="456"/>
                        </a:lnTo>
                        <a:lnTo>
                          <a:pt x="589" y="458"/>
                        </a:lnTo>
                        <a:lnTo>
                          <a:pt x="592" y="461"/>
                        </a:lnTo>
                        <a:lnTo>
                          <a:pt x="594" y="464"/>
                        </a:lnTo>
                        <a:lnTo>
                          <a:pt x="594" y="466"/>
                        </a:lnTo>
                        <a:lnTo>
                          <a:pt x="597" y="467"/>
                        </a:lnTo>
                        <a:lnTo>
                          <a:pt x="597" y="469"/>
                        </a:lnTo>
                        <a:lnTo>
                          <a:pt x="599" y="472"/>
                        </a:lnTo>
                        <a:lnTo>
                          <a:pt x="597" y="474"/>
                        </a:lnTo>
                        <a:lnTo>
                          <a:pt x="591" y="478"/>
                        </a:lnTo>
                        <a:lnTo>
                          <a:pt x="586" y="483"/>
                        </a:lnTo>
                        <a:lnTo>
                          <a:pt x="583" y="486"/>
                        </a:lnTo>
                        <a:lnTo>
                          <a:pt x="580" y="488"/>
                        </a:lnTo>
                        <a:lnTo>
                          <a:pt x="578" y="489"/>
                        </a:lnTo>
                        <a:lnTo>
                          <a:pt x="575" y="491"/>
                        </a:lnTo>
                        <a:lnTo>
                          <a:pt x="573" y="491"/>
                        </a:lnTo>
                        <a:lnTo>
                          <a:pt x="572" y="493"/>
                        </a:lnTo>
                        <a:lnTo>
                          <a:pt x="570" y="494"/>
                        </a:lnTo>
                        <a:lnTo>
                          <a:pt x="556" y="502"/>
                        </a:lnTo>
                        <a:lnTo>
                          <a:pt x="542" y="510"/>
                        </a:lnTo>
                        <a:lnTo>
                          <a:pt x="542" y="513"/>
                        </a:lnTo>
                        <a:lnTo>
                          <a:pt x="540" y="515"/>
                        </a:lnTo>
                        <a:lnTo>
                          <a:pt x="542" y="515"/>
                        </a:lnTo>
                        <a:lnTo>
                          <a:pt x="543" y="516"/>
                        </a:lnTo>
                        <a:lnTo>
                          <a:pt x="546" y="518"/>
                        </a:lnTo>
                        <a:lnTo>
                          <a:pt x="548" y="519"/>
                        </a:lnTo>
                        <a:lnTo>
                          <a:pt x="546" y="521"/>
                        </a:lnTo>
                        <a:lnTo>
                          <a:pt x="548" y="523"/>
                        </a:lnTo>
                        <a:lnTo>
                          <a:pt x="551" y="523"/>
                        </a:lnTo>
                        <a:lnTo>
                          <a:pt x="554" y="524"/>
                        </a:lnTo>
                        <a:lnTo>
                          <a:pt x="558" y="527"/>
                        </a:lnTo>
                        <a:lnTo>
                          <a:pt x="559" y="529"/>
                        </a:lnTo>
                        <a:lnTo>
                          <a:pt x="561" y="532"/>
                        </a:lnTo>
                        <a:lnTo>
                          <a:pt x="562" y="534"/>
                        </a:lnTo>
                        <a:lnTo>
                          <a:pt x="564" y="535"/>
                        </a:lnTo>
                        <a:lnTo>
                          <a:pt x="565" y="537"/>
                        </a:lnTo>
                        <a:lnTo>
                          <a:pt x="569" y="537"/>
                        </a:lnTo>
                        <a:lnTo>
                          <a:pt x="572" y="538"/>
                        </a:lnTo>
                        <a:lnTo>
                          <a:pt x="572" y="540"/>
                        </a:lnTo>
                        <a:lnTo>
                          <a:pt x="573" y="540"/>
                        </a:lnTo>
                        <a:lnTo>
                          <a:pt x="575" y="542"/>
                        </a:lnTo>
                        <a:lnTo>
                          <a:pt x="577" y="543"/>
                        </a:lnTo>
                        <a:lnTo>
                          <a:pt x="580" y="545"/>
                        </a:lnTo>
                        <a:lnTo>
                          <a:pt x="581" y="545"/>
                        </a:lnTo>
                        <a:lnTo>
                          <a:pt x="581" y="548"/>
                        </a:lnTo>
                        <a:lnTo>
                          <a:pt x="581" y="550"/>
                        </a:lnTo>
                        <a:lnTo>
                          <a:pt x="583" y="551"/>
                        </a:lnTo>
                        <a:lnTo>
                          <a:pt x="583" y="553"/>
                        </a:lnTo>
                        <a:lnTo>
                          <a:pt x="584" y="554"/>
                        </a:lnTo>
                        <a:lnTo>
                          <a:pt x="584" y="556"/>
                        </a:lnTo>
                        <a:lnTo>
                          <a:pt x="583" y="557"/>
                        </a:lnTo>
                        <a:lnTo>
                          <a:pt x="584" y="559"/>
                        </a:lnTo>
                        <a:lnTo>
                          <a:pt x="584" y="561"/>
                        </a:lnTo>
                        <a:lnTo>
                          <a:pt x="588" y="564"/>
                        </a:lnTo>
                        <a:lnTo>
                          <a:pt x="591" y="565"/>
                        </a:lnTo>
                        <a:lnTo>
                          <a:pt x="594" y="565"/>
                        </a:lnTo>
                        <a:lnTo>
                          <a:pt x="599" y="567"/>
                        </a:lnTo>
                        <a:lnTo>
                          <a:pt x="602" y="567"/>
                        </a:lnTo>
                        <a:lnTo>
                          <a:pt x="605" y="565"/>
                        </a:lnTo>
                        <a:lnTo>
                          <a:pt x="607" y="564"/>
                        </a:lnTo>
                        <a:lnTo>
                          <a:pt x="611" y="562"/>
                        </a:lnTo>
                        <a:lnTo>
                          <a:pt x="613" y="562"/>
                        </a:lnTo>
                        <a:lnTo>
                          <a:pt x="615" y="561"/>
                        </a:lnTo>
                        <a:lnTo>
                          <a:pt x="613" y="559"/>
                        </a:lnTo>
                        <a:lnTo>
                          <a:pt x="615" y="557"/>
                        </a:lnTo>
                        <a:lnTo>
                          <a:pt x="616" y="557"/>
                        </a:lnTo>
                        <a:lnTo>
                          <a:pt x="618" y="557"/>
                        </a:lnTo>
                        <a:lnTo>
                          <a:pt x="618" y="559"/>
                        </a:lnTo>
                        <a:lnTo>
                          <a:pt x="621" y="561"/>
                        </a:lnTo>
                        <a:lnTo>
                          <a:pt x="622" y="562"/>
                        </a:lnTo>
                        <a:lnTo>
                          <a:pt x="626" y="564"/>
                        </a:lnTo>
                        <a:lnTo>
                          <a:pt x="629" y="567"/>
                        </a:lnTo>
                        <a:lnTo>
                          <a:pt x="632" y="569"/>
                        </a:lnTo>
                        <a:lnTo>
                          <a:pt x="634" y="570"/>
                        </a:lnTo>
                        <a:lnTo>
                          <a:pt x="635" y="570"/>
                        </a:lnTo>
                        <a:lnTo>
                          <a:pt x="637" y="570"/>
                        </a:lnTo>
                        <a:lnTo>
                          <a:pt x="640" y="570"/>
                        </a:lnTo>
                        <a:lnTo>
                          <a:pt x="641" y="570"/>
                        </a:lnTo>
                        <a:lnTo>
                          <a:pt x="646" y="569"/>
                        </a:lnTo>
                        <a:lnTo>
                          <a:pt x="649" y="565"/>
                        </a:lnTo>
                        <a:lnTo>
                          <a:pt x="651" y="564"/>
                        </a:lnTo>
                        <a:lnTo>
                          <a:pt x="653" y="562"/>
                        </a:lnTo>
                        <a:lnTo>
                          <a:pt x="653" y="561"/>
                        </a:lnTo>
                        <a:lnTo>
                          <a:pt x="654" y="559"/>
                        </a:lnTo>
                        <a:lnTo>
                          <a:pt x="656" y="557"/>
                        </a:lnTo>
                        <a:lnTo>
                          <a:pt x="656" y="556"/>
                        </a:lnTo>
                        <a:lnTo>
                          <a:pt x="657" y="554"/>
                        </a:lnTo>
                        <a:lnTo>
                          <a:pt x="657" y="553"/>
                        </a:lnTo>
                        <a:lnTo>
                          <a:pt x="659" y="553"/>
                        </a:lnTo>
                        <a:lnTo>
                          <a:pt x="662" y="553"/>
                        </a:lnTo>
                        <a:lnTo>
                          <a:pt x="665" y="551"/>
                        </a:lnTo>
                        <a:lnTo>
                          <a:pt x="667" y="551"/>
                        </a:lnTo>
                        <a:lnTo>
                          <a:pt x="668" y="550"/>
                        </a:lnTo>
                        <a:lnTo>
                          <a:pt x="668" y="548"/>
                        </a:lnTo>
                        <a:lnTo>
                          <a:pt x="668" y="546"/>
                        </a:lnTo>
                        <a:lnTo>
                          <a:pt x="668" y="545"/>
                        </a:lnTo>
                        <a:lnTo>
                          <a:pt x="670" y="545"/>
                        </a:lnTo>
                        <a:lnTo>
                          <a:pt x="670" y="543"/>
                        </a:lnTo>
                        <a:lnTo>
                          <a:pt x="673" y="545"/>
                        </a:lnTo>
                        <a:lnTo>
                          <a:pt x="675" y="545"/>
                        </a:lnTo>
                        <a:lnTo>
                          <a:pt x="676" y="545"/>
                        </a:lnTo>
                        <a:lnTo>
                          <a:pt x="678" y="545"/>
                        </a:lnTo>
                        <a:lnTo>
                          <a:pt x="679" y="545"/>
                        </a:lnTo>
                        <a:lnTo>
                          <a:pt x="681" y="543"/>
                        </a:lnTo>
                        <a:lnTo>
                          <a:pt x="683" y="542"/>
                        </a:lnTo>
                        <a:lnTo>
                          <a:pt x="684" y="542"/>
                        </a:lnTo>
                        <a:lnTo>
                          <a:pt x="687" y="543"/>
                        </a:lnTo>
                        <a:lnTo>
                          <a:pt x="689" y="543"/>
                        </a:lnTo>
                        <a:lnTo>
                          <a:pt x="692" y="542"/>
                        </a:lnTo>
                        <a:lnTo>
                          <a:pt x="694" y="542"/>
                        </a:lnTo>
                        <a:lnTo>
                          <a:pt x="695" y="542"/>
                        </a:lnTo>
                        <a:lnTo>
                          <a:pt x="695" y="543"/>
                        </a:lnTo>
                        <a:lnTo>
                          <a:pt x="697" y="545"/>
                        </a:lnTo>
                        <a:lnTo>
                          <a:pt x="699" y="546"/>
                        </a:lnTo>
                        <a:lnTo>
                          <a:pt x="700" y="548"/>
                        </a:lnTo>
                        <a:lnTo>
                          <a:pt x="703" y="548"/>
                        </a:lnTo>
                        <a:lnTo>
                          <a:pt x="703" y="550"/>
                        </a:lnTo>
                        <a:lnTo>
                          <a:pt x="705" y="550"/>
                        </a:lnTo>
                        <a:lnTo>
                          <a:pt x="706" y="551"/>
                        </a:lnTo>
                        <a:lnTo>
                          <a:pt x="706" y="553"/>
                        </a:lnTo>
                        <a:lnTo>
                          <a:pt x="705" y="553"/>
                        </a:lnTo>
                        <a:lnTo>
                          <a:pt x="705" y="554"/>
                        </a:lnTo>
                        <a:lnTo>
                          <a:pt x="706" y="556"/>
                        </a:lnTo>
                        <a:lnTo>
                          <a:pt x="706" y="557"/>
                        </a:lnTo>
                        <a:lnTo>
                          <a:pt x="705" y="559"/>
                        </a:lnTo>
                        <a:lnTo>
                          <a:pt x="705" y="561"/>
                        </a:lnTo>
                        <a:lnTo>
                          <a:pt x="705" y="562"/>
                        </a:lnTo>
                        <a:lnTo>
                          <a:pt x="706" y="564"/>
                        </a:lnTo>
                        <a:lnTo>
                          <a:pt x="705" y="565"/>
                        </a:lnTo>
                        <a:lnTo>
                          <a:pt x="706" y="567"/>
                        </a:lnTo>
                        <a:lnTo>
                          <a:pt x="706" y="569"/>
                        </a:lnTo>
                        <a:lnTo>
                          <a:pt x="708" y="569"/>
                        </a:lnTo>
                        <a:lnTo>
                          <a:pt x="710" y="570"/>
                        </a:lnTo>
                        <a:lnTo>
                          <a:pt x="711" y="570"/>
                        </a:lnTo>
                        <a:lnTo>
                          <a:pt x="711" y="572"/>
                        </a:lnTo>
                        <a:lnTo>
                          <a:pt x="713" y="573"/>
                        </a:lnTo>
                        <a:lnTo>
                          <a:pt x="713" y="575"/>
                        </a:lnTo>
                        <a:lnTo>
                          <a:pt x="714" y="576"/>
                        </a:lnTo>
                        <a:lnTo>
                          <a:pt x="716" y="578"/>
                        </a:lnTo>
                        <a:lnTo>
                          <a:pt x="719" y="580"/>
                        </a:lnTo>
                        <a:lnTo>
                          <a:pt x="721" y="581"/>
                        </a:lnTo>
                        <a:lnTo>
                          <a:pt x="722" y="581"/>
                        </a:lnTo>
                        <a:lnTo>
                          <a:pt x="725" y="584"/>
                        </a:lnTo>
                        <a:lnTo>
                          <a:pt x="727" y="586"/>
                        </a:lnTo>
                        <a:lnTo>
                          <a:pt x="730" y="588"/>
                        </a:lnTo>
                        <a:lnTo>
                          <a:pt x="732" y="588"/>
                        </a:lnTo>
                        <a:lnTo>
                          <a:pt x="733" y="588"/>
                        </a:lnTo>
                        <a:lnTo>
                          <a:pt x="735" y="588"/>
                        </a:lnTo>
                        <a:lnTo>
                          <a:pt x="737" y="588"/>
                        </a:lnTo>
                        <a:lnTo>
                          <a:pt x="738" y="588"/>
                        </a:lnTo>
                        <a:lnTo>
                          <a:pt x="738" y="589"/>
                        </a:lnTo>
                        <a:lnTo>
                          <a:pt x="740" y="591"/>
                        </a:lnTo>
                        <a:lnTo>
                          <a:pt x="741" y="592"/>
                        </a:lnTo>
                        <a:lnTo>
                          <a:pt x="743" y="595"/>
                        </a:lnTo>
                        <a:lnTo>
                          <a:pt x="743" y="597"/>
                        </a:lnTo>
                        <a:lnTo>
                          <a:pt x="743" y="599"/>
                        </a:lnTo>
                        <a:lnTo>
                          <a:pt x="744" y="599"/>
                        </a:lnTo>
                        <a:lnTo>
                          <a:pt x="746" y="600"/>
                        </a:lnTo>
                        <a:lnTo>
                          <a:pt x="748" y="600"/>
                        </a:lnTo>
                        <a:lnTo>
                          <a:pt x="749" y="602"/>
                        </a:lnTo>
                        <a:lnTo>
                          <a:pt x="751" y="602"/>
                        </a:lnTo>
                        <a:lnTo>
                          <a:pt x="752" y="603"/>
                        </a:lnTo>
                        <a:lnTo>
                          <a:pt x="752" y="605"/>
                        </a:lnTo>
                        <a:lnTo>
                          <a:pt x="754" y="605"/>
                        </a:lnTo>
                        <a:lnTo>
                          <a:pt x="756" y="607"/>
                        </a:lnTo>
                        <a:lnTo>
                          <a:pt x="757" y="605"/>
                        </a:lnTo>
                        <a:lnTo>
                          <a:pt x="759" y="607"/>
                        </a:lnTo>
                        <a:lnTo>
                          <a:pt x="757" y="608"/>
                        </a:lnTo>
                        <a:lnTo>
                          <a:pt x="759" y="610"/>
                        </a:lnTo>
                        <a:lnTo>
                          <a:pt x="760" y="613"/>
                        </a:lnTo>
                        <a:lnTo>
                          <a:pt x="762" y="613"/>
                        </a:lnTo>
                        <a:lnTo>
                          <a:pt x="760" y="616"/>
                        </a:lnTo>
                        <a:lnTo>
                          <a:pt x="760" y="618"/>
                        </a:lnTo>
                        <a:lnTo>
                          <a:pt x="760" y="619"/>
                        </a:lnTo>
                        <a:lnTo>
                          <a:pt x="762" y="619"/>
                        </a:lnTo>
                        <a:lnTo>
                          <a:pt x="762" y="621"/>
                        </a:lnTo>
                        <a:lnTo>
                          <a:pt x="762" y="622"/>
                        </a:lnTo>
                        <a:lnTo>
                          <a:pt x="763" y="624"/>
                        </a:lnTo>
                        <a:lnTo>
                          <a:pt x="765" y="624"/>
                        </a:lnTo>
                        <a:lnTo>
                          <a:pt x="767" y="626"/>
                        </a:lnTo>
                        <a:lnTo>
                          <a:pt x="768" y="626"/>
                        </a:lnTo>
                        <a:lnTo>
                          <a:pt x="771" y="627"/>
                        </a:lnTo>
                        <a:lnTo>
                          <a:pt x="773" y="629"/>
                        </a:lnTo>
                        <a:lnTo>
                          <a:pt x="775" y="629"/>
                        </a:lnTo>
                        <a:lnTo>
                          <a:pt x="778" y="629"/>
                        </a:lnTo>
                        <a:lnTo>
                          <a:pt x="779" y="630"/>
                        </a:lnTo>
                        <a:lnTo>
                          <a:pt x="779" y="632"/>
                        </a:lnTo>
                        <a:lnTo>
                          <a:pt x="781" y="634"/>
                        </a:lnTo>
                        <a:lnTo>
                          <a:pt x="782" y="635"/>
                        </a:lnTo>
                        <a:lnTo>
                          <a:pt x="782" y="637"/>
                        </a:lnTo>
                        <a:lnTo>
                          <a:pt x="784" y="638"/>
                        </a:lnTo>
                        <a:lnTo>
                          <a:pt x="786" y="640"/>
                        </a:lnTo>
                        <a:lnTo>
                          <a:pt x="787" y="643"/>
                        </a:lnTo>
                        <a:lnTo>
                          <a:pt x="789" y="643"/>
                        </a:lnTo>
                        <a:lnTo>
                          <a:pt x="789" y="645"/>
                        </a:lnTo>
                        <a:lnTo>
                          <a:pt x="787" y="646"/>
                        </a:lnTo>
                        <a:lnTo>
                          <a:pt x="786" y="648"/>
                        </a:lnTo>
                        <a:lnTo>
                          <a:pt x="787" y="651"/>
                        </a:lnTo>
                        <a:lnTo>
                          <a:pt x="789" y="651"/>
                        </a:lnTo>
                        <a:lnTo>
                          <a:pt x="790" y="653"/>
                        </a:lnTo>
                        <a:lnTo>
                          <a:pt x="792" y="653"/>
                        </a:lnTo>
                        <a:lnTo>
                          <a:pt x="794" y="653"/>
                        </a:lnTo>
                        <a:lnTo>
                          <a:pt x="795" y="653"/>
                        </a:lnTo>
                        <a:lnTo>
                          <a:pt x="797" y="653"/>
                        </a:lnTo>
                        <a:lnTo>
                          <a:pt x="798" y="653"/>
                        </a:lnTo>
                        <a:lnTo>
                          <a:pt x="800" y="651"/>
                        </a:lnTo>
                        <a:lnTo>
                          <a:pt x="803" y="649"/>
                        </a:lnTo>
                        <a:lnTo>
                          <a:pt x="805" y="649"/>
                        </a:lnTo>
                        <a:lnTo>
                          <a:pt x="805" y="648"/>
                        </a:lnTo>
                        <a:lnTo>
                          <a:pt x="806" y="648"/>
                        </a:lnTo>
                        <a:lnTo>
                          <a:pt x="808" y="648"/>
                        </a:lnTo>
                        <a:lnTo>
                          <a:pt x="808" y="649"/>
                        </a:lnTo>
                        <a:lnTo>
                          <a:pt x="808" y="651"/>
                        </a:lnTo>
                        <a:lnTo>
                          <a:pt x="808" y="653"/>
                        </a:lnTo>
                        <a:lnTo>
                          <a:pt x="809" y="654"/>
                        </a:lnTo>
                        <a:lnTo>
                          <a:pt x="813" y="654"/>
                        </a:lnTo>
                        <a:lnTo>
                          <a:pt x="814" y="654"/>
                        </a:lnTo>
                        <a:lnTo>
                          <a:pt x="814" y="656"/>
                        </a:lnTo>
                        <a:lnTo>
                          <a:pt x="816" y="656"/>
                        </a:lnTo>
                        <a:lnTo>
                          <a:pt x="817" y="656"/>
                        </a:lnTo>
                        <a:lnTo>
                          <a:pt x="819" y="657"/>
                        </a:lnTo>
                        <a:lnTo>
                          <a:pt x="819" y="659"/>
                        </a:lnTo>
                        <a:lnTo>
                          <a:pt x="820" y="660"/>
                        </a:lnTo>
                        <a:lnTo>
                          <a:pt x="822" y="662"/>
                        </a:lnTo>
                        <a:lnTo>
                          <a:pt x="822" y="664"/>
                        </a:lnTo>
                        <a:lnTo>
                          <a:pt x="824" y="664"/>
                        </a:lnTo>
                        <a:lnTo>
                          <a:pt x="827" y="665"/>
                        </a:lnTo>
                        <a:lnTo>
                          <a:pt x="832" y="667"/>
                        </a:lnTo>
                        <a:lnTo>
                          <a:pt x="833" y="667"/>
                        </a:lnTo>
                        <a:lnTo>
                          <a:pt x="835" y="667"/>
                        </a:lnTo>
                        <a:lnTo>
                          <a:pt x="838" y="668"/>
                        </a:lnTo>
                        <a:lnTo>
                          <a:pt x="839" y="670"/>
                        </a:lnTo>
                        <a:lnTo>
                          <a:pt x="841" y="670"/>
                        </a:lnTo>
                        <a:lnTo>
                          <a:pt x="843" y="672"/>
                        </a:lnTo>
                        <a:lnTo>
                          <a:pt x="844" y="673"/>
                        </a:lnTo>
                        <a:lnTo>
                          <a:pt x="846" y="673"/>
                        </a:lnTo>
                        <a:lnTo>
                          <a:pt x="846" y="675"/>
                        </a:lnTo>
                        <a:lnTo>
                          <a:pt x="844" y="675"/>
                        </a:lnTo>
                        <a:lnTo>
                          <a:pt x="843" y="675"/>
                        </a:lnTo>
                        <a:lnTo>
                          <a:pt x="843" y="678"/>
                        </a:lnTo>
                        <a:lnTo>
                          <a:pt x="843" y="679"/>
                        </a:lnTo>
                        <a:lnTo>
                          <a:pt x="843" y="681"/>
                        </a:lnTo>
                        <a:lnTo>
                          <a:pt x="844" y="683"/>
                        </a:lnTo>
                        <a:lnTo>
                          <a:pt x="846" y="683"/>
                        </a:lnTo>
                        <a:lnTo>
                          <a:pt x="846" y="684"/>
                        </a:lnTo>
                        <a:lnTo>
                          <a:pt x="846" y="686"/>
                        </a:lnTo>
                        <a:lnTo>
                          <a:pt x="847" y="686"/>
                        </a:lnTo>
                        <a:lnTo>
                          <a:pt x="847" y="687"/>
                        </a:lnTo>
                        <a:lnTo>
                          <a:pt x="849" y="687"/>
                        </a:lnTo>
                        <a:lnTo>
                          <a:pt x="851" y="687"/>
                        </a:lnTo>
                        <a:lnTo>
                          <a:pt x="854" y="686"/>
                        </a:lnTo>
                        <a:lnTo>
                          <a:pt x="855" y="686"/>
                        </a:lnTo>
                        <a:lnTo>
                          <a:pt x="855" y="687"/>
                        </a:lnTo>
                        <a:lnTo>
                          <a:pt x="857" y="687"/>
                        </a:lnTo>
                        <a:lnTo>
                          <a:pt x="857" y="686"/>
                        </a:lnTo>
                        <a:lnTo>
                          <a:pt x="858" y="687"/>
                        </a:lnTo>
                        <a:lnTo>
                          <a:pt x="857" y="689"/>
                        </a:lnTo>
                        <a:lnTo>
                          <a:pt x="857" y="691"/>
                        </a:lnTo>
                        <a:lnTo>
                          <a:pt x="858" y="691"/>
                        </a:lnTo>
                        <a:lnTo>
                          <a:pt x="858" y="692"/>
                        </a:lnTo>
                        <a:lnTo>
                          <a:pt x="858" y="694"/>
                        </a:lnTo>
                        <a:lnTo>
                          <a:pt x="860" y="695"/>
                        </a:lnTo>
                        <a:lnTo>
                          <a:pt x="862" y="697"/>
                        </a:lnTo>
                        <a:lnTo>
                          <a:pt x="863" y="697"/>
                        </a:lnTo>
                        <a:lnTo>
                          <a:pt x="863" y="695"/>
                        </a:lnTo>
                        <a:lnTo>
                          <a:pt x="865" y="695"/>
                        </a:lnTo>
                        <a:lnTo>
                          <a:pt x="866" y="695"/>
                        </a:lnTo>
                        <a:lnTo>
                          <a:pt x="868" y="695"/>
                        </a:lnTo>
                        <a:lnTo>
                          <a:pt x="871" y="697"/>
                        </a:lnTo>
                        <a:lnTo>
                          <a:pt x="874" y="695"/>
                        </a:lnTo>
                        <a:lnTo>
                          <a:pt x="878" y="695"/>
                        </a:lnTo>
                        <a:lnTo>
                          <a:pt x="878" y="694"/>
                        </a:lnTo>
                        <a:lnTo>
                          <a:pt x="879" y="695"/>
                        </a:lnTo>
                        <a:lnTo>
                          <a:pt x="881" y="695"/>
                        </a:lnTo>
                        <a:lnTo>
                          <a:pt x="882" y="695"/>
                        </a:lnTo>
                        <a:lnTo>
                          <a:pt x="884" y="698"/>
                        </a:lnTo>
                        <a:lnTo>
                          <a:pt x="884" y="700"/>
                        </a:lnTo>
                        <a:lnTo>
                          <a:pt x="882" y="702"/>
                        </a:lnTo>
                        <a:lnTo>
                          <a:pt x="882" y="703"/>
                        </a:lnTo>
                        <a:lnTo>
                          <a:pt x="884" y="705"/>
                        </a:lnTo>
                        <a:lnTo>
                          <a:pt x="885" y="708"/>
                        </a:lnTo>
                        <a:lnTo>
                          <a:pt x="885" y="711"/>
                        </a:lnTo>
                        <a:lnTo>
                          <a:pt x="885" y="713"/>
                        </a:lnTo>
                        <a:lnTo>
                          <a:pt x="887" y="713"/>
                        </a:lnTo>
                        <a:lnTo>
                          <a:pt x="887" y="714"/>
                        </a:lnTo>
                        <a:lnTo>
                          <a:pt x="889" y="714"/>
                        </a:lnTo>
                        <a:lnTo>
                          <a:pt x="890" y="714"/>
                        </a:lnTo>
                        <a:lnTo>
                          <a:pt x="892" y="713"/>
                        </a:lnTo>
                        <a:lnTo>
                          <a:pt x="897" y="711"/>
                        </a:lnTo>
                        <a:lnTo>
                          <a:pt x="898" y="711"/>
                        </a:lnTo>
                        <a:lnTo>
                          <a:pt x="900" y="711"/>
                        </a:lnTo>
                        <a:lnTo>
                          <a:pt x="901" y="710"/>
                        </a:lnTo>
                        <a:lnTo>
                          <a:pt x="903" y="708"/>
                        </a:lnTo>
                        <a:lnTo>
                          <a:pt x="904" y="708"/>
                        </a:lnTo>
                        <a:lnTo>
                          <a:pt x="904" y="710"/>
                        </a:lnTo>
                        <a:lnTo>
                          <a:pt x="906" y="710"/>
                        </a:lnTo>
                        <a:lnTo>
                          <a:pt x="906" y="711"/>
                        </a:lnTo>
                        <a:lnTo>
                          <a:pt x="906" y="713"/>
                        </a:lnTo>
                        <a:lnTo>
                          <a:pt x="904" y="716"/>
                        </a:lnTo>
                        <a:lnTo>
                          <a:pt x="906" y="716"/>
                        </a:lnTo>
                        <a:lnTo>
                          <a:pt x="906" y="717"/>
                        </a:lnTo>
                        <a:lnTo>
                          <a:pt x="908" y="719"/>
                        </a:lnTo>
                        <a:lnTo>
                          <a:pt x="909" y="719"/>
                        </a:lnTo>
                        <a:lnTo>
                          <a:pt x="909" y="721"/>
                        </a:lnTo>
                        <a:lnTo>
                          <a:pt x="909" y="722"/>
                        </a:lnTo>
                        <a:lnTo>
                          <a:pt x="909" y="724"/>
                        </a:lnTo>
                        <a:lnTo>
                          <a:pt x="909" y="725"/>
                        </a:lnTo>
                        <a:lnTo>
                          <a:pt x="909" y="729"/>
                        </a:lnTo>
                        <a:lnTo>
                          <a:pt x="909" y="730"/>
                        </a:lnTo>
                        <a:lnTo>
                          <a:pt x="909" y="732"/>
                        </a:lnTo>
                        <a:lnTo>
                          <a:pt x="908" y="733"/>
                        </a:lnTo>
                        <a:lnTo>
                          <a:pt x="908" y="735"/>
                        </a:lnTo>
                        <a:lnTo>
                          <a:pt x="908" y="738"/>
                        </a:lnTo>
                        <a:lnTo>
                          <a:pt x="909" y="738"/>
                        </a:lnTo>
                        <a:lnTo>
                          <a:pt x="911" y="740"/>
                        </a:lnTo>
                        <a:lnTo>
                          <a:pt x="914" y="740"/>
                        </a:lnTo>
                        <a:lnTo>
                          <a:pt x="916" y="740"/>
                        </a:lnTo>
                        <a:lnTo>
                          <a:pt x="917" y="740"/>
                        </a:lnTo>
                        <a:lnTo>
                          <a:pt x="919" y="740"/>
                        </a:lnTo>
                        <a:lnTo>
                          <a:pt x="919" y="741"/>
                        </a:lnTo>
                        <a:lnTo>
                          <a:pt x="919" y="743"/>
                        </a:lnTo>
                        <a:lnTo>
                          <a:pt x="919" y="744"/>
                        </a:lnTo>
                        <a:lnTo>
                          <a:pt x="920" y="744"/>
                        </a:lnTo>
                        <a:lnTo>
                          <a:pt x="923" y="744"/>
                        </a:lnTo>
                        <a:lnTo>
                          <a:pt x="925" y="744"/>
                        </a:lnTo>
                        <a:lnTo>
                          <a:pt x="927" y="744"/>
                        </a:lnTo>
                        <a:lnTo>
                          <a:pt x="928" y="744"/>
                        </a:lnTo>
                        <a:lnTo>
                          <a:pt x="928" y="746"/>
                        </a:lnTo>
                        <a:lnTo>
                          <a:pt x="928" y="748"/>
                        </a:lnTo>
                        <a:lnTo>
                          <a:pt x="927" y="749"/>
                        </a:lnTo>
                        <a:lnTo>
                          <a:pt x="927" y="751"/>
                        </a:lnTo>
                        <a:lnTo>
                          <a:pt x="928" y="752"/>
                        </a:lnTo>
                        <a:lnTo>
                          <a:pt x="930" y="752"/>
                        </a:lnTo>
                        <a:lnTo>
                          <a:pt x="931" y="752"/>
                        </a:lnTo>
                        <a:lnTo>
                          <a:pt x="931" y="754"/>
                        </a:lnTo>
                        <a:lnTo>
                          <a:pt x="933" y="754"/>
                        </a:lnTo>
                        <a:lnTo>
                          <a:pt x="935" y="754"/>
                        </a:lnTo>
                        <a:lnTo>
                          <a:pt x="935" y="755"/>
                        </a:lnTo>
                        <a:lnTo>
                          <a:pt x="936" y="755"/>
                        </a:lnTo>
                        <a:lnTo>
                          <a:pt x="939" y="755"/>
                        </a:lnTo>
                        <a:lnTo>
                          <a:pt x="941" y="755"/>
                        </a:lnTo>
                        <a:lnTo>
                          <a:pt x="944" y="755"/>
                        </a:lnTo>
                        <a:lnTo>
                          <a:pt x="946" y="755"/>
                        </a:lnTo>
                        <a:lnTo>
                          <a:pt x="946" y="757"/>
                        </a:lnTo>
                        <a:lnTo>
                          <a:pt x="946" y="759"/>
                        </a:lnTo>
                        <a:lnTo>
                          <a:pt x="946" y="760"/>
                        </a:lnTo>
                        <a:lnTo>
                          <a:pt x="946" y="762"/>
                        </a:lnTo>
                        <a:lnTo>
                          <a:pt x="946" y="763"/>
                        </a:lnTo>
                        <a:lnTo>
                          <a:pt x="946" y="765"/>
                        </a:lnTo>
                        <a:lnTo>
                          <a:pt x="947" y="765"/>
                        </a:lnTo>
                        <a:lnTo>
                          <a:pt x="947" y="767"/>
                        </a:lnTo>
                        <a:lnTo>
                          <a:pt x="949" y="767"/>
                        </a:lnTo>
                        <a:lnTo>
                          <a:pt x="952" y="765"/>
                        </a:lnTo>
                        <a:lnTo>
                          <a:pt x="954" y="763"/>
                        </a:lnTo>
                        <a:lnTo>
                          <a:pt x="955" y="765"/>
                        </a:lnTo>
                        <a:lnTo>
                          <a:pt x="958" y="763"/>
                        </a:lnTo>
                        <a:lnTo>
                          <a:pt x="960" y="763"/>
                        </a:lnTo>
                        <a:lnTo>
                          <a:pt x="961" y="763"/>
                        </a:lnTo>
                        <a:lnTo>
                          <a:pt x="963" y="763"/>
                        </a:lnTo>
                        <a:lnTo>
                          <a:pt x="965" y="763"/>
                        </a:lnTo>
                        <a:lnTo>
                          <a:pt x="966" y="763"/>
                        </a:lnTo>
                        <a:lnTo>
                          <a:pt x="969" y="763"/>
                        </a:lnTo>
                        <a:lnTo>
                          <a:pt x="971" y="763"/>
                        </a:lnTo>
                        <a:lnTo>
                          <a:pt x="971" y="765"/>
                        </a:lnTo>
                        <a:lnTo>
                          <a:pt x="971" y="767"/>
                        </a:lnTo>
                        <a:lnTo>
                          <a:pt x="973" y="768"/>
                        </a:lnTo>
                        <a:lnTo>
                          <a:pt x="974" y="770"/>
                        </a:lnTo>
                        <a:lnTo>
                          <a:pt x="976" y="770"/>
                        </a:lnTo>
                        <a:lnTo>
                          <a:pt x="976" y="771"/>
                        </a:lnTo>
                        <a:lnTo>
                          <a:pt x="977" y="771"/>
                        </a:lnTo>
                        <a:lnTo>
                          <a:pt x="977" y="773"/>
                        </a:lnTo>
                        <a:lnTo>
                          <a:pt x="979" y="773"/>
                        </a:lnTo>
                        <a:lnTo>
                          <a:pt x="980" y="774"/>
                        </a:lnTo>
                        <a:lnTo>
                          <a:pt x="980" y="776"/>
                        </a:lnTo>
                        <a:lnTo>
                          <a:pt x="982" y="776"/>
                        </a:lnTo>
                        <a:lnTo>
                          <a:pt x="982" y="778"/>
                        </a:lnTo>
                        <a:lnTo>
                          <a:pt x="982" y="779"/>
                        </a:lnTo>
                        <a:lnTo>
                          <a:pt x="982" y="781"/>
                        </a:lnTo>
                        <a:lnTo>
                          <a:pt x="982" y="782"/>
                        </a:lnTo>
                        <a:lnTo>
                          <a:pt x="984" y="784"/>
                        </a:lnTo>
                        <a:lnTo>
                          <a:pt x="985" y="786"/>
                        </a:lnTo>
                        <a:lnTo>
                          <a:pt x="987" y="787"/>
                        </a:lnTo>
                        <a:lnTo>
                          <a:pt x="987" y="789"/>
                        </a:lnTo>
                        <a:lnTo>
                          <a:pt x="988" y="789"/>
                        </a:lnTo>
                        <a:lnTo>
                          <a:pt x="988" y="792"/>
                        </a:lnTo>
                        <a:lnTo>
                          <a:pt x="990" y="792"/>
                        </a:lnTo>
                        <a:lnTo>
                          <a:pt x="990" y="793"/>
                        </a:lnTo>
                        <a:lnTo>
                          <a:pt x="992" y="793"/>
                        </a:lnTo>
                        <a:lnTo>
                          <a:pt x="993" y="795"/>
                        </a:lnTo>
                        <a:lnTo>
                          <a:pt x="995" y="797"/>
                        </a:lnTo>
                        <a:lnTo>
                          <a:pt x="996" y="797"/>
                        </a:lnTo>
                        <a:lnTo>
                          <a:pt x="998" y="797"/>
                        </a:lnTo>
                        <a:lnTo>
                          <a:pt x="998" y="798"/>
                        </a:lnTo>
                        <a:lnTo>
                          <a:pt x="995" y="801"/>
                        </a:lnTo>
                        <a:lnTo>
                          <a:pt x="992" y="805"/>
                        </a:lnTo>
                        <a:lnTo>
                          <a:pt x="988" y="808"/>
                        </a:lnTo>
                        <a:lnTo>
                          <a:pt x="985" y="811"/>
                        </a:lnTo>
                        <a:lnTo>
                          <a:pt x="982" y="811"/>
                        </a:lnTo>
                        <a:lnTo>
                          <a:pt x="979" y="811"/>
                        </a:lnTo>
                        <a:lnTo>
                          <a:pt x="976" y="809"/>
                        </a:lnTo>
                        <a:lnTo>
                          <a:pt x="974" y="809"/>
                        </a:lnTo>
                        <a:lnTo>
                          <a:pt x="973" y="809"/>
                        </a:lnTo>
                        <a:lnTo>
                          <a:pt x="971" y="809"/>
                        </a:lnTo>
                        <a:lnTo>
                          <a:pt x="969" y="811"/>
                        </a:lnTo>
                        <a:lnTo>
                          <a:pt x="969" y="813"/>
                        </a:lnTo>
                        <a:lnTo>
                          <a:pt x="968" y="814"/>
                        </a:lnTo>
                        <a:lnTo>
                          <a:pt x="968" y="817"/>
                        </a:lnTo>
                        <a:lnTo>
                          <a:pt x="966" y="819"/>
                        </a:lnTo>
                        <a:lnTo>
                          <a:pt x="965" y="820"/>
                        </a:lnTo>
                        <a:lnTo>
                          <a:pt x="961" y="822"/>
                        </a:lnTo>
                        <a:lnTo>
                          <a:pt x="961" y="824"/>
                        </a:lnTo>
                        <a:lnTo>
                          <a:pt x="960" y="827"/>
                        </a:lnTo>
                        <a:lnTo>
                          <a:pt x="960" y="828"/>
                        </a:lnTo>
                        <a:lnTo>
                          <a:pt x="957" y="832"/>
                        </a:lnTo>
                        <a:lnTo>
                          <a:pt x="955" y="833"/>
                        </a:lnTo>
                        <a:lnTo>
                          <a:pt x="954" y="835"/>
                        </a:lnTo>
                        <a:lnTo>
                          <a:pt x="952" y="836"/>
                        </a:lnTo>
                        <a:lnTo>
                          <a:pt x="950" y="836"/>
                        </a:lnTo>
                        <a:lnTo>
                          <a:pt x="949" y="836"/>
                        </a:lnTo>
                        <a:lnTo>
                          <a:pt x="947" y="836"/>
                        </a:lnTo>
                        <a:lnTo>
                          <a:pt x="946" y="836"/>
                        </a:lnTo>
                        <a:lnTo>
                          <a:pt x="944" y="838"/>
                        </a:lnTo>
                        <a:lnTo>
                          <a:pt x="942" y="841"/>
                        </a:lnTo>
                        <a:lnTo>
                          <a:pt x="941" y="844"/>
                        </a:lnTo>
                        <a:lnTo>
                          <a:pt x="938" y="846"/>
                        </a:lnTo>
                        <a:lnTo>
                          <a:pt x="935" y="847"/>
                        </a:lnTo>
                        <a:lnTo>
                          <a:pt x="931" y="847"/>
                        </a:lnTo>
                        <a:lnTo>
                          <a:pt x="927" y="847"/>
                        </a:lnTo>
                        <a:lnTo>
                          <a:pt x="920" y="851"/>
                        </a:lnTo>
                        <a:lnTo>
                          <a:pt x="917" y="854"/>
                        </a:lnTo>
                        <a:lnTo>
                          <a:pt x="912" y="855"/>
                        </a:lnTo>
                        <a:lnTo>
                          <a:pt x="908" y="857"/>
                        </a:lnTo>
                        <a:lnTo>
                          <a:pt x="903" y="860"/>
                        </a:lnTo>
                        <a:lnTo>
                          <a:pt x="900" y="863"/>
                        </a:lnTo>
                        <a:lnTo>
                          <a:pt x="898" y="866"/>
                        </a:lnTo>
                        <a:lnTo>
                          <a:pt x="895" y="866"/>
                        </a:lnTo>
                        <a:lnTo>
                          <a:pt x="892" y="868"/>
                        </a:lnTo>
                        <a:lnTo>
                          <a:pt x="889" y="870"/>
                        </a:lnTo>
                        <a:lnTo>
                          <a:pt x="885" y="871"/>
                        </a:lnTo>
                        <a:lnTo>
                          <a:pt x="882" y="874"/>
                        </a:lnTo>
                        <a:lnTo>
                          <a:pt x="881" y="877"/>
                        </a:lnTo>
                        <a:lnTo>
                          <a:pt x="878" y="882"/>
                        </a:lnTo>
                        <a:lnTo>
                          <a:pt x="876" y="889"/>
                        </a:lnTo>
                        <a:lnTo>
                          <a:pt x="873" y="892"/>
                        </a:lnTo>
                        <a:lnTo>
                          <a:pt x="870" y="893"/>
                        </a:lnTo>
                        <a:lnTo>
                          <a:pt x="866" y="893"/>
                        </a:lnTo>
                        <a:lnTo>
                          <a:pt x="863" y="893"/>
                        </a:lnTo>
                        <a:lnTo>
                          <a:pt x="860" y="893"/>
                        </a:lnTo>
                        <a:lnTo>
                          <a:pt x="857" y="893"/>
                        </a:lnTo>
                        <a:lnTo>
                          <a:pt x="855" y="893"/>
                        </a:lnTo>
                        <a:lnTo>
                          <a:pt x="852" y="892"/>
                        </a:lnTo>
                        <a:lnTo>
                          <a:pt x="851" y="889"/>
                        </a:lnTo>
                        <a:lnTo>
                          <a:pt x="849" y="885"/>
                        </a:lnTo>
                        <a:lnTo>
                          <a:pt x="847" y="885"/>
                        </a:lnTo>
                        <a:lnTo>
                          <a:pt x="846" y="887"/>
                        </a:lnTo>
                        <a:lnTo>
                          <a:pt x="844" y="887"/>
                        </a:lnTo>
                        <a:lnTo>
                          <a:pt x="841" y="887"/>
                        </a:lnTo>
                        <a:lnTo>
                          <a:pt x="841" y="889"/>
                        </a:lnTo>
                        <a:lnTo>
                          <a:pt x="839" y="890"/>
                        </a:lnTo>
                        <a:lnTo>
                          <a:pt x="838" y="892"/>
                        </a:lnTo>
                        <a:lnTo>
                          <a:pt x="836" y="892"/>
                        </a:lnTo>
                        <a:lnTo>
                          <a:pt x="835" y="892"/>
                        </a:lnTo>
                        <a:lnTo>
                          <a:pt x="835" y="893"/>
                        </a:lnTo>
                        <a:lnTo>
                          <a:pt x="835" y="895"/>
                        </a:lnTo>
                        <a:lnTo>
                          <a:pt x="832" y="896"/>
                        </a:lnTo>
                        <a:lnTo>
                          <a:pt x="830" y="900"/>
                        </a:lnTo>
                        <a:lnTo>
                          <a:pt x="830" y="904"/>
                        </a:lnTo>
                        <a:lnTo>
                          <a:pt x="828" y="908"/>
                        </a:lnTo>
                        <a:lnTo>
                          <a:pt x="827" y="912"/>
                        </a:lnTo>
                        <a:lnTo>
                          <a:pt x="825" y="917"/>
                        </a:lnTo>
                        <a:lnTo>
                          <a:pt x="824" y="920"/>
                        </a:lnTo>
                        <a:lnTo>
                          <a:pt x="820" y="923"/>
                        </a:lnTo>
                        <a:lnTo>
                          <a:pt x="819" y="925"/>
                        </a:lnTo>
                        <a:lnTo>
                          <a:pt x="819" y="928"/>
                        </a:lnTo>
                        <a:lnTo>
                          <a:pt x="819" y="930"/>
                        </a:lnTo>
                        <a:lnTo>
                          <a:pt x="819" y="933"/>
                        </a:lnTo>
                        <a:lnTo>
                          <a:pt x="819" y="936"/>
                        </a:lnTo>
                        <a:lnTo>
                          <a:pt x="820" y="941"/>
                        </a:lnTo>
                        <a:lnTo>
                          <a:pt x="820" y="944"/>
                        </a:lnTo>
                        <a:lnTo>
                          <a:pt x="822" y="947"/>
                        </a:lnTo>
                        <a:lnTo>
                          <a:pt x="822" y="952"/>
                        </a:lnTo>
                        <a:lnTo>
                          <a:pt x="820" y="955"/>
                        </a:lnTo>
                        <a:lnTo>
                          <a:pt x="817" y="958"/>
                        </a:lnTo>
                        <a:lnTo>
                          <a:pt x="814" y="960"/>
                        </a:lnTo>
                        <a:lnTo>
                          <a:pt x="811" y="961"/>
                        </a:lnTo>
                        <a:lnTo>
                          <a:pt x="808" y="963"/>
                        </a:lnTo>
                        <a:lnTo>
                          <a:pt x="806" y="966"/>
                        </a:lnTo>
                        <a:lnTo>
                          <a:pt x="806" y="969"/>
                        </a:lnTo>
                        <a:lnTo>
                          <a:pt x="805" y="974"/>
                        </a:lnTo>
                        <a:lnTo>
                          <a:pt x="805" y="979"/>
                        </a:lnTo>
                        <a:lnTo>
                          <a:pt x="805" y="980"/>
                        </a:lnTo>
                        <a:lnTo>
                          <a:pt x="805" y="984"/>
                        </a:lnTo>
                        <a:lnTo>
                          <a:pt x="805" y="985"/>
                        </a:lnTo>
                        <a:lnTo>
                          <a:pt x="805" y="988"/>
                        </a:lnTo>
                        <a:lnTo>
                          <a:pt x="805" y="990"/>
                        </a:lnTo>
                        <a:lnTo>
                          <a:pt x="806" y="993"/>
                        </a:lnTo>
                        <a:lnTo>
                          <a:pt x="806" y="995"/>
                        </a:lnTo>
                        <a:lnTo>
                          <a:pt x="806" y="996"/>
                        </a:lnTo>
                        <a:lnTo>
                          <a:pt x="805" y="999"/>
                        </a:lnTo>
                        <a:lnTo>
                          <a:pt x="801" y="1001"/>
                        </a:lnTo>
                        <a:lnTo>
                          <a:pt x="797" y="1007"/>
                        </a:lnTo>
                        <a:lnTo>
                          <a:pt x="792" y="1012"/>
                        </a:lnTo>
                        <a:lnTo>
                          <a:pt x="789" y="1017"/>
                        </a:lnTo>
                        <a:lnTo>
                          <a:pt x="784" y="1023"/>
                        </a:lnTo>
                        <a:lnTo>
                          <a:pt x="782" y="1025"/>
                        </a:lnTo>
                        <a:lnTo>
                          <a:pt x="781" y="1028"/>
                        </a:lnTo>
                        <a:lnTo>
                          <a:pt x="781" y="1030"/>
                        </a:lnTo>
                        <a:lnTo>
                          <a:pt x="781" y="1031"/>
                        </a:lnTo>
                        <a:lnTo>
                          <a:pt x="781" y="1033"/>
                        </a:lnTo>
                        <a:lnTo>
                          <a:pt x="784" y="1033"/>
                        </a:lnTo>
                        <a:lnTo>
                          <a:pt x="786" y="1033"/>
                        </a:lnTo>
                        <a:lnTo>
                          <a:pt x="786" y="1034"/>
                        </a:lnTo>
                        <a:lnTo>
                          <a:pt x="787" y="1034"/>
                        </a:lnTo>
                        <a:lnTo>
                          <a:pt x="790" y="1034"/>
                        </a:lnTo>
                        <a:lnTo>
                          <a:pt x="792" y="1033"/>
                        </a:lnTo>
                        <a:lnTo>
                          <a:pt x="794" y="1033"/>
                        </a:lnTo>
                        <a:lnTo>
                          <a:pt x="795" y="1033"/>
                        </a:lnTo>
                        <a:lnTo>
                          <a:pt x="797" y="1033"/>
                        </a:lnTo>
                        <a:lnTo>
                          <a:pt x="797" y="1034"/>
                        </a:lnTo>
                        <a:lnTo>
                          <a:pt x="797" y="1036"/>
                        </a:lnTo>
                        <a:lnTo>
                          <a:pt x="797" y="1037"/>
                        </a:lnTo>
                        <a:lnTo>
                          <a:pt x="795" y="1037"/>
                        </a:lnTo>
                        <a:lnTo>
                          <a:pt x="795" y="1039"/>
                        </a:lnTo>
                        <a:lnTo>
                          <a:pt x="797" y="1041"/>
                        </a:lnTo>
                        <a:lnTo>
                          <a:pt x="797" y="1039"/>
                        </a:lnTo>
                        <a:lnTo>
                          <a:pt x="798" y="1041"/>
                        </a:lnTo>
                        <a:lnTo>
                          <a:pt x="800" y="1041"/>
                        </a:lnTo>
                        <a:lnTo>
                          <a:pt x="801" y="1042"/>
                        </a:lnTo>
                        <a:lnTo>
                          <a:pt x="803" y="1042"/>
                        </a:lnTo>
                        <a:lnTo>
                          <a:pt x="805" y="1042"/>
                        </a:lnTo>
                        <a:lnTo>
                          <a:pt x="806" y="1044"/>
                        </a:lnTo>
                        <a:lnTo>
                          <a:pt x="809" y="1045"/>
                        </a:lnTo>
                        <a:lnTo>
                          <a:pt x="813" y="1045"/>
                        </a:lnTo>
                        <a:lnTo>
                          <a:pt x="814" y="1047"/>
                        </a:lnTo>
                        <a:lnTo>
                          <a:pt x="814" y="1049"/>
                        </a:lnTo>
                        <a:lnTo>
                          <a:pt x="814" y="1050"/>
                        </a:lnTo>
                        <a:lnTo>
                          <a:pt x="813" y="1052"/>
                        </a:lnTo>
                        <a:lnTo>
                          <a:pt x="814" y="1055"/>
                        </a:lnTo>
                        <a:lnTo>
                          <a:pt x="814" y="1056"/>
                        </a:lnTo>
                        <a:lnTo>
                          <a:pt x="816" y="1056"/>
                        </a:lnTo>
                        <a:lnTo>
                          <a:pt x="817" y="1056"/>
                        </a:lnTo>
                        <a:lnTo>
                          <a:pt x="817" y="1058"/>
                        </a:lnTo>
                        <a:lnTo>
                          <a:pt x="819" y="1058"/>
                        </a:lnTo>
                        <a:lnTo>
                          <a:pt x="820" y="1058"/>
                        </a:lnTo>
                        <a:lnTo>
                          <a:pt x="822" y="1058"/>
                        </a:lnTo>
                        <a:lnTo>
                          <a:pt x="822" y="1060"/>
                        </a:lnTo>
                        <a:lnTo>
                          <a:pt x="824" y="1060"/>
                        </a:lnTo>
                        <a:lnTo>
                          <a:pt x="824" y="1058"/>
                        </a:lnTo>
                        <a:lnTo>
                          <a:pt x="825" y="1056"/>
                        </a:lnTo>
                        <a:lnTo>
                          <a:pt x="825" y="1055"/>
                        </a:lnTo>
                        <a:lnTo>
                          <a:pt x="827" y="1055"/>
                        </a:lnTo>
                        <a:lnTo>
                          <a:pt x="830" y="1055"/>
                        </a:lnTo>
                        <a:lnTo>
                          <a:pt x="832" y="1055"/>
                        </a:lnTo>
                        <a:lnTo>
                          <a:pt x="833" y="1053"/>
                        </a:lnTo>
                        <a:lnTo>
                          <a:pt x="835" y="1053"/>
                        </a:lnTo>
                        <a:lnTo>
                          <a:pt x="836" y="1053"/>
                        </a:lnTo>
                        <a:lnTo>
                          <a:pt x="838" y="1053"/>
                        </a:lnTo>
                        <a:lnTo>
                          <a:pt x="839" y="1055"/>
                        </a:lnTo>
                        <a:lnTo>
                          <a:pt x="841" y="1056"/>
                        </a:lnTo>
                        <a:lnTo>
                          <a:pt x="841" y="1058"/>
                        </a:lnTo>
                        <a:lnTo>
                          <a:pt x="839" y="1060"/>
                        </a:lnTo>
                        <a:lnTo>
                          <a:pt x="838" y="1060"/>
                        </a:lnTo>
                        <a:lnTo>
                          <a:pt x="838" y="1061"/>
                        </a:lnTo>
                        <a:lnTo>
                          <a:pt x="838" y="1063"/>
                        </a:lnTo>
                        <a:lnTo>
                          <a:pt x="838" y="1064"/>
                        </a:lnTo>
                        <a:lnTo>
                          <a:pt x="838" y="1066"/>
                        </a:lnTo>
                        <a:lnTo>
                          <a:pt x="839" y="1068"/>
                        </a:lnTo>
                        <a:lnTo>
                          <a:pt x="841" y="1068"/>
                        </a:lnTo>
                        <a:lnTo>
                          <a:pt x="843" y="1069"/>
                        </a:lnTo>
                        <a:lnTo>
                          <a:pt x="844" y="1069"/>
                        </a:lnTo>
                        <a:lnTo>
                          <a:pt x="846" y="1068"/>
                        </a:lnTo>
                        <a:lnTo>
                          <a:pt x="847" y="1066"/>
                        </a:lnTo>
                        <a:lnTo>
                          <a:pt x="849" y="1064"/>
                        </a:lnTo>
                        <a:lnTo>
                          <a:pt x="852" y="1066"/>
                        </a:lnTo>
                        <a:lnTo>
                          <a:pt x="855" y="1069"/>
                        </a:lnTo>
                        <a:lnTo>
                          <a:pt x="855" y="1071"/>
                        </a:lnTo>
                        <a:lnTo>
                          <a:pt x="854" y="1071"/>
                        </a:lnTo>
                        <a:lnTo>
                          <a:pt x="852" y="1072"/>
                        </a:lnTo>
                        <a:lnTo>
                          <a:pt x="852" y="1074"/>
                        </a:lnTo>
                        <a:lnTo>
                          <a:pt x="852" y="1075"/>
                        </a:lnTo>
                        <a:lnTo>
                          <a:pt x="854" y="1075"/>
                        </a:lnTo>
                        <a:lnTo>
                          <a:pt x="855" y="1077"/>
                        </a:lnTo>
                        <a:lnTo>
                          <a:pt x="857" y="1079"/>
                        </a:lnTo>
                        <a:lnTo>
                          <a:pt x="858" y="1079"/>
                        </a:lnTo>
                        <a:lnTo>
                          <a:pt x="860" y="1079"/>
                        </a:lnTo>
                        <a:lnTo>
                          <a:pt x="862" y="1079"/>
                        </a:lnTo>
                        <a:lnTo>
                          <a:pt x="863" y="1079"/>
                        </a:lnTo>
                        <a:lnTo>
                          <a:pt x="866" y="1077"/>
                        </a:lnTo>
                        <a:lnTo>
                          <a:pt x="868" y="1075"/>
                        </a:lnTo>
                        <a:lnTo>
                          <a:pt x="870" y="1075"/>
                        </a:lnTo>
                        <a:lnTo>
                          <a:pt x="871" y="1074"/>
                        </a:lnTo>
                        <a:lnTo>
                          <a:pt x="874" y="1074"/>
                        </a:lnTo>
                        <a:lnTo>
                          <a:pt x="876" y="1074"/>
                        </a:lnTo>
                        <a:lnTo>
                          <a:pt x="878" y="1075"/>
                        </a:lnTo>
                        <a:lnTo>
                          <a:pt x="879" y="1077"/>
                        </a:lnTo>
                        <a:lnTo>
                          <a:pt x="879" y="1079"/>
                        </a:lnTo>
                        <a:lnTo>
                          <a:pt x="882" y="1079"/>
                        </a:lnTo>
                        <a:lnTo>
                          <a:pt x="882" y="1077"/>
                        </a:lnTo>
                        <a:lnTo>
                          <a:pt x="884" y="1077"/>
                        </a:lnTo>
                        <a:lnTo>
                          <a:pt x="885" y="1077"/>
                        </a:lnTo>
                        <a:lnTo>
                          <a:pt x="887" y="1077"/>
                        </a:lnTo>
                        <a:lnTo>
                          <a:pt x="889" y="1075"/>
                        </a:lnTo>
                        <a:lnTo>
                          <a:pt x="890" y="1075"/>
                        </a:lnTo>
                        <a:lnTo>
                          <a:pt x="892" y="1075"/>
                        </a:lnTo>
                        <a:lnTo>
                          <a:pt x="893" y="1075"/>
                        </a:lnTo>
                        <a:lnTo>
                          <a:pt x="895" y="1075"/>
                        </a:lnTo>
                        <a:lnTo>
                          <a:pt x="895" y="1077"/>
                        </a:lnTo>
                        <a:lnTo>
                          <a:pt x="897" y="1077"/>
                        </a:lnTo>
                        <a:lnTo>
                          <a:pt x="897" y="1079"/>
                        </a:lnTo>
                        <a:lnTo>
                          <a:pt x="895" y="1079"/>
                        </a:lnTo>
                        <a:lnTo>
                          <a:pt x="895" y="1080"/>
                        </a:lnTo>
                        <a:lnTo>
                          <a:pt x="895" y="1082"/>
                        </a:lnTo>
                        <a:lnTo>
                          <a:pt x="893" y="1082"/>
                        </a:lnTo>
                        <a:lnTo>
                          <a:pt x="893" y="1083"/>
                        </a:lnTo>
                        <a:lnTo>
                          <a:pt x="890" y="1083"/>
                        </a:lnTo>
                        <a:lnTo>
                          <a:pt x="890" y="1087"/>
                        </a:lnTo>
                        <a:lnTo>
                          <a:pt x="890" y="1088"/>
                        </a:lnTo>
                        <a:lnTo>
                          <a:pt x="892" y="1090"/>
                        </a:lnTo>
                        <a:lnTo>
                          <a:pt x="895" y="1091"/>
                        </a:lnTo>
                        <a:lnTo>
                          <a:pt x="897" y="1093"/>
                        </a:lnTo>
                        <a:lnTo>
                          <a:pt x="898" y="1094"/>
                        </a:lnTo>
                        <a:lnTo>
                          <a:pt x="900" y="1096"/>
                        </a:lnTo>
                        <a:lnTo>
                          <a:pt x="901" y="1096"/>
                        </a:lnTo>
                        <a:lnTo>
                          <a:pt x="901" y="1098"/>
                        </a:lnTo>
                        <a:lnTo>
                          <a:pt x="901" y="1099"/>
                        </a:lnTo>
                        <a:lnTo>
                          <a:pt x="903" y="1099"/>
                        </a:lnTo>
                        <a:lnTo>
                          <a:pt x="904" y="1101"/>
                        </a:lnTo>
                        <a:lnTo>
                          <a:pt x="908" y="1104"/>
                        </a:lnTo>
                        <a:lnTo>
                          <a:pt x="909" y="1106"/>
                        </a:lnTo>
                        <a:lnTo>
                          <a:pt x="911" y="1106"/>
                        </a:lnTo>
                        <a:lnTo>
                          <a:pt x="912" y="1106"/>
                        </a:lnTo>
                        <a:lnTo>
                          <a:pt x="914" y="1107"/>
                        </a:lnTo>
                        <a:lnTo>
                          <a:pt x="916" y="1109"/>
                        </a:lnTo>
                        <a:lnTo>
                          <a:pt x="916" y="1110"/>
                        </a:lnTo>
                        <a:lnTo>
                          <a:pt x="917" y="1110"/>
                        </a:lnTo>
                        <a:lnTo>
                          <a:pt x="920" y="1109"/>
                        </a:lnTo>
                        <a:lnTo>
                          <a:pt x="922" y="1109"/>
                        </a:lnTo>
                        <a:lnTo>
                          <a:pt x="922" y="1107"/>
                        </a:lnTo>
                        <a:lnTo>
                          <a:pt x="923" y="1106"/>
                        </a:lnTo>
                        <a:lnTo>
                          <a:pt x="923" y="1104"/>
                        </a:lnTo>
                        <a:lnTo>
                          <a:pt x="923" y="1102"/>
                        </a:lnTo>
                        <a:lnTo>
                          <a:pt x="923" y="1101"/>
                        </a:lnTo>
                        <a:lnTo>
                          <a:pt x="927" y="1099"/>
                        </a:lnTo>
                        <a:lnTo>
                          <a:pt x="928" y="1099"/>
                        </a:lnTo>
                        <a:lnTo>
                          <a:pt x="930" y="1099"/>
                        </a:lnTo>
                        <a:lnTo>
                          <a:pt x="930" y="1101"/>
                        </a:lnTo>
                        <a:lnTo>
                          <a:pt x="931" y="1101"/>
                        </a:lnTo>
                        <a:lnTo>
                          <a:pt x="931" y="1102"/>
                        </a:lnTo>
                        <a:lnTo>
                          <a:pt x="930" y="1102"/>
                        </a:lnTo>
                        <a:lnTo>
                          <a:pt x="928" y="1102"/>
                        </a:lnTo>
                        <a:lnTo>
                          <a:pt x="928" y="1104"/>
                        </a:lnTo>
                        <a:lnTo>
                          <a:pt x="930" y="1107"/>
                        </a:lnTo>
                        <a:lnTo>
                          <a:pt x="930" y="1109"/>
                        </a:lnTo>
                        <a:lnTo>
                          <a:pt x="930" y="1110"/>
                        </a:lnTo>
                        <a:lnTo>
                          <a:pt x="927" y="1112"/>
                        </a:lnTo>
                        <a:lnTo>
                          <a:pt x="925" y="1112"/>
                        </a:lnTo>
                        <a:lnTo>
                          <a:pt x="923" y="1113"/>
                        </a:lnTo>
                        <a:lnTo>
                          <a:pt x="922" y="1115"/>
                        </a:lnTo>
                        <a:lnTo>
                          <a:pt x="922" y="1117"/>
                        </a:lnTo>
                        <a:lnTo>
                          <a:pt x="923" y="1118"/>
                        </a:lnTo>
                        <a:lnTo>
                          <a:pt x="925" y="1118"/>
                        </a:lnTo>
                        <a:lnTo>
                          <a:pt x="925" y="1120"/>
                        </a:lnTo>
                        <a:lnTo>
                          <a:pt x="927" y="1121"/>
                        </a:lnTo>
                        <a:lnTo>
                          <a:pt x="925" y="1126"/>
                        </a:lnTo>
                        <a:lnTo>
                          <a:pt x="923" y="1125"/>
                        </a:lnTo>
                        <a:lnTo>
                          <a:pt x="922" y="1123"/>
                        </a:lnTo>
                        <a:lnTo>
                          <a:pt x="919" y="1123"/>
                        </a:lnTo>
                        <a:lnTo>
                          <a:pt x="911" y="1123"/>
                        </a:lnTo>
                        <a:lnTo>
                          <a:pt x="904" y="1123"/>
                        </a:lnTo>
                        <a:lnTo>
                          <a:pt x="897" y="1125"/>
                        </a:lnTo>
                        <a:lnTo>
                          <a:pt x="889" y="1125"/>
                        </a:lnTo>
                        <a:lnTo>
                          <a:pt x="885" y="1125"/>
                        </a:lnTo>
                        <a:lnTo>
                          <a:pt x="874" y="1123"/>
                        </a:lnTo>
                        <a:lnTo>
                          <a:pt x="866" y="1125"/>
                        </a:lnTo>
                        <a:lnTo>
                          <a:pt x="860" y="1123"/>
                        </a:lnTo>
                        <a:lnTo>
                          <a:pt x="827" y="1123"/>
                        </a:lnTo>
                        <a:lnTo>
                          <a:pt x="825" y="1126"/>
                        </a:lnTo>
                        <a:lnTo>
                          <a:pt x="825" y="1129"/>
                        </a:lnTo>
                        <a:lnTo>
                          <a:pt x="827" y="1132"/>
                        </a:lnTo>
                        <a:lnTo>
                          <a:pt x="827" y="1134"/>
                        </a:lnTo>
                        <a:lnTo>
                          <a:pt x="825" y="1137"/>
                        </a:lnTo>
                        <a:lnTo>
                          <a:pt x="825" y="1140"/>
                        </a:lnTo>
                        <a:lnTo>
                          <a:pt x="824" y="1142"/>
                        </a:lnTo>
                        <a:lnTo>
                          <a:pt x="813" y="1140"/>
                        </a:lnTo>
                        <a:lnTo>
                          <a:pt x="808" y="1140"/>
                        </a:lnTo>
                        <a:lnTo>
                          <a:pt x="806" y="1142"/>
                        </a:lnTo>
                        <a:lnTo>
                          <a:pt x="800" y="1139"/>
                        </a:lnTo>
                        <a:lnTo>
                          <a:pt x="790" y="1136"/>
                        </a:lnTo>
                        <a:lnTo>
                          <a:pt x="787" y="1136"/>
                        </a:lnTo>
                        <a:lnTo>
                          <a:pt x="782" y="1137"/>
                        </a:lnTo>
                        <a:lnTo>
                          <a:pt x="757" y="1144"/>
                        </a:lnTo>
                        <a:lnTo>
                          <a:pt x="756" y="1145"/>
                        </a:lnTo>
                        <a:lnTo>
                          <a:pt x="751" y="1147"/>
                        </a:lnTo>
                        <a:lnTo>
                          <a:pt x="748" y="1148"/>
                        </a:lnTo>
                        <a:lnTo>
                          <a:pt x="732" y="1150"/>
                        </a:lnTo>
                        <a:lnTo>
                          <a:pt x="729" y="1148"/>
                        </a:lnTo>
                        <a:lnTo>
                          <a:pt x="727" y="1148"/>
                        </a:lnTo>
                        <a:lnTo>
                          <a:pt x="722" y="1145"/>
                        </a:lnTo>
                        <a:lnTo>
                          <a:pt x="714" y="1145"/>
                        </a:lnTo>
                        <a:lnTo>
                          <a:pt x="702" y="1145"/>
                        </a:lnTo>
                        <a:lnTo>
                          <a:pt x="691" y="1145"/>
                        </a:lnTo>
                        <a:lnTo>
                          <a:pt x="686" y="1147"/>
                        </a:lnTo>
                        <a:lnTo>
                          <a:pt x="678" y="1145"/>
                        </a:lnTo>
                        <a:lnTo>
                          <a:pt x="645" y="1145"/>
                        </a:lnTo>
                        <a:lnTo>
                          <a:pt x="638" y="1145"/>
                        </a:lnTo>
                        <a:lnTo>
                          <a:pt x="635" y="1145"/>
                        </a:lnTo>
                        <a:lnTo>
                          <a:pt x="632" y="1145"/>
                        </a:lnTo>
                        <a:lnTo>
                          <a:pt x="613" y="1147"/>
                        </a:lnTo>
                        <a:lnTo>
                          <a:pt x="592" y="1148"/>
                        </a:lnTo>
                        <a:lnTo>
                          <a:pt x="586" y="1147"/>
                        </a:lnTo>
                        <a:lnTo>
                          <a:pt x="575" y="1147"/>
                        </a:lnTo>
                        <a:lnTo>
                          <a:pt x="569" y="1147"/>
                        </a:lnTo>
                        <a:lnTo>
                          <a:pt x="543" y="1148"/>
                        </a:lnTo>
                        <a:lnTo>
                          <a:pt x="542" y="1148"/>
                        </a:lnTo>
                        <a:lnTo>
                          <a:pt x="540" y="1148"/>
                        </a:lnTo>
                        <a:lnTo>
                          <a:pt x="539" y="1148"/>
                        </a:lnTo>
                        <a:lnTo>
                          <a:pt x="535" y="1148"/>
                        </a:lnTo>
                        <a:lnTo>
                          <a:pt x="527" y="1148"/>
                        </a:lnTo>
                        <a:lnTo>
                          <a:pt x="513" y="1148"/>
                        </a:lnTo>
                        <a:lnTo>
                          <a:pt x="507" y="1148"/>
                        </a:lnTo>
                        <a:lnTo>
                          <a:pt x="491" y="1148"/>
                        </a:lnTo>
                        <a:lnTo>
                          <a:pt x="481" y="1148"/>
                        </a:lnTo>
                        <a:lnTo>
                          <a:pt x="475" y="1148"/>
                        </a:lnTo>
                        <a:lnTo>
                          <a:pt x="459" y="1147"/>
                        </a:lnTo>
                        <a:lnTo>
                          <a:pt x="455" y="1145"/>
                        </a:lnTo>
                        <a:lnTo>
                          <a:pt x="451" y="1145"/>
                        </a:lnTo>
                        <a:lnTo>
                          <a:pt x="447" y="1145"/>
                        </a:lnTo>
                        <a:lnTo>
                          <a:pt x="439" y="1144"/>
                        </a:lnTo>
                        <a:lnTo>
                          <a:pt x="434" y="1144"/>
                        </a:lnTo>
                        <a:lnTo>
                          <a:pt x="428" y="1144"/>
                        </a:lnTo>
                        <a:lnTo>
                          <a:pt x="418" y="1142"/>
                        </a:lnTo>
                        <a:lnTo>
                          <a:pt x="415" y="1142"/>
                        </a:lnTo>
                        <a:lnTo>
                          <a:pt x="412" y="1142"/>
                        </a:lnTo>
                        <a:lnTo>
                          <a:pt x="412" y="1144"/>
                        </a:lnTo>
                        <a:lnTo>
                          <a:pt x="402" y="1144"/>
                        </a:lnTo>
                        <a:lnTo>
                          <a:pt x="390" y="1144"/>
                        </a:lnTo>
                        <a:lnTo>
                          <a:pt x="382" y="1144"/>
                        </a:lnTo>
                        <a:lnTo>
                          <a:pt x="366" y="1145"/>
                        </a:lnTo>
                        <a:lnTo>
                          <a:pt x="352" y="1145"/>
                        </a:lnTo>
                        <a:lnTo>
                          <a:pt x="350" y="1145"/>
                        </a:lnTo>
                        <a:lnTo>
                          <a:pt x="345" y="1144"/>
                        </a:lnTo>
                        <a:lnTo>
                          <a:pt x="344" y="1144"/>
                        </a:lnTo>
                        <a:lnTo>
                          <a:pt x="333" y="1144"/>
                        </a:lnTo>
                        <a:lnTo>
                          <a:pt x="323" y="1144"/>
                        </a:lnTo>
                        <a:lnTo>
                          <a:pt x="306" y="1144"/>
                        </a:lnTo>
                        <a:lnTo>
                          <a:pt x="298" y="1144"/>
                        </a:lnTo>
                        <a:lnTo>
                          <a:pt x="261" y="1145"/>
                        </a:lnTo>
                        <a:lnTo>
                          <a:pt x="252" y="1144"/>
                        </a:lnTo>
                        <a:lnTo>
                          <a:pt x="245" y="1142"/>
                        </a:lnTo>
                        <a:lnTo>
                          <a:pt x="244" y="1142"/>
                        </a:lnTo>
                        <a:lnTo>
                          <a:pt x="233" y="1142"/>
                        </a:lnTo>
                        <a:lnTo>
                          <a:pt x="230" y="1142"/>
                        </a:lnTo>
                        <a:lnTo>
                          <a:pt x="217" y="1140"/>
                        </a:lnTo>
                        <a:lnTo>
                          <a:pt x="215" y="1139"/>
                        </a:lnTo>
                        <a:lnTo>
                          <a:pt x="214" y="1139"/>
                        </a:lnTo>
                        <a:lnTo>
                          <a:pt x="206" y="1139"/>
                        </a:lnTo>
                        <a:lnTo>
                          <a:pt x="198" y="1137"/>
                        </a:lnTo>
                        <a:lnTo>
                          <a:pt x="196" y="1137"/>
                        </a:lnTo>
                        <a:lnTo>
                          <a:pt x="182" y="1137"/>
                        </a:lnTo>
                        <a:lnTo>
                          <a:pt x="158" y="1139"/>
                        </a:lnTo>
                        <a:lnTo>
                          <a:pt x="155" y="1139"/>
                        </a:lnTo>
                        <a:lnTo>
                          <a:pt x="143" y="1137"/>
                        </a:lnTo>
                        <a:lnTo>
                          <a:pt x="141" y="1137"/>
                        </a:lnTo>
                        <a:lnTo>
                          <a:pt x="138" y="1137"/>
                        </a:lnTo>
                        <a:lnTo>
                          <a:pt x="133" y="1137"/>
                        </a:lnTo>
                        <a:lnTo>
                          <a:pt x="131" y="1137"/>
                        </a:lnTo>
                        <a:lnTo>
                          <a:pt x="131" y="1132"/>
                        </a:lnTo>
                        <a:lnTo>
                          <a:pt x="133" y="1129"/>
                        </a:lnTo>
                        <a:lnTo>
                          <a:pt x="135" y="1128"/>
                        </a:lnTo>
                        <a:lnTo>
                          <a:pt x="136" y="1125"/>
                        </a:lnTo>
                        <a:lnTo>
                          <a:pt x="138" y="1123"/>
                        </a:lnTo>
                        <a:lnTo>
                          <a:pt x="141" y="1121"/>
                        </a:lnTo>
                        <a:lnTo>
                          <a:pt x="146" y="1120"/>
                        </a:lnTo>
                        <a:lnTo>
                          <a:pt x="147" y="1118"/>
                        </a:lnTo>
                        <a:lnTo>
                          <a:pt x="150" y="1115"/>
                        </a:lnTo>
                        <a:lnTo>
                          <a:pt x="152" y="1112"/>
                        </a:lnTo>
                        <a:lnTo>
                          <a:pt x="152" y="1110"/>
                        </a:lnTo>
                        <a:lnTo>
                          <a:pt x="154" y="1109"/>
                        </a:lnTo>
                        <a:lnTo>
                          <a:pt x="154" y="1107"/>
                        </a:lnTo>
                        <a:lnTo>
                          <a:pt x="154" y="1106"/>
                        </a:lnTo>
                        <a:lnTo>
                          <a:pt x="154" y="1102"/>
                        </a:lnTo>
                        <a:lnTo>
                          <a:pt x="155" y="1102"/>
                        </a:lnTo>
                        <a:lnTo>
                          <a:pt x="158" y="1101"/>
                        </a:lnTo>
                        <a:lnTo>
                          <a:pt x="160" y="1101"/>
                        </a:lnTo>
                        <a:lnTo>
                          <a:pt x="165" y="1101"/>
                        </a:lnTo>
                        <a:lnTo>
                          <a:pt x="168" y="1101"/>
                        </a:lnTo>
                        <a:lnTo>
                          <a:pt x="171" y="1101"/>
                        </a:lnTo>
                        <a:lnTo>
                          <a:pt x="173" y="1101"/>
                        </a:lnTo>
                        <a:lnTo>
                          <a:pt x="176" y="1101"/>
                        </a:lnTo>
                        <a:lnTo>
                          <a:pt x="179" y="1102"/>
                        </a:lnTo>
                        <a:lnTo>
                          <a:pt x="182" y="1102"/>
                        </a:lnTo>
                        <a:lnTo>
                          <a:pt x="184" y="1102"/>
                        </a:lnTo>
                        <a:lnTo>
                          <a:pt x="187" y="1102"/>
                        </a:lnTo>
                        <a:lnTo>
                          <a:pt x="188" y="1101"/>
                        </a:lnTo>
                        <a:lnTo>
                          <a:pt x="190" y="1099"/>
                        </a:lnTo>
                        <a:lnTo>
                          <a:pt x="192" y="1096"/>
                        </a:lnTo>
                        <a:lnTo>
                          <a:pt x="192" y="1093"/>
                        </a:lnTo>
                        <a:lnTo>
                          <a:pt x="193" y="1090"/>
                        </a:lnTo>
                        <a:lnTo>
                          <a:pt x="195" y="1087"/>
                        </a:lnTo>
                        <a:lnTo>
                          <a:pt x="196" y="1083"/>
                        </a:lnTo>
                        <a:lnTo>
                          <a:pt x="196" y="1080"/>
                        </a:lnTo>
                        <a:lnTo>
                          <a:pt x="198" y="1074"/>
                        </a:lnTo>
                        <a:lnTo>
                          <a:pt x="198" y="1071"/>
                        </a:lnTo>
                        <a:lnTo>
                          <a:pt x="198" y="1068"/>
                        </a:lnTo>
                        <a:lnTo>
                          <a:pt x="200" y="1066"/>
                        </a:lnTo>
                        <a:lnTo>
                          <a:pt x="198" y="1063"/>
                        </a:lnTo>
                        <a:lnTo>
                          <a:pt x="198" y="1061"/>
                        </a:lnTo>
                        <a:lnTo>
                          <a:pt x="198" y="1060"/>
                        </a:lnTo>
                        <a:lnTo>
                          <a:pt x="196" y="1058"/>
                        </a:lnTo>
                        <a:lnTo>
                          <a:pt x="195" y="1056"/>
                        </a:lnTo>
                        <a:lnTo>
                          <a:pt x="193" y="1055"/>
                        </a:lnTo>
                        <a:lnTo>
                          <a:pt x="192" y="1055"/>
                        </a:lnTo>
                        <a:lnTo>
                          <a:pt x="192" y="1053"/>
                        </a:lnTo>
                        <a:lnTo>
                          <a:pt x="188" y="1053"/>
                        </a:lnTo>
                        <a:lnTo>
                          <a:pt x="187" y="1052"/>
                        </a:lnTo>
                        <a:lnTo>
                          <a:pt x="185" y="1052"/>
                        </a:lnTo>
                        <a:lnTo>
                          <a:pt x="184" y="1049"/>
                        </a:lnTo>
                        <a:lnTo>
                          <a:pt x="177" y="1045"/>
                        </a:lnTo>
                        <a:lnTo>
                          <a:pt x="173" y="1042"/>
                        </a:lnTo>
                        <a:lnTo>
                          <a:pt x="171" y="1039"/>
                        </a:lnTo>
                        <a:lnTo>
                          <a:pt x="168" y="1036"/>
                        </a:lnTo>
                        <a:lnTo>
                          <a:pt x="168" y="1033"/>
                        </a:lnTo>
                        <a:lnTo>
                          <a:pt x="166" y="1031"/>
                        </a:lnTo>
                        <a:lnTo>
                          <a:pt x="165" y="1030"/>
                        </a:lnTo>
                        <a:lnTo>
                          <a:pt x="163" y="1028"/>
                        </a:lnTo>
                        <a:lnTo>
                          <a:pt x="162" y="1026"/>
                        </a:lnTo>
                        <a:lnTo>
                          <a:pt x="160" y="1026"/>
                        </a:lnTo>
                        <a:lnTo>
                          <a:pt x="157" y="1025"/>
                        </a:lnTo>
                        <a:lnTo>
                          <a:pt x="152" y="1020"/>
                        </a:lnTo>
                        <a:lnTo>
                          <a:pt x="150" y="1017"/>
                        </a:lnTo>
                        <a:lnTo>
                          <a:pt x="147" y="1015"/>
                        </a:lnTo>
                        <a:lnTo>
                          <a:pt x="147" y="1014"/>
                        </a:lnTo>
                        <a:lnTo>
                          <a:pt x="146" y="1014"/>
                        </a:lnTo>
                        <a:lnTo>
                          <a:pt x="144" y="1012"/>
                        </a:lnTo>
                        <a:lnTo>
                          <a:pt x="143" y="1011"/>
                        </a:lnTo>
                        <a:lnTo>
                          <a:pt x="138" y="1011"/>
                        </a:lnTo>
                        <a:lnTo>
                          <a:pt x="135" y="1009"/>
                        </a:lnTo>
                        <a:lnTo>
                          <a:pt x="131" y="1009"/>
                        </a:lnTo>
                        <a:lnTo>
                          <a:pt x="128" y="1011"/>
                        </a:lnTo>
                        <a:lnTo>
                          <a:pt x="125" y="1011"/>
                        </a:lnTo>
                        <a:lnTo>
                          <a:pt x="124" y="1011"/>
                        </a:lnTo>
                        <a:lnTo>
                          <a:pt x="122" y="1012"/>
                        </a:lnTo>
                        <a:lnTo>
                          <a:pt x="120" y="1014"/>
                        </a:lnTo>
                        <a:lnTo>
                          <a:pt x="119" y="1015"/>
                        </a:lnTo>
                        <a:lnTo>
                          <a:pt x="119" y="1020"/>
                        </a:lnTo>
                        <a:lnTo>
                          <a:pt x="120" y="1025"/>
                        </a:lnTo>
                        <a:lnTo>
                          <a:pt x="122" y="1028"/>
                        </a:lnTo>
                        <a:lnTo>
                          <a:pt x="122" y="1031"/>
                        </a:lnTo>
                        <a:lnTo>
                          <a:pt x="124" y="1033"/>
                        </a:lnTo>
                        <a:lnTo>
                          <a:pt x="124" y="1034"/>
                        </a:lnTo>
                        <a:lnTo>
                          <a:pt x="124" y="1036"/>
                        </a:lnTo>
                        <a:lnTo>
                          <a:pt x="122" y="1037"/>
                        </a:lnTo>
                        <a:lnTo>
                          <a:pt x="119" y="1037"/>
                        </a:lnTo>
                        <a:lnTo>
                          <a:pt x="109" y="1041"/>
                        </a:lnTo>
                        <a:lnTo>
                          <a:pt x="101" y="1044"/>
                        </a:lnTo>
                        <a:lnTo>
                          <a:pt x="97" y="1047"/>
                        </a:lnTo>
                        <a:lnTo>
                          <a:pt x="93" y="1047"/>
                        </a:lnTo>
                        <a:lnTo>
                          <a:pt x="90" y="1049"/>
                        </a:lnTo>
                        <a:lnTo>
                          <a:pt x="87" y="1050"/>
                        </a:lnTo>
                        <a:lnTo>
                          <a:pt x="87" y="1049"/>
                        </a:lnTo>
                        <a:lnTo>
                          <a:pt x="87" y="1045"/>
                        </a:lnTo>
                        <a:lnTo>
                          <a:pt x="87" y="1044"/>
                        </a:lnTo>
                        <a:lnTo>
                          <a:pt x="87" y="1042"/>
                        </a:lnTo>
                        <a:lnTo>
                          <a:pt x="85" y="1037"/>
                        </a:lnTo>
                        <a:lnTo>
                          <a:pt x="85" y="1034"/>
                        </a:lnTo>
                        <a:lnTo>
                          <a:pt x="84" y="1031"/>
                        </a:lnTo>
                        <a:lnTo>
                          <a:pt x="82" y="1028"/>
                        </a:lnTo>
                        <a:lnTo>
                          <a:pt x="82" y="1026"/>
                        </a:lnTo>
                        <a:lnTo>
                          <a:pt x="82" y="1023"/>
                        </a:lnTo>
                        <a:lnTo>
                          <a:pt x="82" y="1022"/>
                        </a:lnTo>
                        <a:lnTo>
                          <a:pt x="82" y="1020"/>
                        </a:lnTo>
                        <a:lnTo>
                          <a:pt x="82" y="1018"/>
                        </a:lnTo>
                        <a:lnTo>
                          <a:pt x="82" y="1015"/>
                        </a:lnTo>
                        <a:lnTo>
                          <a:pt x="81" y="1014"/>
                        </a:lnTo>
                        <a:lnTo>
                          <a:pt x="81" y="1012"/>
                        </a:lnTo>
                        <a:lnTo>
                          <a:pt x="81" y="1011"/>
                        </a:lnTo>
                        <a:lnTo>
                          <a:pt x="81" y="1009"/>
                        </a:lnTo>
                        <a:lnTo>
                          <a:pt x="81" y="1004"/>
                        </a:lnTo>
                        <a:lnTo>
                          <a:pt x="81" y="1003"/>
                        </a:lnTo>
                        <a:lnTo>
                          <a:pt x="81" y="999"/>
                        </a:lnTo>
                        <a:lnTo>
                          <a:pt x="81" y="998"/>
                        </a:lnTo>
                        <a:lnTo>
                          <a:pt x="79" y="991"/>
                        </a:lnTo>
                        <a:lnTo>
                          <a:pt x="78" y="990"/>
                        </a:lnTo>
                        <a:lnTo>
                          <a:pt x="78" y="988"/>
                        </a:lnTo>
                        <a:lnTo>
                          <a:pt x="76" y="987"/>
                        </a:lnTo>
                        <a:lnTo>
                          <a:pt x="74" y="985"/>
                        </a:lnTo>
                        <a:lnTo>
                          <a:pt x="74" y="984"/>
                        </a:lnTo>
                        <a:lnTo>
                          <a:pt x="74" y="982"/>
                        </a:lnTo>
                        <a:lnTo>
                          <a:pt x="76" y="980"/>
                        </a:lnTo>
                        <a:lnTo>
                          <a:pt x="76" y="977"/>
                        </a:lnTo>
                        <a:lnTo>
                          <a:pt x="76" y="976"/>
                        </a:lnTo>
                        <a:lnTo>
                          <a:pt x="76" y="974"/>
                        </a:lnTo>
                        <a:lnTo>
                          <a:pt x="74" y="972"/>
                        </a:lnTo>
                        <a:lnTo>
                          <a:pt x="74" y="971"/>
                        </a:lnTo>
                        <a:lnTo>
                          <a:pt x="74" y="968"/>
                        </a:lnTo>
                        <a:lnTo>
                          <a:pt x="76" y="968"/>
                        </a:lnTo>
                        <a:lnTo>
                          <a:pt x="78" y="963"/>
                        </a:lnTo>
                        <a:lnTo>
                          <a:pt x="78" y="961"/>
                        </a:lnTo>
                        <a:lnTo>
                          <a:pt x="78" y="960"/>
                        </a:lnTo>
                        <a:lnTo>
                          <a:pt x="81" y="958"/>
                        </a:lnTo>
                        <a:lnTo>
                          <a:pt x="84" y="957"/>
                        </a:lnTo>
                        <a:lnTo>
                          <a:pt x="89" y="952"/>
                        </a:lnTo>
                        <a:lnTo>
                          <a:pt x="90" y="950"/>
                        </a:lnTo>
                        <a:lnTo>
                          <a:pt x="92" y="947"/>
                        </a:lnTo>
                        <a:lnTo>
                          <a:pt x="93" y="942"/>
                        </a:lnTo>
                        <a:lnTo>
                          <a:pt x="93" y="941"/>
                        </a:lnTo>
                        <a:lnTo>
                          <a:pt x="95" y="936"/>
                        </a:lnTo>
                        <a:lnTo>
                          <a:pt x="98" y="933"/>
                        </a:lnTo>
                        <a:lnTo>
                          <a:pt x="101" y="930"/>
                        </a:lnTo>
                        <a:lnTo>
                          <a:pt x="106" y="927"/>
                        </a:lnTo>
                        <a:lnTo>
                          <a:pt x="111" y="923"/>
                        </a:lnTo>
                        <a:lnTo>
                          <a:pt x="114" y="922"/>
                        </a:lnTo>
                        <a:lnTo>
                          <a:pt x="116" y="920"/>
                        </a:lnTo>
                        <a:lnTo>
                          <a:pt x="117" y="920"/>
                        </a:lnTo>
                        <a:lnTo>
                          <a:pt x="119" y="922"/>
                        </a:lnTo>
                        <a:lnTo>
                          <a:pt x="120" y="922"/>
                        </a:lnTo>
                        <a:lnTo>
                          <a:pt x="124" y="923"/>
                        </a:lnTo>
                        <a:lnTo>
                          <a:pt x="125" y="925"/>
                        </a:lnTo>
                        <a:lnTo>
                          <a:pt x="130" y="927"/>
                        </a:lnTo>
                        <a:lnTo>
                          <a:pt x="131" y="927"/>
                        </a:lnTo>
                        <a:lnTo>
                          <a:pt x="138" y="930"/>
                        </a:lnTo>
                        <a:lnTo>
                          <a:pt x="141" y="933"/>
                        </a:lnTo>
                        <a:lnTo>
                          <a:pt x="147" y="931"/>
                        </a:lnTo>
                        <a:lnTo>
                          <a:pt x="155" y="931"/>
                        </a:lnTo>
                        <a:lnTo>
                          <a:pt x="165" y="933"/>
                        </a:lnTo>
                        <a:lnTo>
                          <a:pt x="168" y="933"/>
                        </a:lnTo>
                        <a:lnTo>
                          <a:pt x="171" y="933"/>
                        </a:lnTo>
                        <a:lnTo>
                          <a:pt x="174" y="933"/>
                        </a:lnTo>
                        <a:lnTo>
                          <a:pt x="177" y="933"/>
                        </a:lnTo>
                        <a:lnTo>
                          <a:pt x="184" y="934"/>
                        </a:lnTo>
                        <a:lnTo>
                          <a:pt x="185" y="933"/>
                        </a:lnTo>
                        <a:lnTo>
                          <a:pt x="185" y="931"/>
                        </a:lnTo>
                        <a:lnTo>
                          <a:pt x="185" y="930"/>
                        </a:lnTo>
                        <a:lnTo>
                          <a:pt x="185" y="928"/>
                        </a:lnTo>
                        <a:lnTo>
                          <a:pt x="187" y="927"/>
                        </a:lnTo>
                        <a:lnTo>
                          <a:pt x="187" y="925"/>
                        </a:lnTo>
                        <a:lnTo>
                          <a:pt x="187" y="922"/>
                        </a:lnTo>
                        <a:lnTo>
                          <a:pt x="187" y="920"/>
                        </a:lnTo>
                        <a:lnTo>
                          <a:pt x="187" y="919"/>
                        </a:lnTo>
                        <a:lnTo>
                          <a:pt x="187" y="915"/>
                        </a:lnTo>
                        <a:lnTo>
                          <a:pt x="187" y="912"/>
                        </a:lnTo>
                        <a:lnTo>
                          <a:pt x="188" y="911"/>
                        </a:lnTo>
                        <a:lnTo>
                          <a:pt x="188" y="909"/>
                        </a:lnTo>
                        <a:lnTo>
                          <a:pt x="190" y="908"/>
                        </a:lnTo>
                        <a:lnTo>
                          <a:pt x="190" y="906"/>
                        </a:lnTo>
                        <a:lnTo>
                          <a:pt x="190" y="904"/>
                        </a:lnTo>
                        <a:lnTo>
                          <a:pt x="192" y="904"/>
                        </a:lnTo>
                        <a:lnTo>
                          <a:pt x="193" y="904"/>
                        </a:lnTo>
                        <a:lnTo>
                          <a:pt x="195" y="904"/>
                        </a:lnTo>
                        <a:lnTo>
                          <a:pt x="196" y="906"/>
                        </a:lnTo>
                        <a:lnTo>
                          <a:pt x="198" y="904"/>
                        </a:lnTo>
                        <a:lnTo>
                          <a:pt x="201" y="904"/>
                        </a:lnTo>
                        <a:lnTo>
                          <a:pt x="203" y="904"/>
                        </a:lnTo>
                        <a:lnTo>
                          <a:pt x="204" y="904"/>
                        </a:lnTo>
                        <a:lnTo>
                          <a:pt x="206" y="904"/>
                        </a:lnTo>
                        <a:lnTo>
                          <a:pt x="207" y="904"/>
                        </a:lnTo>
                        <a:lnTo>
                          <a:pt x="209" y="904"/>
                        </a:lnTo>
                        <a:lnTo>
                          <a:pt x="211" y="904"/>
                        </a:lnTo>
                        <a:lnTo>
                          <a:pt x="212" y="904"/>
                        </a:lnTo>
                        <a:lnTo>
                          <a:pt x="214" y="904"/>
                        </a:lnTo>
                        <a:lnTo>
                          <a:pt x="215" y="904"/>
                        </a:lnTo>
                        <a:lnTo>
                          <a:pt x="215" y="906"/>
                        </a:lnTo>
                        <a:lnTo>
                          <a:pt x="217" y="906"/>
                        </a:lnTo>
                        <a:lnTo>
                          <a:pt x="219" y="906"/>
                        </a:lnTo>
                        <a:lnTo>
                          <a:pt x="220" y="904"/>
                        </a:lnTo>
                        <a:lnTo>
                          <a:pt x="222" y="904"/>
                        </a:lnTo>
                        <a:lnTo>
                          <a:pt x="222" y="903"/>
                        </a:lnTo>
                        <a:lnTo>
                          <a:pt x="223" y="903"/>
                        </a:lnTo>
                        <a:lnTo>
                          <a:pt x="223" y="904"/>
                        </a:lnTo>
                        <a:lnTo>
                          <a:pt x="225" y="903"/>
                        </a:lnTo>
                        <a:lnTo>
                          <a:pt x="226" y="904"/>
                        </a:lnTo>
                        <a:lnTo>
                          <a:pt x="228" y="904"/>
                        </a:lnTo>
                        <a:lnTo>
                          <a:pt x="230" y="903"/>
                        </a:lnTo>
                        <a:lnTo>
                          <a:pt x="230" y="901"/>
                        </a:lnTo>
                        <a:lnTo>
                          <a:pt x="230" y="900"/>
                        </a:lnTo>
                        <a:lnTo>
                          <a:pt x="231" y="898"/>
                        </a:lnTo>
                        <a:lnTo>
                          <a:pt x="233" y="898"/>
                        </a:lnTo>
                        <a:lnTo>
                          <a:pt x="234" y="896"/>
                        </a:lnTo>
                        <a:lnTo>
                          <a:pt x="238" y="896"/>
                        </a:lnTo>
                        <a:lnTo>
                          <a:pt x="238" y="895"/>
                        </a:lnTo>
                        <a:lnTo>
                          <a:pt x="241" y="892"/>
                        </a:lnTo>
                        <a:lnTo>
                          <a:pt x="244" y="892"/>
                        </a:lnTo>
                        <a:lnTo>
                          <a:pt x="245" y="890"/>
                        </a:lnTo>
                        <a:lnTo>
                          <a:pt x="247" y="889"/>
                        </a:lnTo>
                        <a:lnTo>
                          <a:pt x="249" y="889"/>
                        </a:lnTo>
                        <a:lnTo>
                          <a:pt x="250" y="885"/>
                        </a:lnTo>
                        <a:lnTo>
                          <a:pt x="253" y="882"/>
                        </a:lnTo>
                        <a:lnTo>
                          <a:pt x="255" y="882"/>
                        </a:lnTo>
                        <a:lnTo>
                          <a:pt x="253" y="881"/>
                        </a:lnTo>
                        <a:lnTo>
                          <a:pt x="252" y="877"/>
                        </a:lnTo>
                        <a:lnTo>
                          <a:pt x="250" y="877"/>
                        </a:lnTo>
                        <a:lnTo>
                          <a:pt x="250" y="876"/>
                        </a:lnTo>
                        <a:lnTo>
                          <a:pt x="249" y="874"/>
                        </a:lnTo>
                        <a:lnTo>
                          <a:pt x="247" y="873"/>
                        </a:lnTo>
                        <a:lnTo>
                          <a:pt x="245" y="873"/>
                        </a:lnTo>
                        <a:lnTo>
                          <a:pt x="244" y="873"/>
                        </a:lnTo>
                        <a:lnTo>
                          <a:pt x="242" y="871"/>
                        </a:lnTo>
                        <a:lnTo>
                          <a:pt x="242" y="870"/>
                        </a:lnTo>
                        <a:lnTo>
                          <a:pt x="241" y="870"/>
                        </a:lnTo>
                        <a:lnTo>
                          <a:pt x="238" y="868"/>
                        </a:lnTo>
                        <a:lnTo>
                          <a:pt x="236" y="866"/>
                        </a:lnTo>
                        <a:lnTo>
                          <a:pt x="231" y="866"/>
                        </a:lnTo>
                        <a:lnTo>
                          <a:pt x="228" y="866"/>
                        </a:lnTo>
                        <a:lnTo>
                          <a:pt x="222" y="865"/>
                        </a:lnTo>
                        <a:lnTo>
                          <a:pt x="217" y="863"/>
                        </a:lnTo>
                        <a:lnTo>
                          <a:pt x="215" y="862"/>
                        </a:lnTo>
                        <a:lnTo>
                          <a:pt x="212" y="858"/>
                        </a:lnTo>
                        <a:lnTo>
                          <a:pt x="203" y="852"/>
                        </a:lnTo>
                        <a:lnTo>
                          <a:pt x="201" y="851"/>
                        </a:lnTo>
                        <a:lnTo>
                          <a:pt x="200" y="849"/>
                        </a:lnTo>
                        <a:lnTo>
                          <a:pt x="198" y="849"/>
                        </a:lnTo>
                        <a:lnTo>
                          <a:pt x="195" y="849"/>
                        </a:lnTo>
                        <a:lnTo>
                          <a:pt x="193" y="849"/>
                        </a:lnTo>
                        <a:lnTo>
                          <a:pt x="190" y="847"/>
                        </a:lnTo>
                        <a:lnTo>
                          <a:pt x="184" y="844"/>
                        </a:lnTo>
                        <a:lnTo>
                          <a:pt x="179" y="843"/>
                        </a:lnTo>
                        <a:lnTo>
                          <a:pt x="171" y="838"/>
                        </a:lnTo>
                        <a:lnTo>
                          <a:pt x="168" y="835"/>
                        </a:lnTo>
                        <a:lnTo>
                          <a:pt x="163" y="832"/>
                        </a:lnTo>
                        <a:lnTo>
                          <a:pt x="160" y="828"/>
                        </a:lnTo>
                        <a:lnTo>
                          <a:pt x="158" y="827"/>
                        </a:lnTo>
                        <a:lnTo>
                          <a:pt x="158" y="824"/>
                        </a:lnTo>
                        <a:lnTo>
                          <a:pt x="157" y="822"/>
                        </a:lnTo>
                        <a:lnTo>
                          <a:pt x="157" y="820"/>
                        </a:lnTo>
                        <a:lnTo>
                          <a:pt x="158" y="817"/>
                        </a:lnTo>
                        <a:lnTo>
                          <a:pt x="158" y="814"/>
                        </a:lnTo>
                        <a:lnTo>
                          <a:pt x="160" y="811"/>
                        </a:lnTo>
                        <a:lnTo>
                          <a:pt x="162" y="803"/>
                        </a:lnTo>
                        <a:lnTo>
                          <a:pt x="162" y="800"/>
                        </a:lnTo>
                        <a:lnTo>
                          <a:pt x="162" y="793"/>
                        </a:lnTo>
                        <a:lnTo>
                          <a:pt x="162" y="789"/>
                        </a:lnTo>
                        <a:lnTo>
                          <a:pt x="160" y="784"/>
                        </a:lnTo>
                        <a:lnTo>
                          <a:pt x="160" y="781"/>
                        </a:lnTo>
                        <a:lnTo>
                          <a:pt x="158" y="779"/>
                        </a:lnTo>
                        <a:lnTo>
                          <a:pt x="158" y="776"/>
                        </a:lnTo>
                        <a:lnTo>
                          <a:pt x="155" y="773"/>
                        </a:lnTo>
                        <a:lnTo>
                          <a:pt x="154" y="771"/>
                        </a:lnTo>
                        <a:lnTo>
                          <a:pt x="152" y="768"/>
                        </a:lnTo>
                        <a:lnTo>
                          <a:pt x="149" y="767"/>
                        </a:lnTo>
                        <a:lnTo>
                          <a:pt x="147" y="765"/>
                        </a:lnTo>
                        <a:lnTo>
                          <a:pt x="144" y="763"/>
                        </a:lnTo>
                        <a:lnTo>
                          <a:pt x="141" y="762"/>
                        </a:lnTo>
                        <a:lnTo>
                          <a:pt x="139" y="762"/>
                        </a:lnTo>
                        <a:lnTo>
                          <a:pt x="136" y="760"/>
                        </a:lnTo>
                        <a:lnTo>
                          <a:pt x="136" y="759"/>
                        </a:lnTo>
                        <a:lnTo>
                          <a:pt x="135" y="757"/>
                        </a:lnTo>
                        <a:lnTo>
                          <a:pt x="135" y="755"/>
                        </a:lnTo>
                        <a:lnTo>
                          <a:pt x="135" y="752"/>
                        </a:lnTo>
                        <a:lnTo>
                          <a:pt x="133" y="746"/>
                        </a:lnTo>
                        <a:lnTo>
                          <a:pt x="133" y="740"/>
                        </a:lnTo>
                        <a:lnTo>
                          <a:pt x="131" y="730"/>
                        </a:lnTo>
                        <a:lnTo>
                          <a:pt x="130" y="724"/>
                        </a:lnTo>
                        <a:lnTo>
                          <a:pt x="130" y="721"/>
                        </a:lnTo>
                        <a:lnTo>
                          <a:pt x="130" y="719"/>
                        </a:lnTo>
                        <a:lnTo>
                          <a:pt x="130" y="716"/>
                        </a:lnTo>
                        <a:lnTo>
                          <a:pt x="128" y="713"/>
                        </a:lnTo>
                        <a:lnTo>
                          <a:pt x="128" y="711"/>
                        </a:lnTo>
                        <a:lnTo>
                          <a:pt x="128" y="708"/>
                        </a:lnTo>
                        <a:lnTo>
                          <a:pt x="127" y="706"/>
                        </a:lnTo>
                        <a:lnTo>
                          <a:pt x="125" y="703"/>
                        </a:lnTo>
                        <a:lnTo>
                          <a:pt x="124" y="702"/>
                        </a:lnTo>
                        <a:lnTo>
                          <a:pt x="120" y="698"/>
                        </a:lnTo>
                        <a:lnTo>
                          <a:pt x="117" y="695"/>
                        </a:lnTo>
                        <a:lnTo>
                          <a:pt x="112" y="692"/>
                        </a:lnTo>
                        <a:lnTo>
                          <a:pt x="111" y="691"/>
                        </a:lnTo>
                        <a:lnTo>
                          <a:pt x="109" y="689"/>
                        </a:lnTo>
                        <a:lnTo>
                          <a:pt x="106" y="686"/>
                        </a:lnTo>
                        <a:lnTo>
                          <a:pt x="103" y="684"/>
                        </a:lnTo>
                        <a:lnTo>
                          <a:pt x="101" y="683"/>
                        </a:lnTo>
                        <a:lnTo>
                          <a:pt x="101" y="681"/>
                        </a:lnTo>
                        <a:lnTo>
                          <a:pt x="100" y="681"/>
                        </a:lnTo>
                        <a:lnTo>
                          <a:pt x="98" y="679"/>
                        </a:lnTo>
                        <a:lnTo>
                          <a:pt x="97" y="678"/>
                        </a:lnTo>
                        <a:lnTo>
                          <a:pt x="95" y="678"/>
                        </a:lnTo>
                        <a:lnTo>
                          <a:pt x="95" y="676"/>
                        </a:lnTo>
                        <a:lnTo>
                          <a:pt x="93" y="675"/>
                        </a:lnTo>
                        <a:lnTo>
                          <a:pt x="92" y="673"/>
                        </a:lnTo>
                        <a:lnTo>
                          <a:pt x="90" y="672"/>
                        </a:lnTo>
                        <a:lnTo>
                          <a:pt x="89" y="672"/>
                        </a:lnTo>
                        <a:lnTo>
                          <a:pt x="87" y="670"/>
                        </a:lnTo>
                        <a:lnTo>
                          <a:pt x="85" y="668"/>
                        </a:lnTo>
                        <a:lnTo>
                          <a:pt x="84" y="668"/>
                        </a:lnTo>
                        <a:lnTo>
                          <a:pt x="84" y="667"/>
                        </a:lnTo>
                        <a:lnTo>
                          <a:pt x="82" y="667"/>
                        </a:lnTo>
                        <a:lnTo>
                          <a:pt x="81" y="667"/>
                        </a:lnTo>
                        <a:lnTo>
                          <a:pt x="79" y="665"/>
                        </a:lnTo>
                        <a:lnTo>
                          <a:pt x="78" y="665"/>
                        </a:lnTo>
                        <a:lnTo>
                          <a:pt x="76" y="665"/>
                        </a:lnTo>
                        <a:lnTo>
                          <a:pt x="74" y="665"/>
                        </a:lnTo>
                        <a:lnTo>
                          <a:pt x="73" y="667"/>
                        </a:lnTo>
                        <a:lnTo>
                          <a:pt x="71" y="667"/>
                        </a:lnTo>
                        <a:lnTo>
                          <a:pt x="70" y="667"/>
                        </a:lnTo>
                        <a:lnTo>
                          <a:pt x="66" y="667"/>
                        </a:lnTo>
                        <a:lnTo>
                          <a:pt x="62" y="668"/>
                        </a:lnTo>
                        <a:lnTo>
                          <a:pt x="59" y="667"/>
                        </a:lnTo>
                        <a:lnTo>
                          <a:pt x="57" y="667"/>
                        </a:lnTo>
                        <a:lnTo>
                          <a:pt x="57" y="668"/>
                        </a:lnTo>
                        <a:lnTo>
                          <a:pt x="54" y="668"/>
                        </a:lnTo>
                        <a:lnTo>
                          <a:pt x="52" y="670"/>
                        </a:lnTo>
                        <a:lnTo>
                          <a:pt x="49" y="670"/>
                        </a:lnTo>
                        <a:lnTo>
                          <a:pt x="46" y="672"/>
                        </a:lnTo>
                        <a:lnTo>
                          <a:pt x="44" y="670"/>
                        </a:lnTo>
                        <a:lnTo>
                          <a:pt x="43" y="670"/>
                        </a:lnTo>
                        <a:lnTo>
                          <a:pt x="41" y="670"/>
                        </a:lnTo>
                        <a:lnTo>
                          <a:pt x="40" y="672"/>
                        </a:lnTo>
                        <a:lnTo>
                          <a:pt x="38" y="672"/>
                        </a:lnTo>
                        <a:lnTo>
                          <a:pt x="36" y="672"/>
                        </a:lnTo>
                        <a:lnTo>
                          <a:pt x="33" y="672"/>
                        </a:lnTo>
                        <a:lnTo>
                          <a:pt x="32" y="670"/>
                        </a:lnTo>
                        <a:lnTo>
                          <a:pt x="30" y="670"/>
                        </a:lnTo>
                        <a:lnTo>
                          <a:pt x="28" y="668"/>
                        </a:lnTo>
                        <a:lnTo>
                          <a:pt x="25" y="667"/>
                        </a:lnTo>
                        <a:lnTo>
                          <a:pt x="22" y="664"/>
                        </a:lnTo>
                        <a:lnTo>
                          <a:pt x="21" y="662"/>
                        </a:lnTo>
                        <a:lnTo>
                          <a:pt x="17" y="660"/>
                        </a:lnTo>
                        <a:lnTo>
                          <a:pt x="16" y="659"/>
                        </a:lnTo>
                        <a:lnTo>
                          <a:pt x="9" y="656"/>
                        </a:lnTo>
                        <a:lnTo>
                          <a:pt x="6" y="653"/>
                        </a:lnTo>
                        <a:lnTo>
                          <a:pt x="5" y="651"/>
                        </a:lnTo>
                        <a:lnTo>
                          <a:pt x="5" y="648"/>
                        </a:lnTo>
                        <a:lnTo>
                          <a:pt x="5" y="646"/>
                        </a:lnTo>
                        <a:lnTo>
                          <a:pt x="5" y="645"/>
                        </a:lnTo>
                        <a:lnTo>
                          <a:pt x="3" y="641"/>
                        </a:lnTo>
                        <a:lnTo>
                          <a:pt x="3" y="638"/>
                        </a:lnTo>
                        <a:lnTo>
                          <a:pt x="5" y="635"/>
                        </a:lnTo>
                        <a:lnTo>
                          <a:pt x="5" y="634"/>
                        </a:lnTo>
                        <a:lnTo>
                          <a:pt x="6" y="634"/>
                        </a:lnTo>
                        <a:lnTo>
                          <a:pt x="8" y="632"/>
                        </a:lnTo>
                        <a:lnTo>
                          <a:pt x="9" y="632"/>
                        </a:lnTo>
                        <a:lnTo>
                          <a:pt x="13" y="632"/>
                        </a:lnTo>
                        <a:lnTo>
                          <a:pt x="14" y="632"/>
                        </a:lnTo>
                        <a:lnTo>
                          <a:pt x="16" y="632"/>
                        </a:lnTo>
                        <a:lnTo>
                          <a:pt x="17" y="632"/>
                        </a:lnTo>
                        <a:lnTo>
                          <a:pt x="22" y="634"/>
                        </a:lnTo>
                        <a:lnTo>
                          <a:pt x="24" y="634"/>
                        </a:lnTo>
                        <a:lnTo>
                          <a:pt x="25" y="634"/>
                        </a:lnTo>
                        <a:lnTo>
                          <a:pt x="28" y="634"/>
                        </a:lnTo>
                        <a:lnTo>
                          <a:pt x="30" y="634"/>
                        </a:lnTo>
                        <a:lnTo>
                          <a:pt x="32" y="632"/>
                        </a:lnTo>
                        <a:lnTo>
                          <a:pt x="33" y="632"/>
                        </a:lnTo>
                        <a:lnTo>
                          <a:pt x="36" y="629"/>
                        </a:lnTo>
                        <a:lnTo>
                          <a:pt x="38" y="629"/>
                        </a:lnTo>
                        <a:lnTo>
                          <a:pt x="40" y="629"/>
                        </a:lnTo>
                        <a:lnTo>
                          <a:pt x="40" y="627"/>
                        </a:lnTo>
                        <a:lnTo>
                          <a:pt x="43" y="627"/>
                        </a:lnTo>
                        <a:lnTo>
                          <a:pt x="44" y="626"/>
                        </a:lnTo>
                        <a:lnTo>
                          <a:pt x="49" y="624"/>
                        </a:lnTo>
                        <a:lnTo>
                          <a:pt x="51" y="624"/>
                        </a:lnTo>
                        <a:lnTo>
                          <a:pt x="52" y="622"/>
                        </a:lnTo>
                        <a:lnTo>
                          <a:pt x="54" y="619"/>
                        </a:lnTo>
                        <a:lnTo>
                          <a:pt x="55" y="618"/>
                        </a:lnTo>
                        <a:lnTo>
                          <a:pt x="55" y="616"/>
                        </a:lnTo>
                        <a:lnTo>
                          <a:pt x="55" y="613"/>
                        </a:lnTo>
                        <a:lnTo>
                          <a:pt x="55" y="611"/>
                        </a:lnTo>
                        <a:lnTo>
                          <a:pt x="55" y="610"/>
                        </a:lnTo>
                        <a:lnTo>
                          <a:pt x="57" y="608"/>
                        </a:lnTo>
                        <a:lnTo>
                          <a:pt x="57" y="607"/>
                        </a:lnTo>
                        <a:lnTo>
                          <a:pt x="59" y="605"/>
                        </a:lnTo>
                        <a:lnTo>
                          <a:pt x="60" y="603"/>
                        </a:lnTo>
                        <a:lnTo>
                          <a:pt x="62" y="602"/>
                        </a:lnTo>
                        <a:lnTo>
                          <a:pt x="63" y="599"/>
                        </a:lnTo>
                        <a:lnTo>
                          <a:pt x="65" y="597"/>
                        </a:lnTo>
                        <a:lnTo>
                          <a:pt x="65" y="595"/>
                        </a:lnTo>
                        <a:lnTo>
                          <a:pt x="65" y="591"/>
                        </a:lnTo>
                        <a:lnTo>
                          <a:pt x="65" y="588"/>
                        </a:lnTo>
                        <a:lnTo>
                          <a:pt x="63" y="588"/>
                        </a:lnTo>
                        <a:lnTo>
                          <a:pt x="63" y="586"/>
                        </a:lnTo>
                        <a:lnTo>
                          <a:pt x="63" y="584"/>
                        </a:lnTo>
                        <a:lnTo>
                          <a:pt x="60" y="583"/>
                        </a:lnTo>
                        <a:lnTo>
                          <a:pt x="59" y="581"/>
                        </a:lnTo>
                        <a:lnTo>
                          <a:pt x="55" y="578"/>
                        </a:lnTo>
                        <a:lnTo>
                          <a:pt x="55" y="576"/>
                        </a:lnTo>
                        <a:lnTo>
                          <a:pt x="52" y="576"/>
                        </a:lnTo>
                        <a:lnTo>
                          <a:pt x="49" y="573"/>
                        </a:lnTo>
                        <a:lnTo>
                          <a:pt x="47" y="572"/>
                        </a:lnTo>
                        <a:lnTo>
                          <a:pt x="46" y="570"/>
                        </a:lnTo>
                        <a:lnTo>
                          <a:pt x="44" y="570"/>
                        </a:lnTo>
                        <a:lnTo>
                          <a:pt x="43" y="569"/>
                        </a:lnTo>
                        <a:lnTo>
                          <a:pt x="41" y="569"/>
                        </a:lnTo>
                        <a:lnTo>
                          <a:pt x="36" y="569"/>
                        </a:lnTo>
                        <a:lnTo>
                          <a:pt x="35" y="567"/>
                        </a:lnTo>
                        <a:lnTo>
                          <a:pt x="33" y="564"/>
                        </a:lnTo>
                        <a:lnTo>
                          <a:pt x="32" y="562"/>
                        </a:lnTo>
                        <a:lnTo>
                          <a:pt x="30" y="561"/>
                        </a:lnTo>
                        <a:lnTo>
                          <a:pt x="30" y="557"/>
                        </a:lnTo>
                        <a:lnTo>
                          <a:pt x="30" y="556"/>
                        </a:lnTo>
                        <a:lnTo>
                          <a:pt x="32" y="554"/>
                        </a:lnTo>
                        <a:lnTo>
                          <a:pt x="32" y="553"/>
                        </a:lnTo>
                        <a:lnTo>
                          <a:pt x="33" y="551"/>
                        </a:lnTo>
                        <a:lnTo>
                          <a:pt x="36" y="548"/>
                        </a:lnTo>
                        <a:lnTo>
                          <a:pt x="40" y="545"/>
                        </a:lnTo>
                        <a:lnTo>
                          <a:pt x="41" y="543"/>
                        </a:lnTo>
                        <a:lnTo>
                          <a:pt x="43" y="542"/>
                        </a:lnTo>
                        <a:lnTo>
                          <a:pt x="44" y="540"/>
                        </a:lnTo>
                        <a:lnTo>
                          <a:pt x="47" y="537"/>
                        </a:lnTo>
                        <a:lnTo>
                          <a:pt x="49" y="537"/>
                        </a:lnTo>
                        <a:lnTo>
                          <a:pt x="49" y="535"/>
                        </a:lnTo>
                        <a:lnTo>
                          <a:pt x="51" y="531"/>
                        </a:lnTo>
                        <a:lnTo>
                          <a:pt x="51" y="529"/>
                        </a:lnTo>
                        <a:lnTo>
                          <a:pt x="51" y="527"/>
                        </a:lnTo>
                        <a:lnTo>
                          <a:pt x="49" y="526"/>
                        </a:lnTo>
                        <a:lnTo>
                          <a:pt x="49" y="524"/>
                        </a:lnTo>
                        <a:lnTo>
                          <a:pt x="47" y="523"/>
                        </a:lnTo>
                        <a:lnTo>
                          <a:pt x="47" y="521"/>
                        </a:lnTo>
                        <a:lnTo>
                          <a:pt x="46" y="521"/>
                        </a:lnTo>
                        <a:lnTo>
                          <a:pt x="46" y="519"/>
                        </a:lnTo>
                        <a:lnTo>
                          <a:pt x="46" y="518"/>
                        </a:lnTo>
                        <a:lnTo>
                          <a:pt x="40" y="513"/>
                        </a:lnTo>
                        <a:lnTo>
                          <a:pt x="36" y="513"/>
                        </a:lnTo>
                        <a:lnTo>
                          <a:pt x="35" y="513"/>
                        </a:lnTo>
                        <a:lnTo>
                          <a:pt x="33" y="513"/>
                        </a:lnTo>
                        <a:lnTo>
                          <a:pt x="33" y="512"/>
                        </a:lnTo>
                        <a:lnTo>
                          <a:pt x="32" y="512"/>
                        </a:lnTo>
                        <a:lnTo>
                          <a:pt x="30" y="512"/>
                        </a:lnTo>
                        <a:lnTo>
                          <a:pt x="28" y="512"/>
                        </a:lnTo>
                        <a:lnTo>
                          <a:pt x="27" y="512"/>
                        </a:lnTo>
                        <a:lnTo>
                          <a:pt x="25" y="510"/>
                        </a:lnTo>
                        <a:lnTo>
                          <a:pt x="24" y="510"/>
                        </a:lnTo>
                        <a:lnTo>
                          <a:pt x="22" y="508"/>
                        </a:lnTo>
                        <a:lnTo>
                          <a:pt x="21" y="507"/>
                        </a:lnTo>
                        <a:lnTo>
                          <a:pt x="19" y="505"/>
                        </a:lnTo>
                        <a:lnTo>
                          <a:pt x="17" y="505"/>
                        </a:lnTo>
                        <a:lnTo>
                          <a:pt x="16" y="504"/>
                        </a:lnTo>
                        <a:lnTo>
                          <a:pt x="13" y="502"/>
                        </a:lnTo>
                        <a:lnTo>
                          <a:pt x="13" y="500"/>
                        </a:lnTo>
                        <a:lnTo>
                          <a:pt x="13" y="499"/>
                        </a:lnTo>
                        <a:lnTo>
                          <a:pt x="13" y="497"/>
                        </a:lnTo>
                        <a:lnTo>
                          <a:pt x="11" y="496"/>
                        </a:lnTo>
                        <a:lnTo>
                          <a:pt x="9" y="491"/>
                        </a:lnTo>
                        <a:lnTo>
                          <a:pt x="8" y="489"/>
                        </a:lnTo>
                        <a:lnTo>
                          <a:pt x="6" y="489"/>
                        </a:lnTo>
                        <a:lnTo>
                          <a:pt x="5" y="488"/>
                        </a:lnTo>
                        <a:lnTo>
                          <a:pt x="5" y="486"/>
                        </a:lnTo>
                        <a:lnTo>
                          <a:pt x="3" y="485"/>
                        </a:lnTo>
                        <a:lnTo>
                          <a:pt x="2" y="485"/>
                        </a:lnTo>
                        <a:lnTo>
                          <a:pt x="0" y="483"/>
                        </a:lnTo>
                        <a:lnTo>
                          <a:pt x="0" y="481"/>
                        </a:lnTo>
                        <a:lnTo>
                          <a:pt x="0" y="480"/>
                        </a:lnTo>
                        <a:lnTo>
                          <a:pt x="0" y="478"/>
                        </a:lnTo>
                        <a:lnTo>
                          <a:pt x="2" y="477"/>
                        </a:lnTo>
                        <a:lnTo>
                          <a:pt x="2" y="474"/>
                        </a:lnTo>
                        <a:lnTo>
                          <a:pt x="3" y="474"/>
                        </a:lnTo>
                        <a:lnTo>
                          <a:pt x="3" y="472"/>
                        </a:lnTo>
                        <a:lnTo>
                          <a:pt x="5" y="472"/>
                        </a:lnTo>
                        <a:lnTo>
                          <a:pt x="6" y="470"/>
                        </a:lnTo>
                        <a:lnTo>
                          <a:pt x="8" y="470"/>
                        </a:lnTo>
                        <a:lnTo>
                          <a:pt x="8" y="469"/>
                        </a:lnTo>
                        <a:lnTo>
                          <a:pt x="9" y="467"/>
                        </a:lnTo>
                        <a:lnTo>
                          <a:pt x="11" y="467"/>
                        </a:lnTo>
                        <a:lnTo>
                          <a:pt x="11" y="466"/>
                        </a:lnTo>
                        <a:lnTo>
                          <a:pt x="14" y="464"/>
                        </a:lnTo>
                        <a:lnTo>
                          <a:pt x="16" y="462"/>
                        </a:lnTo>
                        <a:lnTo>
                          <a:pt x="19" y="461"/>
                        </a:lnTo>
                        <a:lnTo>
                          <a:pt x="22" y="461"/>
                        </a:lnTo>
                        <a:lnTo>
                          <a:pt x="24" y="461"/>
                        </a:lnTo>
                        <a:lnTo>
                          <a:pt x="25" y="459"/>
                        </a:lnTo>
                        <a:lnTo>
                          <a:pt x="28" y="459"/>
                        </a:lnTo>
                        <a:lnTo>
                          <a:pt x="30" y="458"/>
                        </a:lnTo>
                        <a:lnTo>
                          <a:pt x="32" y="456"/>
                        </a:lnTo>
                        <a:lnTo>
                          <a:pt x="35" y="456"/>
                        </a:lnTo>
                        <a:lnTo>
                          <a:pt x="36" y="456"/>
                        </a:lnTo>
                        <a:lnTo>
                          <a:pt x="38" y="456"/>
                        </a:lnTo>
                        <a:lnTo>
                          <a:pt x="41" y="456"/>
                        </a:lnTo>
                        <a:lnTo>
                          <a:pt x="43" y="458"/>
                        </a:lnTo>
                        <a:lnTo>
                          <a:pt x="47" y="459"/>
                        </a:lnTo>
                        <a:lnTo>
                          <a:pt x="49" y="459"/>
                        </a:lnTo>
                        <a:lnTo>
                          <a:pt x="52" y="461"/>
                        </a:lnTo>
                        <a:lnTo>
                          <a:pt x="54" y="461"/>
                        </a:lnTo>
                        <a:lnTo>
                          <a:pt x="55" y="464"/>
                        </a:lnTo>
                        <a:lnTo>
                          <a:pt x="57" y="466"/>
                        </a:lnTo>
                        <a:lnTo>
                          <a:pt x="59" y="467"/>
                        </a:lnTo>
                        <a:lnTo>
                          <a:pt x="59" y="469"/>
                        </a:lnTo>
                        <a:lnTo>
                          <a:pt x="60" y="470"/>
                        </a:lnTo>
                        <a:lnTo>
                          <a:pt x="62" y="472"/>
                        </a:lnTo>
                        <a:lnTo>
                          <a:pt x="63" y="472"/>
                        </a:lnTo>
                        <a:lnTo>
                          <a:pt x="63" y="474"/>
                        </a:lnTo>
                        <a:lnTo>
                          <a:pt x="63" y="475"/>
                        </a:lnTo>
                        <a:lnTo>
                          <a:pt x="65" y="477"/>
                        </a:lnTo>
                        <a:lnTo>
                          <a:pt x="70" y="480"/>
                        </a:lnTo>
                        <a:lnTo>
                          <a:pt x="71" y="478"/>
                        </a:lnTo>
                        <a:lnTo>
                          <a:pt x="73" y="478"/>
                        </a:lnTo>
                        <a:lnTo>
                          <a:pt x="74" y="478"/>
                        </a:lnTo>
                        <a:lnTo>
                          <a:pt x="76" y="477"/>
                        </a:lnTo>
                        <a:lnTo>
                          <a:pt x="78" y="475"/>
                        </a:lnTo>
                        <a:lnTo>
                          <a:pt x="78" y="474"/>
                        </a:lnTo>
                        <a:lnTo>
                          <a:pt x="78" y="467"/>
                        </a:lnTo>
                        <a:lnTo>
                          <a:pt x="78" y="466"/>
                        </a:lnTo>
                        <a:lnTo>
                          <a:pt x="78" y="461"/>
                        </a:lnTo>
                        <a:lnTo>
                          <a:pt x="78" y="459"/>
                        </a:lnTo>
                        <a:lnTo>
                          <a:pt x="79" y="459"/>
                        </a:lnTo>
                        <a:lnTo>
                          <a:pt x="79" y="456"/>
                        </a:lnTo>
                        <a:lnTo>
                          <a:pt x="81" y="455"/>
                        </a:lnTo>
                        <a:lnTo>
                          <a:pt x="84" y="450"/>
                        </a:lnTo>
                        <a:lnTo>
                          <a:pt x="84" y="448"/>
                        </a:lnTo>
                        <a:lnTo>
                          <a:pt x="85" y="447"/>
                        </a:lnTo>
                        <a:lnTo>
                          <a:pt x="85" y="445"/>
                        </a:lnTo>
                        <a:lnTo>
                          <a:pt x="85" y="443"/>
                        </a:lnTo>
                        <a:lnTo>
                          <a:pt x="85" y="442"/>
                        </a:lnTo>
                        <a:lnTo>
                          <a:pt x="84" y="440"/>
                        </a:lnTo>
                        <a:lnTo>
                          <a:pt x="84" y="439"/>
                        </a:lnTo>
                        <a:lnTo>
                          <a:pt x="82" y="437"/>
                        </a:lnTo>
                        <a:lnTo>
                          <a:pt x="82" y="436"/>
                        </a:lnTo>
                        <a:lnTo>
                          <a:pt x="81" y="434"/>
                        </a:lnTo>
                        <a:lnTo>
                          <a:pt x="79" y="432"/>
                        </a:lnTo>
                        <a:lnTo>
                          <a:pt x="79" y="431"/>
                        </a:lnTo>
                        <a:lnTo>
                          <a:pt x="78" y="429"/>
                        </a:lnTo>
                        <a:lnTo>
                          <a:pt x="76" y="428"/>
                        </a:lnTo>
                        <a:lnTo>
                          <a:pt x="73" y="426"/>
                        </a:lnTo>
                        <a:lnTo>
                          <a:pt x="70" y="424"/>
                        </a:lnTo>
                        <a:lnTo>
                          <a:pt x="68" y="420"/>
                        </a:lnTo>
                        <a:lnTo>
                          <a:pt x="68" y="418"/>
                        </a:lnTo>
                        <a:lnTo>
                          <a:pt x="68" y="416"/>
                        </a:lnTo>
                        <a:lnTo>
                          <a:pt x="68" y="415"/>
                        </a:lnTo>
                        <a:lnTo>
                          <a:pt x="70" y="410"/>
                        </a:lnTo>
                        <a:lnTo>
                          <a:pt x="68" y="409"/>
                        </a:lnTo>
                        <a:lnTo>
                          <a:pt x="68" y="407"/>
                        </a:lnTo>
                        <a:lnTo>
                          <a:pt x="66" y="404"/>
                        </a:lnTo>
                        <a:lnTo>
                          <a:pt x="65" y="402"/>
                        </a:lnTo>
                        <a:lnTo>
                          <a:pt x="65" y="401"/>
                        </a:lnTo>
                        <a:lnTo>
                          <a:pt x="65" y="399"/>
                        </a:lnTo>
                        <a:lnTo>
                          <a:pt x="65" y="397"/>
                        </a:lnTo>
                        <a:lnTo>
                          <a:pt x="63" y="396"/>
                        </a:lnTo>
                        <a:lnTo>
                          <a:pt x="65" y="394"/>
                        </a:lnTo>
                        <a:lnTo>
                          <a:pt x="65" y="393"/>
                        </a:lnTo>
                        <a:lnTo>
                          <a:pt x="63" y="393"/>
                        </a:lnTo>
                        <a:lnTo>
                          <a:pt x="63" y="390"/>
                        </a:lnTo>
                        <a:lnTo>
                          <a:pt x="63" y="388"/>
                        </a:lnTo>
                        <a:lnTo>
                          <a:pt x="62" y="388"/>
                        </a:lnTo>
                        <a:lnTo>
                          <a:pt x="62" y="386"/>
                        </a:lnTo>
                        <a:lnTo>
                          <a:pt x="60" y="383"/>
                        </a:lnTo>
                        <a:lnTo>
                          <a:pt x="60" y="382"/>
                        </a:lnTo>
                        <a:lnTo>
                          <a:pt x="59" y="380"/>
                        </a:lnTo>
                        <a:lnTo>
                          <a:pt x="57" y="378"/>
                        </a:lnTo>
                        <a:lnTo>
                          <a:pt x="55" y="377"/>
                        </a:lnTo>
                        <a:lnTo>
                          <a:pt x="54" y="375"/>
                        </a:lnTo>
                        <a:lnTo>
                          <a:pt x="52" y="375"/>
                        </a:lnTo>
                        <a:lnTo>
                          <a:pt x="49" y="371"/>
                        </a:lnTo>
                        <a:lnTo>
                          <a:pt x="47" y="369"/>
                        </a:lnTo>
                        <a:lnTo>
                          <a:pt x="46" y="367"/>
                        </a:lnTo>
                        <a:lnTo>
                          <a:pt x="43" y="367"/>
                        </a:lnTo>
                        <a:lnTo>
                          <a:pt x="41" y="366"/>
                        </a:lnTo>
                        <a:lnTo>
                          <a:pt x="40" y="364"/>
                        </a:lnTo>
                        <a:lnTo>
                          <a:pt x="38" y="364"/>
                        </a:lnTo>
                        <a:lnTo>
                          <a:pt x="36" y="364"/>
                        </a:lnTo>
                        <a:lnTo>
                          <a:pt x="35" y="363"/>
                        </a:lnTo>
                        <a:lnTo>
                          <a:pt x="33" y="361"/>
                        </a:lnTo>
                        <a:lnTo>
                          <a:pt x="32" y="359"/>
                        </a:lnTo>
                        <a:lnTo>
                          <a:pt x="30" y="358"/>
                        </a:lnTo>
                        <a:lnTo>
                          <a:pt x="28" y="356"/>
                        </a:lnTo>
                        <a:lnTo>
                          <a:pt x="28" y="355"/>
                        </a:lnTo>
                        <a:lnTo>
                          <a:pt x="27" y="352"/>
                        </a:lnTo>
                        <a:lnTo>
                          <a:pt x="27" y="350"/>
                        </a:lnTo>
                        <a:lnTo>
                          <a:pt x="27" y="348"/>
                        </a:lnTo>
                        <a:lnTo>
                          <a:pt x="27" y="347"/>
                        </a:lnTo>
                        <a:lnTo>
                          <a:pt x="28" y="342"/>
                        </a:lnTo>
                        <a:lnTo>
                          <a:pt x="30" y="337"/>
                        </a:lnTo>
                        <a:lnTo>
                          <a:pt x="30" y="334"/>
                        </a:lnTo>
                        <a:lnTo>
                          <a:pt x="30" y="333"/>
                        </a:lnTo>
                        <a:lnTo>
                          <a:pt x="32" y="331"/>
                        </a:lnTo>
                        <a:lnTo>
                          <a:pt x="35" y="326"/>
                        </a:lnTo>
                        <a:lnTo>
                          <a:pt x="35" y="325"/>
                        </a:lnTo>
                        <a:lnTo>
                          <a:pt x="35" y="323"/>
                        </a:lnTo>
                        <a:lnTo>
                          <a:pt x="36" y="321"/>
                        </a:lnTo>
                        <a:lnTo>
                          <a:pt x="38" y="320"/>
                        </a:lnTo>
                        <a:lnTo>
                          <a:pt x="38" y="318"/>
                        </a:lnTo>
                        <a:lnTo>
                          <a:pt x="40" y="318"/>
                        </a:lnTo>
                        <a:lnTo>
                          <a:pt x="43" y="315"/>
                        </a:lnTo>
                        <a:lnTo>
                          <a:pt x="46" y="312"/>
                        </a:lnTo>
                        <a:lnTo>
                          <a:pt x="47" y="312"/>
                        </a:lnTo>
                        <a:lnTo>
                          <a:pt x="47" y="310"/>
                        </a:lnTo>
                        <a:lnTo>
                          <a:pt x="47" y="309"/>
                        </a:lnTo>
                        <a:lnTo>
                          <a:pt x="49" y="309"/>
                        </a:lnTo>
                        <a:lnTo>
                          <a:pt x="51" y="307"/>
                        </a:lnTo>
                        <a:lnTo>
                          <a:pt x="52" y="307"/>
                        </a:lnTo>
                        <a:lnTo>
                          <a:pt x="54" y="307"/>
                        </a:lnTo>
                        <a:lnTo>
                          <a:pt x="54" y="309"/>
                        </a:lnTo>
                        <a:lnTo>
                          <a:pt x="59" y="310"/>
                        </a:lnTo>
                        <a:lnTo>
                          <a:pt x="60" y="310"/>
                        </a:lnTo>
                        <a:lnTo>
                          <a:pt x="62" y="310"/>
                        </a:lnTo>
                        <a:lnTo>
                          <a:pt x="63" y="309"/>
                        </a:lnTo>
                        <a:lnTo>
                          <a:pt x="65" y="307"/>
                        </a:lnTo>
                        <a:lnTo>
                          <a:pt x="65" y="306"/>
                        </a:lnTo>
                        <a:lnTo>
                          <a:pt x="65" y="304"/>
                        </a:lnTo>
                        <a:lnTo>
                          <a:pt x="65" y="301"/>
                        </a:lnTo>
                        <a:lnTo>
                          <a:pt x="65" y="299"/>
                        </a:lnTo>
                        <a:lnTo>
                          <a:pt x="65" y="298"/>
                        </a:lnTo>
                        <a:lnTo>
                          <a:pt x="65" y="296"/>
                        </a:lnTo>
                        <a:lnTo>
                          <a:pt x="65" y="295"/>
                        </a:lnTo>
                        <a:lnTo>
                          <a:pt x="63" y="291"/>
                        </a:lnTo>
                        <a:lnTo>
                          <a:pt x="63" y="288"/>
                        </a:lnTo>
                        <a:lnTo>
                          <a:pt x="62" y="287"/>
                        </a:lnTo>
                        <a:lnTo>
                          <a:pt x="60" y="285"/>
                        </a:lnTo>
                        <a:lnTo>
                          <a:pt x="59" y="283"/>
                        </a:lnTo>
                        <a:lnTo>
                          <a:pt x="57" y="282"/>
                        </a:lnTo>
                        <a:lnTo>
                          <a:pt x="55" y="282"/>
                        </a:lnTo>
                        <a:lnTo>
                          <a:pt x="52" y="282"/>
                        </a:lnTo>
                        <a:lnTo>
                          <a:pt x="51" y="280"/>
                        </a:lnTo>
                        <a:lnTo>
                          <a:pt x="49" y="280"/>
                        </a:lnTo>
                        <a:lnTo>
                          <a:pt x="54" y="276"/>
                        </a:lnTo>
                        <a:lnTo>
                          <a:pt x="60" y="272"/>
                        </a:lnTo>
                        <a:lnTo>
                          <a:pt x="68" y="266"/>
                        </a:lnTo>
                        <a:lnTo>
                          <a:pt x="82" y="255"/>
                        </a:lnTo>
                        <a:lnTo>
                          <a:pt x="89" y="250"/>
                        </a:lnTo>
                        <a:lnTo>
                          <a:pt x="93" y="245"/>
                        </a:lnTo>
                        <a:lnTo>
                          <a:pt x="93" y="247"/>
                        </a:lnTo>
                        <a:lnTo>
                          <a:pt x="95" y="247"/>
                        </a:lnTo>
                        <a:lnTo>
                          <a:pt x="98" y="242"/>
                        </a:lnTo>
                        <a:lnTo>
                          <a:pt x="100" y="241"/>
                        </a:lnTo>
                        <a:lnTo>
                          <a:pt x="101" y="237"/>
                        </a:lnTo>
                        <a:lnTo>
                          <a:pt x="106" y="234"/>
                        </a:lnTo>
                        <a:lnTo>
                          <a:pt x="108" y="233"/>
                        </a:lnTo>
                        <a:lnTo>
                          <a:pt x="108" y="231"/>
                        </a:lnTo>
                        <a:lnTo>
                          <a:pt x="109" y="230"/>
                        </a:lnTo>
                        <a:lnTo>
                          <a:pt x="109" y="225"/>
                        </a:lnTo>
                        <a:lnTo>
                          <a:pt x="108" y="223"/>
                        </a:lnTo>
                        <a:lnTo>
                          <a:pt x="108" y="222"/>
                        </a:lnTo>
                        <a:lnTo>
                          <a:pt x="109" y="220"/>
                        </a:lnTo>
                        <a:lnTo>
                          <a:pt x="112" y="217"/>
                        </a:lnTo>
                        <a:lnTo>
                          <a:pt x="119" y="212"/>
                        </a:lnTo>
                        <a:lnTo>
                          <a:pt x="128" y="204"/>
                        </a:lnTo>
                        <a:lnTo>
                          <a:pt x="127" y="201"/>
                        </a:lnTo>
                        <a:lnTo>
                          <a:pt x="125" y="196"/>
                        </a:lnTo>
                        <a:lnTo>
                          <a:pt x="124" y="192"/>
                        </a:lnTo>
                        <a:lnTo>
                          <a:pt x="119" y="184"/>
                        </a:lnTo>
                        <a:lnTo>
                          <a:pt x="116" y="176"/>
                        </a:lnTo>
                        <a:lnTo>
                          <a:pt x="109" y="165"/>
                        </a:lnTo>
                        <a:lnTo>
                          <a:pt x="101" y="150"/>
                        </a:lnTo>
                        <a:lnTo>
                          <a:pt x="98" y="141"/>
                        </a:lnTo>
                        <a:lnTo>
                          <a:pt x="98" y="139"/>
                        </a:lnTo>
                        <a:lnTo>
                          <a:pt x="100" y="139"/>
                        </a:lnTo>
                        <a:lnTo>
                          <a:pt x="100" y="138"/>
                        </a:lnTo>
                        <a:lnTo>
                          <a:pt x="100" y="136"/>
                        </a:lnTo>
                        <a:lnTo>
                          <a:pt x="101" y="133"/>
                        </a:lnTo>
                        <a:lnTo>
                          <a:pt x="103" y="131"/>
                        </a:lnTo>
                        <a:lnTo>
                          <a:pt x="104" y="128"/>
                        </a:lnTo>
                        <a:lnTo>
                          <a:pt x="106" y="127"/>
                        </a:lnTo>
                        <a:lnTo>
                          <a:pt x="106" y="125"/>
                        </a:lnTo>
                        <a:lnTo>
                          <a:pt x="109" y="122"/>
                        </a:lnTo>
                        <a:lnTo>
                          <a:pt x="112" y="120"/>
                        </a:lnTo>
                        <a:lnTo>
                          <a:pt x="114" y="119"/>
                        </a:lnTo>
                        <a:lnTo>
                          <a:pt x="116" y="117"/>
                        </a:lnTo>
                        <a:lnTo>
                          <a:pt x="117" y="116"/>
                        </a:lnTo>
                        <a:lnTo>
                          <a:pt x="120" y="114"/>
                        </a:lnTo>
                        <a:lnTo>
                          <a:pt x="122" y="112"/>
                        </a:lnTo>
                        <a:lnTo>
                          <a:pt x="122" y="111"/>
                        </a:lnTo>
                        <a:lnTo>
                          <a:pt x="125" y="108"/>
                        </a:lnTo>
                        <a:lnTo>
                          <a:pt x="128" y="104"/>
                        </a:lnTo>
                        <a:lnTo>
                          <a:pt x="128" y="101"/>
                        </a:lnTo>
                        <a:lnTo>
                          <a:pt x="130" y="100"/>
                        </a:lnTo>
                        <a:lnTo>
                          <a:pt x="130" y="98"/>
                        </a:lnTo>
                        <a:lnTo>
                          <a:pt x="131" y="98"/>
                        </a:lnTo>
                        <a:lnTo>
                          <a:pt x="131" y="97"/>
                        </a:lnTo>
                        <a:lnTo>
                          <a:pt x="138" y="97"/>
                        </a:lnTo>
                        <a:lnTo>
                          <a:pt x="139" y="95"/>
                        </a:lnTo>
                        <a:lnTo>
                          <a:pt x="141" y="93"/>
                        </a:lnTo>
                        <a:lnTo>
                          <a:pt x="143" y="92"/>
                        </a:lnTo>
                        <a:lnTo>
                          <a:pt x="146" y="92"/>
                        </a:lnTo>
                        <a:lnTo>
                          <a:pt x="149" y="93"/>
                        </a:lnTo>
                        <a:lnTo>
                          <a:pt x="149" y="92"/>
                        </a:lnTo>
                        <a:lnTo>
                          <a:pt x="150" y="90"/>
                        </a:lnTo>
                        <a:lnTo>
                          <a:pt x="150" y="85"/>
                        </a:lnTo>
                        <a:lnTo>
                          <a:pt x="150" y="81"/>
                        </a:lnTo>
                        <a:lnTo>
                          <a:pt x="152" y="79"/>
                        </a:lnTo>
                        <a:lnTo>
                          <a:pt x="152" y="78"/>
                        </a:lnTo>
                        <a:lnTo>
                          <a:pt x="154" y="76"/>
                        </a:lnTo>
                        <a:lnTo>
                          <a:pt x="155" y="74"/>
                        </a:lnTo>
                        <a:lnTo>
                          <a:pt x="158" y="73"/>
                        </a:lnTo>
                        <a:lnTo>
                          <a:pt x="162" y="71"/>
                        </a:lnTo>
                        <a:lnTo>
                          <a:pt x="165" y="68"/>
                        </a:lnTo>
                        <a:lnTo>
                          <a:pt x="168" y="65"/>
                        </a:lnTo>
                        <a:lnTo>
                          <a:pt x="173" y="60"/>
                        </a:lnTo>
                        <a:lnTo>
                          <a:pt x="176" y="58"/>
                        </a:lnTo>
                        <a:lnTo>
                          <a:pt x="177" y="57"/>
                        </a:lnTo>
                        <a:lnTo>
                          <a:pt x="177" y="55"/>
                        </a:lnTo>
                        <a:lnTo>
                          <a:pt x="185" y="49"/>
                        </a:lnTo>
                        <a:lnTo>
                          <a:pt x="200" y="38"/>
                        </a:lnTo>
                        <a:lnTo>
                          <a:pt x="211" y="28"/>
                        </a:lnTo>
                        <a:lnTo>
                          <a:pt x="222" y="19"/>
                        </a:lnTo>
                        <a:lnTo>
                          <a:pt x="223" y="16"/>
                        </a:lnTo>
                        <a:lnTo>
                          <a:pt x="225" y="14"/>
                        </a:lnTo>
                        <a:lnTo>
                          <a:pt x="225" y="13"/>
                        </a:lnTo>
                        <a:lnTo>
                          <a:pt x="225" y="11"/>
                        </a:lnTo>
                        <a:lnTo>
                          <a:pt x="226" y="8"/>
                        </a:lnTo>
                        <a:lnTo>
                          <a:pt x="230" y="6"/>
                        </a:lnTo>
                        <a:lnTo>
                          <a:pt x="231" y="5"/>
                        </a:lnTo>
                        <a:lnTo>
                          <a:pt x="231" y="3"/>
                        </a:lnTo>
                        <a:lnTo>
                          <a:pt x="233" y="1"/>
                        </a:lnTo>
                        <a:lnTo>
                          <a:pt x="233" y="0"/>
                        </a:lnTo>
                        <a:lnTo>
                          <a:pt x="234" y="0"/>
                        </a:lnTo>
                        <a:close/>
                      </a:path>
                    </a:pathLst>
                  </a:custGeom>
                  <a:solidFill>
                    <a:srgbClr val="E1E1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51" name="Freeform 50"/>
                  <p:cNvSpPr>
                    <a:spLocks/>
                  </p:cNvSpPr>
                  <p:nvPr/>
                </p:nvSpPr>
                <p:spPr bwMode="auto">
                  <a:xfrm>
                    <a:off x="3466" y="2016"/>
                    <a:ext cx="764" cy="1099"/>
                  </a:xfrm>
                  <a:custGeom>
                    <a:avLst/>
                    <a:gdLst>
                      <a:gd name="T0" fmla="*/ 35 w 764"/>
                      <a:gd name="T1" fmla="*/ 39 h 1099"/>
                      <a:gd name="T2" fmla="*/ 16 w 764"/>
                      <a:gd name="T3" fmla="*/ 92 h 1099"/>
                      <a:gd name="T4" fmla="*/ 72 w 764"/>
                      <a:gd name="T5" fmla="*/ 89 h 1099"/>
                      <a:gd name="T6" fmla="*/ 42 w 764"/>
                      <a:gd name="T7" fmla="*/ 127 h 1099"/>
                      <a:gd name="T8" fmla="*/ 241 w 764"/>
                      <a:gd name="T9" fmla="*/ 85 h 1099"/>
                      <a:gd name="T10" fmla="*/ 284 w 764"/>
                      <a:gd name="T11" fmla="*/ 95 h 1099"/>
                      <a:gd name="T12" fmla="*/ 336 w 764"/>
                      <a:gd name="T13" fmla="*/ 84 h 1099"/>
                      <a:gd name="T14" fmla="*/ 350 w 764"/>
                      <a:gd name="T15" fmla="*/ 104 h 1099"/>
                      <a:gd name="T16" fmla="*/ 385 w 764"/>
                      <a:gd name="T17" fmla="*/ 100 h 1099"/>
                      <a:gd name="T18" fmla="*/ 401 w 764"/>
                      <a:gd name="T19" fmla="*/ 127 h 1099"/>
                      <a:gd name="T20" fmla="*/ 444 w 764"/>
                      <a:gd name="T21" fmla="*/ 161 h 1099"/>
                      <a:gd name="T22" fmla="*/ 461 w 764"/>
                      <a:gd name="T23" fmla="*/ 225 h 1099"/>
                      <a:gd name="T24" fmla="*/ 396 w 764"/>
                      <a:gd name="T25" fmla="*/ 225 h 1099"/>
                      <a:gd name="T26" fmla="*/ 344 w 764"/>
                      <a:gd name="T27" fmla="*/ 228 h 1099"/>
                      <a:gd name="T28" fmla="*/ 316 w 764"/>
                      <a:gd name="T29" fmla="*/ 287 h 1099"/>
                      <a:gd name="T30" fmla="*/ 312 w 764"/>
                      <a:gd name="T31" fmla="*/ 334 h 1099"/>
                      <a:gd name="T32" fmla="*/ 344 w 764"/>
                      <a:gd name="T33" fmla="*/ 329 h 1099"/>
                      <a:gd name="T34" fmla="*/ 425 w 764"/>
                      <a:gd name="T35" fmla="*/ 295 h 1099"/>
                      <a:gd name="T36" fmla="*/ 460 w 764"/>
                      <a:gd name="T37" fmla="*/ 317 h 1099"/>
                      <a:gd name="T38" fmla="*/ 469 w 764"/>
                      <a:gd name="T39" fmla="*/ 356 h 1099"/>
                      <a:gd name="T40" fmla="*/ 445 w 764"/>
                      <a:gd name="T41" fmla="*/ 391 h 1099"/>
                      <a:gd name="T42" fmla="*/ 384 w 764"/>
                      <a:gd name="T43" fmla="*/ 426 h 1099"/>
                      <a:gd name="T44" fmla="*/ 350 w 764"/>
                      <a:gd name="T45" fmla="*/ 443 h 1099"/>
                      <a:gd name="T46" fmla="*/ 363 w 764"/>
                      <a:gd name="T47" fmla="*/ 474 h 1099"/>
                      <a:gd name="T48" fmla="*/ 314 w 764"/>
                      <a:gd name="T49" fmla="*/ 519 h 1099"/>
                      <a:gd name="T50" fmla="*/ 346 w 764"/>
                      <a:gd name="T51" fmla="*/ 545 h 1099"/>
                      <a:gd name="T52" fmla="*/ 373 w 764"/>
                      <a:gd name="T53" fmla="*/ 564 h 1099"/>
                      <a:gd name="T54" fmla="*/ 406 w 764"/>
                      <a:gd name="T55" fmla="*/ 570 h 1099"/>
                      <a:gd name="T56" fmla="*/ 434 w 764"/>
                      <a:gd name="T57" fmla="*/ 548 h 1099"/>
                      <a:gd name="T58" fmla="*/ 461 w 764"/>
                      <a:gd name="T59" fmla="*/ 542 h 1099"/>
                      <a:gd name="T60" fmla="*/ 472 w 764"/>
                      <a:gd name="T61" fmla="*/ 564 h 1099"/>
                      <a:gd name="T62" fmla="*/ 496 w 764"/>
                      <a:gd name="T63" fmla="*/ 588 h 1099"/>
                      <a:gd name="T64" fmla="*/ 518 w 764"/>
                      <a:gd name="T65" fmla="*/ 603 h 1099"/>
                      <a:gd name="T66" fmla="*/ 531 w 764"/>
                      <a:gd name="T67" fmla="*/ 624 h 1099"/>
                      <a:gd name="T68" fmla="*/ 553 w 764"/>
                      <a:gd name="T69" fmla="*/ 646 h 1099"/>
                      <a:gd name="T70" fmla="*/ 574 w 764"/>
                      <a:gd name="T71" fmla="*/ 651 h 1099"/>
                      <a:gd name="T72" fmla="*/ 601 w 764"/>
                      <a:gd name="T73" fmla="*/ 667 h 1099"/>
                      <a:gd name="T74" fmla="*/ 613 w 764"/>
                      <a:gd name="T75" fmla="*/ 686 h 1099"/>
                      <a:gd name="T76" fmla="*/ 629 w 764"/>
                      <a:gd name="T77" fmla="*/ 697 h 1099"/>
                      <a:gd name="T78" fmla="*/ 651 w 764"/>
                      <a:gd name="T79" fmla="*/ 708 h 1099"/>
                      <a:gd name="T80" fmla="*/ 672 w 764"/>
                      <a:gd name="T81" fmla="*/ 713 h 1099"/>
                      <a:gd name="T82" fmla="*/ 677 w 764"/>
                      <a:gd name="T83" fmla="*/ 740 h 1099"/>
                      <a:gd name="T84" fmla="*/ 694 w 764"/>
                      <a:gd name="T85" fmla="*/ 752 h 1099"/>
                      <a:gd name="T86" fmla="*/ 712 w 764"/>
                      <a:gd name="T87" fmla="*/ 765 h 1099"/>
                      <a:gd name="T88" fmla="*/ 739 w 764"/>
                      <a:gd name="T89" fmla="*/ 768 h 1099"/>
                      <a:gd name="T90" fmla="*/ 753 w 764"/>
                      <a:gd name="T91" fmla="*/ 789 h 1099"/>
                      <a:gd name="T92" fmla="*/ 742 w 764"/>
                      <a:gd name="T93" fmla="*/ 809 h 1099"/>
                      <a:gd name="T94" fmla="*/ 718 w 764"/>
                      <a:gd name="T95" fmla="*/ 836 h 1099"/>
                      <a:gd name="T96" fmla="*/ 666 w 764"/>
                      <a:gd name="T97" fmla="*/ 863 h 1099"/>
                      <a:gd name="T98" fmla="*/ 618 w 764"/>
                      <a:gd name="T99" fmla="*/ 892 h 1099"/>
                      <a:gd name="T100" fmla="*/ 594 w 764"/>
                      <a:gd name="T101" fmla="*/ 908 h 1099"/>
                      <a:gd name="T102" fmla="*/ 577 w 764"/>
                      <a:gd name="T103" fmla="*/ 961 h 1099"/>
                      <a:gd name="T104" fmla="*/ 558 w 764"/>
                      <a:gd name="T105" fmla="*/ 1012 h 1099"/>
                      <a:gd name="T106" fmla="*/ 563 w 764"/>
                      <a:gd name="T107" fmla="*/ 1034 h 1099"/>
                      <a:gd name="T108" fmla="*/ 580 w 764"/>
                      <a:gd name="T109" fmla="*/ 1050 h 1099"/>
                      <a:gd name="T110" fmla="*/ 598 w 764"/>
                      <a:gd name="T111" fmla="*/ 1055 h 1099"/>
                      <a:gd name="T112" fmla="*/ 610 w 764"/>
                      <a:gd name="T113" fmla="*/ 1069 h 1099"/>
                      <a:gd name="T114" fmla="*/ 629 w 764"/>
                      <a:gd name="T115" fmla="*/ 1079 h 1099"/>
                      <a:gd name="T116" fmla="*/ 658 w 764"/>
                      <a:gd name="T117" fmla="*/ 1075 h 1099"/>
                      <a:gd name="T118" fmla="*/ 664 w 764"/>
                      <a:gd name="T119" fmla="*/ 1094 h 1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64" h="1099">
                        <a:moveTo>
                          <a:pt x="0" y="0"/>
                        </a:moveTo>
                        <a:lnTo>
                          <a:pt x="2" y="0"/>
                        </a:lnTo>
                        <a:lnTo>
                          <a:pt x="4" y="1"/>
                        </a:lnTo>
                        <a:lnTo>
                          <a:pt x="7" y="1"/>
                        </a:lnTo>
                        <a:lnTo>
                          <a:pt x="8" y="3"/>
                        </a:lnTo>
                        <a:lnTo>
                          <a:pt x="13" y="5"/>
                        </a:lnTo>
                        <a:lnTo>
                          <a:pt x="18" y="5"/>
                        </a:lnTo>
                        <a:lnTo>
                          <a:pt x="21" y="8"/>
                        </a:lnTo>
                        <a:lnTo>
                          <a:pt x="23" y="9"/>
                        </a:lnTo>
                        <a:lnTo>
                          <a:pt x="24" y="11"/>
                        </a:lnTo>
                        <a:lnTo>
                          <a:pt x="26" y="16"/>
                        </a:lnTo>
                        <a:lnTo>
                          <a:pt x="26" y="19"/>
                        </a:lnTo>
                        <a:lnTo>
                          <a:pt x="27" y="20"/>
                        </a:lnTo>
                        <a:lnTo>
                          <a:pt x="29" y="24"/>
                        </a:lnTo>
                        <a:lnTo>
                          <a:pt x="32" y="30"/>
                        </a:lnTo>
                        <a:lnTo>
                          <a:pt x="35" y="36"/>
                        </a:lnTo>
                        <a:lnTo>
                          <a:pt x="35" y="39"/>
                        </a:lnTo>
                        <a:lnTo>
                          <a:pt x="37" y="41"/>
                        </a:lnTo>
                        <a:lnTo>
                          <a:pt x="32" y="44"/>
                        </a:lnTo>
                        <a:lnTo>
                          <a:pt x="26" y="47"/>
                        </a:lnTo>
                        <a:lnTo>
                          <a:pt x="19" y="49"/>
                        </a:lnTo>
                        <a:lnTo>
                          <a:pt x="15" y="52"/>
                        </a:lnTo>
                        <a:lnTo>
                          <a:pt x="13" y="54"/>
                        </a:lnTo>
                        <a:lnTo>
                          <a:pt x="11" y="54"/>
                        </a:lnTo>
                        <a:lnTo>
                          <a:pt x="11" y="55"/>
                        </a:lnTo>
                        <a:lnTo>
                          <a:pt x="10" y="65"/>
                        </a:lnTo>
                        <a:lnTo>
                          <a:pt x="10" y="76"/>
                        </a:lnTo>
                        <a:lnTo>
                          <a:pt x="10" y="81"/>
                        </a:lnTo>
                        <a:lnTo>
                          <a:pt x="10" y="82"/>
                        </a:lnTo>
                        <a:lnTo>
                          <a:pt x="10" y="85"/>
                        </a:lnTo>
                        <a:lnTo>
                          <a:pt x="11" y="87"/>
                        </a:lnTo>
                        <a:lnTo>
                          <a:pt x="13" y="90"/>
                        </a:lnTo>
                        <a:lnTo>
                          <a:pt x="15" y="92"/>
                        </a:lnTo>
                        <a:lnTo>
                          <a:pt x="16" y="92"/>
                        </a:lnTo>
                        <a:lnTo>
                          <a:pt x="18" y="92"/>
                        </a:lnTo>
                        <a:lnTo>
                          <a:pt x="19" y="90"/>
                        </a:lnTo>
                        <a:lnTo>
                          <a:pt x="21" y="90"/>
                        </a:lnTo>
                        <a:lnTo>
                          <a:pt x="23" y="90"/>
                        </a:lnTo>
                        <a:lnTo>
                          <a:pt x="23" y="89"/>
                        </a:lnTo>
                        <a:lnTo>
                          <a:pt x="24" y="89"/>
                        </a:lnTo>
                        <a:lnTo>
                          <a:pt x="27" y="89"/>
                        </a:lnTo>
                        <a:lnTo>
                          <a:pt x="30" y="89"/>
                        </a:lnTo>
                        <a:lnTo>
                          <a:pt x="35" y="89"/>
                        </a:lnTo>
                        <a:lnTo>
                          <a:pt x="38" y="89"/>
                        </a:lnTo>
                        <a:lnTo>
                          <a:pt x="42" y="89"/>
                        </a:lnTo>
                        <a:lnTo>
                          <a:pt x="48" y="87"/>
                        </a:lnTo>
                        <a:lnTo>
                          <a:pt x="56" y="87"/>
                        </a:lnTo>
                        <a:lnTo>
                          <a:pt x="62" y="85"/>
                        </a:lnTo>
                        <a:lnTo>
                          <a:pt x="67" y="85"/>
                        </a:lnTo>
                        <a:lnTo>
                          <a:pt x="70" y="85"/>
                        </a:lnTo>
                        <a:lnTo>
                          <a:pt x="72" y="89"/>
                        </a:lnTo>
                        <a:lnTo>
                          <a:pt x="70" y="95"/>
                        </a:lnTo>
                        <a:lnTo>
                          <a:pt x="68" y="98"/>
                        </a:lnTo>
                        <a:lnTo>
                          <a:pt x="67" y="100"/>
                        </a:lnTo>
                        <a:lnTo>
                          <a:pt x="65" y="101"/>
                        </a:lnTo>
                        <a:lnTo>
                          <a:pt x="64" y="103"/>
                        </a:lnTo>
                        <a:lnTo>
                          <a:pt x="62" y="103"/>
                        </a:lnTo>
                        <a:lnTo>
                          <a:pt x="61" y="104"/>
                        </a:lnTo>
                        <a:lnTo>
                          <a:pt x="56" y="104"/>
                        </a:lnTo>
                        <a:lnTo>
                          <a:pt x="53" y="104"/>
                        </a:lnTo>
                        <a:lnTo>
                          <a:pt x="48" y="106"/>
                        </a:lnTo>
                        <a:lnTo>
                          <a:pt x="46" y="106"/>
                        </a:lnTo>
                        <a:lnTo>
                          <a:pt x="45" y="106"/>
                        </a:lnTo>
                        <a:lnTo>
                          <a:pt x="42" y="106"/>
                        </a:lnTo>
                        <a:lnTo>
                          <a:pt x="42" y="114"/>
                        </a:lnTo>
                        <a:lnTo>
                          <a:pt x="42" y="120"/>
                        </a:lnTo>
                        <a:lnTo>
                          <a:pt x="42" y="125"/>
                        </a:lnTo>
                        <a:lnTo>
                          <a:pt x="42" y="127"/>
                        </a:lnTo>
                        <a:lnTo>
                          <a:pt x="42" y="128"/>
                        </a:lnTo>
                        <a:lnTo>
                          <a:pt x="42" y="133"/>
                        </a:lnTo>
                        <a:lnTo>
                          <a:pt x="42" y="136"/>
                        </a:lnTo>
                        <a:lnTo>
                          <a:pt x="42" y="139"/>
                        </a:lnTo>
                        <a:lnTo>
                          <a:pt x="59" y="135"/>
                        </a:lnTo>
                        <a:lnTo>
                          <a:pt x="72" y="131"/>
                        </a:lnTo>
                        <a:lnTo>
                          <a:pt x="88" y="128"/>
                        </a:lnTo>
                        <a:lnTo>
                          <a:pt x="138" y="114"/>
                        </a:lnTo>
                        <a:lnTo>
                          <a:pt x="154" y="108"/>
                        </a:lnTo>
                        <a:lnTo>
                          <a:pt x="162" y="104"/>
                        </a:lnTo>
                        <a:lnTo>
                          <a:pt x="189" y="97"/>
                        </a:lnTo>
                        <a:lnTo>
                          <a:pt x="214" y="89"/>
                        </a:lnTo>
                        <a:lnTo>
                          <a:pt x="228" y="89"/>
                        </a:lnTo>
                        <a:lnTo>
                          <a:pt x="235" y="87"/>
                        </a:lnTo>
                        <a:lnTo>
                          <a:pt x="240" y="87"/>
                        </a:lnTo>
                        <a:lnTo>
                          <a:pt x="241" y="87"/>
                        </a:lnTo>
                        <a:lnTo>
                          <a:pt x="241" y="85"/>
                        </a:lnTo>
                        <a:lnTo>
                          <a:pt x="243" y="84"/>
                        </a:lnTo>
                        <a:lnTo>
                          <a:pt x="246" y="82"/>
                        </a:lnTo>
                        <a:lnTo>
                          <a:pt x="247" y="82"/>
                        </a:lnTo>
                        <a:lnTo>
                          <a:pt x="249" y="82"/>
                        </a:lnTo>
                        <a:lnTo>
                          <a:pt x="251" y="84"/>
                        </a:lnTo>
                        <a:lnTo>
                          <a:pt x="255" y="85"/>
                        </a:lnTo>
                        <a:lnTo>
                          <a:pt x="260" y="87"/>
                        </a:lnTo>
                        <a:lnTo>
                          <a:pt x="268" y="92"/>
                        </a:lnTo>
                        <a:lnTo>
                          <a:pt x="271" y="93"/>
                        </a:lnTo>
                        <a:lnTo>
                          <a:pt x="274" y="95"/>
                        </a:lnTo>
                        <a:lnTo>
                          <a:pt x="276" y="95"/>
                        </a:lnTo>
                        <a:lnTo>
                          <a:pt x="278" y="93"/>
                        </a:lnTo>
                        <a:lnTo>
                          <a:pt x="279" y="95"/>
                        </a:lnTo>
                        <a:lnTo>
                          <a:pt x="281" y="93"/>
                        </a:lnTo>
                        <a:lnTo>
                          <a:pt x="282" y="93"/>
                        </a:lnTo>
                        <a:lnTo>
                          <a:pt x="282" y="95"/>
                        </a:lnTo>
                        <a:lnTo>
                          <a:pt x="284" y="95"/>
                        </a:lnTo>
                        <a:lnTo>
                          <a:pt x="286" y="93"/>
                        </a:lnTo>
                        <a:lnTo>
                          <a:pt x="290" y="92"/>
                        </a:lnTo>
                        <a:lnTo>
                          <a:pt x="292" y="92"/>
                        </a:lnTo>
                        <a:lnTo>
                          <a:pt x="292" y="90"/>
                        </a:lnTo>
                        <a:lnTo>
                          <a:pt x="292" y="89"/>
                        </a:lnTo>
                        <a:lnTo>
                          <a:pt x="292" y="87"/>
                        </a:lnTo>
                        <a:lnTo>
                          <a:pt x="292" y="85"/>
                        </a:lnTo>
                        <a:lnTo>
                          <a:pt x="293" y="84"/>
                        </a:lnTo>
                        <a:lnTo>
                          <a:pt x="297" y="84"/>
                        </a:lnTo>
                        <a:lnTo>
                          <a:pt x="298" y="82"/>
                        </a:lnTo>
                        <a:lnTo>
                          <a:pt x="303" y="82"/>
                        </a:lnTo>
                        <a:lnTo>
                          <a:pt x="309" y="84"/>
                        </a:lnTo>
                        <a:lnTo>
                          <a:pt x="312" y="84"/>
                        </a:lnTo>
                        <a:lnTo>
                          <a:pt x="319" y="85"/>
                        </a:lnTo>
                        <a:lnTo>
                          <a:pt x="324" y="85"/>
                        </a:lnTo>
                        <a:lnTo>
                          <a:pt x="330" y="84"/>
                        </a:lnTo>
                        <a:lnTo>
                          <a:pt x="336" y="84"/>
                        </a:lnTo>
                        <a:lnTo>
                          <a:pt x="338" y="84"/>
                        </a:lnTo>
                        <a:lnTo>
                          <a:pt x="341" y="84"/>
                        </a:lnTo>
                        <a:lnTo>
                          <a:pt x="343" y="84"/>
                        </a:lnTo>
                        <a:lnTo>
                          <a:pt x="344" y="84"/>
                        </a:lnTo>
                        <a:lnTo>
                          <a:pt x="346" y="84"/>
                        </a:lnTo>
                        <a:lnTo>
                          <a:pt x="347" y="84"/>
                        </a:lnTo>
                        <a:lnTo>
                          <a:pt x="347" y="85"/>
                        </a:lnTo>
                        <a:lnTo>
                          <a:pt x="349" y="85"/>
                        </a:lnTo>
                        <a:lnTo>
                          <a:pt x="349" y="87"/>
                        </a:lnTo>
                        <a:lnTo>
                          <a:pt x="352" y="89"/>
                        </a:lnTo>
                        <a:lnTo>
                          <a:pt x="352" y="90"/>
                        </a:lnTo>
                        <a:lnTo>
                          <a:pt x="350" y="93"/>
                        </a:lnTo>
                        <a:lnTo>
                          <a:pt x="349" y="98"/>
                        </a:lnTo>
                        <a:lnTo>
                          <a:pt x="347" y="101"/>
                        </a:lnTo>
                        <a:lnTo>
                          <a:pt x="349" y="103"/>
                        </a:lnTo>
                        <a:lnTo>
                          <a:pt x="350" y="103"/>
                        </a:lnTo>
                        <a:lnTo>
                          <a:pt x="350" y="104"/>
                        </a:lnTo>
                        <a:lnTo>
                          <a:pt x="352" y="104"/>
                        </a:lnTo>
                        <a:lnTo>
                          <a:pt x="354" y="103"/>
                        </a:lnTo>
                        <a:lnTo>
                          <a:pt x="357" y="103"/>
                        </a:lnTo>
                        <a:lnTo>
                          <a:pt x="360" y="101"/>
                        </a:lnTo>
                        <a:lnTo>
                          <a:pt x="363" y="100"/>
                        </a:lnTo>
                        <a:lnTo>
                          <a:pt x="365" y="98"/>
                        </a:lnTo>
                        <a:lnTo>
                          <a:pt x="368" y="97"/>
                        </a:lnTo>
                        <a:lnTo>
                          <a:pt x="371" y="93"/>
                        </a:lnTo>
                        <a:lnTo>
                          <a:pt x="373" y="92"/>
                        </a:lnTo>
                        <a:lnTo>
                          <a:pt x="374" y="93"/>
                        </a:lnTo>
                        <a:lnTo>
                          <a:pt x="376" y="93"/>
                        </a:lnTo>
                        <a:lnTo>
                          <a:pt x="377" y="93"/>
                        </a:lnTo>
                        <a:lnTo>
                          <a:pt x="381" y="95"/>
                        </a:lnTo>
                        <a:lnTo>
                          <a:pt x="381" y="97"/>
                        </a:lnTo>
                        <a:lnTo>
                          <a:pt x="382" y="98"/>
                        </a:lnTo>
                        <a:lnTo>
                          <a:pt x="384" y="98"/>
                        </a:lnTo>
                        <a:lnTo>
                          <a:pt x="385" y="100"/>
                        </a:lnTo>
                        <a:lnTo>
                          <a:pt x="385" y="101"/>
                        </a:lnTo>
                        <a:lnTo>
                          <a:pt x="385" y="103"/>
                        </a:lnTo>
                        <a:lnTo>
                          <a:pt x="385" y="104"/>
                        </a:lnTo>
                        <a:lnTo>
                          <a:pt x="382" y="106"/>
                        </a:lnTo>
                        <a:lnTo>
                          <a:pt x="379" y="111"/>
                        </a:lnTo>
                        <a:lnTo>
                          <a:pt x="377" y="112"/>
                        </a:lnTo>
                        <a:lnTo>
                          <a:pt x="376" y="114"/>
                        </a:lnTo>
                        <a:lnTo>
                          <a:pt x="376" y="116"/>
                        </a:lnTo>
                        <a:lnTo>
                          <a:pt x="376" y="117"/>
                        </a:lnTo>
                        <a:lnTo>
                          <a:pt x="379" y="119"/>
                        </a:lnTo>
                        <a:lnTo>
                          <a:pt x="382" y="120"/>
                        </a:lnTo>
                        <a:lnTo>
                          <a:pt x="384" y="120"/>
                        </a:lnTo>
                        <a:lnTo>
                          <a:pt x="387" y="122"/>
                        </a:lnTo>
                        <a:lnTo>
                          <a:pt x="390" y="123"/>
                        </a:lnTo>
                        <a:lnTo>
                          <a:pt x="395" y="125"/>
                        </a:lnTo>
                        <a:lnTo>
                          <a:pt x="398" y="125"/>
                        </a:lnTo>
                        <a:lnTo>
                          <a:pt x="401" y="127"/>
                        </a:lnTo>
                        <a:lnTo>
                          <a:pt x="404" y="128"/>
                        </a:lnTo>
                        <a:lnTo>
                          <a:pt x="409" y="130"/>
                        </a:lnTo>
                        <a:lnTo>
                          <a:pt x="412" y="133"/>
                        </a:lnTo>
                        <a:lnTo>
                          <a:pt x="415" y="136"/>
                        </a:lnTo>
                        <a:lnTo>
                          <a:pt x="420" y="138"/>
                        </a:lnTo>
                        <a:lnTo>
                          <a:pt x="422" y="139"/>
                        </a:lnTo>
                        <a:lnTo>
                          <a:pt x="425" y="141"/>
                        </a:lnTo>
                        <a:lnTo>
                          <a:pt x="428" y="141"/>
                        </a:lnTo>
                        <a:lnTo>
                          <a:pt x="430" y="141"/>
                        </a:lnTo>
                        <a:lnTo>
                          <a:pt x="433" y="141"/>
                        </a:lnTo>
                        <a:lnTo>
                          <a:pt x="434" y="141"/>
                        </a:lnTo>
                        <a:lnTo>
                          <a:pt x="436" y="141"/>
                        </a:lnTo>
                        <a:lnTo>
                          <a:pt x="438" y="142"/>
                        </a:lnTo>
                        <a:lnTo>
                          <a:pt x="439" y="146"/>
                        </a:lnTo>
                        <a:lnTo>
                          <a:pt x="441" y="150"/>
                        </a:lnTo>
                        <a:lnTo>
                          <a:pt x="442" y="157"/>
                        </a:lnTo>
                        <a:lnTo>
                          <a:pt x="444" y="161"/>
                        </a:lnTo>
                        <a:lnTo>
                          <a:pt x="447" y="163"/>
                        </a:lnTo>
                        <a:lnTo>
                          <a:pt x="449" y="166"/>
                        </a:lnTo>
                        <a:lnTo>
                          <a:pt x="449" y="168"/>
                        </a:lnTo>
                        <a:lnTo>
                          <a:pt x="450" y="169"/>
                        </a:lnTo>
                        <a:lnTo>
                          <a:pt x="452" y="174"/>
                        </a:lnTo>
                        <a:lnTo>
                          <a:pt x="452" y="179"/>
                        </a:lnTo>
                        <a:lnTo>
                          <a:pt x="453" y="184"/>
                        </a:lnTo>
                        <a:lnTo>
                          <a:pt x="457" y="190"/>
                        </a:lnTo>
                        <a:lnTo>
                          <a:pt x="463" y="201"/>
                        </a:lnTo>
                        <a:lnTo>
                          <a:pt x="466" y="207"/>
                        </a:lnTo>
                        <a:lnTo>
                          <a:pt x="468" y="211"/>
                        </a:lnTo>
                        <a:lnTo>
                          <a:pt x="469" y="214"/>
                        </a:lnTo>
                        <a:lnTo>
                          <a:pt x="469" y="215"/>
                        </a:lnTo>
                        <a:lnTo>
                          <a:pt x="471" y="217"/>
                        </a:lnTo>
                        <a:lnTo>
                          <a:pt x="469" y="218"/>
                        </a:lnTo>
                        <a:lnTo>
                          <a:pt x="465" y="222"/>
                        </a:lnTo>
                        <a:lnTo>
                          <a:pt x="461" y="225"/>
                        </a:lnTo>
                        <a:lnTo>
                          <a:pt x="455" y="230"/>
                        </a:lnTo>
                        <a:lnTo>
                          <a:pt x="452" y="231"/>
                        </a:lnTo>
                        <a:lnTo>
                          <a:pt x="444" y="234"/>
                        </a:lnTo>
                        <a:lnTo>
                          <a:pt x="438" y="237"/>
                        </a:lnTo>
                        <a:lnTo>
                          <a:pt x="433" y="239"/>
                        </a:lnTo>
                        <a:lnTo>
                          <a:pt x="428" y="242"/>
                        </a:lnTo>
                        <a:lnTo>
                          <a:pt x="425" y="242"/>
                        </a:lnTo>
                        <a:lnTo>
                          <a:pt x="422" y="244"/>
                        </a:lnTo>
                        <a:lnTo>
                          <a:pt x="419" y="242"/>
                        </a:lnTo>
                        <a:lnTo>
                          <a:pt x="417" y="242"/>
                        </a:lnTo>
                        <a:lnTo>
                          <a:pt x="414" y="239"/>
                        </a:lnTo>
                        <a:lnTo>
                          <a:pt x="412" y="237"/>
                        </a:lnTo>
                        <a:lnTo>
                          <a:pt x="411" y="236"/>
                        </a:lnTo>
                        <a:lnTo>
                          <a:pt x="407" y="233"/>
                        </a:lnTo>
                        <a:lnTo>
                          <a:pt x="404" y="230"/>
                        </a:lnTo>
                        <a:lnTo>
                          <a:pt x="401" y="228"/>
                        </a:lnTo>
                        <a:lnTo>
                          <a:pt x="396" y="225"/>
                        </a:lnTo>
                        <a:lnTo>
                          <a:pt x="393" y="223"/>
                        </a:lnTo>
                        <a:lnTo>
                          <a:pt x="392" y="223"/>
                        </a:lnTo>
                        <a:lnTo>
                          <a:pt x="388" y="222"/>
                        </a:lnTo>
                        <a:lnTo>
                          <a:pt x="385" y="222"/>
                        </a:lnTo>
                        <a:lnTo>
                          <a:pt x="382" y="223"/>
                        </a:lnTo>
                        <a:lnTo>
                          <a:pt x="379" y="223"/>
                        </a:lnTo>
                        <a:lnTo>
                          <a:pt x="376" y="223"/>
                        </a:lnTo>
                        <a:lnTo>
                          <a:pt x="371" y="223"/>
                        </a:lnTo>
                        <a:lnTo>
                          <a:pt x="368" y="223"/>
                        </a:lnTo>
                        <a:lnTo>
                          <a:pt x="366" y="223"/>
                        </a:lnTo>
                        <a:lnTo>
                          <a:pt x="363" y="223"/>
                        </a:lnTo>
                        <a:lnTo>
                          <a:pt x="360" y="225"/>
                        </a:lnTo>
                        <a:lnTo>
                          <a:pt x="357" y="225"/>
                        </a:lnTo>
                        <a:lnTo>
                          <a:pt x="354" y="226"/>
                        </a:lnTo>
                        <a:lnTo>
                          <a:pt x="350" y="226"/>
                        </a:lnTo>
                        <a:lnTo>
                          <a:pt x="347" y="228"/>
                        </a:lnTo>
                        <a:lnTo>
                          <a:pt x="344" y="228"/>
                        </a:lnTo>
                        <a:lnTo>
                          <a:pt x="341" y="228"/>
                        </a:lnTo>
                        <a:lnTo>
                          <a:pt x="338" y="228"/>
                        </a:lnTo>
                        <a:lnTo>
                          <a:pt x="338" y="230"/>
                        </a:lnTo>
                        <a:lnTo>
                          <a:pt x="336" y="233"/>
                        </a:lnTo>
                        <a:lnTo>
                          <a:pt x="335" y="234"/>
                        </a:lnTo>
                        <a:lnTo>
                          <a:pt x="335" y="237"/>
                        </a:lnTo>
                        <a:lnTo>
                          <a:pt x="335" y="242"/>
                        </a:lnTo>
                        <a:lnTo>
                          <a:pt x="335" y="244"/>
                        </a:lnTo>
                        <a:lnTo>
                          <a:pt x="333" y="245"/>
                        </a:lnTo>
                        <a:lnTo>
                          <a:pt x="331" y="249"/>
                        </a:lnTo>
                        <a:lnTo>
                          <a:pt x="325" y="255"/>
                        </a:lnTo>
                        <a:lnTo>
                          <a:pt x="320" y="260"/>
                        </a:lnTo>
                        <a:lnTo>
                          <a:pt x="317" y="263"/>
                        </a:lnTo>
                        <a:lnTo>
                          <a:pt x="317" y="264"/>
                        </a:lnTo>
                        <a:lnTo>
                          <a:pt x="316" y="277"/>
                        </a:lnTo>
                        <a:lnTo>
                          <a:pt x="316" y="283"/>
                        </a:lnTo>
                        <a:lnTo>
                          <a:pt x="316" y="287"/>
                        </a:lnTo>
                        <a:lnTo>
                          <a:pt x="312" y="291"/>
                        </a:lnTo>
                        <a:lnTo>
                          <a:pt x="306" y="298"/>
                        </a:lnTo>
                        <a:lnTo>
                          <a:pt x="300" y="304"/>
                        </a:lnTo>
                        <a:lnTo>
                          <a:pt x="293" y="310"/>
                        </a:lnTo>
                        <a:lnTo>
                          <a:pt x="289" y="315"/>
                        </a:lnTo>
                        <a:lnTo>
                          <a:pt x="287" y="317"/>
                        </a:lnTo>
                        <a:lnTo>
                          <a:pt x="290" y="325"/>
                        </a:lnTo>
                        <a:lnTo>
                          <a:pt x="292" y="325"/>
                        </a:lnTo>
                        <a:lnTo>
                          <a:pt x="293" y="326"/>
                        </a:lnTo>
                        <a:lnTo>
                          <a:pt x="295" y="328"/>
                        </a:lnTo>
                        <a:lnTo>
                          <a:pt x="297" y="328"/>
                        </a:lnTo>
                        <a:lnTo>
                          <a:pt x="301" y="333"/>
                        </a:lnTo>
                        <a:lnTo>
                          <a:pt x="303" y="333"/>
                        </a:lnTo>
                        <a:lnTo>
                          <a:pt x="305" y="334"/>
                        </a:lnTo>
                        <a:lnTo>
                          <a:pt x="306" y="334"/>
                        </a:lnTo>
                        <a:lnTo>
                          <a:pt x="309" y="336"/>
                        </a:lnTo>
                        <a:lnTo>
                          <a:pt x="312" y="334"/>
                        </a:lnTo>
                        <a:lnTo>
                          <a:pt x="314" y="334"/>
                        </a:lnTo>
                        <a:lnTo>
                          <a:pt x="316" y="334"/>
                        </a:lnTo>
                        <a:lnTo>
                          <a:pt x="317" y="334"/>
                        </a:lnTo>
                        <a:lnTo>
                          <a:pt x="322" y="336"/>
                        </a:lnTo>
                        <a:lnTo>
                          <a:pt x="325" y="336"/>
                        </a:lnTo>
                        <a:lnTo>
                          <a:pt x="328" y="336"/>
                        </a:lnTo>
                        <a:lnTo>
                          <a:pt x="331" y="336"/>
                        </a:lnTo>
                        <a:lnTo>
                          <a:pt x="333" y="336"/>
                        </a:lnTo>
                        <a:lnTo>
                          <a:pt x="333" y="334"/>
                        </a:lnTo>
                        <a:lnTo>
                          <a:pt x="331" y="333"/>
                        </a:lnTo>
                        <a:lnTo>
                          <a:pt x="331" y="331"/>
                        </a:lnTo>
                        <a:lnTo>
                          <a:pt x="333" y="328"/>
                        </a:lnTo>
                        <a:lnTo>
                          <a:pt x="338" y="328"/>
                        </a:lnTo>
                        <a:lnTo>
                          <a:pt x="338" y="329"/>
                        </a:lnTo>
                        <a:lnTo>
                          <a:pt x="339" y="329"/>
                        </a:lnTo>
                        <a:lnTo>
                          <a:pt x="343" y="329"/>
                        </a:lnTo>
                        <a:lnTo>
                          <a:pt x="344" y="329"/>
                        </a:lnTo>
                        <a:lnTo>
                          <a:pt x="346" y="329"/>
                        </a:lnTo>
                        <a:lnTo>
                          <a:pt x="349" y="326"/>
                        </a:lnTo>
                        <a:lnTo>
                          <a:pt x="350" y="326"/>
                        </a:lnTo>
                        <a:lnTo>
                          <a:pt x="350" y="325"/>
                        </a:lnTo>
                        <a:lnTo>
                          <a:pt x="350" y="323"/>
                        </a:lnTo>
                        <a:lnTo>
                          <a:pt x="352" y="321"/>
                        </a:lnTo>
                        <a:lnTo>
                          <a:pt x="357" y="318"/>
                        </a:lnTo>
                        <a:lnTo>
                          <a:pt x="360" y="314"/>
                        </a:lnTo>
                        <a:lnTo>
                          <a:pt x="362" y="310"/>
                        </a:lnTo>
                        <a:lnTo>
                          <a:pt x="365" y="307"/>
                        </a:lnTo>
                        <a:lnTo>
                          <a:pt x="365" y="306"/>
                        </a:lnTo>
                        <a:lnTo>
                          <a:pt x="368" y="304"/>
                        </a:lnTo>
                        <a:lnTo>
                          <a:pt x="371" y="302"/>
                        </a:lnTo>
                        <a:lnTo>
                          <a:pt x="374" y="302"/>
                        </a:lnTo>
                        <a:lnTo>
                          <a:pt x="387" y="301"/>
                        </a:lnTo>
                        <a:lnTo>
                          <a:pt x="407" y="296"/>
                        </a:lnTo>
                        <a:lnTo>
                          <a:pt x="425" y="295"/>
                        </a:lnTo>
                        <a:lnTo>
                          <a:pt x="452" y="290"/>
                        </a:lnTo>
                        <a:lnTo>
                          <a:pt x="453" y="290"/>
                        </a:lnTo>
                        <a:lnTo>
                          <a:pt x="455" y="291"/>
                        </a:lnTo>
                        <a:lnTo>
                          <a:pt x="457" y="293"/>
                        </a:lnTo>
                        <a:lnTo>
                          <a:pt x="458" y="296"/>
                        </a:lnTo>
                        <a:lnTo>
                          <a:pt x="461" y="298"/>
                        </a:lnTo>
                        <a:lnTo>
                          <a:pt x="463" y="301"/>
                        </a:lnTo>
                        <a:lnTo>
                          <a:pt x="466" y="304"/>
                        </a:lnTo>
                        <a:lnTo>
                          <a:pt x="468" y="307"/>
                        </a:lnTo>
                        <a:lnTo>
                          <a:pt x="469" y="309"/>
                        </a:lnTo>
                        <a:lnTo>
                          <a:pt x="471" y="310"/>
                        </a:lnTo>
                        <a:lnTo>
                          <a:pt x="471" y="312"/>
                        </a:lnTo>
                        <a:lnTo>
                          <a:pt x="469" y="312"/>
                        </a:lnTo>
                        <a:lnTo>
                          <a:pt x="469" y="314"/>
                        </a:lnTo>
                        <a:lnTo>
                          <a:pt x="466" y="314"/>
                        </a:lnTo>
                        <a:lnTo>
                          <a:pt x="465" y="315"/>
                        </a:lnTo>
                        <a:lnTo>
                          <a:pt x="460" y="317"/>
                        </a:lnTo>
                        <a:lnTo>
                          <a:pt x="453" y="318"/>
                        </a:lnTo>
                        <a:lnTo>
                          <a:pt x="452" y="320"/>
                        </a:lnTo>
                        <a:lnTo>
                          <a:pt x="450" y="321"/>
                        </a:lnTo>
                        <a:lnTo>
                          <a:pt x="450" y="323"/>
                        </a:lnTo>
                        <a:lnTo>
                          <a:pt x="452" y="325"/>
                        </a:lnTo>
                        <a:lnTo>
                          <a:pt x="455" y="326"/>
                        </a:lnTo>
                        <a:lnTo>
                          <a:pt x="457" y="328"/>
                        </a:lnTo>
                        <a:lnTo>
                          <a:pt x="460" y="328"/>
                        </a:lnTo>
                        <a:lnTo>
                          <a:pt x="463" y="329"/>
                        </a:lnTo>
                        <a:lnTo>
                          <a:pt x="468" y="331"/>
                        </a:lnTo>
                        <a:lnTo>
                          <a:pt x="469" y="333"/>
                        </a:lnTo>
                        <a:lnTo>
                          <a:pt x="469" y="336"/>
                        </a:lnTo>
                        <a:lnTo>
                          <a:pt x="471" y="339"/>
                        </a:lnTo>
                        <a:lnTo>
                          <a:pt x="471" y="342"/>
                        </a:lnTo>
                        <a:lnTo>
                          <a:pt x="471" y="348"/>
                        </a:lnTo>
                        <a:lnTo>
                          <a:pt x="469" y="353"/>
                        </a:lnTo>
                        <a:lnTo>
                          <a:pt x="469" y="356"/>
                        </a:lnTo>
                        <a:lnTo>
                          <a:pt x="471" y="359"/>
                        </a:lnTo>
                        <a:lnTo>
                          <a:pt x="471" y="361"/>
                        </a:lnTo>
                        <a:lnTo>
                          <a:pt x="471" y="366"/>
                        </a:lnTo>
                        <a:lnTo>
                          <a:pt x="469" y="369"/>
                        </a:lnTo>
                        <a:lnTo>
                          <a:pt x="469" y="372"/>
                        </a:lnTo>
                        <a:lnTo>
                          <a:pt x="468" y="374"/>
                        </a:lnTo>
                        <a:lnTo>
                          <a:pt x="466" y="375"/>
                        </a:lnTo>
                        <a:lnTo>
                          <a:pt x="465" y="375"/>
                        </a:lnTo>
                        <a:lnTo>
                          <a:pt x="461" y="377"/>
                        </a:lnTo>
                        <a:lnTo>
                          <a:pt x="458" y="377"/>
                        </a:lnTo>
                        <a:lnTo>
                          <a:pt x="455" y="378"/>
                        </a:lnTo>
                        <a:lnTo>
                          <a:pt x="452" y="378"/>
                        </a:lnTo>
                        <a:lnTo>
                          <a:pt x="450" y="380"/>
                        </a:lnTo>
                        <a:lnTo>
                          <a:pt x="449" y="383"/>
                        </a:lnTo>
                        <a:lnTo>
                          <a:pt x="447" y="386"/>
                        </a:lnTo>
                        <a:lnTo>
                          <a:pt x="445" y="388"/>
                        </a:lnTo>
                        <a:lnTo>
                          <a:pt x="445" y="391"/>
                        </a:lnTo>
                        <a:lnTo>
                          <a:pt x="445" y="393"/>
                        </a:lnTo>
                        <a:lnTo>
                          <a:pt x="445" y="397"/>
                        </a:lnTo>
                        <a:lnTo>
                          <a:pt x="445" y="402"/>
                        </a:lnTo>
                        <a:lnTo>
                          <a:pt x="445" y="407"/>
                        </a:lnTo>
                        <a:lnTo>
                          <a:pt x="445" y="420"/>
                        </a:lnTo>
                        <a:lnTo>
                          <a:pt x="441" y="421"/>
                        </a:lnTo>
                        <a:lnTo>
                          <a:pt x="436" y="421"/>
                        </a:lnTo>
                        <a:lnTo>
                          <a:pt x="428" y="421"/>
                        </a:lnTo>
                        <a:lnTo>
                          <a:pt x="415" y="421"/>
                        </a:lnTo>
                        <a:lnTo>
                          <a:pt x="407" y="421"/>
                        </a:lnTo>
                        <a:lnTo>
                          <a:pt x="396" y="421"/>
                        </a:lnTo>
                        <a:lnTo>
                          <a:pt x="392" y="421"/>
                        </a:lnTo>
                        <a:lnTo>
                          <a:pt x="388" y="421"/>
                        </a:lnTo>
                        <a:lnTo>
                          <a:pt x="387" y="421"/>
                        </a:lnTo>
                        <a:lnTo>
                          <a:pt x="385" y="421"/>
                        </a:lnTo>
                        <a:lnTo>
                          <a:pt x="384" y="423"/>
                        </a:lnTo>
                        <a:lnTo>
                          <a:pt x="384" y="426"/>
                        </a:lnTo>
                        <a:lnTo>
                          <a:pt x="384" y="428"/>
                        </a:lnTo>
                        <a:lnTo>
                          <a:pt x="382" y="429"/>
                        </a:lnTo>
                        <a:lnTo>
                          <a:pt x="382" y="431"/>
                        </a:lnTo>
                        <a:lnTo>
                          <a:pt x="381" y="432"/>
                        </a:lnTo>
                        <a:lnTo>
                          <a:pt x="379" y="436"/>
                        </a:lnTo>
                        <a:lnTo>
                          <a:pt x="376" y="437"/>
                        </a:lnTo>
                        <a:lnTo>
                          <a:pt x="374" y="437"/>
                        </a:lnTo>
                        <a:lnTo>
                          <a:pt x="373" y="437"/>
                        </a:lnTo>
                        <a:lnTo>
                          <a:pt x="371" y="437"/>
                        </a:lnTo>
                        <a:lnTo>
                          <a:pt x="369" y="437"/>
                        </a:lnTo>
                        <a:lnTo>
                          <a:pt x="366" y="437"/>
                        </a:lnTo>
                        <a:lnTo>
                          <a:pt x="365" y="437"/>
                        </a:lnTo>
                        <a:lnTo>
                          <a:pt x="363" y="437"/>
                        </a:lnTo>
                        <a:lnTo>
                          <a:pt x="363" y="439"/>
                        </a:lnTo>
                        <a:lnTo>
                          <a:pt x="358" y="442"/>
                        </a:lnTo>
                        <a:lnTo>
                          <a:pt x="352" y="443"/>
                        </a:lnTo>
                        <a:lnTo>
                          <a:pt x="350" y="443"/>
                        </a:lnTo>
                        <a:lnTo>
                          <a:pt x="349" y="443"/>
                        </a:lnTo>
                        <a:lnTo>
                          <a:pt x="349" y="442"/>
                        </a:lnTo>
                        <a:lnTo>
                          <a:pt x="347" y="442"/>
                        </a:lnTo>
                        <a:lnTo>
                          <a:pt x="347" y="445"/>
                        </a:lnTo>
                        <a:lnTo>
                          <a:pt x="347" y="447"/>
                        </a:lnTo>
                        <a:lnTo>
                          <a:pt x="349" y="448"/>
                        </a:lnTo>
                        <a:lnTo>
                          <a:pt x="352" y="453"/>
                        </a:lnTo>
                        <a:lnTo>
                          <a:pt x="354" y="455"/>
                        </a:lnTo>
                        <a:lnTo>
                          <a:pt x="355" y="456"/>
                        </a:lnTo>
                        <a:lnTo>
                          <a:pt x="355" y="458"/>
                        </a:lnTo>
                        <a:lnTo>
                          <a:pt x="358" y="461"/>
                        </a:lnTo>
                        <a:lnTo>
                          <a:pt x="360" y="464"/>
                        </a:lnTo>
                        <a:lnTo>
                          <a:pt x="360" y="466"/>
                        </a:lnTo>
                        <a:lnTo>
                          <a:pt x="363" y="467"/>
                        </a:lnTo>
                        <a:lnTo>
                          <a:pt x="363" y="469"/>
                        </a:lnTo>
                        <a:lnTo>
                          <a:pt x="365" y="472"/>
                        </a:lnTo>
                        <a:lnTo>
                          <a:pt x="363" y="474"/>
                        </a:lnTo>
                        <a:lnTo>
                          <a:pt x="357" y="478"/>
                        </a:lnTo>
                        <a:lnTo>
                          <a:pt x="352" y="483"/>
                        </a:lnTo>
                        <a:lnTo>
                          <a:pt x="349" y="486"/>
                        </a:lnTo>
                        <a:lnTo>
                          <a:pt x="346" y="488"/>
                        </a:lnTo>
                        <a:lnTo>
                          <a:pt x="344" y="489"/>
                        </a:lnTo>
                        <a:lnTo>
                          <a:pt x="341" y="491"/>
                        </a:lnTo>
                        <a:lnTo>
                          <a:pt x="339" y="491"/>
                        </a:lnTo>
                        <a:lnTo>
                          <a:pt x="338" y="493"/>
                        </a:lnTo>
                        <a:lnTo>
                          <a:pt x="336" y="494"/>
                        </a:lnTo>
                        <a:lnTo>
                          <a:pt x="322" y="502"/>
                        </a:lnTo>
                        <a:lnTo>
                          <a:pt x="308" y="510"/>
                        </a:lnTo>
                        <a:lnTo>
                          <a:pt x="308" y="513"/>
                        </a:lnTo>
                        <a:lnTo>
                          <a:pt x="306" y="515"/>
                        </a:lnTo>
                        <a:lnTo>
                          <a:pt x="308" y="515"/>
                        </a:lnTo>
                        <a:lnTo>
                          <a:pt x="309" y="516"/>
                        </a:lnTo>
                        <a:lnTo>
                          <a:pt x="312" y="518"/>
                        </a:lnTo>
                        <a:lnTo>
                          <a:pt x="314" y="519"/>
                        </a:lnTo>
                        <a:lnTo>
                          <a:pt x="312" y="521"/>
                        </a:lnTo>
                        <a:lnTo>
                          <a:pt x="314" y="523"/>
                        </a:lnTo>
                        <a:lnTo>
                          <a:pt x="317" y="523"/>
                        </a:lnTo>
                        <a:lnTo>
                          <a:pt x="320" y="524"/>
                        </a:lnTo>
                        <a:lnTo>
                          <a:pt x="324" y="527"/>
                        </a:lnTo>
                        <a:lnTo>
                          <a:pt x="325" y="529"/>
                        </a:lnTo>
                        <a:lnTo>
                          <a:pt x="327" y="532"/>
                        </a:lnTo>
                        <a:lnTo>
                          <a:pt x="328" y="534"/>
                        </a:lnTo>
                        <a:lnTo>
                          <a:pt x="330" y="535"/>
                        </a:lnTo>
                        <a:lnTo>
                          <a:pt x="331" y="537"/>
                        </a:lnTo>
                        <a:lnTo>
                          <a:pt x="335" y="537"/>
                        </a:lnTo>
                        <a:lnTo>
                          <a:pt x="338" y="538"/>
                        </a:lnTo>
                        <a:lnTo>
                          <a:pt x="338" y="540"/>
                        </a:lnTo>
                        <a:lnTo>
                          <a:pt x="339" y="540"/>
                        </a:lnTo>
                        <a:lnTo>
                          <a:pt x="341" y="542"/>
                        </a:lnTo>
                        <a:lnTo>
                          <a:pt x="343" y="543"/>
                        </a:lnTo>
                        <a:lnTo>
                          <a:pt x="346" y="545"/>
                        </a:lnTo>
                        <a:lnTo>
                          <a:pt x="347" y="545"/>
                        </a:lnTo>
                        <a:lnTo>
                          <a:pt x="347" y="548"/>
                        </a:lnTo>
                        <a:lnTo>
                          <a:pt x="347" y="550"/>
                        </a:lnTo>
                        <a:lnTo>
                          <a:pt x="349" y="551"/>
                        </a:lnTo>
                        <a:lnTo>
                          <a:pt x="349" y="553"/>
                        </a:lnTo>
                        <a:lnTo>
                          <a:pt x="350" y="554"/>
                        </a:lnTo>
                        <a:lnTo>
                          <a:pt x="350" y="556"/>
                        </a:lnTo>
                        <a:lnTo>
                          <a:pt x="349" y="557"/>
                        </a:lnTo>
                        <a:lnTo>
                          <a:pt x="350" y="559"/>
                        </a:lnTo>
                        <a:lnTo>
                          <a:pt x="350" y="561"/>
                        </a:lnTo>
                        <a:lnTo>
                          <a:pt x="354" y="564"/>
                        </a:lnTo>
                        <a:lnTo>
                          <a:pt x="357" y="565"/>
                        </a:lnTo>
                        <a:lnTo>
                          <a:pt x="360" y="565"/>
                        </a:lnTo>
                        <a:lnTo>
                          <a:pt x="365" y="567"/>
                        </a:lnTo>
                        <a:lnTo>
                          <a:pt x="368" y="567"/>
                        </a:lnTo>
                        <a:lnTo>
                          <a:pt x="371" y="565"/>
                        </a:lnTo>
                        <a:lnTo>
                          <a:pt x="373" y="564"/>
                        </a:lnTo>
                        <a:lnTo>
                          <a:pt x="377" y="562"/>
                        </a:lnTo>
                        <a:lnTo>
                          <a:pt x="379" y="562"/>
                        </a:lnTo>
                        <a:lnTo>
                          <a:pt x="381" y="561"/>
                        </a:lnTo>
                        <a:lnTo>
                          <a:pt x="379" y="559"/>
                        </a:lnTo>
                        <a:lnTo>
                          <a:pt x="381" y="557"/>
                        </a:lnTo>
                        <a:lnTo>
                          <a:pt x="382" y="557"/>
                        </a:lnTo>
                        <a:lnTo>
                          <a:pt x="384" y="557"/>
                        </a:lnTo>
                        <a:lnTo>
                          <a:pt x="384" y="559"/>
                        </a:lnTo>
                        <a:lnTo>
                          <a:pt x="387" y="561"/>
                        </a:lnTo>
                        <a:lnTo>
                          <a:pt x="388" y="562"/>
                        </a:lnTo>
                        <a:lnTo>
                          <a:pt x="392" y="564"/>
                        </a:lnTo>
                        <a:lnTo>
                          <a:pt x="395" y="567"/>
                        </a:lnTo>
                        <a:lnTo>
                          <a:pt x="398" y="569"/>
                        </a:lnTo>
                        <a:lnTo>
                          <a:pt x="400" y="570"/>
                        </a:lnTo>
                        <a:lnTo>
                          <a:pt x="401" y="570"/>
                        </a:lnTo>
                        <a:lnTo>
                          <a:pt x="403" y="570"/>
                        </a:lnTo>
                        <a:lnTo>
                          <a:pt x="406" y="570"/>
                        </a:lnTo>
                        <a:lnTo>
                          <a:pt x="407" y="570"/>
                        </a:lnTo>
                        <a:lnTo>
                          <a:pt x="412" y="569"/>
                        </a:lnTo>
                        <a:lnTo>
                          <a:pt x="415" y="565"/>
                        </a:lnTo>
                        <a:lnTo>
                          <a:pt x="417" y="564"/>
                        </a:lnTo>
                        <a:lnTo>
                          <a:pt x="419" y="562"/>
                        </a:lnTo>
                        <a:lnTo>
                          <a:pt x="419" y="561"/>
                        </a:lnTo>
                        <a:lnTo>
                          <a:pt x="420" y="559"/>
                        </a:lnTo>
                        <a:lnTo>
                          <a:pt x="422" y="557"/>
                        </a:lnTo>
                        <a:lnTo>
                          <a:pt x="422" y="556"/>
                        </a:lnTo>
                        <a:lnTo>
                          <a:pt x="423" y="554"/>
                        </a:lnTo>
                        <a:lnTo>
                          <a:pt x="423" y="553"/>
                        </a:lnTo>
                        <a:lnTo>
                          <a:pt x="425" y="553"/>
                        </a:lnTo>
                        <a:lnTo>
                          <a:pt x="428" y="553"/>
                        </a:lnTo>
                        <a:lnTo>
                          <a:pt x="431" y="551"/>
                        </a:lnTo>
                        <a:lnTo>
                          <a:pt x="433" y="551"/>
                        </a:lnTo>
                        <a:lnTo>
                          <a:pt x="434" y="550"/>
                        </a:lnTo>
                        <a:lnTo>
                          <a:pt x="434" y="548"/>
                        </a:lnTo>
                        <a:lnTo>
                          <a:pt x="434" y="546"/>
                        </a:lnTo>
                        <a:lnTo>
                          <a:pt x="434" y="545"/>
                        </a:lnTo>
                        <a:lnTo>
                          <a:pt x="436" y="545"/>
                        </a:lnTo>
                        <a:lnTo>
                          <a:pt x="436" y="543"/>
                        </a:lnTo>
                        <a:lnTo>
                          <a:pt x="439" y="545"/>
                        </a:lnTo>
                        <a:lnTo>
                          <a:pt x="441" y="545"/>
                        </a:lnTo>
                        <a:lnTo>
                          <a:pt x="442" y="545"/>
                        </a:lnTo>
                        <a:lnTo>
                          <a:pt x="444" y="545"/>
                        </a:lnTo>
                        <a:lnTo>
                          <a:pt x="445" y="545"/>
                        </a:lnTo>
                        <a:lnTo>
                          <a:pt x="447" y="543"/>
                        </a:lnTo>
                        <a:lnTo>
                          <a:pt x="449" y="542"/>
                        </a:lnTo>
                        <a:lnTo>
                          <a:pt x="450" y="542"/>
                        </a:lnTo>
                        <a:lnTo>
                          <a:pt x="453" y="543"/>
                        </a:lnTo>
                        <a:lnTo>
                          <a:pt x="455" y="543"/>
                        </a:lnTo>
                        <a:lnTo>
                          <a:pt x="458" y="542"/>
                        </a:lnTo>
                        <a:lnTo>
                          <a:pt x="460" y="542"/>
                        </a:lnTo>
                        <a:lnTo>
                          <a:pt x="461" y="542"/>
                        </a:lnTo>
                        <a:lnTo>
                          <a:pt x="461" y="543"/>
                        </a:lnTo>
                        <a:lnTo>
                          <a:pt x="463" y="545"/>
                        </a:lnTo>
                        <a:lnTo>
                          <a:pt x="465" y="546"/>
                        </a:lnTo>
                        <a:lnTo>
                          <a:pt x="466" y="548"/>
                        </a:lnTo>
                        <a:lnTo>
                          <a:pt x="469" y="548"/>
                        </a:lnTo>
                        <a:lnTo>
                          <a:pt x="469" y="550"/>
                        </a:lnTo>
                        <a:lnTo>
                          <a:pt x="471" y="550"/>
                        </a:lnTo>
                        <a:lnTo>
                          <a:pt x="472" y="551"/>
                        </a:lnTo>
                        <a:lnTo>
                          <a:pt x="472" y="553"/>
                        </a:lnTo>
                        <a:lnTo>
                          <a:pt x="471" y="553"/>
                        </a:lnTo>
                        <a:lnTo>
                          <a:pt x="471" y="554"/>
                        </a:lnTo>
                        <a:lnTo>
                          <a:pt x="472" y="556"/>
                        </a:lnTo>
                        <a:lnTo>
                          <a:pt x="472" y="557"/>
                        </a:lnTo>
                        <a:lnTo>
                          <a:pt x="471" y="559"/>
                        </a:lnTo>
                        <a:lnTo>
                          <a:pt x="471" y="561"/>
                        </a:lnTo>
                        <a:lnTo>
                          <a:pt x="471" y="562"/>
                        </a:lnTo>
                        <a:lnTo>
                          <a:pt x="472" y="564"/>
                        </a:lnTo>
                        <a:lnTo>
                          <a:pt x="471" y="565"/>
                        </a:lnTo>
                        <a:lnTo>
                          <a:pt x="472" y="567"/>
                        </a:lnTo>
                        <a:lnTo>
                          <a:pt x="472" y="569"/>
                        </a:lnTo>
                        <a:lnTo>
                          <a:pt x="474" y="569"/>
                        </a:lnTo>
                        <a:lnTo>
                          <a:pt x="476" y="570"/>
                        </a:lnTo>
                        <a:lnTo>
                          <a:pt x="477" y="570"/>
                        </a:lnTo>
                        <a:lnTo>
                          <a:pt x="477" y="572"/>
                        </a:lnTo>
                        <a:lnTo>
                          <a:pt x="479" y="573"/>
                        </a:lnTo>
                        <a:lnTo>
                          <a:pt x="479" y="575"/>
                        </a:lnTo>
                        <a:lnTo>
                          <a:pt x="480" y="576"/>
                        </a:lnTo>
                        <a:lnTo>
                          <a:pt x="482" y="578"/>
                        </a:lnTo>
                        <a:lnTo>
                          <a:pt x="485" y="580"/>
                        </a:lnTo>
                        <a:lnTo>
                          <a:pt x="487" y="581"/>
                        </a:lnTo>
                        <a:lnTo>
                          <a:pt x="488" y="581"/>
                        </a:lnTo>
                        <a:lnTo>
                          <a:pt x="491" y="584"/>
                        </a:lnTo>
                        <a:lnTo>
                          <a:pt x="493" y="586"/>
                        </a:lnTo>
                        <a:lnTo>
                          <a:pt x="496" y="588"/>
                        </a:lnTo>
                        <a:lnTo>
                          <a:pt x="498" y="588"/>
                        </a:lnTo>
                        <a:lnTo>
                          <a:pt x="499" y="588"/>
                        </a:lnTo>
                        <a:lnTo>
                          <a:pt x="501" y="588"/>
                        </a:lnTo>
                        <a:lnTo>
                          <a:pt x="503" y="588"/>
                        </a:lnTo>
                        <a:lnTo>
                          <a:pt x="504" y="588"/>
                        </a:lnTo>
                        <a:lnTo>
                          <a:pt x="504" y="589"/>
                        </a:lnTo>
                        <a:lnTo>
                          <a:pt x="506" y="591"/>
                        </a:lnTo>
                        <a:lnTo>
                          <a:pt x="507" y="592"/>
                        </a:lnTo>
                        <a:lnTo>
                          <a:pt x="509" y="595"/>
                        </a:lnTo>
                        <a:lnTo>
                          <a:pt x="509" y="597"/>
                        </a:lnTo>
                        <a:lnTo>
                          <a:pt x="509" y="599"/>
                        </a:lnTo>
                        <a:lnTo>
                          <a:pt x="510" y="599"/>
                        </a:lnTo>
                        <a:lnTo>
                          <a:pt x="512" y="600"/>
                        </a:lnTo>
                        <a:lnTo>
                          <a:pt x="514" y="600"/>
                        </a:lnTo>
                        <a:lnTo>
                          <a:pt x="515" y="602"/>
                        </a:lnTo>
                        <a:lnTo>
                          <a:pt x="517" y="602"/>
                        </a:lnTo>
                        <a:lnTo>
                          <a:pt x="518" y="603"/>
                        </a:lnTo>
                        <a:lnTo>
                          <a:pt x="518" y="605"/>
                        </a:lnTo>
                        <a:lnTo>
                          <a:pt x="520" y="605"/>
                        </a:lnTo>
                        <a:lnTo>
                          <a:pt x="522" y="607"/>
                        </a:lnTo>
                        <a:lnTo>
                          <a:pt x="523" y="605"/>
                        </a:lnTo>
                        <a:lnTo>
                          <a:pt x="525" y="607"/>
                        </a:lnTo>
                        <a:lnTo>
                          <a:pt x="523" y="608"/>
                        </a:lnTo>
                        <a:lnTo>
                          <a:pt x="525" y="610"/>
                        </a:lnTo>
                        <a:lnTo>
                          <a:pt x="526" y="613"/>
                        </a:lnTo>
                        <a:lnTo>
                          <a:pt x="528" y="613"/>
                        </a:lnTo>
                        <a:lnTo>
                          <a:pt x="526" y="616"/>
                        </a:lnTo>
                        <a:lnTo>
                          <a:pt x="526" y="618"/>
                        </a:lnTo>
                        <a:lnTo>
                          <a:pt x="526" y="619"/>
                        </a:lnTo>
                        <a:lnTo>
                          <a:pt x="528" y="619"/>
                        </a:lnTo>
                        <a:lnTo>
                          <a:pt x="528" y="621"/>
                        </a:lnTo>
                        <a:lnTo>
                          <a:pt x="528" y="622"/>
                        </a:lnTo>
                        <a:lnTo>
                          <a:pt x="529" y="624"/>
                        </a:lnTo>
                        <a:lnTo>
                          <a:pt x="531" y="624"/>
                        </a:lnTo>
                        <a:lnTo>
                          <a:pt x="533" y="626"/>
                        </a:lnTo>
                        <a:lnTo>
                          <a:pt x="534" y="626"/>
                        </a:lnTo>
                        <a:lnTo>
                          <a:pt x="537" y="627"/>
                        </a:lnTo>
                        <a:lnTo>
                          <a:pt x="539" y="629"/>
                        </a:lnTo>
                        <a:lnTo>
                          <a:pt x="541" y="629"/>
                        </a:lnTo>
                        <a:lnTo>
                          <a:pt x="544" y="629"/>
                        </a:lnTo>
                        <a:lnTo>
                          <a:pt x="545" y="630"/>
                        </a:lnTo>
                        <a:lnTo>
                          <a:pt x="545" y="632"/>
                        </a:lnTo>
                        <a:lnTo>
                          <a:pt x="547" y="634"/>
                        </a:lnTo>
                        <a:lnTo>
                          <a:pt x="548" y="635"/>
                        </a:lnTo>
                        <a:lnTo>
                          <a:pt x="548" y="637"/>
                        </a:lnTo>
                        <a:lnTo>
                          <a:pt x="550" y="638"/>
                        </a:lnTo>
                        <a:lnTo>
                          <a:pt x="552" y="640"/>
                        </a:lnTo>
                        <a:lnTo>
                          <a:pt x="553" y="643"/>
                        </a:lnTo>
                        <a:lnTo>
                          <a:pt x="555" y="643"/>
                        </a:lnTo>
                        <a:lnTo>
                          <a:pt x="555" y="645"/>
                        </a:lnTo>
                        <a:lnTo>
                          <a:pt x="553" y="646"/>
                        </a:lnTo>
                        <a:lnTo>
                          <a:pt x="552" y="648"/>
                        </a:lnTo>
                        <a:lnTo>
                          <a:pt x="553" y="651"/>
                        </a:lnTo>
                        <a:lnTo>
                          <a:pt x="555" y="651"/>
                        </a:lnTo>
                        <a:lnTo>
                          <a:pt x="556" y="653"/>
                        </a:lnTo>
                        <a:lnTo>
                          <a:pt x="558" y="653"/>
                        </a:lnTo>
                        <a:lnTo>
                          <a:pt x="560" y="653"/>
                        </a:lnTo>
                        <a:lnTo>
                          <a:pt x="561" y="653"/>
                        </a:lnTo>
                        <a:lnTo>
                          <a:pt x="563" y="653"/>
                        </a:lnTo>
                        <a:lnTo>
                          <a:pt x="564" y="653"/>
                        </a:lnTo>
                        <a:lnTo>
                          <a:pt x="566" y="651"/>
                        </a:lnTo>
                        <a:lnTo>
                          <a:pt x="569" y="649"/>
                        </a:lnTo>
                        <a:lnTo>
                          <a:pt x="571" y="649"/>
                        </a:lnTo>
                        <a:lnTo>
                          <a:pt x="571" y="648"/>
                        </a:lnTo>
                        <a:lnTo>
                          <a:pt x="572" y="648"/>
                        </a:lnTo>
                        <a:lnTo>
                          <a:pt x="574" y="648"/>
                        </a:lnTo>
                        <a:lnTo>
                          <a:pt x="574" y="649"/>
                        </a:lnTo>
                        <a:lnTo>
                          <a:pt x="574" y="651"/>
                        </a:lnTo>
                        <a:lnTo>
                          <a:pt x="574" y="653"/>
                        </a:lnTo>
                        <a:lnTo>
                          <a:pt x="575" y="654"/>
                        </a:lnTo>
                        <a:lnTo>
                          <a:pt x="579" y="654"/>
                        </a:lnTo>
                        <a:lnTo>
                          <a:pt x="580" y="654"/>
                        </a:lnTo>
                        <a:lnTo>
                          <a:pt x="580" y="656"/>
                        </a:lnTo>
                        <a:lnTo>
                          <a:pt x="582" y="656"/>
                        </a:lnTo>
                        <a:lnTo>
                          <a:pt x="583" y="656"/>
                        </a:lnTo>
                        <a:lnTo>
                          <a:pt x="585" y="657"/>
                        </a:lnTo>
                        <a:lnTo>
                          <a:pt x="585" y="659"/>
                        </a:lnTo>
                        <a:lnTo>
                          <a:pt x="586" y="660"/>
                        </a:lnTo>
                        <a:lnTo>
                          <a:pt x="588" y="662"/>
                        </a:lnTo>
                        <a:lnTo>
                          <a:pt x="588" y="664"/>
                        </a:lnTo>
                        <a:lnTo>
                          <a:pt x="590" y="664"/>
                        </a:lnTo>
                        <a:lnTo>
                          <a:pt x="593" y="665"/>
                        </a:lnTo>
                        <a:lnTo>
                          <a:pt x="598" y="667"/>
                        </a:lnTo>
                        <a:lnTo>
                          <a:pt x="599" y="667"/>
                        </a:lnTo>
                        <a:lnTo>
                          <a:pt x="601" y="667"/>
                        </a:lnTo>
                        <a:lnTo>
                          <a:pt x="604" y="668"/>
                        </a:lnTo>
                        <a:lnTo>
                          <a:pt x="605" y="670"/>
                        </a:lnTo>
                        <a:lnTo>
                          <a:pt x="607" y="670"/>
                        </a:lnTo>
                        <a:lnTo>
                          <a:pt x="609" y="672"/>
                        </a:lnTo>
                        <a:lnTo>
                          <a:pt x="610" y="673"/>
                        </a:lnTo>
                        <a:lnTo>
                          <a:pt x="612" y="673"/>
                        </a:lnTo>
                        <a:lnTo>
                          <a:pt x="612" y="675"/>
                        </a:lnTo>
                        <a:lnTo>
                          <a:pt x="610" y="675"/>
                        </a:lnTo>
                        <a:lnTo>
                          <a:pt x="609" y="675"/>
                        </a:lnTo>
                        <a:lnTo>
                          <a:pt x="609" y="678"/>
                        </a:lnTo>
                        <a:lnTo>
                          <a:pt x="609" y="679"/>
                        </a:lnTo>
                        <a:lnTo>
                          <a:pt x="609" y="681"/>
                        </a:lnTo>
                        <a:lnTo>
                          <a:pt x="610" y="683"/>
                        </a:lnTo>
                        <a:lnTo>
                          <a:pt x="612" y="683"/>
                        </a:lnTo>
                        <a:lnTo>
                          <a:pt x="612" y="684"/>
                        </a:lnTo>
                        <a:lnTo>
                          <a:pt x="612" y="686"/>
                        </a:lnTo>
                        <a:lnTo>
                          <a:pt x="613" y="686"/>
                        </a:lnTo>
                        <a:lnTo>
                          <a:pt x="613" y="687"/>
                        </a:lnTo>
                        <a:lnTo>
                          <a:pt x="615" y="687"/>
                        </a:lnTo>
                        <a:lnTo>
                          <a:pt x="617" y="687"/>
                        </a:lnTo>
                        <a:lnTo>
                          <a:pt x="620" y="686"/>
                        </a:lnTo>
                        <a:lnTo>
                          <a:pt x="621" y="686"/>
                        </a:lnTo>
                        <a:lnTo>
                          <a:pt x="621" y="687"/>
                        </a:lnTo>
                        <a:lnTo>
                          <a:pt x="623" y="687"/>
                        </a:lnTo>
                        <a:lnTo>
                          <a:pt x="623" y="686"/>
                        </a:lnTo>
                        <a:lnTo>
                          <a:pt x="624" y="687"/>
                        </a:lnTo>
                        <a:lnTo>
                          <a:pt x="623" y="689"/>
                        </a:lnTo>
                        <a:lnTo>
                          <a:pt x="623" y="691"/>
                        </a:lnTo>
                        <a:lnTo>
                          <a:pt x="624" y="691"/>
                        </a:lnTo>
                        <a:lnTo>
                          <a:pt x="624" y="692"/>
                        </a:lnTo>
                        <a:lnTo>
                          <a:pt x="624" y="694"/>
                        </a:lnTo>
                        <a:lnTo>
                          <a:pt x="626" y="695"/>
                        </a:lnTo>
                        <a:lnTo>
                          <a:pt x="628" y="697"/>
                        </a:lnTo>
                        <a:lnTo>
                          <a:pt x="629" y="697"/>
                        </a:lnTo>
                        <a:lnTo>
                          <a:pt x="629" y="695"/>
                        </a:lnTo>
                        <a:lnTo>
                          <a:pt x="631" y="695"/>
                        </a:lnTo>
                        <a:lnTo>
                          <a:pt x="632" y="695"/>
                        </a:lnTo>
                        <a:lnTo>
                          <a:pt x="634" y="695"/>
                        </a:lnTo>
                        <a:lnTo>
                          <a:pt x="637" y="697"/>
                        </a:lnTo>
                        <a:lnTo>
                          <a:pt x="640" y="695"/>
                        </a:lnTo>
                        <a:lnTo>
                          <a:pt x="644" y="695"/>
                        </a:lnTo>
                        <a:lnTo>
                          <a:pt x="644" y="694"/>
                        </a:lnTo>
                        <a:lnTo>
                          <a:pt x="645" y="695"/>
                        </a:lnTo>
                        <a:lnTo>
                          <a:pt x="647" y="695"/>
                        </a:lnTo>
                        <a:lnTo>
                          <a:pt x="648" y="695"/>
                        </a:lnTo>
                        <a:lnTo>
                          <a:pt x="650" y="698"/>
                        </a:lnTo>
                        <a:lnTo>
                          <a:pt x="650" y="700"/>
                        </a:lnTo>
                        <a:lnTo>
                          <a:pt x="648" y="702"/>
                        </a:lnTo>
                        <a:lnTo>
                          <a:pt x="648" y="703"/>
                        </a:lnTo>
                        <a:lnTo>
                          <a:pt x="650" y="705"/>
                        </a:lnTo>
                        <a:lnTo>
                          <a:pt x="651" y="708"/>
                        </a:lnTo>
                        <a:lnTo>
                          <a:pt x="651" y="711"/>
                        </a:lnTo>
                        <a:lnTo>
                          <a:pt x="651" y="713"/>
                        </a:lnTo>
                        <a:lnTo>
                          <a:pt x="653" y="713"/>
                        </a:lnTo>
                        <a:lnTo>
                          <a:pt x="653" y="714"/>
                        </a:lnTo>
                        <a:lnTo>
                          <a:pt x="655" y="714"/>
                        </a:lnTo>
                        <a:lnTo>
                          <a:pt x="656" y="714"/>
                        </a:lnTo>
                        <a:lnTo>
                          <a:pt x="658" y="713"/>
                        </a:lnTo>
                        <a:lnTo>
                          <a:pt x="663" y="711"/>
                        </a:lnTo>
                        <a:lnTo>
                          <a:pt x="664" y="711"/>
                        </a:lnTo>
                        <a:lnTo>
                          <a:pt x="666" y="711"/>
                        </a:lnTo>
                        <a:lnTo>
                          <a:pt x="667" y="710"/>
                        </a:lnTo>
                        <a:lnTo>
                          <a:pt x="669" y="708"/>
                        </a:lnTo>
                        <a:lnTo>
                          <a:pt x="670" y="708"/>
                        </a:lnTo>
                        <a:lnTo>
                          <a:pt x="670" y="710"/>
                        </a:lnTo>
                        <a:lnTo>
                          <a:pt x="672" y="710"/>
                        </a:lnTo>
                        <a:lnTo>
                          <a:pt x="672" y="711"/>
                        </a:lnTo>
                        <a:lnTo>
                          <a:pt x="672" y="713"/>
                        </a:lnTo>
                        <a:lnTo>
                          <a:pt x="670" y="716"/>
                        </a:lnTo>
                        <a:lnTo>
                          <a:pt x="672" y="716"/>
                        </a:lnTo>
                        <a:lnTo>
                          <a:pt x="672" y="717"/>
                        </a:lnTo>
                        <a:lnTo>
                          <a:pt x="674" y="719"/>
                        </a:lnTo>
                        <a:lnTo>
                          <a:pt x="675" y="719"/>
                        </a:lnTo>
                        <a:lnTo>
                          <a:pt x="675" y="721"/>
                        </a:lnTo>
                        <a:lnTo>
                          <a:pt x="675" y="722"/>
                        </a:lnTo>
                        <a:lnTo>
                          <a:pt x="675" y="724"/>
                        </a:lnTo>
                        <a:lnTo>
                          <a:pt x="675" y="725"/>
                        </a:lnTo>
                        <a:lnTo>
                          <a:pt x="675" y="729"/>
                        </a:lnTo>
                        <a:lnTo>
                          <a:pt x="675" y="730"/>
                        </a:lnTo>
                        <a:lnTo>
                          <a:pt x="675" y="732"/>
                        </a:lnTo>
                        <a:lnTo>
                          <a:pt x="674" y="733"/>
                        </a:lnTo>
                        <a:lnTo>
                          <a:pt x="674" y="735"/>
                        </a:lnTo>
                        <a:lnTo>
                          <a:pt x="674" y="738"/>
                        </a:lnTo>
                        <a:lnTo>
                          <a:pt x="675" y="738"/>
                        </a:lnTo>
                        <a:lnTo>
                          <a:pt x="677" y="740"/>
                        </a:lnTo>
                        <a:lnTo>
                          <a:pt x="680" y="740"/>
                        </a:lnTo>
                        <a:lnTo>
                          <a:pt x="682" y="740"/>
                        </a:lnTo>
                        <a:lnTo>
                          <a:pt x="683" y="740"/>
                        </a:lnTo>
                        <a:lnTo>
                          <a:pt x="685" y="740"/>
                        </a:lnTo>
                        <a:lnTo>
                          <a:pt x="685" y="741"/>
                        </a:lnTo>
                        <a:lnTo>
                          <a:pt x="685" y="743"/>
                        </a:lnTo>
                        <a:lnTo>
                          <a:pt x="685" y="744"/>
                        </a:lnTo>
                        <a:lnTo>
                          <a:pt x="686" y="744"/>
                        </a:lnTo>
                        <a:lnTo>
                          <a:pt x="689" y="744"/>
                        </a:lnTo>
                        <a:lnTo>
                          <a:pt x="691" y="744"/>
                        </a:lnTo>
                        <a:lnTo>
                          <a:pt x="693" y="744"/>
                        </a:lnTo>
                        <a:lnTo>
                          <a:pt x="694" y="744"/>
                        </a:lnTo>
                        <a:lnTo>
                          <a:pt x="694" y="746"/>
                        </a:lnTo>
                        <a:lnTo>
                          <a:pt x="694" y="748"/>
                        </a:lnTo>
                        <a:lnTo>
                          <a:pt x="693" y="749"/>
                        </a:lnTo>
                        <a:lnTo>
                          <a:pt x="693" y="751"/>
                        </a:lnTo>
                        <a:lnTo>
                          <a:pt x="694" y="752"/>
                        </a:lnTo>
                        <a:lnTo>
                          <a:pt x="696" y="752"/>
                        </a:lnTo>
                        <a:lnTo>
                          <a:pt x="697" y="752"/>
                        </a:lnTo>
                        <a:lnTo>
                          <a:pt x="697" y="754"/>
                        </a:lnTo>
                        <a:lnTo>
                          <a:pt x="699" y="754"/>
                        </a:lnTo>
                        <a:lnTo>
                          <a:pt x="701" y="754"/>
                        </a:lnTo>
                        <a:lnTo>
                          <a:pt x="701" y="755"/>
                        </a:lnTo>
                        <a:lnTo>
                          <a:pt x="702" y="755"/>
                        </a:lnTo>
                        <a:lnTo>
                          <a:pt x="705" y="755"/>
                        </a:lnTo>
                        <a:lnTo>
                          <a:pt x="707" y="755"/>
                        </a:lnTo>
                        <a:lnTo>
                          <a:pt x="710" y="755"/>
                        </a:lnTo>
                        <a:lnTo>
                          <a:pt x="712" y="755"/>
                        </a:lnTo>
                        <a:lnTo>
                          <a:pt x="712" y="757"/>
                        </a:lnTo>
                        <a:lnTo>
                          <a:pt x="712" y="759"/>
                        </a:lnTo>
                        <a:lnTo>
                          <a:pt x="712" y="760"/>
                        </a:lnTo>
                        <a:lnTo>
                          <a:pt x="712" y="762"/>
                        </a:lnTo>
                        <a:lnTo>
                          <a:pt x="712" y="763"/>
                        </a:lnTo>
                        <a:lnTo>
                          <a:pt x="712" y="765"/>
                        </a:lnTo>
                        <a:lnTo>
                          <a:pt x="713" y="765"/>
                        </a:lnTo>
                        <a:lnTo>
                          <a:pt x="713" y="767"/>
                        </a:lnTo>
                        <a:lnTo>
                          <a:pt x="715" y="767"/>
                        </a:lnTo>
                        <a:lnTo>
                          <a:pt x="718" y="765"/>
                        </a:lnTo>
                        <a:lnTo>
                          <a:pt x="720" y="763"/>
                        </a:lnTo>
                        <a:lnTo>
                          <a:pt x="721" y="765"/>
                        </a:lnTo>
                        <a:lnTo>
                          <a:pt x="724" y="763"/>
                        </a:lnTo>
                        <a:lnTo>
                          <a:pt x="726" y="763"/>
                        </a:lnTo>
                        <a:lnTo>
                          <a:pt x="727" y="763"/>
                        </a:lnTo>
                        <a:lnTo>
                          <a:pt x="729" y="763"/>
                        </a:lnTo>
                        <a:lnTo>
                          <a:pt x="731" y="763"/>
                        </a:lnTo>
                        <a:lnTo>
                          <a:pt x="732" y="763"/>
                        </a:lnTo>
                        <a:lnTo>
                          <a:pt x="735" y="763"/>
                        </a:lnTo>
                        <a:lnTo>
                          <a:pt x="737" y="763"/>
                        </a:lnTo>
                        <a:lnTo>
                          <a:pt x="737" y="765"/>
                        </a:lnTo>
                        <a:lnTo>
                          <a:pt x="737" y="767"/>
                        </a:lnTo>
                        <a:lnTo>
                          <a:pt x="739" y="768"/>
                        </a:lnTo>
                        <a:lnTo>
                          <a:pt x="740" y="770"/>
                        </a:lnTo>
                        <a:lnTo>
                          <a:pt x="742" y="770"/>
                        </a:lnTo>
                        <a:lnTo>
                          <a:pt x="742" y="771"/>
                        </a:lnTo>
                        <a:lnTo>
                          <a:pt x="743" y="771"/>
                        </a:lnTo>
                        <a:lnTo>
                          <a:pt x="743" y="773"/>
                        </a:lnTo>
                        <a:lnTo>
                          <a:pt x="745" y="773"/>
                        </a:lnTo>
                        <a:lnTo>
                          <a:pt x="746" y="774"/>
                        </a:lnTo>
                        <a:lnTo>
                          <a:pt x="746" y="776"/>
                        </a:lnTo>
                        <a:lnTo>
                          <a:pt x="748" y="776"/>
                        </a:lnTo>
                        <a:lnTo>
                          <a:pt x="748" y="778"/>
                        </a:lnTo>
                        <a:lnTo>
                          <a:pt x="748" y="779"/>
                        </a:lnTo>
                        <a:lnTo>
                          <a:pt x="748" y="781"/>
                        </a:lnTo>
                        <a:lnTo>
                          <a:pt x="748" y="782"/>
                        </a:lnTo>
                        <a:lnTo>
                          <a:pt x="750" y="784"/>
                        </a:lnTo>
                        <a:lnTo>
                          <a:pt x="751" y="786"/>
                        </a:lnTo>
                        <a:lnTo>
                          <a:pt x="753" y="787"/>
                        </a:lnTo>
                        <a:lnTo>
                          <a:pt x="753" y="789"/>
                        </a:lnTo>
                        <a:lnTo>
                          <a:pt x="754" y="789"/>
                        </a:lnTo>
                        <a:lnTo>
                          <a:pt x="754" y="792"/>
                        </a:lnTo>
                        <a:lnTo>
                          <a:pt x="756" y="792"/>
                        </a:lnTo>
                        <a:lnTo>
                          <a:pt x="756" y="793"/>
                        </a:lnTo>
                        <a:lnTo>
                          <a:pt x="758" y="793"/>
                        </a:lnTo>
                        <a:lnTo>
                          <a:pt x="759" y="795"/>
                        </a:lnTo>
                        <a:lnTo>
                          <a:pt x="761" y="797"/>
                        </a:lnTo>
                        <a:lnTo>
                          <a:pt x="762" y="797"/>
                        </a:lnTo>
                        <a:lnTo>
                          <a:pt x="764" y="797"/>
                        </a:lnTo>
                        <a:lnTo>
                          <a:pt x="764" y="798"/>
                        </a:lnTo>
                        <a:lnTo>
                          <a:pt x="761" y="801"/>
                        </a:lnTo>
                        <a:lnTo>
                          <a:pt x="758" y="805"/>
                        </a:lnTo>
                        <a:lnTo>
                          <a:pt x="754" y="808"/>
                        </a:lnTo>
                        <a:lnTo>
                          <a:pt x="751" y="811"/>
                        </a:lnTo>
                        <a:lnTo>
                          <a:pt x="748" y="811"/>
                        </a:lnTo>
                        <a:lnTo>
                          <a:pt x="745" y="811"/>
                        </a:lnTo>
                        <a:lnTo>
                          <a:pt x="742" y="809"/>
                        </a:lnTo>
                        <a:lnTo>
                          <a:pt x="740" y="809"/>
                        </a:lnTo>
                        <a:lnTo>
                          <a:pt x="739" y="809"/>
                        </a:lnTo>
                        <a:lnTo>
                          <a:pt x="737" y="809"/>
                        </a:lnTo>
                        <a:lnTo>
                          <a:pt x="735" y="811"/>
                        </a:lnTo>
                        <a:lnTo>
                          <a:pt x="735" y="813"/>
                        </a:lnTo>
                        <a:lnTo>
                          <a:pt x="734" y="814"/>
                        </a:lnTo>
                        <a:lnTo>
                          <a:pt x="734" y="817"/>
                        </a:lnTo>
                        <a:lnTo>
                          <a:pt x="732" y="819"/>
                        </a:lnTo>
                        <a:lnTo>
                          <a:pt x="731" y="820"/>
                        </a:lnTo>
                        <a:lnTo>
                          <a:pt x="727" y="822"/>
                        </a:lnTo>
                        <a:lnTo>
                          <a:pt x="727" y="824"/>
                        </a:lnTo>
                        <a:lnTo>
                          <a:pt x="726" y="827"/>
                        </a:lnTo>
                        <a:lnTo>
                          <a:pt x="726" y="828"/>
                        </a:lnTo>
                        <a:lnTo>
                          <a:pt x="723" y="832"/>
                        </a:lnTo>
                        <a:lnTo>
                          <a:pt x="721" y="833"/>
                        </a:lnTo>
                        <a:lnTo>
                          <a:pt x="720" y="835"/>
                        </a:lnTo>
                        <a:lnTo>
                          <a:pt x="718" y="836"/>
                        </a:lnTo>
                        <a:lnTo>
                          <a:pt x="716" y="836"/>
                        </a:lnTo>
                        <a:lnTo>
                          <a:pt x="715" y="836"/>
                        </a:lnTo>
                        <a:lnTo>
                          <a:pt x="713" y="836"/>
                        </a:lnTo>
                        <a:lnTo>
                          <a:pt x="712" y="836"/>
                        </a:lnTo>
                        <a:lnTo>
                          <a:pt x="710" y="838"/>
                        </a:lnTo>
                        <a:lnTo>
                          <a:pt x="708" y="841"/>
                        </a:lnTo>
                        <a:lnTo>
                          <a:pt x="707" y="844"/>
                        </a:lnTo>
                        <a:lnTo>
                          <a:pt x="704" y="846"/>
                        </a:lnTo>
                        <a:lnTo>
                          <a:pt x="701" y="847"/>
                        </a:lnTo>
                        <a:lnTo>
                          <a:pt x="697" y="847"/>
                        </a:lnTo>
                        <a:lnTo>
                          <a:pt x="693" y="847"/>
                        </a:lnTo>
                        <a:lnTo>
                          <a:pt x="686" y="851"/>
                        </a:lnTo>
                        <a:lnTo>
                          <a:pt x="683" y="854"/>
                        </a:lnTo>
                        <a:lnTo>
                          <a:pt x="678" y="855"/>
                        </a:lnTo>
                        <a:lnTo>
                          <a:pt x="674" y="857"/>
                        </a:lnTo>
                        <a:lnTo>
                          <a:pt x="669" y="860"/>
                        </a:lnTo>
                        <a:lnTo>
                          <a:pt x="666" y="863"/>
                        </a:lnTo>
                        <a:lnTo>
                          <a:pt x="664" y="866"/>
                        </a:lnTo>
                        <a:lnTo>
                          <a:pt x="661" y="866"/>
                        </a:lnTo>
                        <a:lnTo>
                          <a:pt x="658" y="868"/>
                        </a:lnTo>
                        <a:lnTo>
                          <a:pt x="655" y="870"/>
                        </a:lnTo>
                        <a:lnTo>
                          <a:pt x="651" y="871"/>
                        </a:lnTo>
                        <a:lnTo>
                          <a:pt x="648" y="874"/>
                        </a:lnTo>
                        <a:lnTo>
                          <a:pt x="647" y="877"/>
                        </a:lnTo>
                        <a:lnTo>
                          <a:pt x="644" y="882"/>
                        </a:lnTo>
                        <a:lnTo>
                          <a:pt x="642" y="889"/>
                        </a:lnTo>
                        <a:lnTo>
                          <a:pt x="639" y="892"/>
                        </a:lnTo>
                        <a:lnTo>
                          <a:pt x="636" y="893"/>
                        </a:lnTo>
                        <a:lnTo>
                          <a:pt x="632" y="893"/>
                        </a:lnTo>
                        <a:lnTo>
                          <a:pt x="629" y="893"/>
                        </a:lnTo>
                        <a:lnTo>
                          <a:pt x="626" y="893"/>
                        </a:lnTo>
                        <a:lnTo>
                          <a:pt x="623" y="893"/>
                        </a:lnTo>
                        <a:lnTo>
                          <a:pt x="621" y="893"/>
                        </a:lnTo>
                        <a:lnTo>
                          <a:pt x="618" y="892"/>
                        </a:lnTo>
                        <a:lnTo>
                          <a:pt x="617" y="889"/>
                        </a:lnTo>
                        <a:lnTo>
                          <a:pt x="615" y="885"/>
                        </a:lnTo>
                        <a:lnTo>
                          <a:pt x="613" y="885"/>
                        </a:lnTo>
                        <a:lnTo>
                          <a:pt x="612" y="887"/>
                        </a:lnTo>
                        <a:lnTo>
                          <a:pt x="610" y="887"/>
                        </a:lnTo>
                        <a:lnTo>
                          <a:pt x="607" y="887"/>
                        </a:lnTo>
                        <a:lnTo>
                          <a:pt x="607" y="889"/>
                        </a:lnTo>
                        <a:lnTo>
                          <a:pt x="605" y="890"/>
                        </a:lnTo>
                        <a:lnTo>
                          <a:pt x="604" y="892"/>
                        </a:lnTo>
                        <a:lnTo>
                          <a:pt x="602" y="892"/>
                        </a:lnTo>
                        <a:lnTo>
                          <a:pt x="601" y="892"/>
                        </a:lnTo>
                        <a:lnTo>
                          <a:pt x="601" y="893"/>
                        </a:lnTo>
                        <a:lnTo>
                          <a:pt x="601" y="895"/>
                        </a:lnTo>
                        <a:lnTo>
                          <a:pt x="598" y="896"/>
                        </a:lnTo>
                        <a:lnTo>
                          <a:pt x="596" y="900"/>
                        </a:lnTo>
                        <a:lnTo>
                          <a:pt x="596" y="904"/>
                        </a:lnTo>
                        <a:lnTo>
                          <a:pt x="594" y="908"/>
                        </a:lnTo>
                        <a:lnTo>
                          <a:pt x="593" y="912"/>
                        </a:lnTo>
                        <a:lnTo>
                          <a:pt x="591" y="917"/>
                        </a:lnTo>
                        <a:lnTo>
                          <a:pt x="590" y="920"/>
                        </a:lnTo>
                        <a:lnTo>
                          <a:pt x="586" y="923"/>
                        </a:lnTo>
                        <a:lnTo>
                          <a:pt x="585" y="925"/>
                        </a:lnTo>
                        <a:lnTo>
                          <a:pt x="585" y="928"/>
                        </a:lnTo>
                        <a:lnTo>
                          <a:pt x="585" y="930"/>
                        </a:lnTo>
                        <a:lnTo>
                          <a:pt x="585" y="933"/>
                        </a:lnTo>
                        <a:lnTo>
                          <a:pt x="585" y="936"/>
                        </a:lnTo>
                        <a:lnTo>
                          <a:pt x="586" y="941"/>
                        </a:lnTo>
                        <a:lnTo>
                          <a:pt x="586" y="944"/>
                        </a:lnTo>
                        <a:lnTo>
                          <a:pt x="588" y="947"/>
                        </a:lnTo>
                        <a:lnTo>
                          <a:pt x="588" y="952"/>
                        </a:lnTo>
                        <a:lnTo>
                          <a:pt x="586" y="955"/>
                        </a:lnTo>
                        <a:lnTo>
                          <a:pt x="583" y="958"/>
                        </a:lnTo>
                        <a:lnTo>
                          <a:pt x="580" y="960"/>
                        </a:lnTo>
                        <a:lnTo>
                          <a:pt x="577" y="961"/>
                        </a:lnTo>
                        <a:lnTo>
                          <a:pt x="574" y="963"/>
                        </a:lnTo>
                        <a:lnTo>
                          <a:pt x="572" y="966"/>
                        </a:lnTo>
                        <a:lnTo>
                          <a:pt x="572" y="969"/>
                        </a:lnTo>
                        <a:lnTo>
                          <a:pt x="571" y="974"/>
                        </a:lnTo>
                        <a:lnTo>
                          <a:pt x="571" y="979"/>
                        </a:lnTo>
                        <a:lnTo>
                          <a:pt x="571" y="980"/>
                        </a:lnTo>
                        <a:lnTo>
                          <a:pt x="571" y="984"/>
                        </a:lnTo>
                        <a:lnTo>
                          <a:pt x="571" y="985"/>
                        </a:lnTo>
                        <a:lnTo>
                          <a:pt x="571" y="988"/>
                        </a:lnTo>
                        <a:lnTo>
                          <a:pt x="571" y="990"/>
                        </a:lnTo>
                        <a:lnTo>
                          <a:pt x="572" y="993"/>
                        </a:lnTo>
                        <a:lnTo>
                          <a:pt x="572" y="995"/>
                        </a:lnTo>
                        <a:lnTo>
                          <a:pt x="572" y="996"/>
                        </a:lnTo>
                        <a:lnTo>
                          <a:pt x="571" y="999"/>
                        </a:lnTo>
                        <a:lnTo>
                          <a:pt x="567" y="1001"/>
                        </a:lnTo>
                        <a:lnTo>
                          <a:pt x="563" y="1007"/>
                        </a:lnTo>
                        <a:lnTo>
                          <a:pt x="558" y="1012"/>
                        </a:lnTo>
                        <a:lnTo>
                          <a:pt x="555" y="1017"/>
                        </a:lnTo>
                        <a:lnTo>
                          <a:pt x="550" y="1023"/>
                        </a:lnTo>
                        <a:lnTo>
                          <a:pt x="548" y="1025"/>
                        </a:lnTo>
                        <a:lnTo>
                          <a:pt x="547" y="1028"/>
                        </a:lnTo>
                        <a:lnTo>
                          <a:pt x="547" y="1030"/>
                        </a:lnTo>
                        <a:lnTo>
                          <a:pt x="547" y="1031"/>
                        </a:lnTo>
                        <a:lnTo>
                          <a:pt x="547" y="1033"/>
                        </a:lnTo>
                        <a:lnTo>
                          <a:pt x="550" y="1033"/>
                        </a:lnTo>
                        <a:lnTo>
                          <a:pt x="552" y="1033"/>
                        </a:lnTo>
                        <a:lnTo>
                          <a:pt x="552" y="1034"/>
                        </a:lnTo>
                        <a:lnTo>
                          <a:pt x="553" y="1034"/>
                        </a:lnTo>
                        <a:lnTo>
                          <a:pt x="556" y="1034"/>
                        </a:lnTo>
                        <a:lnTo>
                          <a:pt x="558" y="1033"/>
                        </a:lnTo>
                        <a:lnTo>
                          <a:pt x="560" y="1033"/>
                        </a:lnTo>
                        <a:lnTo>
                          <a:pt x="561" y="1033"/>
                        </a:lnTo>
                        <a:lnTo>
                          <a:pt x="563" y="1033"/>
                        </a:lnTo>
                        <a:lnTo>
                          <a:pt x="563" y="1034"/>
                        </a:lnTo>
                        <a:lnTo>
                          <a:pt x="563" y="1036"/>
                        </a:lnTo>
                        <a:lnTo>
                          <a:pt x="563" y="1037"/>
                        </a:lnTo>
                        <a:lnTo>
                          <a:pt x="561" y="1037"/>
                        </a:lnTo>
                        <a:lnTo>
                          <a:pt x="561" y="1039"/>
                        </a:lnTo>
                        <a:lnTo>
                          <a:pt x="563" y="1041"/>
                        </a:lnTo>
                        <a:lnTo>
                          <a:pt x="563" y="1039"/>
                        </a:lnTo>
                        <a:lnTo>
                          <a:pt x="564" y="1041"/>
                        </a:lnTo>
                        <a:lnTo>
                          <a:pt x="566" y="1041"/>
                        </a:lnTo>
                        <a:lnTo>
                          <a:pt x="567" y="1042"/>
                        </a:lnTo>
                        <a:lnTo>
                          <a:pt x="569" y="1042"/>
                        </a:lnTo>
                        <a:lnTo>
                          <a:pt x="571" y="1042"/>
                        </a:lnTo>
                        <a:lnTo>
                          <a:pt x="572" y="1044"/>
                        </a:lnTo>
                        <a:lnTo>
                          <a:pt x="575" y="1045"/>
                        </a:lnTo>
                        <a:lnTo>
                          <a:pt x="579" y="1045"/>
                        </a:lnTo>
                        <a:lnTo>
                          <a:pt x="580" y="1047"/>
                        </a:lnTo>
                        <a:lnTo>
                          <a:pt x="580" y="1049"/>
                        </a:lnTo>
                        <a:lnTo>
                          <a:pt x="580" y="1050"/>
                        </a:lnTo>
                        <a:lnTo>
                          <a:pt x="579" y="1052"/>
                        </a:lnTo>
                        <a:lnTo>
                          <a:pt x="580" y="1055"/>
                        </a:lnTo>
                        <a:lnTo>
                          <a:pt x="580" y="1056"/>
                        </a:lnTo>
                        <a:lnTo>
                          <a:pt x="582" y="1056"/>
                        </a:lnTo>
                        <a:lnTo>
                          <a:pt x="583" y="1056"/>
                        </a:lnTo>
                        <a:lnTo>
                          <a:pt x="583" y="1058"/>
                        </a:lnTo>
                        <a:lnTo>
                          <a:pt x="585" y="1058"/>
                        </a:lnTo>
                        <a:lnTo>
                          <a:pt x="586" y="1058"/>
                        </a:lnTo>
                        <a:lnTo>
                          <a:pt x="588" y="1058"/>
                        </a:lnTo>
                        <a:lnTo>
                          <a:pt x="588" y="1060"/>
                        </a:lnTo>
                        <a:lnTo>
                          <a:pt x="590" y="1060"/>
                        </a:lnTo>
                        <a:lnTo>
                          <a:pt x="590" y="1058"/>
                        </a:lnTo>
                        <a:lnTo>
                          <a:pt x="591" y="1056"/>
                        </a:lnTo>
                        <a:lnTo>
                          <a:pt x="591" y="1055"/>
                        </a:lnTo>
                        <a:lnTo>
                          <a:pt x="593" y="1055"/>
                        </a:lnTo>
                        <a:lnTo>
                          <a:pt x="596" y="1055"/>
                        </a:lnTo>
                        <a:lnTo>
                          <a:pt x="598" y="1055"/>
                        </a:lnTo>
                        <a:lnTo>
                          <a:pt x="599" y="1053"/>
                        </a:lnTo>
                        <a:lnTo>
                          <a:pt x="601" y="1053"/>
                        </a:lnTo>
                        <a:lnTo>
                          <a:pt x="602" y="1053"/>
                        </a:lnTo>
                        <a:lnTo>
                          <a:pt x="604" y="1053"/>
                        </a:lnTo>
                        <a:lnTo>
                          <a:pt x="605" y="1055"/>
                        </a:lnTo>
                        <a:lnTo>
                          <a:pt x="607" y="1056"/>
                        </a:lnTo>
                        <a:lnTo>
                          <a:pt x="607" y="1058"/>
                        </a:lnTo>
                        <a:lnTo>
                          <a:pt x="605" y="1060"/>
                        </a:lnTo>
                        <a:lnTo>
                          <a:pt x="604" y="1060"/>
                        </a:lnTo>
                        <a:lnTo>
                          <a:pt x="604" y="1061"/>
                        </a:lnTo>
                        <a:lnTo>
                          <a:pt x="604" y="1063"/>
                        </a:lnTo>
                        <a:lnTo>
                          <a:pt x="604" y="1064"/>
                        </a:lnTo>
                        <a:lnTo>
                          <a:pt x="604" y="1066"/>
                        </a:lnTo>
                        <a:lnTo>
                          <a:pt x="605" y="1068"/>
                        </a:lnTo>
                        <a:lnTo>
                          <a:pt x="607" y="1068"/>
                        </a:lnTo>
                        <a:lnTo>
                          <a:pt x="609" y="1069"/>
                        </a:lnTo>
                        <a:lnTo>
                          <a:pt x="610" y="1069"/>
                        </a:lnTo>
                        <a:lnTo>
                          <a:pt x="612" y="1068"/>
                        </a:lnTo>
                        <a:lnTo>
                          <a:pt x="613" y="1066"/>
                        </a:lnTo>
                        <a:lnTo>
                          <a:pt x="615" y="1064"/>
                        </a:lnTo>
                        <a:lnTo>
                          <a:pt x="618" y="1066"/>
                        </a:lnTo>
                        <a:lnTo>
                          <a:pt x="621" y="1069"/>
                        </a:lnTo>
                        <a:lnTo>
                          <a:pt x="621" y="1071"/>
                        </a:lnTo>
                        <a:lnTo>
                          <a:pt x="620" y="1071"/>
                        </a:lnTo>
                        <a:lnTo>
                          <a:pt x="618" y="1072"/>
                        </a:lnTo>
                        <a:lnTo>
                          <a:pt x="618" y="1074"/>
                        </a:lnTo>
                        <a:lnTo>
                          <a:pt x="618" y="1075"/>
                        </a:lnTo>
                        <a:lnTo>
                          <a:pt x="620" y="1075"/>
                        </a:lnTo>
                        <a:lnTo>
                          <a:pt x="621" y="1077"/>
                        </a:lnTo>
                        <a:lnTo>
                          <a:pt x="623" y="1079"/>
                        </a:lnTo>
                        <a:lnTo>
                          <a:pt x="624" y="1079"/>
                        </a:lnTo>
                        <a:lnTo>
                          <a:pt x="626" y="1079"/>
                        </a:lnTo>
                        <a:lnTo>
                          <a:pt x="628" y="1079"/>
                        </a:lnTo>
                        <a:lnTo>
                          <a:pt x="629" y="1079"/>
                        </a:lnTo>
                        <a:lnTo>
                          <a:pt x="632" y="1077"/>
                        </a:lnTo>
                        <a:lnTo>
                          <a:pt x="634" y="1075"/>
                        </a:lnTo>
                        <a:lnTo>
                          <a:pt x="636" y="1075"/>
                        </a:lnTo>
                        <a:lnTo>
                          <a:pt x="637" y="1074"/>
                        </a:lnTo>
                        <a:lnTo>
                          <a:pt x="640" y="1074"/>
                        </a:lnTo>
                        <a:lnTo>
                          <a:pt x="642" y="1074"/>
                        </a:lnTo>
                        <a:lnTo>
                          <a:pt x="644" y="1075"/>
                        </a:lnTo>
                        <a:lnTo>
                          <a:pt x="645" y="1077"/>
                        </a:lnTo>
                        <a:lnTo>
                          <a:pt x="645" y="1079"/>
                        </a:lnTo>
                        <a:lnTo>
                          <a:pt x="648" y="1079"/>
                        </a:lnTo>
                        <a:lnTo>
                          <a:pt x="648" y="1077"/>
                        </a:lnTo>
                        <a:lnTo>
                          <a:pt x="650" y="1077"/>
                        </a:lnTo>
                        <a:lnTo>
                          <a:pt x="651" y="1077"/>
                        </a:lnTo>
                        <a:lnTo>
                          <a:pt x="653" y="1077"/>
                        </a:lnTo>
                        <a:lnTo>
                          <a:pt x="655" y="1075"/>
                        </a:lnTo>
                        <a:lnTo>
                          <a:pt x="656" y="1075"/>
                        </a:lnTo>
                        <a:lnTo>
                          <a:pt x="658" y="1075"/>
                        </a:lnTo>
                        <a:lnTo>
                          <a:pt x="659" y="1075"/>
                        </a:lnTo>
                        <a:lnTo>
                          <a:pt x="661" y="1075"/>
                        </a:lnTo>
                        <a:lnTo>
                          <a:pt x="661" y="1077"/>
                        </a:lnTo>
                        <a:lnTo>
                          <a:pt x="663" y="1077"/>
                        </a:lnTo>
                        <a:lnTo>
                          <a:pt x="663" y="1079"/>
                        </a:lnTo>
                        <a:lnTo>
                          <a:pt x="661" y="1079"/>
                        </a:lnTo>
                        <a:lnTo>
                          <a:pt x="661" y="1080"/>
                        </a:lnTo>
                        <a:lnTo>
                          <a:pt x="661" y="1082"/>
                        </a:lnTo>
                        <a:lnTo>
                          <a:pt x="659" y="1082"/>
                        </a:lnTo>
                        <a:lnTo>
                          <a:pt x="659" y="1083"/>
                        </a:lnTo>
                        <a:lnTo>
                          <a:pt x="656" y="1083"/>
                        </a:lnTo>
                        <a:lnTo>
                          <a:pt x="656" y="1087"/>
                        </a:lnTo>
                        <a:lnTo>
                          <a:pt x="656" y="1088"/>
                        </a:lnTo>
                        <a:lnTo>
                          <a:pt x="658" y="1090"/>
                        </a:lnTo>
                        <a:lnTo>
                          <a:pt x="661" y="1091"/>
                        </a:lnTo>
                        <a:lnTo>
                          <a:pt x="663" y="1093"/>
                        </a:lnTo>
                        <a:lnTo>
                          <a:pt x="664" y="1094"/>
                        </a:lnTo>
                        <a:lnTo>
                          <a:pt x="666" y="1096"/>
                        </a:lnTo>
                        <a:lnTo>
                          <a:pt x="667" y="1096"/>
                        </a:lnTo>
                        <a:lnTo>
                          <a:pt x="667" y="1098"/>
                        </a:lnTo>
                        <a:lnTo>
                          <a:pt x="667" y="1099"/>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52" name="Freeform 51"/>
                  <p:cNvSpPr>
                    <a:spLocks/>
                  </p:cNvSpPr>
                  <p:nvPr/>
                </p:nvSpPr>
                <p:spPr bwMode="auto">
                  <a:xfrm>
                    <a:off x="3232" y="2016"/>
                    <a:ext cx="931" cy="1150"/>
                  </a:xfrm>
                  <a:custGeom>
                    <a:avLst/>
                    <a:gdLst>
                      <a:gd name="T0" fmla="*/ 922 w 931"/>
                      <a:gd name="T1" fmla="*/ 1107 h 1150"/>
                      <a:gd name="T2" fmla="*/ 930 w 931"/>
                      <a:gd name="T3" fmla="*/ 1107 h 1150"/>
                      <a:gd name="T4" fmla="*/ 922 w 931"/>
                      <a:gd name="T5" fmla="*/ 1123 h 1150"/>
                      <a:gd name="T6" fmla="*/ 827 w 931"/>
                      <a:gd name="T7" fmla="*/ 1134 h 1150"/>
                      <a:gd name="T8" fmla="*/ 748 w 931"/>
                      <a:gd name="T9" fmla="*/ 1148 h 1150"/>
                      <a:gd name="T10" fmla="*/ 613 w 931"/>
                      <a:gd name="T11" fmla="*/ 1147 h 1150"/>
                      <a:gd name="T12" fmla="*/ 481 w 931"/>
                      <a:gd name="T13" fmla="*/ 1148 h 1150"/>
                      <a:gd name="T14" fmla="*/ 390 w 931"/>
                      <a:gd name="T15" fmla="*/ 1144 h 1150"/>
                      <a:gd name="T16" fmla="*/ 244 w 931"/>
                      <a:gd name="T17" fmla="*/ 1142 h 1150"/>
                      <a:gd name="T18" fmla="*/ 138 w 931"/>
                      <a:gd name="T19" fmla="*/ 1137 h 1150"/>
                      <a:gd name="T20" fmla="*/ 154 w 931"/>
                      <a:gd name="T21" fmla="*/ 1109 h 1150"/>
                      <a:gd name="T22" fmla="*/ 184 w 931"/>
                      <a:gd name="T23" fmla="*/ 1102 h 1150"/>
                      <a:gd name="T24" fmla="*/ 198 w 931"/>
                      <a:gd name="T25" fmla="*/ 1063 h 1150"/>
                      <a:gd name="T26" fmla="*/ 171 w 931"/>
                      <a:gd name="T27" fmla="*/ 1039 h 1150"/>
                      <a:gd name="T28" fmla="*/ 144 w 931"/>
                      <a:gd name="T29" fmla="*/ 1012 h 1150"/>
                      <a:gd name="T30" fmla="*/ 122 w 931"/>
                      <a:gd name="T31" fmla="*/ 1031 h 1150"/>
                      <a:gd name="T32" fmla="*/ 87 w 931"/>
                      <a:gd name="T33" fmla="*/ 1044 h 1150"/>
                      <a:gd name="T34" fmla="*/ 81 w 931"/>
                      <a:gd name="T35" fmla="*/ 1011 h 1150"/>
                      <a:gd name="T36" fmla="*/ 76 w 931"/>
                      <a:gd name="T37" fmla="*/ 977 h 1150"/>
                      <a:gd name="T38" fmla="*/ 92 w 931"/>
                      <a:gd name="T39" fmla="*/ 947 h 1150"/>
                      <a:gd name="T40" fmla="*/ 125 w 931"/>
                      <a:gd name="T41" fmla="*/ 925 h 1150"/>
                      <a:gd name="T42" fmla="*/ 185 w 931"/>
                      <a:gd name="T43" fmla="*/ 931 h 1150"/>
                      <a:gd name="T44" fmla="*/ 190 w 931"/>
                      <a:gd name="T45" fmla="*/ 904 h 1150"/>
                      <a:gd name="T46" fmla="*/ 214 w 931"/>
                      <a:gd name="T47" fmla="*/ 904 h 1150"/>
                      <a:gd name="T48" fmla="*/ 230 w 931"/>
                      <a:gd name="T49" fmla="*/ 901 h 1150"/>
                      <a:gd name="T50" fmla="*/ 255 w 931"/>
                      <a:gd name="T51" fmla="*/ 882 h 1150"/>
                      <a:gd name="T52" fmla="*/ 231 w 931"/>
                      <a:gd name="T53" fmla="*/ 866 h 1150"/>
                      <a:gd name="T54" fmla="*/ 179 w 931"/>
                      <a:gd name="T55" fmla="*/ 843 h 1150"/>
                      <a:gd name="T56" fmla="*/ 162 w 931"/>
                      <a:gd name="T57" fmla="*/ 793 h 1150"/>
                      <a:gd name="T58" fmla="*/ 136 w 931"/>
                      <a:gd name="T59" fmla="*/ 760 h 1150"/>
                      <a:gd name="T60" fmla="*/ 128 w 931"/>
                      <a:gd name="T61" fmla="*/ 708 h 1150"/>
                      <a:gd name="T62" fmla="*/ 98 w 931"/>
                      <a:gd name="T63" fmla="*/ 679 h 1150"/>
                      <a:gd name="T64" fmla="*/ 79 w 931"/>
                      <a:gd name="T65" fmla="*/ 665 h 1150"/>
                      <a:gd name="T66" fmla="*/ 49 w 931"/>
                      <a:gd name="T67" fmla="*/ 670 h 1150"/>
                      <a:gd name="T68" fmla="*/ 21 w 931"/>
                      <a:gd name="T69" fmla="*/ 662 h 1150"/>
                      <a:gd name="T70" fmla="*/ 8 w 931"/>
                      <a:gd name="T71" fmla="*/ 632 h 1150"/>
                      <a:gd name="T72" fmla="*/ 38 w 931"/>
                      <a:gd name="T73" fmla="*/ 629 h 1150"/>
                      <a:gd name="T74" fmla="*/ 57 w 931"/>
                      <a:gd name="T75" fmla="*/ 608 h 1150"/>
                      <a:gd name="T76" fmla="*/ 59 w 931"/>
                      <a:gd name="T77" fmla="*/ 581 h 1150"/>
                      <a:gd name="T78" fmla="*/ 30 w 931"/>
                      <a:gd name="T79" fmla="*/ 561 h 1150"/>
                      <a:gd name="T80" fmla="*/ 51 w 931"/>
                      <a:gd name="T81" fmla="*/ 531 h 1150"/>
                      <a:gd name="T82" fmla="*/ 33 w 931"/>
                      <a:gd name="T83" fmla="*/ 512 h 1150"/>
                      <a:gd name="T84" fmla="*/ 13 w 931"/>
                      <a:gd name="T85" fmla="*/ 499 h 1150"/>
                      <a:gd name="T86" fmla="*/ 2 w 931"/>
                      <a:gd name="T87" fmla="*/ 477 h 1150"/>
                      <a:gd name="T88" fmla="*/ 22 w 931"/>
                      <a:gd name="T89" fmla="*/ 461 h 1150"/>
                      <a:gd name="T90" fmla="*/ 54 w 931"/>
                      <a:gd name="T91" fmla="*/ 461 h 1150"/>
                      <a:gd name="T92" fmla="*/ 74 w 931"/>
                      <a:gd name="T93" fmla="*/ 478 h 1150"/>
                      <a:gd name="T94" fmla="*/ 85 w 931"/>
                      <a:gd name="T95" fmla="*/ 445 h 1150"/>
                      <a:gd name="T96" fmla="*/ 68 w 931"/>
                      <a:gd name="T97" fmla="*/ 420 h 1150"/>
                      <a:gd name="T98" fmla="*/ 65 w 931"/>
                      <a:gd name="T99" fmla="*/ 393 h 1150"/>
                      <a:gd name="T100" fmla="*/ 47 w 931"/>
                      <a:gd name="T101" fmla="*/ 369 h 1150"/>
                      <a:gd name="T102" fmla="*/ 27 w 931"/>
                      <a:gd name="T103" fmla="*/ 350 h 1150"/>
                      <a:gd name="T104" fmla="*/ 40 w 931"/>
                      <a:gd name="T105" fmla="*/ 318 h 1150"/>
                      <a:gd name="T106" fmla="*/ 63 w 931"/>
                      <a:gd name="T107" fmla="*/ 309 h 1150"/>
                      <a:gd name="T108" fmla="*/ 57 w 931"/>
                      <a:gd name="T109" fmla="*/ 282 h 1150"/>
                      <a:gd name="T110" fmla="*/ 100 w 931"/>
                      <a:gd name="T111" fmla="*/ 241 h 1150"/>
                      <a:gd name="T112" fmla="*/ 125 w 931"/>
                      <a:gd name="T113" fmla="*/ 196 h 1150"/>
                      <a:gd name="T114" fmla="*/ 106 w 931"/>
                      <a:gd name="T115" fmla="*/ 127 h 1150"/>
                      <a:gd name="T116" fmla="*/ 130 w 931"/>
                      <a:gd name="T117" fmla="*/ 98 h 1150"/>
                      <a:gd name="T118" fmla="*/ 152 w 931"/>
                      <a:gd name="T119" fmla="*/ 78 h 1150"/>
                      <a:gd name="T120" fmla="*/ 222 w 931"/>
                      <a:gd name="T121" fmla="*/ 19 h 1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31" h="1150">
                        <a:moveTo>
                          <a:pt x="901" y="1099"/>
                        </a:moveTo>
                        <a:lnTo>
                          <a:pt x="903" y="1099"/>
                        </a:lnTo>
                        <a:lnTo>
                          <a:pt x="904" y="1101"/>
                        </a:lnTo>
                        <a:lnTo>
                          <a:pt x="908" y="1104"/>
                        </a:lnTo>
                        <a:lnTo>
                          <a:pt x="909" y="1106"/>
                        </a:lnTo>
                        <a:lnTo>
                          <a:pt x="911" y="1106"/>
                        </a:lnTo>
                        <a:lnTo>
                          <a:pt x="912" y="1106"/>
                        </a:lnTo>
                        <a:lnTo>
                          <a:pt x="914" y="1107"/>
                        </a:lnTo>
                        <a:lnTo>
                          <a:pt x="916" y="1109"/>
                        </a:lnTo>
                        <a:lnTo>
                          <a:pt x="916" y="1110"/>
                        </a:lnTo>
                        <a:lnTo>
                          <a:pt x="917" y="1110"/>
                        </a:lnTo>
                        <a:lnTo>
                          <a:pt x="920" y="1109"/>
                        </a:lnTo>
                        <a:lnTo>
                          <a:pt x="922" y="1109"/>
                        </a:lnTo>
                        <a:lnTo>
                          <a:pt x="922" y="1107"/>
                        </a:lnTo>
                        <a:lnTo>
                          <a:pt x="923" y="1106"/>
                        </a:lnTo>
                        <a:lnTo>
                          <a:pt x="923" y="1104"/>
                        </a:lnTo>
                        <a:lnTo>
                          <a:pt x="923" y="1102"/>
                        </a:lnTo>
                        <a:lnTo>
                          <a:pt x="923" y="1101"/>
                        </a:lnTo>
                        <a:lnTo>
                          <a:pt x="927" y="1099"/>
                        </a:lnTo>
                        <a:lnTo>
                          <a:pt x="928" y="1099"/>
                        </a:lnTo>
                        <a:lnTo>
                          <a:pt x="930" y="1099"/>
                        </a:lnTo>
                        <a:lnTo>
                          <a:pt x="930" y="1101"/>
                        </a:lnTo>
                        <a:lnTo>
                          <a:pt x="931" y="1101"/>
                        </a:lnTo>
                        <a:lnTo>
                          <a:pt x="931" y="1102"/>
                        </a:lnTo>
                        <a:lnTo>
                          <a:pt x="930" y="1102"/>
                        </a:lnTo>
                        <a:lnTo>
                          <a:pt x="928" y="1102"/>
                        </a:lnTo>
                        <a:lnTo>
                          <a:pt x="928" y="1104"/>
                        </a:lnTo>
                        <a:lnTo>
                          <a:pt x="930" y="1107"/>
                        </a:lnTo>
                        <a:lnTo>
                          <a:pt x="930" y="1109"/>
                        </a:lnTo>
                        <a:lnTo>
                          <a:pt x="930" y="1110"/>
                        </a:lnTo>
                        <a:lnTo>
                          <a:pt x="927" y="1112"/>
                        </a:lnTo>
                        <a:lnTo>
                          <a:pt x="925" y="1112"/>
                        </a:lnTo>
                        <a:lnTo>
                          <a:pt x="923" y="1113"/>
                        </a:lnTo>
                        <a:lnTo>
                          <a:pt x="922" y="1115"/>
                        </a:lnTo>
                        <a:lnTo>
                          <a:pt x="922" y="1117"/>
                        </a:lnTo>
                        <a:lnTo>
                          <a:pt x="923" y="1118"/>
                        </a:lnTo>
                        <a:lnTo>
                          <a:pt x="925" y="1118"/>
                        </a:lnTo>
                        <a:lnTo>
                          <a:pt x="925" y="1120"/>
                        </a:lnTo>
                        <a:lnTo>
                          <a:pt x="927" y="1121"/>
                        </a:lnTo>
                        <a:lnTo>
                          <a:pt x="925" y="1126"/>
                        </a:lnTo>
                        <a:lnTo>
                          <a:pt x="923" y="1125"/>
                        </a:lnTo>
                        <a:lnTo>
                          <a:pt x="922" y="1123"/>
                        </a:lnTo>
                        <a:lnTo>
                          <a:pt x="919" y="1123"/>
                        </a:lnTo>
                        <a:lnTo>
                          <a:pt x="911" y="1123"/>
                        </a:lnTo>
                        <a:lnTo>
                          <a:pt x="904" y="1123"/>
                        </a:lnTo>
                        <a:lnTo>
                          <a:pt x="897" y="1125"/>
                        </a:lnTo>
                        <a:lnTo>
                          <a:pt x="889" y="1125"/>
                        </a:lnTo>
                        <a:lnTo>
                          <a:pt x="885" y="1125"/>
                        </a:lnTo>
                        <a:lnTo>
                          <a:pt x="874" y="1123"/>
                        </a:lnTo>
                        <a:lnTo>
                          <a:pt x="866" y="1125"/>
                        </a:lnTo>
                        <a:lnTo>
                          <a:pt x="860" y="1123"/>
                        </a:lnTo>
                        <a:lnTo>
                          <a:pt x="827" y="1123"/>
                        </a:lnTo>
                        <a:lnTo>
                          <a:pt x="825" y="1126"/>
                        </a:lnTo>
                        <a:lnTo>
                          <a:pt x="825" y="1129"/>
                        </a:lnTo>
                        <a:lnTo>
                          <a:pt x="827" y="1132"/>
                        </a:lnTo>
                        <a:lnTo>
                          <a:pt x="827" y="1134"/>
                        </a:lnTo>
                        <a:lnTo>
                          <a:pt x="825" y="1137"/>
                        </a:lnTo>
                        <a:lnTo>
                          <a:pt x="825" y="1140"/>
                        </a:lnTo>
                        <a:lnTo>
                          <a:pt x="824" y="1142"/>
                        </a:lnTo>
                        <a:lnTo>
                          <a:pt x="813" y="1140"/>
                        </a:lnTo>
                        <a:lnTo>
                          <a:pt x="808" y="1140"/>
                        </a:lnTo>
                        <a:lnTo>
                          <a:pt x="806" y="1142"/>
                        </a:lnTo>
                        <a:lnTo>
                          <a:pt x="800" y="1139"/>
                        </a:lnTo>
                        <a:lnTo>
                          <a:pt x="790" y="1136"/>
                        </a:lnTo>
                        <a:lnTo>
                          <a:pt x="787" y="1136"/>
                        </a:lnTo>
                        <a:lnTo>
                          <a:pt x="782" y="1137"/>
                        </a:lnTo>
                        <a:lnTo>
                          <a:pt x="757" y="1144"/>
                        </a:lnTo>
                        <a:lnTo>
                          <a:pt x="756" y="1145"/>
                        </a:lnTo>
                        <a:lnTo>
                          <a:pt x="751" y="1147"/>
                        </a:lnTo>
                        <a:lnTo>
                          <a:pt x="748" y="1148"/>
                        </a:lnTo>
                        <a:lnTo>
                          <a:pt x="732" y="1150"/>
                        </a:lnTo>
                        <a:lnTo>
                          <a:pt x="729" y="1148"/>
                        </a:lnTo>
                        <a:lnTo>
                          <a:pt x="727" y="1148"/>
                        </a:lnTo>
                        <a:lnTo>
                          <a:pt x="722" y="1145"/>
                        </a:lnTo>
                        <a:lnTo>
                          <a:pt x="714" y="1145"/>
                        </a:lnTo>
                        <a:lnTo>
                          <a:pt x="702" y="1145"/>
                        </a:lnTo>
                        <a:lnTo>
                          <a:pt x="691" y="1145"/>
                        </a:lnTo>
                        <a:lnTo>
                          <a:pt x="686" y="1147"/>
                        </a:lnTo>
                        <a:lnTo>
                          <a:pt x="678" y="1145"/>
                        </a:lnTo>
                        <a:lnTo>
                          <a:pt x="645" y="1145"/>
                        </a:lnTo>
                        <a:lnTo>
                          <a:pt x="638" y="1145"/>
                        </a:lnTo>
                        <a:lnTo>
                          <a:pt x="635" y="1145"/>
                        </a:lnTo>
                        <a:lnTo>
                          <a:pt x="632" y="1145"/>
                        </a:lnTo>
                        <a:lnTo>
                          <a:pt x="613" y="1147"/>
                        </a:lnTo>
                        <a:lnTo>
                          <a:pt x="592" y="1148"/>
                        </a:lnTo>
                        <a:lnTo>
                          <a:pt x="586" y="1147"/>
                        </a:lnTo>
                        <a:lnTo>
                          <a:pt x="575" y="1147"/>
                        </a:lnTo>
                        <a:lnTo>
                          <a:pt x="569" y="1147"/>
                        </a:lnTo>
                        <a:lnTo>
                          <a:pt x="543" y="1148"/>
                        </a:lnTo>
                        <a:lnTo>
                          <a:pt x="542" y="1148"/>
                        </a:lnTo>
                        <a:lnTo>
                          <a:pt x="540" y="1148"/>
                        </a:lnTo>
                        <a:lnTo>
                          <a:pt x="539" y="1148"/>
                        </a:lnTo>
                        <a:lnTo>
                          <a:pt x="535" y="1148"/>
                        </a:lnTo>
                        <a:lnTo>
                          <a:pt x="527" y="1148"/>
                        </a:lnTo>
                        <a:lnTo>
                          <a:pt x="513" y="1148"/>
                        </a:lnTo>
                        <a:lnTo>
                          <a:pt x="507" y="1148"/>
                        </a:lnTo>
                        <a:lnTo>
                          <a:pt x="491" y="1148"/>
                        </a:lnTo>
                        <a:lnTo>
                          <a:pt x="481" y="1148"/>
                        </a:lnTo>
                        <a:lnTo>
                          <a:pt x="475" y="1148"/>
                        </a:lnTo>
                        <a:lnTo>
                          <a:pt x="459" y="1147"/>
                        </a:lnTo>
                        <a:lnTo>
                          <a:pt x="455" y="1145"/>
                        </a:lnTo>
                        <a:lnTo>
                          <a:pt x="451" y="1145"/>
                        </a:lnTo>
                        <a:lnTo>
                          <a:pt x="447" y="1145"/>
                        </a:lnTo>
                        <a:lnTo>
                          <a:pt x="439" y="1144"/>
                        </a:lnTo>
                        <a:lnTo>
                          <a:pt x="434" y="1144"/>
                        </a:lnTo>
                        <a:lnTo>
                          <a:pt x="428" y="1144"/>
                        </a:lnTo>
                        <a:lnTo>
                          <a:pt x="418" y="1142"/>
                        </a:lnTo>
                        <a:lnTo>
                          <a:pt x="415" y="1142"/>
                        </a:lnTo>
                        <a:lnTo>
                          <a:pt x="412" y="1142"/>
                        </a:lnTo>
                        <a:lnTo>
                          <a:pt x="412" y="1144"/>
                        </a:lnTo>
                        <a:lnTo>
                          <a:pt x="402" y="1144"/>
                        </a:lnTo>
                        <a:lnTo>
                          <a:pt x="390" y="1144"/>
                        </a:lnTo>
                        <a:lnTo>
                          <a:pt x="382" y="1144"/>
                        </a:lnTo>
                        <a:lnTo>
                          <a:pt x="366" y="1145"/>
                        </a:lnTo>
                        <a:lnTo>
                          <a:pt x="352" y="1145"/>
                        </a:lnTo>
                        <a:lnTo>
                          <a:pt x="350" y="1145"/>
                        </a:lnTo>
                        <a:lnTo>
                          <a:pt x="345" y="1144"/>
                        </a:lnTo>
                        <a:lnTo>
                          <a:pt x="344" y="1144"/>
                        </a:lnTo>
                        <a:lnTo>
                          <a:pt x="333" y="1144"/>
                        </a:lnTo>
                        <a:lnTo>
                          <a:pt x="323" y="1144"/>
                        </a:lnTo>
                        <a:lnTo>
                          <a:pt x="306" y="1144"/>
                        </a:lnTo>
                        <a:lnTo>
                          <a:pt x="298" y="1144"/>
                        </a:lnTo>
                        <a:lnTo>
                          <a:pt x="261" y="1145"/>
                        </a:lnTo>
                        <a:lnTo>
                          <a:pt x="252" y="1144"/>
                        </a:lnTo>
                        <a:lnTo>
                          <a:pt x="245" y="1142"/>
                        </a:lnTo>
                        <a:lnTo>
                          <a:pt x="244" y="1142"/>
                        </a:lnTo>
                        <a:lnTo>
                          <a:pt x="233" y="1142"/>
                        </a:lnTo>
                        <a:lnTo>
                          <a:pt x="230" y="1142"/>
                        </a:lnTo>
                        <a:lnTo>
                          <a:pt x="217" y="1140"/>
                        </a:lnTo>
                        <a:lnTo>
                          <a:pt x="215" y="1139"/>
                        </a:lnTo>
                        <a:lnTo>
                          <a:pt x="214" y="1139"/>
                        </a:lnTo>
                        <a:lnTo>
                          <a:pt x="206" y="1139"/>
                        </a:lnTo>
                        <a:lnTo>
                          <a:pt x="198" y="1137"/>
                        </a:lnTo>
                        <a:lnTo>
                          <a:pt x="196" y="1137"/>
                        </a:lnTo>
                        <a:lnTo>
                          <a:pt x="182" y="1137"/>
                        </a:lnTo>
                        <a:lnTo>
                          <a:pt x="158" y="1139"/>
                        </a:lnTo>
                        <a:lnTo>
                          <a:pt x="155" y="1139"/>
                        </a:lnTo>
                        <a:lnTo>
                          <a:pt x="143" y="1137"/>
                        </a:lnTo>
                        <a:lnTo>
                          <a:pt x="141" y="1137"/>
                        </a:lnTo>
                        <a:lnTo>
                          <a:pt x="138" y="1137"/>
                        </a:lnTo>
                        <a:lnTo>
                          <a:pt x="133" y="1137"/>
                        </a:lnTo>
                        <a:lnTo>
                          <a:pt x="131" y="1137"/>
                        </a:lnTo>
                        <a:lnTo>
                          <a:pt x="131" y="1132"/>
                        </a:lnTo>
                        <a:lnTo>
                          <a:pt x="133" y="1129"/>
                        </a:lnTo>
                        <a:lnTo>
                          <a:pt x="135" y="1128"/>
                        </a:lnTo>
                        <a:lnTo>
                          <a:pt x="136" y="1125"/>
                        </a:lnTo>
                        <a:lnTo>
                          <a:pt x="138" y="1123"/>
                        </a:lnTo>
                        <a:lnTo>
                          <a:pt x="141" y="1121"/>
                        </a:lnTo>
                        <a:lnTo>
                          <a:pt x="146" y="1120"/>
                        </a:lnTo>
                        <a:lnTo>
                          <a:pt x="147" y="1118"/>
                        </a:lnTo>
                        <a:lnTo>
                          <a:pt x="150" y="1115"/>
                        </a:lnTo>
                        <a:lnTo>
                          <a:pt x="152" y="1112"/>
                        </a:lnTo>
                        <a:lnTo>
                          <a:pt x="152" y="1110"/>
                        </a:lnTo>
                        <a:lnTo>
                          <a:pt x="154" y="1109"/>
                        </a:lnTo>
                        <a:lnTo>
                          <a:pt x="154" y="1107"/>
                        </a:lnTo>
                        <a:lnTo>
                          <a:pt x="154" y="1106"/>
                        </a:lnTo>
                        <a:lnTo>
                          <a:pt x="154" y="1102"/>
                        </a:lnTo>
                        <a:lnTo>
                          <a:pt x="155" y="1102"/>
                        </a:lnTo>
                        <a:lnTo>
                          <a:pt x="158" y="1101"/>
                        </a:lnTo>
                        <a:lnTo>
                          <a:pt x="160" y="1101"/>
                        </a:lnTo>
                        <a:lnTo>
                          <a:pt x="165" y="1101"/>
                        </a:lnTo>
                        <a:lnTo>
                          <a:pt x="168" y="1101"/>
                        </a:lnTo>
                        <a:lnTo>
                          <a:pt x="171" y="1101"/>
                        </a:lnTo>
                        <a:lnTo>
                          <a:pt x="173" y="1101"/>
                        </a:lnTo>
                        <a:lnTo>
                          <a:pt x="176" y="1101"/>
                        </a:lnTo>
                        <a:lnTo>
                          <a:pt x="179" y="1102"/>
                        </a:lnTo>
                        <a:lnTo>
                          <a:pt x="182" y="1102"/>
                        </a:lnTo>
                        <a:lnTo>
                          <a:pt x="184" y="1102"/>
                        </a:lnTo>
                        <a:lnTo>
                          <a:pt x="187" y="1102"/>
                        </a:lnTo>
                        <a:lnTo>
                          <a:pt x="188" y="1101"/>
                        </a:lnTo>
                        <a:lnTo>
                          <a:pt x="190" y="1099"/>
                        </a:lnTo>
                        <a:lnTo>
                          <a:pt x="192" y="1096"/>
                        </a:lnTo>
                        <a:lnTo>
                          <a:pt x="192" y="1093"/>
                        </a:lnTo>
                        <a:lnTo>
                          <a:pt x="193" y="1090"/>
                        </a:lnTo>
                        <a:lnTo>
                          <a:pt x="195" y="1087"/>
                        </a:lnTo>
                        <a:lnTo>
                          <a:pt x="196" y="1083"/>
                        </a:lnTo>
                        <a:lnTo>
                          <a:pt x="196" y="1080"/>
                        </a:lnTo>
                        <a:lnTo>
                          <a:pt x="198" y="1074"/>
                        </a:lnTo>
                        <a:lnTo>
                          <a:pt x="198" y="1071"/>
                        </a:lnTo>
                        <a:lnTo>
                          <a:pt x="198" y="1068"/>
                        </a:lnTo>
                        <a:lnTo>
                          <a:pt x="200" y="1066"/>
                        </a:lnTo>
                        <a:lnTo>
                          <a:pt x="198" y="1063"/>
                        </a:lnTo>
                        <a:lnTo>
                          <a:pt x="198" y="1061"/>
                        </a:lnTo>
                        <a:lnTo>
                          <a:pt x="198" y="1060"/>
                        </a:lnTo>
                        <a:lnTo>
                          <a:pt x="196" y="1058"/>
                        </a:lnTo>
                        <a:lnTo>
                          <a:pt x="195" y="1056"/>
                        </a:lnTo>
                        <a:lnTo>
                          <a:pt x="193" y="1055"/>
                        </a:lnTo>
                        <a:lnTo>
                          <a:pt x="192" y="1055"/>
                        </a:lnTo>
                        <a:lnTo>
                          <a:pt x="192" y="1053"/>
                        </a:lnTo>
                        <a:lnTo>
                          <a:pt x="188" y="1053"/>
                        </a:lnTo>
                        <a:lnTo>
                          <a:pt x="187" y="1052"/>
                        </a:lnTo>
                        <a:lnTo>
                          <a:pt x="185" y="1052"/>
                        </a:lnTo>
                        <a:lnTo>
                          <a:pt x="184" y="1049"/>
                        </a:lnTo>
                        <a:lnTo>
                          <a:pt x="177" y="1045"/>
                        </a:lnTo>
                        <a:lnTo>
                          <a:pt x="173" y="1042"/>
                        </a:lnTo>
                        <a:lnTo>
                          <a:pt x="171" y="1039"/>
                        </a:lnTo>
                        <a:lnTo>
                          <a:pt x="168" y="1036"/>
                        </a:lnTo>
                        <a:lnTo>
                          <a:pt x="168" y="1033"/>
                        </a:lnTo>
                        <a:lnTo>
                          <a:pt x="166" y="1031"/>
                        </a:lnTo>
                        <a:lnTo>
                          <a:pt x="165" y="1030"/>
                        </a:lnTo>
                        <a:lnTo>
                          <a:pt x="163" y="1028"/>
                        </a:lnTo>
                        <a:lnTo>
                          <a:pt x="162" y="1026"/>
                        </a:lnTo>
                        <a:lnTo>
                          <a:pt x="160" y="1026"/>
                        </a:lnTo>
                        <a:lnTo>
                          <a:pt x="157" y="1025"/>
                        </a:lnTo>
                        <a:lnTo>
                          <a:pt x="152" y="1020"/>
                        </a:lnTo>
                        <a:lnTo>
                          <a:pt x="150" y="1017"/>
                        </a:lnTo>
                        <a:lnTo>
                          <a:pt x="147" y="1015"/>
                        </a:lnTo>
                        <a:lnTo>
                          <a:pt x="147" y="1014"/>
                        </a:lnTo>
                        <a:lnTo>
                          <a:pt x="146" y="1014"/>
                        </a:lnTo>
                        <a:lnTo>
                          <a:pt x="144" y="1012"/>
                        </a:lnTo>
                        <a:lnTo>
                          <a:pt x="143" y="1011"/>
                        </a:lnTo>
                        <a:lnTo>
                          <a:pt x="138" y="1011"/>
                        </a:lnTo>
                        <a:lnTo>
                          <a:pt x="135" y="1009"/>
                        </a:lnTo>
                        <a:lnTo>
                          <a:pt x="131" y="1009"/>
                        </a:lnTo>
                        <a:lnTo>
                          <a:pt x="128" y="1011"/>
                        </a:lnTo>
                        <a:lnTo>
                          <a:pt x="125" y="1011"/>
                        </a:lnTo>
                        <a:lnTo>
                          <a:pt x="124" y="1011"/>
                        </a:lnTo>
                        <a:lnTo>
                          <a:pt x="122" y="1012"/>
                        </a:lnTo>
                        <a:lnTo>
                          <a:pt x="120" y="1014"/>
                        </a:lnTo>
                        <a:lnTo>
                          <a:pt x="119" y="1015"/>
                        </a:lnTo>
                        <a:lnTo>
                          <a:pt x="119" y="1020"/>
                        </a:lnTo>
                        <a:lnTo>
                          <a:pt x="120" y="1025"/>
                        </a:lnTo>
                        <a:lnTo>
                          <a:pt x="122" y="1028"/>
                        </a:lnTo>
                        <a:lnTo>
                          <a:pt x="122" y="1031"/>
                        </a:lnTo>
                        <a:lnTo>
                          <a:pt x="124" y="1033"/>
                        </a:lnTo>
                        <a:lnTo>
                          <a:pt x="124" y="1034"/>
                        </a:lnTo>
                        <a:lnTo>
                          <a:pt x="124" y="1036"/>
                        </a:lnTo>
                        <a:lnTo>
                          <a:pt x="122" y="1037"/>
                        </a:lnTo>
                        <a:lnTo>
                          <a:pt x="119" y="1037"/>
                        </a:lnTo>
                        <a:lnTo>
                          <a:pt x="109" y="1041"/>
                        </a:lnTo>
                        <a:lnTo>
                          <a:pt x="101" y="1044"/>
                        </a:lnTo>
                        <a:lnTo>
                          <a:pt x="97" y="1047"/>
                        </a:lnTo>
                        <a:lnTo>
                          <a:pt x="93" y="1047"/>
                        </a:lnTo>
                        <a:lnTo>
                          <a:pt x="90" y="1049"/>
                        </a:lnTo>
                        <a:lnTo>
                          <a:pt x="87" y="1050"/>
                        </a:lnTo>
                        <a:lnTo>
                          <a:pt x="87" y="1049"/>
                        </a:lnTo>
                        <a:lnTo>
                          <a:pt x="87" y="1045"/>
                        </a:lnTo>
                        <a:lnTo>
                          <a:pt x="87" y="1044"/>
                        </a:lnTo>
                        <a:lnTo>
                          <a:pt x="87" y="1042"/>
                        </a:lnTo>
                        <a:lnTo>
                          <a:pt x="85" y="1037"/>
                        </a:lnTo>
                        <a:lnTo>
                          <a:pt x="85" y="1034"/>
                        </a:lnTo>
                        <a:lnTo>
                          <a:pt x="84" y="1031"/>
                        </a:lnTo>
                        <a:lnTo>
                          <a:pt x="82" y="1028"/>
                        </a:lnTo>
                        <a:lnTo>
                          <a:pt x="82" y="1026"/>
                        </a:lnTo>
                        <a:lnTo>
                          <a:pt x="82" y="1023"/>
                        </a:lnTo>
                        <a:lnTo>
                          <a:pt x="82" y="1022"/>
                        </a:lnTo>
                        <a:lnTo>
                          <a:pt x="82" y="1020"/>
                        </a:lnTo>
                        <a:lnTo>
                          <a:pt x="82" y="1018"/>
                        </a:lnTo>
                        <a:lnTo>
                          <a:pt x="82" y="1015"/>
                        </a:lnTo>
                        <a:lnTo>
                          <a:pt x="81" y="1014"/>
                        </a:lnTo>
                        <a:lnTo>
                          <a:pt x="81" y="1012"/>
                        </a:lnTo>
                        <a:lnTo>
                          <a:pt x="81" y="1011"/>
                        </a:lnTo>
                        <a:lnTo>
                          <a:pt x="81" y="1009"/>
                        </a:lnTo>
                        <a:lnTo>
                          <a:pt x="81" y="1004"/>
                        </a:lnTo>
                        <a:lnTo>
                          <a:pt x="81" y="1003"/>
                        </a:lnTo>
                        <a:lnTo>
                          <a:pt x="81" y="999"/>
                        </a:lnTo>
                        <a:lnTo>
                          <a:pt x="81" y="998"/>
                        </a:lnTo>
                        <a:lnTo>
                          <a:pt x="79" y="991"/>
                        </a:lnTo>
                        <a:lnTo>
                          <a:pt x="78" y="990"/>
                        </a:lnTo>
                        <a:lnTo>
                          <a:pt x="78" y="988"/>
                        </a:lnTo>
                        <a:lnTo>
                          <a:pt x="76" y="987"/>
                        </a:lnTo>
                        <a:lnTo>
                          <a:pt x="74" y="985"/>
                        </a:lnTo>
                        <a:lnTo>
                          <a:pt x="74" y="984"/>
                        </a:lnTo>
                        <a:lnTo>
                          <a:pt x="74" y="982"/>
                        </a:lnTo>
                        <a:lnTo>
                          <a:pt x="76" y="980"/>
                        </a:lnTo>
                        <a:lnTo>
                          <a:pt x="76" y="977"/>
                        </a:lnTo>
                        <a:lnTo>
                          <a:pt x="76" y="976"/>
                        </a:lnTo>
                        <a:lnTo>
                          <a:pt x="76" y="974"/>
                        </a:lnTo>
                        <a:lnTo>
                          <a:pt x="74" y="972"/>
                        </a:lnTo>
                        <a:lnTo>
                          <a:pt x="74" y="971"/>
                        </a:lnTo>
                        <a:lnTo>
                          <a:pt x="74" y="968"/>
                        </a:lnTo>
                        <a:lnTo>
                          <a:pt x="76" y="968"/>
                        </a:lnTo>
                        <a:lnTo>
                          <a:pt x="78" y="963"/>
                        </a:lnTo>
                        <a:lnTo>
                          <a:pt x="78" y="961"/>
                        </a:lnTo>
                        <a:lnTo>
                          <a:pt x="78" y="960"/>
                        </a:lnTo>
                        <a:lnTo>
                          <a:pt x="81" y="958"/>
                        </a:lnTo>
                        <a:lnTo>
                          <a:pt x="84" y="957"/>
                        </a:lnTo>
                        <a:lnTo>
                          <a:pt x="89" y="952"/>
                        </a:lnTo>
                        <a:lnTo>
                          <a:pt x="90" y="950"/>
                        </a:lnTo>
                        <a:lnTo>
                          <a:pt x="92" y="947"/>
                        </a:lnTo>
                        <a:lnTo>
                          <a:pt x="93" y="942"/>
                        </a:lnTo>
                        <a:lnTo>
                          <a:pt x="93" y="941"/>
                        </a:lnTo>
                        <a:lnTo>
                          <a:pt x="95" y="936"/>
                        </a:lnTo>
                        <a:lnTo>
                          <a:pt x="98" y="933"/>
                        </a:lnTo>
                        <a:lnTo>
                          <a:pt x="101" y="930"/>
                        </a:lnTo>
                        <a:lnTo>
                          <a:pt x="106" y="927"/>
                        </a:lnTo>
                        <a:lnTo>
                          <a:pt x="111" y="923"/>
                        </a:lnTo>
                        <a:lnTo>
                          <a:pt x="114" y="922"/>
                        </a:lnTo>
                        <a:lnTo>
                          <a:pt x="116" y="920"/>
                        </a:lnTo>
                        <a:lnTo>
                          <a:pt x="117" y="920"/>
                        </a:lnTo>
                        <a:lnTo>
                          <a:pt x="119" y="922"/>
                        </a:lnTo>
                        <a:lnTo>
                          <a:pt x="120" y="922"/>
                        </a:lnTo>
                        <a:lnTo>
                          <a:pt x="124" y="923"/>
                        </a:lnTo>
                        <a:lnTo>
                          <a:pt x="125" y="925"/>
                        </a:lnTo>
                        <a:lnTo>
                          <a:pt x="130" y="927"/>
                        </a:lnTo>
                        <a:lnTo>
                          <a:pt x="131" y="927"/>
                        </a:lnTo>
                        <a:lnTo>
                          <a:pt x="138" y="930"/>
                        </a:lnTo>
                        <a:lnTo>
                          <a:pt x="141" y="933"/>
                        </a:lnTo>
                        <a:lnTo>
                          <a:pt x="147" y="931"/>
                        </a:lnTo>
                        <a:lnTo>
                          <a:pt x="155" y="931"/>
                        </a:lnTo>
                        <a:lnTo>
                          <a:pt x="165" y="933"/>
                        </a:lnTo>
                        <a:lnTo>
                          <a:pt x="168" y="933"/>
                        </a:lnTo>
                        <a:lnTo>
                          <a:pt x="171" y="933"/>
                        </a:lnTo>
                        <a:lnTo>
                          <a:pt x="174" y="933"/>
                        </a:lnTo>
                        <a:lnTo>
                          <a:pt x="177" y="933"/>
                        </a:lnTo>
                        <a:lnTo>
                          <a:pt x="184" y="934"/>
                        </a:lnTo>
                        <a:lnTo>
                          <a:pt x="185" y="933"/>
                        </a:lnTo>
                        <a:lnTo>
                          <a:pt x="185" y="931"/>
                        </a:lnTo>
                        <a:lnTo>
                          <a:pt x="185" y="930"/>
                        </a:lnTo>
                        <a:lnTo>
                          <a:pt x="185" y="928"/>
                        </a:lnTo>
                        <a:lnTo>
                          <a:pt x="187" y="927"/>
                        </a:lnTo>
                        <a:lnTo>
                          <a:pt x="187" y="925"/>
                        </a:lnTo>
                        <a:lnTo>
                          <a:pt x="187" y="922"/>
                        </a:lnTo>
                        <a:lnTo>
                          <a:pt x="187" y="920"/>
                        </a:lnTo>
                        <a:lnTo>
                          <a:pt x="187" y="919"/>
                        </a:lnTo>
                        <a:lnTo>
                          <a:pt x="187" y="915"/>
                        </a:lnTo>
                        <a:lnTo>
                          <a:pt x="187" y="912"/>
                        </a:lnTo>
                        <a:lnTo>
                          <a:pt x="188" y="911"/>
                        </a:lnTo>
                        <a:lnTo>
                          <a:pt x="188" y="909"/>
                        </a:lnTo>
                        <a:lnTo>
                          <a:pt x="190" y="908"/>
                        </a:lnTo>
                        <a:lnTo>
                          <a:pt x="190" y="906"/>
                        </a:lnTo>
                        <a:lnTo>
                          <a:pt x="190" y="904"/>
                        </a:lnTo>
                        <a:lnTo>
                          <a:pt x="192" y="904"/>
                        </a:lnTo>
                        <a:lnTo>
                          <a:pt x="193" y="904"/>
                        </a:lnTo>
                        <a:lnTo>
                          <a:pt x="195" y="904"/>
                        </a:lnTo>
                        <a:lnTo>
                          <a:pt x="196" y="906"/>
                        </a:lnTo>
                        <a:lnTo>
                          <a:pt x="198" y="904"/>
                        </a:lnTo>
                        <a:lnTo>
                          <a:pt x="201" y="904"/>
                        </a:lnTo>
                        <a:lnTo>
                          <a:pt x="203" y="904"/>
                        </a:lnTo>
                        <a:lnTo>
                          <a:pt x="204" y="904"/>
                        </a:lnTo>
                        <a:lnTo>
                          <a:pt x="206" y="904"/>
                        </a:lnTo>
                        <a:lnTo>
                          <a:pt x="207" y="904"/>
                        </a:lnTo>
                        <a:lnTo>
                          <a:pt x="209" y="904"/>
                        </a:lnTo>
                        <a:lnTo>
                          <a:pt x="211" y="904"/>
                        </a:lnTo>
                        <a:lnTo>
                          <a:pt x="212" y="904"/>
                        </a:lnTo>
                        <a:lnTo>
                          <a:pt x="214" y="904"/>
                        </a:lnTo>
                        <a:lnTo>
                          <a:pt x="215" y="904"/>
                        </a:lnTo>
                        <a:lnTo>
                          <a:pt x="215" y="906"/>
                        </a:lnTo>
                        <a:lnTo>
                          <a:pt x="217" y="906"/>
                        </a:lnTo>
                        <a:lnTo>
                          <a:pt x="219" y="906"/>
                        </a:lnTo>
                        <a:lnTo>
                          <a:pt x="220" y="904"/>
                        </a:lnTo>
                        <a:lnTo>
                          <a:pt x="222" y="904"/>
                        </a:lnTo>
                        <a:lnTo>
                          <a:pt x="222" y="903"/>
                        </a:lnTo>
                        <a:lnTo>
                          <a:pt x="223" y="903"/>
                        </a:lnTo>
                        <a:lnTo>
                          <a:pt x="223" y="904"/>
                        </a:lnTo>
                        <a:lnTo>
                          <a:pt x="225" y="903"/>
                        </a:lnTo>
                        <a:lnTo>
                          <a:pt x="226" y="904"/>
                        </a:lnTo>
                        <a:lnTo>
                          <a:pt x="228" y="904"/>
                        </a:lnTo>
                        <a:lnTo>
                          <a:pt x="230" y="903"/>
                        </a:lnTo>
                        <a:lnTo>
                          <a:pt x="230" y="901"/>
                        </a:lnTo>
                        <a:lnTo>
                          <a:pt x="230" y="900"/>
                        </a:lnTo>
                        <a:lnTo>
                          <a:pt x="231" y="898"/>
                        </a:lnTo>
                        <a:lnTo>
                          <a:pt x="233" y="898"/>
                        </a:lnTo>
                        <a:lnTo>
                          <a:pt x="234" y="896"/>
                        </a:lnTo>
                        <a:lnTo>
                          <a:pt x="238" y="896"/>
                        </a:lnTo>
                        <a:lnTo>
                          <a:pt x="238" y="895"/>
                        </a:lnTo>
                        <a:lnTo>
                          <a:pt x="241" y="892"/>
                        </a:lnTo>
                        <a:lnTo>
                          <a:pt x="244" y="892"/>
                        </a:lnTo>
                        <a:lnTo>
                          <a:pt x="245" y="890"/>
                        </a:lnTo>
                        <a:lnTo>
                          <a:pt x="247" y="889"/>
                        </a:lnTo>
                        <a:lnTo>
                          <a:pt x="249" y="889"/>
                        </a:lnTo>
                        <a:lnTo>
                          <a:pt x="250" y="885"/>
                        </a:lnTo>
                        <a:lnTo>
                          <a:pt x="253" y="882"/>
                        </a:lnTo>
                        <a:lnTo>
                          <a:pt x="255" y="882"/>
                        </a:lnTo>
                        <a:lnTo>
                          <a:pt x="253" y="881"/>
                        </a:lnTo>
                        <a:lnTo>
                          <a:pt x="252" y="877"/>
                        </a:lnTo>
                        <a:lnTo>
                          <a:pt x="250" y="877"/>
                        </a:lnTo>
                        <a:lnTo>
                          <a:pt x="250" y="876"/>
                        </a:lnTo>
                        <a:lnTo>
                          <a:pt x="249" y="874"/>
                        </a:lnTo>
                        <a:lnTo>
                          <a:pt x="247" y="873"/>
                        </a:lnTo>
                        <a:lnTo>
                          <a:pt x="245" y="873"/>
                        </a:lnTo>
                        <a:lnTo>
                          <a:pt x="244" y="873"/>
                        </a:lnTo>
                        <a:lnTo>
                          <a:pt x="242" y="871"/>
                        </a:lnTo>
                        <a:lnTo>
                          <a:pt x="242" y="870"/>
                        </a:lnTo>
                        <a:lnTo>
                          <a:pt x="241" y="870"/>
                        </a:lnTo>
                        <a:lnTo>
                          <a:pt x="238" y="868"/>
                        </a:lnTo>
                        <a:lnTo>
                          <a:pt x="236" y="866"/>
                        </a:lnTo>
                        <a:lnTo>
                          <a:pt x="231" y="866"/>
                        </a:lnTo>
                        <a:lnTo>
                          <a:pt x="228" y="866"/>
                        </a:lnTo>
                        <a:lnTo>
                          <a:pt x="222" y="865"/>
                        </a:lnTo>
                        <a:lnTo>
                          <a:pt x="217" y="863"/>
                        </a:lnTo>
                        <a:lnTo>
                          <a:pt x="215" y="862"/>
                        </a:lnTo>
                        <a:lnTo>
                          <a:pt x="212" y="858"/>
                        </a:lnTo>
                        <a:lnTo>
                          <a:pt x="203" y="852"/>
                        </a:lnTo>
                        <a:lnTo>
                          <a:pt x="201" y="851"/>
                        </a:lnTo>
                        <a:lnTo>
                          <a:pt x="200" y="849"/>
                        </a:lnTo>
                        <a:lnTo>
                          <a:pt x="198" y="849"/>
                        </a:lnTo>
                        <a:lnTo>
                          <a:pt x="195" y="849"/>
                        </a:lnTo>
                        <a:lnTo>
                          <a:pt x="193" y="849"/>
                        </a:lnTo>
                        <a:lnTo>
                          <a:pt x="190" y="847"/>
                        </a:lnTo>
                        <a:lnTo>
                          <a:pt x="184" y="844"/>
                        </a:lnTo>
                        <a:lnTo>
                          <a:pt x="179" y="843"/>
                        </a:lnTo>
                        <a:lnTo>
                          <a:pt x="171" y="838"/>
                        </a:lnTo>
                        <a:lnTo>
                          <a:pt x="168" y="835"/>
                        </a:lnTo>
                        <a:lnTo>
                          <a:pt x="163" y="832"/>
                        </a:lnTo>
                        <a:lnTo>
                          <a:pt x="160" y="828"/>
                        </a:lnTo>
                        <a:lnTo>
                          <a:pt x="158" y="827"/>
                        </a:lnTo>
                        <a:lnTo>
                          <a:pt x="158" y="824"/>
                        </a:lnTo>
                        <a:lnTo>
                          <a:pt x="157" y="822"/>
                        </a:lnTo>
                        <a:lnTo>
                          <a:pt x="157" y="820"/>
                        </a:lnTo>
                        <a:lnTo>
                          <a:pt x="158" y="817"/>
                        </a:lnTo>
                        <a:lnTo>
                          <a:pt x="158" y="814"/>
                        </a:lnTo>
                        <a:lnTo>
                          <a:pt x="160" y="811"/>
                        </a:lnTo>
                        <a:lnTo>
                          <a:pt x="162" y="803"/>
                        </a:lnTo>
                        <a:lnTo>
                          <a:pt x="162" y="800"/>
                        </a:lnTo>
                        <a:lnTo>
                          <a:pt x="162" y="793"/>
                        </a:lnTo>
                        <a:lnTo>
                          <a:pt x="162" y="789"/>
                        </a:lnTo>
                        <a:lnTo>
                          <a:pt x="160" y="784"/>
                        </a:lnTo>
                        <a:lnTo>
                          <a:pt x="160" y="781"/>
                        </a:lnTo>
                        <a:lnTo>
                          <a:pt x="158" y="779"/>
                        </a:lnTo>
                        <a:lnTo>
                          <a:pt x="158" y="776"/>
                        </a:lnTo>
                        <a:lnTo>
                          <a:pt x="155" y="773"/>
                        </a:lnTo>
                        <a:lnTo>
                          <a:pt x="154" y="771"/>
                        </a:lnTo>
                        <a:lnTo>
                          <a:pt x="152" y="768"/>
                        </a:lnTo>
                        <a:lnTo>
                          <a:pt x="149" y="767"/>
                        </a:lnTo>
                        <a:lnTo>
                          <a:pt x="147" y="765"/>
                        </a:lnTo>
                        <a:lnTo>
                          <a:pt x="144" y="763"/>
                        </a:lnTo>
                        <a:lnTo>
                          <a:pt x="141" y="762"/>
                        </a:lnTo>
                        <a:lnTo>
                          <a:pt x="139" y="762"/>
                        </a:lnTo>
                        <a:lnTo>
                          <a:pt x="136" y="760"/>
                        </a:lnTo>
                        <a:lnTo>
                          <a:pt x="136" y="759"/>
                        </a:lnTo>
                        <a:lnTo>
                          <a:pt x="135" y="757"/>
                        </a:lnTo>
                        <a:lnTo>
                          <a:pt x="135" y="755"/>
                        </a:lnTo>
                        <a:lnTo>
                          <a:pt x="135" y="752"/>
                        </a:lnTo>
                        <a:lnTo>
                          <a:pt x="133" y="746"/>
                        </a:lnTo>
                        <a:lnTo>
                          <a:pt x="133" y="740"/>
                        </a:lnTo>
                        <a:lnTo>
                          <a:pt x="131" y="730"/>
                        </a:lnTo>
                        <a:lnTo>
                          <a:pt x="130" y="724"/>
                        </a:lnTo>
                        <a:lnTo>
                          <a:pt x="130" y="721"/>
                        </a:lnTo>
                        <a:lnTo>
                          <a:pt x="130" y="719"/>
                        </a:lnTo>
                        <a:lnTo>
                          <a:pt x="130" y="716"/>
                        </a:lnTo>
                        <a:lnTo>
                          <a:pt x="128" y="713"/>
                        </a:lnTo>
                        <a:lnTo>
                          <a:pt x="128" y="711"/>
                        </a:lnTo>
                        <a:lnTo>
                          <a:pt x="128" y="708"/>
                        </a:lnTo>
                        <a:lnTo>
                          <a:pt x="127" y="706"/>
                        </a:lnTo>
                        <a:lnTo>
                          <a:pt x="125" y="703"/>
                        </a:lnTo>
                        <a:lnTo>
                          <a:pt x="124" y="702"/>
                        </a:lnTo>
                        <a:lnTo>
                          <a:pt x="120" y="698"/>
                        </a:lnTo>
                        <a:lnTo>
                          <a:pt x="117" y="695"/>
                        </a:lnTo>
                        <a:lnTo>
                          <a:pt x="112" y="692"/>
                        </a:lnTo>
                        <a:lnTo>
                          <a:pt x="111" y="691"/>
                        </a:lnTo>
                        <a:lnTo>
                          <a:pt x="109" y="689"/>
                        </a:lnTo>
                        <a:lnTo>
                          <a:pt x="106" y="686"/>
                        </a:lnTo>
                        <a:lnTo>
                          <a:pt x="103" y="684"/>
                        </a:lnTo>
                        <a:lnTo>
                          <a:pt x="101" y="683"/>
                        </a:lnTo>
                        <a:lnTo>
                          <a:pt x="101" y="681"/>
                        </a:lnTo>
                        <a:lnTo>
                          <a:pt x="100" y="681"/>
                        </a:lnTo>
                        <a:lnTo>
                          <a:pt x="98" y="679"/>
                        </a:lnTo>
                        <a:lnTo>
                          <a:pt x="97" y="678"/>
                        </a:lnTo>
                        <a:lnTo>
                          <a:pt x="95" y="678"/>
                        </a:lnTo>
                        <a:lnTo>
                          <a:pt x="95" y="676"/>
                        </a:lnTo>
                        <a:lnTo>
                          <a:pt x="93" y="675"/>
                        </a:lnTo>
                        <a:lnTo>
                          <a:pt x="92" y="673"/>
                        </a:lnTo>
                        <a:lnTo>
                          <a:pt x="90" y="672"/>
                        </a:lnTo>
                        <a:lnTo>
                          <a:pt x="89" y="672"/>
                        </a:lnTo>
                        <a:lnTo>
                          <a:pt x="87" y="670"/>
                        </a:lnTo>
                        <a:lnTo>
                          <a:pt x="85" y="668"/>
                        </a:lnTo>
                        <a:lnTo>
                          <a:pt x="84" y="668"/>
                        </a:lnTo>
                        <a:lnTo>
                          <a:pt x="84" y="667"/>
                        </a:lnTo>
                        <a:lnTo>
                          <a:pt x="82" y="667"/>
                        </a:lnTo>
                        <a:lnTo>
                          <a:pt x="81" y="667"/>
                        </a:lnTo>
                        <a:lnTo>
                          <a:pt x="79" y="665"/>
                        </a:lnTo>
                        <a:lnTo>
                          <a:pt x="78" y="665"/>
                        </a:lnTo>
                        <a:lnTo>
                          <a:pt x="76" y="665"/>
                        </a:lnTo>
                        <a:lnTo>
                          <a:pt x="74" y="665"/>
                        </a:lnTo>
                        <a:lnTo>
                          <a:pt x="73" y="667"/>
                        </a:lnTo>
                        <a:lnTo>
                          <a:pt x="71" y="667"/>
                        </a:lnTo>
                        <a:lnTo>
                          <a:pt x="70" y="667"/>
                        </a:lnTo>
                        <a:lnTo>
                          <a:pt x="66" y="667"/>
                        </a:lnTo>
                        <a:lnTo>
                          <a:pt x="62" y="668"/>
                        </a:lnTo>
                        <a:lnTo>
                          <a:pt x="59" y="667"/>
                        </a:lnTo>
                        <a:lnTo>
                          <a:pt x="57" y="667"/>
                        </a:lnTo>
                        <a:lnTo>
                          <a:pt x="57" y="668"/>
                        </a:lnTo>
                        <a:lnTo>
                          <a:pt x="54" y="668"/>
                        </a:lnTo>
                        <a:lnTo>
                          <a:pt x="52" y="670"/>
                        </a:lnTo>
                        <a:lnTo>
                          <a:pt x="49" y="670"/>
                        </a:lnTo>
                        <a:lnTo>
                          <a:pt x="46" y="672"/>
                        </a:lnTo>
                        <a:lnTo>
                          <a:pt x="44" y="670"/>
                        </a:lnTo>
                        <a:lnTo>
                          <a:pt x="43" y="670"/>
                        </a:lnTo>
                        <a:lnTo>
                          <a:pt x="41" y="670"/>
                        </a:lnTo>
                        <a:lnTo>
                          <a:pt x="40" y="672"/>
                        </a:lnTo>
                        <a:lnTo>
                          <a:pt x="38" y="672"/>
                        </a:lnTo>
                        <a:lnTo>
                          <a:pt x="36" y="672"/>
                        </a:lnTo>
                        <a:lnTo>
                          <a:pt x="33" y="672"/>
                        </a:lnTo>
                        <a:lnTo>
                          <a:pt x="32" y="670"/>
                        </a:lnTo>
                        <a:lnTo>
                          <a:pt x="30" y="670"/>
                        </a:lnTo>
                        <a:lnTo>
                          <a:pt x="28" y="668"/>
                        </a:lnTo>
                        <a:lnTo>
                          <a:pt x="25" y="667"/>
                        </a:lnTo>
                        <a:lnTo>
                          <a:pt x="22" y="664"/>
                        </a:lnTo>
                        <a:lnTo>
                          <a:pt x="21" y="662"/>
                        </a:lnTo>
                        <a:lnTo>
                          <a:pt x="17" y="660"/>
                        </a:lnTo>
                        <a:lnTo>
                          <a:pt x="16" y="659"/>
                        </a:lnTo>
                        <a:lnTo>
                          <a:pt x="9" y="656"/>
                        </a:lnTo>
                        <a:lnTo>
                          <a:pt x="6" y="653"/>
                        </a:lnTo>
                        <a:lnTo>
                          <a:pt x="5" y="651"/>
                        </a:lnTo>
                        <a:lnTo>
                          <a:pt x="5" y="648"/>
                        </a:lnTo>
                        <a:lnTo>
                          <a:pt x="5" y="646"/>
                        </a:lnTo>
                        <a:lnTo>
                          <a:pt x="5" y="645"/>
                        </a:lnTo>
                        <a:lnTo>
                          <a:pt x="3" y="641"/>
                        </a:lnTo>
                        <a:lnTo>
                          <a:pt x="3" y="638"/>
                        </a:lnTo>
                        <a:lnTo>
                          <a:pt x="5" y="635"/>
                        </a:lnTo>
                        <a:lnTo>
                          <a:pt x="5" y="634"/>
                        </a:lnTo>
                        <a:lnTo>
                          <a:pt x="6" y="634"/>
                        </a:lnTo>
                        <a:lnTo>
                          <a:pt x="8" y="632"/>
                        </a:lnTo>
                        <a:lnTo>
                          <a:pt x="9" y="632"/>
                        </a:lnTo>
                        <a:lnTo>
                          <a:pt x="13" y="632"/>
                        </a:lnTo>
                        <a:lnTo>
                          <a:pt x="14" y="632"/>
                        </a:lnTo>
                        <a:lnTo>
                          <a:pt x="16" y="632"/>
                        </a:lnTo>
                        <a:lnTo>
                          <a:pt x="17" y="632"/>
                        </a:lnTo>
                        <a:lnTo>
                          <a:pt x="22" y="634"/>
                        </a:lnTo>
                        <a:lnTo>
                          <a:pt x="24" y="634"/>
                        </a:lnTo>
                        <a:lnTo>
                          <a:pt x="25" y="634"/>
                        </a:lnTo>
                        <a:lnTo>
                          <a:pt x="28" y="634"/>
                        </a:lnTo>
                        <a:lnTo>
                          <a:pt x="30" y="634"/>
                        </a:lnTo>
                        <a:lnTo>
                          <a:pt x="32" y="632"/>
                        </a:lnTo>
                        <a:lnTo>
                          <a:pt x="33" y="632"/>
                        </a:lnTo>
                        <a:lnTo>
                          <a:pt x="36" y="629"/>
                        </a:lnTo>
                        <a:lnTo>
                          <a:pt x="38" y="629"/>
                        </a:lnTo>
                        <a:lnTo>
                          <a:pt x="40" y="629"/>
                        </a:lnTo>
                        <a:lnTo>
                          <a:pt x="40" y="627"/>
                        </a:lnTo>
                        <a:lnTo>
                          <a:pt x="43" y="627"/>
                        </a:lnTo>
                        <a:lnTo>
                          <a:pt x="44" y="626"/>
                        </a:lnTo>
                        <a:lnTo>
                          <a:pt x="49" y="624"/>
                        </a:lnTo>
                        <a:lnTo>
                          <a:pt x="51" y="624"/>
                        </a:lnTo>
                        <a:lnTo>
                          <a:pt x="52" y="622"/>
                        </a:lnTo>
                        <a:lnTo>
                          <a:pt x="54" y="619"/>
                        </a:lnTo>
                        <a:lnTo>
                          <a:pt x="55" y="618"/>
                        </a:lnTo>
                        <a:lnTo>
                          <a:pt x="55" y="616"/>
                        </a:lnTo>
                        <a:lnTo>
                          <a:pt x="55" y="613"/>
                        </a:lnTo>
                        <a:lnTo>
                          <a:pt x="55" y="611"/>
                        </a:lnTo>
                        <a:lnTo>
                          <a:pt x="55" y="610"/>
                        </a:lnTo>
                        <a:lnTo>
                          <a:pt x="57" y="608"/>
                        </a:lnTo>
                        <a:lnTo>
                          <a:pt x="57" y="607"/>
                        </a:lnTo>
                        <a:lnTo>
                          <a:pt x="59" y="605"/>
                        </a:lnTo>
                        <a:lnTo>
                          <a:pt x="60" y="603"/>
                        </a:lnTo>
                        <a:lnTo>
                          <a:pt x="62" y="602"/>
                        </a:lnTo>
                        <a:lnTo>
                          <a:pt x="63" y="599"/>
                        </a:lnTo>
                        <a:lnTo>
                          <a:pt x="65" y="597"/>
                        </a:lnTo>
                        <a:lnTo>
                          <a:pt x="65" y="595"/>
                        </a:lnTo>
                        <a:lnTo>
                          <a:pt x="65" y="591"/>
                        </a:lnTo>
                        <a:lnTo>
                          <a:pt x="65" y="588"/>
                        </a:lnTo>
                        <a:lnTo>
                          <a:pt x="63" y="588"/>
                        </a:lnTo>
                        <a:lnTo>
                          <a:pt x="63" y="586"/>
                        </a:lnTo>
                        <a:lnTo>
                          <a:pt x="63" y="584"/>
                        </a:lnTo>
                        <a:lnTo>
                          <a:pt x="60" y="583"/>
                        </a:lnTo>
                        <a:lnTo>
                          <a:pt x="59" y="581"/>
                        </a:lnTo>
                        <a:lnTo>
                          <a:pt x="55" y="578"/>
                        </a:lnTo>
                        <a:lnTo>
                          <a:pt x="55" y="576"/>
                        </a:lnTo>
                        <a:lnTo>
                          <a:pt x="52" y="576"/>
                        </a:lnTo>
                        <a:lnTo>
                          <a:pt x="49" y="573"/>
                        </a:lnTo>
                        <a:lnTo>
                          <a:pt x="47" y="572"/>
                        </a:lnTo>
                        <a:lnTo>
                          <a:pt x="46" y="570"/>
                        </a:lnTo>
                        <a:lnTo>
                          <a:pt x="44" y="570"/>
                        </a:lnTo>
                        <a:lnTo>
                          <a:pt x="43" y="569"/>
                        </a:lnTo>
                        <a:lnTo>
                          <a:pt x="41" y="569"/>
                        </a:lnTo>
                        <a:lnTo>
                          <a:pt x="36" y="569"/>
                        </a:lnTo>
                        <a:lnTo>
                          <a:pt x="35" y="567"/>
                        </a:lnTo>
                        <a:lnTo>
                          <a:pt x="33" y="564"/>
                        </a:lnTo>
                        <a:lnTo>
                          <a:pt x="32" y="562"/>
                        </a:lnTo>
                        <a:lnTo>
                          <a:pt x="30" y="561"/>
                        </a:lnTo>
                        <a:lnTo>
                          <a:pt x="30" y="557"/>
                        </a:lnTo>
                        <a:lnTo>
                          <a:pt x="30" y="556"/>
                        </a:lnTo>
                        <a:lnTo>
                          <a:pt x="32" y="554"/>
                        </a:lnTo>
                        <a:lnTo>
                          <a:pt x="32" y="553"/>
                        </a:lnTo>
                        <a:lnTo>
                          <a:pt x="33" y="551"/>
                        </a:lnTo>
                        <a:lnTo>
                          <a:pt x="36" y="548"/>
                        </a:lnTo>
                        <a:lnTo>
                          <a:pt x="40" y="545"/>
                        </a:lnTo>
                        <a:lnTo>
                          <a:pt x="41" y="543"/>
                        </a:lnTo>
                        <a:lnTo>
                          <a:pt x="43" y="542"/>
                        </a:lnTo>
                        <a:lnTo>
                          <a:pt x="44" y="540"/>
                        </a:lnTo>
                        <a:lnTo>
                          <a:pt x="47" y="537"/>
                        </a:lnTo>
                        <a:lnTo>
                          <a:pt x="49" y="537"/>
                        </a:lnTo>
                        <a:lnTo>
                          <a:pt x="49" y="535"/>
                        </a:lnTo>
                        <a:lnTo>
                          <a:pt x="51" y="531"/>
                        </a:lnTo>
                        <a:lnTo>
                          <a:pt x="51" y="529"/>
                        </a:lnTo>
                        <a:lnTo>
                          <a:pt x="51" y="527"/>
                        </a:lnTo>
                        <a:lnTo>
                          <a:pt x="49" y="526"/>
                        </a:lnTo>
                        <a:lnTo>
                          <a:pt x="49" y="524"/>
                        </a:lnTo>
                        <a:lnTo>
                          <a:pt x="47" y="523"/>
                        </a:lnTo>
                        <a:lnTo>
                          <a:pt x="47" y="521"/>
                        </a:lnTo>
                        <a:lnTo>
                          <a:pt x="46" y="521"/>
                        </a:lnTo>
                        <a:lnTo>
                          <a:pt x="46" y="519"/>
                        </a:lnTo>
                        <a:lnTo>
                          <a:pt x="46" y="518"/>
                        </a:lnTo>
                        <a:lnTo>
                          <a:pt x="40" y="513"/>
                        </a:lnTo>
                        <a:lnTo>
                          <a:pt x="36" y="513"/>
                        </a:lnTo>
                        <a:lnTo>
                          <a:pt x="35" y="513"/>
                        </a:lnTo>
                        <a:lnTo>
                          <a:pt x="33" y="513"/>
                        </a:lnTo>
                        <a:lnTo>
                          <a:pt x="33" y="512"/>
                        </a:lnTo>
                        <a:lnTo>
                          <a:pt x="32" y="512"/>
                        </a:lnTo>
                        <a:lnTo>
                          <a:pt x="30" y="512"/>
                        </a:lnTo>
                        <a:lnTo>
                          <a:pt x="28" y="512"/>
                        </a:lnTo>
                        <a:lnTo>
                          <a:pt x="27" y="512"/>
                        </a:lnTo>
                        <a:lnTo>
                          <a:pt x="25" y="510"/>
                        </a:lnTo>
                        <a:lnTo>
                          <a:pt x="24" y="510"/>
                        </a:lnTo>
                        <a:lnTo>
                          <a:pt x="22" y="508"/>
                        </a:lnTo>
                        <a:lnTo>
                          <a:pt x="21" y="507"/>
                        </a:lnTo>
                        <a:lnTo>
                          <a:pt x="19" y="505"/>
                        </a:lnTo>
                        <a:lnTo>
                          <a:pt x="17" y="505"/>
                        </a:lnTo>
                        <a:lnTo>
                          <a:pt x="16" y="504"/>
                        </a:lnTo>
                        <a:lnTo>
                          <a:pt x="13" y="502"/>
                        </a:lnTo>
                        <a:lnTo>
                          <a:pt x="13" y="500"/>
                        </a:lnTo>
                        <a:lnTo>
                          <a:pt x="13" y="499"/>
                        </a:lnTo>
                        <a:lnTo>
                          <a:pt x="13" y="497"/>
                        </a:lnTo>
                        <a:lnTo>
                          <a:pt x="11" y="496"/>
                        </a:lnTo>
                        <a:lnTo>
                          <a:pt x="9" y="491"/>
                        </a:lnTo>
                        <a:lnTo>
                          <a:pt x="8" y="489"/>
                        </a:lnTo>
                        <a:lnTo>
                          <a:pt x="6" y="489"/>
                        </a:lnTo>
                        <a:lnTo>
                          <a:pt x="5" y="488"/>
                        </a:lnTo>
                        <a:lnTo>
                          <a:pt x="5" y="486"/>
                        </a:lnTo>
                        <a:lnTo>
                          <a:pt x="3" y="485"/>
                        </a:lnTo>
                        <a:lnTo>
                          <a:pt x="2" y="485"/>
                        </a:lnTo>
                        <a:lnTo>
                          <a:pt x="0" y="483"/>
                        </a:lnTo>
                        <a:lnTo>
                          <a:pt x="0" y="481"/>
                        </a:lnTo>
                        <a:lnTo>
                          <a:pt x="0" y="480"/>
                        </a:lnTo>
                        <a:lnTo>
                          <a:pt x="0" y="478"/>
                        </a:lnTo>
                        <a:lnTo>
                          <a:pt x="2" y="477"/>
                        </a:lnTo>
                        <a:lnTo>
                          <a:pt x="2" y="474"/>
                        </a:lnTo>
                        <a:lnTo>
                          <a:pt x="3" y="474"/>
                        </a:lnTo>
                        <a:lnTo>
                          <a:pt x="3" y="472"/>
                        </a:lnTo>
                        <a:lnTo>
                          <a:pt x="5" y="472"/>
                        </a:lnTo>
                        <a:lnTo>
                          <a:pt x="6" y="470"/>
                        </a:lnTo>
                        <a:lnTo>
                          <a:pt x="8" y="470"/>
                        </a:lnTo>
                        <a:lnTo>
                          <a:pt x="8" y="469"/>
                        </a:lnTo>
                        <a:lnTo>
                          <a:pt x="9" y="467"/>
                        </a:lnTo>
                        <a:lnTo>
                          <a:pt x="11" y="467"/>
                        </a:lnTo>
                        <a:lnTo>
                          <a:pt x="11" y="466"/>
                        </a:lnTo>
                        <a:lnTo>
                          <a:pt x="14" y="464"/>
                        </a:lnTo>
                        <a:lnTo>
                          <a:pt x="16" y="462"/>
                        </a:lnTo>
                        <a:lnTo>
                          <a:pt x="19" y="461"/>
                        </a:lnTo>
                        <a:lnTo>
                          <a:pt x="22" y="461"/>
                        </a:lnTo>
                        <a:lnTo>
                          <a:pt x="24" y="461"/>
                        </a:lnTo>
                        <a:lnTo>
                          <a:pt x="25" y="459"/>
                        </a:lnTo>
                        <a:lnTo>
                          <a:pt x="28" y="459"/>
                        </a:lnTo>
                        <a:lnTo>
                          <a:pt x="30" y="458"/>
                        </a:lnTo>
                        <a:lnTo>
                          <a:pt x="32" y="456"/>
                        </a:lnTo>
                        <a:lnTo>
                          <a:pt x="35" y="456"/>
                        </a:lnTo>
                        <a:lnTo>
                          <a:pt x="36" y="456"/>
                        </a:lnTo>
                        <a:lnTo>
                          <a:pt x="38" y="456"/>
                        </a:lnTo>
                        <a:lnTo>
                          <a:pt x="41" y="456"/>
                        </a:lnTo>
                        <a:lnTo>
                          <a:pt x="43" y="458"/>
                        </a:lnTo>
                        <a:lnTo>
                          <a:pt x="47" y="459"/>
                        </a:lnTo>
                        <a:lnTo>
                          <a:pt x="49" y="459"/>
                        </a:lnTo>
                        <a:lnTo>
                          <a:pt x="52" y="461"/>
                        </a:lnTo>
                        <a:lnTo>
                          <a:pt x="54" y="461"/>
                        </a:lnTo>
                        <a:lnTo>
                          <a:pt x="55" y="464"/>
                        </a:lnTo>
                        <a:lnTo>
                          <a:pt x="57" y="466"/>
                        </a:lnTo>
                        <a:lnTo>
                          <a:pt x="59" y="467"/>
                        </a:lnTo>
                        <a:lnTo>
                          <a:pt x="59" y="469"/>
                        </a:lnTo>
                        <a:lnTo>
                          <a:pt x="60" y="470"/>
                        </a:lnTo>
                        <a:lnTo>
                          <a:pt x="62" y="472"/>
                        </a:lnTo>
                        <a:lnTo>
                          <a:pt x="63" y="472"/>
                        </a:lnTo>
                        <a:lnTo>
                          <a:pt x="63" y="474"/>
                        </a:lnTo>
                        <a:lnTo>
                          <a:pt x="63" y="475"/>
                        </a:lnTo>
                        <a:lnTo>
                          <a:pt x="65" y="477"/>
                        </a:lnTo>
                        <a:lnTo>
                          <a:pt x="70" y="480"/>
                        </a:lnTo>
                        <a:lnTo>
                          <a:pt x="71" y="478"/>
                        </a:lnTo>
                        <a:lnTo>
                          <a:pt x="73" y="478"/>
                        </a:lnTo>
                        <a:lnTo>
                          <a:pt x="74" y="478"/>
                        </a:lnTo>
                        <a:lnTo>
                          <a:pt x="76" y="477"/>
                        </a:lnTo>
                        <a:lnTo>
                          <a:pt x="78" y="475"/>
                        </a:lnTo>
                        <a:lnTo>
                          <a:pt x="78" y="474"/>
                        </a:lnTo>
                        <a:lnTo>
                          <a:pt x="78" y="467"/>
                        </a:lnTo>
                        <a:lnTo>
                          <a:pt x="78" y="466"/>
                        </a:lnTo>
                        <a:lnTo>
                          <a:pt x="78" y="461"/>
                        </a:lnTo>
                        <a:lnTo>
                          <a:pt x="78" y="459"/>
                        </a:lnTo>
                        <a:lnTo>
                          <a:pt x="79" y="459"/>
                        </a:lnTo>
                        <a:lnTo>
                          <a:pt x="79" y="456"/>
                        </a:lnTo>
                        <a:lnTo>
                          <a:pt x="81" y="455"/>
                        </a:lnTo>
                        <a:lnTo>
                          <a:pt x="84" y="450"/>
                        </a:lnTo>
                        <a:lnTo>
                          <a:pt x="84" y="448"/>
                        </a:lnTo>
                        <a:lnTo>
                          <a:pt x="85" y="447"/>
                        </a:lnTo>
                        <a:lnTo>
                          <a:pt x="85" y="445"/>
                        </a:lnTo>
                        <a:lnTo>
                          <a:pt x="85" y="443"/>
                        </a:lnTo>
                        <a:lnTo>
                          <a:pt x="85" y="442"/>
                        </a:lnTo>
                        <a:lnTo>
                          <a:pt x="84" y="440"/>
                        </a:lnTo>
                        <a:lnTo>
                          <a:pt x="84" y="439"/>
                        </a:lnTo>
                        <a:lnTo>
                          <a:pt x="82" y="437"/>
                        </a:lnTo>
                        <a:lnTo>
                          <a:pt x="82" y="436"/>
                        </a:lnTo>
                        <a:lnTo>
                          <a:pt x="81" y="434"/>
                        </a:lnTo>
                        <a:lnTo>
                          <a:pt x="79" y="432"/>
                        </a:lnTo>
                        <a:lnTo>
                          <a:pt x="79" y="431"/>
                        </a:lnTo>
                        <a:lnTo>
                          <a:pt x="78" y="429"/>
                        </a:lnTo>
                        <a:lnTo>
                          <a:pt x="76" y="428"/>
                        </a:lnTo>
                        <a:lnTo>
                          <a:pt x="73" y="426"/>
                        </a:lnTo>
                        <a:lnTo>
                          <a:pt x="70" y="424"/>
                        </a:lnTo>
                        <a:lnTo>
                          <a:pt x="68" y="420"/>
                        </a:lnTo>
                        <a:lnTo>
                          <a:pt x="68" y="418"/>
                        </a:lnTo>
                        <a:lnTo>
                          <a:pt x="68" y="416"/>
                        </a:lnTo>
                        <a:lnTo>
                          <a:pt x="68" y="415"/>
                        </a:lnTo>
                        <a:lnTo>
                          <a:pt x="70" y="410"/>
                        </a:lnTo>
                        <a:lnTo>
                          <a:pt x="68" y="409"/>
                        </a:lnTo>
                        <a:lnTo>
                          <a:pt x="68" y="407"/>
                        </a:lnTo>
                        <a:lnTo>
                          <a:pt x="66" y="404"/>
                        </a:lnTo>
                        <a:lnTo>
                          <a:pt x="65" y="402"/>
                        </a:lnTo>
                        <a:lnTo>
                          <a:pt x="65" y="401"/>
                        </a:lnTo>
                        <a:lnTo>
                          <a:pt x="65" y="399"/>
                        </a:lnTo>
                        <a:lnTo>
                          <a:pt x="65" y="397"/>
                        </a:lnTo>
                        <a:lnTo>
                          <a:pt x="63" y="396"/>
                        </a:lnTo>
                        <a:lnTo>
                          <a:pt x="65" y="394"/>
                        </a:lnTo>
                        <a:lnTo>
                          <a:pt x="65" y="393"/>
                        </a:lnTo>
                        <a:lnTo>
                          <a:pt x="63" y="393"/>
                        </a:lnTo>
                        <a:lnTo>
                          <a:pt x="63" y="390"/>
                        </a:lnTo>
                        <a:lnTo>
                          <a:pt x="63" y="388"/>
                        </a:lnTo>
                        <a:lnTo>
                          <a:pt x="62" y="388"/>
                        </a:lnTo>
                        <a:lnTo>
                          <a:pt x="62" y="386"/>
                        </a:lnTo>
                        <a:lnTo>
                          <a:pt x="60" y="383"/>
                        </a:lnTo>
                        <a:lnTo>
                          <a:pt x="60" y="382"/>
                        </a:lnTo>
                        <a:lnTo>
                          <a:pt x="59" y="380"/>
                        </a:lnTo>
                        <a:lnTo>
                          <a:pt x="57" y="378"/>
                        </a:lnTo>
                        <a:lnTo>
                          <a:pt x="55" y="377"/>
                        </a:lnTo>
                        <a:lnTo>
                          <a:pt x="54" y="375"/>
                        </a:lnTo>
                        <a:lnTo>
                          <a:pt x="52" y="375"/>
                        </a:lnTo>
                        <a:lnTo>
                          <a:pt x="49" y="371"/>
                        </a:lnTo>
                        <a:lnTo>
                          <a:pt x="47" y="369"/>
                        </a:lnTo>
                        <a:lnTo>
                          <a:pt x="46" y="367"/>
                        </a:lnTo>
                        <a:lnTo>
                          <a:pt x="43" y="367"/>
                        </a:lnTo>
                        <a:lnTo>
                          <a:pt x="41" y="366"/>
                        </a:lnTo>
                        <a:lnTo>
                          <a:pt x="40" y="364"/>
                        </a:lnTo>
                        <a:lnTo>
                          <a:pt x="38" y="364"/>
                        </a:lnTo>
                        <a:lnTo>
                          <a:pt x="36" y="364"/>
                        </a:lnTo>
                        <a:lnTo>
                          <a:pt x="35" y="363"/>
                        </a:lnTo>
                        <a:lnTo>
                          <a:pt x="33" y="361"/>
                        </a:lnTo>
                        <a:lnTo>
                          <a:pt x="32" y="359"/>
                        </a:lnTo>
                        <a:lnTo>
                          <a:pt x="30" y="358"/>
                        </a:lnTo>
                        <a:lnTo>
                          <a:pt x="28" y="356"/>
                        </a:lnTo>
                        <a:lnTo>
                          <a:pt x="28" y="355"/>
                        </a:lnTo>
                        <a:lnTo>
                          <a:pt x="27" y="352"/>
                        </a:lnTo>
                        <a:lnTo>
                          <a:pt x="27" y="350"/>
                        </a:lnTo>
                        <a:lnTo>
                          <a:pt x="27" y="348"/>
                        </a:lnTo>
                        <a:lnTo>
                          <a:pt x="27" y="347"/>
                        </a:lnTo>
                        <a:lnTo>
                          <a:pt x="28" y="342"/>
                        </a:lnTo>
                        <a:lnTo>
                          <a:pt x="30" y="337"/>
                        </a:lnTo>
                        <a:lnTo>
                          <a:pt x="30" y="334"/>
                        </a:lnTo>
                        <a:lnTo>
                          <a:pt x="30" y="333"/>
                        </a:lnTo>
                        <a:lnTo>
                          <a:pt x="32" y="331"/>
                        </a:lnTo>
                        <a:lnTo>
                          <a:pt x="35" y="326"/>
                        </a:lnTo>
                        <a:lnTo>
                          <a:pt x="35" y="325"/>
                        </a:lnTo>
                        <a:lnTo>
                          <a:pt x="35" y="323"/>
                        </a:lnTo>
                        <a:lnTo>
                          <a:pt x="36" y="321"/>
                        </a:lnTo>
                        <a:lnTo>
                          <a:pt x="38" y="320"/>
                        </a:lnTo>
                        <a:lnTo>
                          <a:pt x="38" y="318"/>
                        </a:lnTo>
                        <a:lnTo>
                          <a:pt x="40" y="318"/>
                        </a:lnTo>
                        <a:lnTo>
                          <a:pt x="43" y="315"/>
                        </a:lnTo>
                        <a:lnTo>
                          <a:pt x="46" y="312"/>
                        </a:lnTo>
                        <a:lnTo>
                          <a:pt x="47" y="312"/>
                        </a:lnTo>
                        <a:lnTo>
                          <a:pt x="47" y="310"/>
                        </a:lnTo>
                        <a:lnTo>
                          <a:pt x="47" y="309"/>
                        </a:lnTo>
                        <a:lnTo>
                          <a:pt x="49" y="309"/>
                        </a:lnTo>
                        <a:lnTo>
                          <a:pt x="51" y="307"/>
                        </a:lnTo>
                        <a:lnTo>
                          <a:pt x="52" y="307"/>
                        </a:lnTo>
                        <a:lnTo>
                          <a:pt x="54" y="307"/>
                        </a:lnTo>
                        <a:lnTo>
                          <a:pt x="54" y="309"/>
                        </a:lnTo>
                        <a:lnTo>
                          <a:pt x="59" y="310"/>
                        </a:lnTo>
                        <a:lnTo>
                          <a:pt x="60" y="310"/>
                        </a:lnTo>
                        <a:lnTo>
                          <a:pt x="62" y="310"/>
                        </a:lnTo>
                        <a:lnTo>
                          <a:pt x="63" y="309"/>
                        </a:lnTo>
                        <a:lnTo>
                          <a:pt x="65" y="307"/>
                        </a:lnTo>
                        <a:lnTo>
                          <a:pt x="65" y="306"/>
                        </a:lnTo>
                        <a:lnTo>
                          <a:pt x="65" y="304"/>
                        </a:lnTo>
                        <a:lnTo>
                          <a:pt x="65" y="301"/>
                        </a:lnTo>
                        <a:lnTo>
                          <a:pt x="65" y="299"/>
                        </a:lnTo>
                        <a:lnTo>
                          <a:pt x="65" y="298"/>
                        </a:lnTo>
                        <a:lnTo>
                          <a:pt x="65" y="296"/>
                        </a:lnTo>
                        <a:lnTo>
                          <a:pt x="65" y="295"/>
                        </a:lnTo>
                        <a:lnTo>
                          <a:pt x="63" y="291"/>
                        </a:lnTo>
                        <a:lnTo>
                          <a:pt x="63" y="288"/>
                        </a:lnTo>
                        <a:lnTo>
                          <a:pt x="62" y="287"/>
                        </a:lnTo>
                        <a:lnTo>
                          <a:pt x="60" y="285"/>
                        </a:lnTo>
                        <a:lnTo>
                          <a:pt x="59" y="283"/>
                        </a:lnTo>
                        <a:lnTo>
                          <a:pt x="57" y="282"/>
                        </a:lnTo>
                        <a:lnTo>
                          <a:pt x="55" y="282"/>
                        </a:lnTo>
                        <a:lnTo>
                          <a:pt x="52" y="282"/>
                        </a:lnTo>
                        <a:lnTo>
                          <a:pt x="51" y="280"/>
                        </a:lnTo>
                        <a:lnTo>
                          <a:pt x="49" y="280"/>
                        </a:lnTo>
                        <a:lnTo>
                          <a:pt x="54" y="276"/>
                        </a:lnTo>
                        <a:lnTo>
                          <a:pt x="60" y="272"/>
                        </a:lnTo>
                        <a:lnTo>
                          <a:pt x="68" y="266"/>
                        </a:lnTo>
                        <a:lnTo>
                          <a:pt x="82" y="255"/>
                        </a:lnTo>
                        <a:lnTo>
                          <a:pt x="89" y="250"/>
                        </a:lnTo>
                        <a:lnTo>
                          <a:pt x="93" y="245"/>
                        </a:lnTo>
                        <a:lnTo>
                          <a:pt x="93" y="247"/>
                        </a:lnTo>
                        <a:lnTo>
                          <a:pt x="95" y="247"/>
                        </a:lnTo>
                        <a:lnTo>
                          <a:pt x="98" y="242"/>
                        </a:lnTo>
                        <a:lnTo>
                          <a:pt x="100" y="241"/>
                        </a:lnTo>
                        <a:lnTo>
                          <a:pt x="101" y="237"/>
                        </a:lnTo>
                        <a:lnTo>
                          <a:pt x="106" y="234"/>
                        </a:lnTo>
                        <a:lnTo>
                          <a:pt x="108" y="233"/>
                        </a:lnTo>
                        <a:lnTo>
                          <a:pt x="108" y="231"/>
                        </a:lnTo>
                        <a:lnTo>
                          <a:pt x="109" y="230"/>
                        </a:lnTo>
                        <a:lnTo>
                          <a:pt x="109" y="225"/>
                        </a:lnTo>
                        <a:lnTo>
                          <a:pt x="108" y="223"/>
                        </a:lnTo>
                        <a:lnTo>
                          <a:pt x="108" y="222"/>
                        </a:lnTo>
                        <a:lnTo>
                          <a:pt x="109" y="220"/>
                        </a:lnTo>
                        <a:lnTo>
                          <a:pt x="112" y="217"/>
                        </a:lnTo>
                        <a:lnTo>
                          <a:pt x="119" y="212"/>
                        </a:lnTo>
                        <a:lnTo>
                          <a:pt x="128" y="204"/>
                        </a:lnTo>
                        <a:lnTo>
                          <a:pt x="127" y="201"/>
                        </a:lnTo>
                        <a:lnTo>
                          <a:pt x="125" y="196"/>
                        </a:lnTo>
                        <a:lnTo>
                          <a:pt x="124" y="192"/>
                        </a:lnTo>
                        <a:lnTo>
                          <a:pt x="119" y="184"/>
                        </a:lnTo>
                        <a:lnTo>
                          <a:pt x="116" y="176"/>
                        </a:lnTo>
                        <a:lnTo>
                          <a:pt x="109" y="165"/>
                        </a:lnTo>
                        <a:lnTo>
                          <a:pt x="101" y="150"/>
                        </a:lnTo>
                        <a:lnTo>
                          <a:pt x="98" y="141"/>
                        </a:lnTo>
                        <a:lnTo>
                          <a:pt x="98" y="139"/>
                        </a:lnTo>
                        <a:lnTo>
                          <a:pt x="100" y="139"/>
                        </a:lnTo>
                        <a:lnTo>
                          <a:pt x="100" y="138"/>
                        </a:lnTo>
                        <a:lnTo>
                          <a:pt x="100" y="136"/>
                        </a:lnTo>
                        <a:lnTo>
                          <a:pt x="101" y="133"/>
                        </a:lnTo>
                        <a:lnTo>
                          <a:pt x="103" y="131"/>
                        </a:lnTo>
                        <a:lnTo>
                          <a:pt x="104" y="128"/>
                        </a:lnTo>
                        <a:lnTo>
                          <a:pt x="106" y="127"/>
                        </a:lnTo>
                        <a:lnTo>
                          <a:pt x="106" y="125"/>
                        </a:lnTo>
                        <a:lnTo>
                          <a:pt x="109" y="122"/>
                        </a:lnTo>
                        <a:lnTo>
                          <a:pt x="112" y="120"/>
                        </a:lnTo>
                        <a:lnTo>
                          <a:pt x="114" y="119"/>
                        </a:lnTo>
                        <a:lnTo>
                          <a:pt x="116" y="117"/>
                        </a:lnTo>
                        <a:lnTo>
                          <a:pt x="117" y="116"/>
                        </a:lnTo>
                        <a:lnTo>
                          <a:pt x="120" y="114"/>
                        </a:lnTo>
                        <a:lnTo>
                          <a:pt x="122" y="112"/>
                        </a:lnTo>
                        <a:lnTo>
                          <a:pt x="122" y="111"/>
                        </a:lnTo>
                        <a:lnTo>
                          <a:pt x="125" y="108"/>
                        </a:lnTo>
                        <a:lnTo>
                          <a:pt x="128" y="104"/>
                        </a:lnTo>
                        <a:lnTo>
                          <a:pt x="128" y="101"/>
                        </a:lnTo>
                        <a:lnTo>
                          <a:pt x="130" y="100"/>
                        </a:lnTo>
                        <a:lnTo>
                          <a:pt x="130" y="98"/>
                        </a:lnTo>
                        <a:lnTo>
                          <a:pt x="131" y="98"/>
                        </a:lnTo>
                        <a:lnTo>
                          <a:pt x="131" y="97"/>
                        </a:lnTo>
                        <a:lnTo>
                          <a:pt x="138" y="97"/>
                        </a:lnTo>
                        <a:lnTo>
                          <a:pt x="139" y="95"/>
                        </a:lnTo>
                        <a:lnTo>
                          <a:pt x="141" y="93"/>
                        </a:lnTo>
                        <a:lnTo>
                          <a:pt x="143" y="92"/>
                        </a:lnTo>
                        <a:lnTo>
                          <a:pt x="146" y="92"/>
                        </a:lnTo>
                        <a:lnTo>
                          <a:pt x="149" y="93"/>
                        </a:lnTo>
                        <a:lnTo>
                          <a:pt x="149" y="92"/>
                        </a:lnTo>
                        <a:lnTo>
                          <a:pt x="150" y="90"/>
                        </a:lnTo>
                        <a:lnTo>
                          <a:pt x="150" y="85"/>
                        </a:lnTo>
                        <a:lnTo>
                          <a:pt x="150" y="81"/>
                        </a:lnTo>
                        <a:lnTo>
                          <a:pt x="152" y="79"/>
                        </a:lnTo>
                        <a:lnTo>
                          <a:pt x="152" y="78"/>
                        </a:lnTo>
                        <a:lnTo>
                          <a:pt x="154" y="76"/>
                        </a:lnTo>
                        <a:lnTo>
                          <a:pt x="155" y="74"/>
                        </a:lnTo>
                        <a:lnTo>
                          <a:pt x="158" y="73"/>
                        </a:lnTo>
                        <a:lnTo>
                          <a:pt x="162" y="71"/>
                        </a:lnTo>
                        <a:lnTo>
                          <a:pt x="165" y="68"/>
                        </a:lnTo>
                        <a:lnTo>
                          <a:pt x="168" y="65"/>
                        </a:lnTo>
                        <a:lnTo>
                          <a:pt x="173" y="60"/>
                        </a:lnTo>
                        <a:lnTo>
                          <a:pt x="176" y="58"/>
                        </a:lnTo>
                        <a:lnTo>
                          <a:pt x="177" y="57"/>
                        </a:lnTo>
                        <a:lnTo>
                          <a:pt x="177" y="55"/>
                        </a:lnTo>
                        <a:lnTo>
                          <a:pt x="185" y="49"/>
                        </a:lnTo>
                        <a:lnTo>
                          <a:pt x="200" y="38"/>
                        </a:lnTo>
                        <a:lnTo>
                          <a:pt x="211" y="28"/>
                        </a:lnTo>
                        <a:lnTo>
                          <a:pt x="222" y="19"/>
                        </a:lnTo>
                        <a:lnTo>
                          <a:pt x="223" y="16"/>
                        </a:lnTo>
                        <a:lnTo>
                          <a:pt x="225" y="14"/>
                        </a:lnTo>
                        <a:lnTo>
                          <a:pt x="225" y="13"/>
                        </a:lnTo>
                        <a:lnTo>
                          <a:pt x="225" y="11"/>
                        </a:lnTo>
                        <a:lnTo>
                          <a:pt x="226" y="8"/>
                        </a:lnTo>
                        <a:lnTo>
                          <a:pt x="230" y="6"/>
                        </a:lnTo>
                        <a:lnTo>
                          <a:pt x="231" y="5"/>
                        </a:lnTo>
                        <a:lnTo>
                          <a:pt x="231" y="3"/>
                        </a:lnTo>
                        <a:lnTo>
                          <a:pt x="233" y="1"/>
                        </a:lnTo>
                        <a:lnTo>
                          <a:pt x="233" y="0"/>
                        </a:lnTo>
                        <a:lnTo>
                          <a:pt x="234" y="0"/>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53" name="Freeform 52"/>
                  <p:cNvSpPr>
                    <a:spLocks/>
                  </p:cNvSpPr>
                  <p:nvPr/>
                </p:nvSpPr>
                <p:spPr bwMode="auto">
                  <a:xfrm>
                    <a:off x="3772" y="2409"/>
                    <a:ext cx="920" cy="766"/>
                  </a:xfrm>
                  <a:custGeom>
                    <a:avLst/>
                    <a:gdLst>
                      <a:gd name="T0" fmla="*/ 398 w 920"/>
                      <a:gd name="T1" fmla="*/ 54 h 766"/>
                      <a:gd name="T2" fmla="*/ 450 w 920"/>
                      <a:gd name="T3" fmla="*/ 35 h 766"/>
                      <a:gd name="T4" fmla="*/ 510 w 920"/>
                      <a:gd name="T5" fmla="*/ 28 h 766"/>
                      <a:gd name="T6" fmla="*/ 556 w 920"/>
                      <a:gd name="T7" fmla="*/ 28 h 766"/>
                      <a:gd name="T8" fmla="*/ 591 w 920"/>
                      <a:gd name="T9" fmla="*/ 22 h 766"/>
                      <a:gd name="T10" fmla="*/ 634 w 920"/>
                      <a:gd name="T11" fmla="*/ 50 h 766"/>
                      <a:gd name="T12" fmla="*/ 651 w 920"/>
                      <a:gd name="T13" fmla="*/ 90 h 766"/>
                      <a:gd name="T14" fmla="*/ 670 w 920"/>
                      <a:gd name="T15" fmla="*/ 119 h 766"/>
                      <a:gd name="T16" fmla="*/ 702 w 920"/>
                      <a:gd name="T17" fmla="*/ 138 h 766"/>
                      <a:gd name="T18" fmla="*/ 718 w 920"/>
                      <a:gd name="T19" fmla="*/ 164 h 766"/>
                      <a:gd name="T20" fmla="*/ 719 w 920"/>
                      <a:gd name="T21" fmla="*/ 193 h 766"/>
                      <a:gd name="T22" fmla="*/ 748 w 920"/>
                      <a:gd name="T23" fmla="*/ 198 h 766"/>
                      <a:gd name="T24" fmla="*/ 759 w 920"/>
                      <a:gd name="T25" fmla="*/ 223 h 766"/>
                      <a:gd name="T26" fmla="*/ 716 w 920"/>
                      <a:gd name="T27" fmla="*/ 260 h 766"/>
                      <a:gd name="T28" fmla="*/ 748 w 920"/>
                      <a:gd name="T29" fmla="*/ 356 h 766"/>
                      <a:gd name="T30" fmla="*/ 789 w 920"/>
                      <a:gd name="T31" fmla="*/ 385 h 766"/>
                      <a:gd name="T32" fmla="*/ 825 w 920"/>
                      <a:gd name="T33" fmla="*/ 400 h 766"/>
                      <a:gd name="T34" fmla="*/ 863 w 920"/>
                      <a:gd name="T35" fmla="*/ 415 h 766"/>
                      <a:gd name="T36" fmla="*/ 900 w 920"/>
                      <a:gd name="T37" fmla="*/ 437 h 766"/>
                      <a:gd name="T38" fmla="*/ 906 w 920"/>
                      <a:gd name="T39" fmla="*/ 461 h 766"/>
                      <a:gd name="T40" fmla="*/ 919 w 920"/>
                      <a:gd name="T41" fmla="*/ 494 h 766"/>
                      <a:gd name="T42" fmla="*/ 881 w 920"/>
                      <a:gd name="T43" fmla="*/ 486 h 766"/>
                      <a:gd name="T44" fmla="*/ 841 w 920"/>
                      <a:gd name="T45" fmla="*/ 524 h 766"/>
                      <a:gd name="T46" fmla="*/ 805 w 920"/>
                      <a:gd name="T47" fmla="*/ 562 h 766"/>
                      <a:gd name="T48" fmla="*/ 795 w 920"/>
                      <a:gd name="T49" fmla="*/ 614 h 766"/>
                      <a:gd name="T50" fmla="*/ 814 w 920"/>
                      <a:gd name="T51" fmla="*/ 643 h 766"/>
                      <a:gd name="T52" fmla="*/ 808 w 920"/>
                      <a:gd name="T53" fmla="*/ 670 h 766"/>
                      <a:gd name="T54" fmla="*/ 838 w 920"/>
                      <a:gd name="T55" fmla="*/ 689 h 766"/>
                      <a:gd name="T56" fmla="*/ 836 w 920"/>
                      <a:gd name="T57" fmla="*/ 716 h 766"/>
                      <a:gd name="T58" fmla="*/ 844 w 920"/>
                      <a:gd name="T59" fmla="*/ 736 h 766"/>
                      <a:gd name="T60" fmla="*/ 735 w 920"/>
                      <a:gd name="T61" fmla="*/ 749 h 766"/>
                      <a:gd name="T62" fmla="*/ 607 w 920"/>
                      <a:gd name="T63" fmla="*/ 741 h 766"/>
                      <a:gd name="T64" fmla="*/ 387 w 920"/>
                      <a:gd name="T65" fmla="*/ 735 h 766"/>
                      <a:gd name="T66" fmla="*/ 383 w 920"/>
                      <a:gd name="T67" fmla="*/ 713 h 766"/>
                      <a:gd name="T68" fmla="*/ 353 w 920"/>
                      <a:gd name="T69" fmla="*/ 689 h 766"/>
                      <a:gd name="T70" fmla="*/ 323 w 920"/>
                      <a:gd name="T71" fmla="*/ 686 h 766"/>
                      <a:gd name="T72" fmla="*/ 299 w 920"/>
                      <a:gd name="T73" fmla="*/ 667 h 766"/>
                      <a:gd name="T74" fmla="*/ 274 w 920"/>
                      <a:gd name="T75" fmla="*/ 656 h 766"/>
                      <a:gd name="T76" fmla="*/ 241 w 920"/>
                      <a:gd name="T77" fmla="*/ 640 h 766"/>
                      <a:gd name="T78" fmla="*/ 277 w 920"/>
                      <a:gd name="T79" fmla="*/ 565 h 766"/>
                      <a:gd name="T80" fmla="*/ 301 w 920"/>
                      <a:gd name="T81" fmla="*/ 494 h 766"/>
                      <a:gd name="T82" fmla="*/ 372 w 920"/>
                      <a:gd name="T83" fmla="*/ 462 h 766"/>
                      <a:gd name="T84" fmla="*/ 429 w 920"/>
                      <a:gd name="T85" fmla="*/ 420 h 766"/>
                      <a:gd name="T86" fmla="*/ 442 w 920"/>
                      <a:gd name="T87" fmla="*/ 389 h 766"/>
                      <a:gd name="T88" fmla="*/ 412 w 920"/>
                      <a:gd name="T89" fmla="*/ 372 h 766"/>
                      <a:gd name="T90" fmla="*/ 388 w 920"/>
                      <a:gd name="T91" fmla="*/ 351 h 766"/>
                      <a:gd name="T92" fmla="*/ 366 w 920"/>
                      <a:gd name="T93" fmla="*/ 324 h 766"/>
                      <a:gd name="T94" fmla="*/ 342 w 920"/>
                      <a:gd name="T95" fmla="*/ 302 h 766"/>
                      <a:gd name="T96" fmla="*/ 309 w 920"/>
                      <a:gd name="T97" fmla="*/ 294 h 766"/>
                      <a:gd name="T98" fmla="*/ 280 w 920"/>
                      <a:gd name="T99" fmla="*/ 267 h 766"/>
                      <a:gd name="T100" fmla="*/ 246 w 920"/>
                      <a:gd name="T101" fmla="*/ 255 h 766"/>
                      <a:gd name="T102" fmla="*/ 222 w 920"/>
                      <a:gd name="T103" fmla="*/ 220 h 766"/>
                      <a:gd name="T104" fmla="*/ 190 w 920"/>
                      <a:gd name="T105" fmla="*/ 195 h 766"/>
                      <a:gd name="T106" fmla="*/ 166 w 920"/>
                      <a:gd name="T107" fmla="*/ 158 h 766"/>
                      <a:gd name="T108" fmla="*/ 128 w 920"/>
                      <a:gd name="T109" fmla="*/ 157 h 766"/>
                      <a:gd name="T110" fmla="*/ 78 w 920"/>
                      <a:gd name="T111" fmla="*/ 164 h 766"/>
                      <a:gd name="T112" fmla="*/ 35 w 920"/>
                      <a:gd name="T113" fmla="*/ 149 h 766"/>
                      <a:gd name="T114" fmla="*/ 35 w 920"/>
                      <a:gd name="T115" fmla="*/ 98 h 766"/>
                      <a:gd name="T116" fmla="*/ 57 w 920"/>
                      <a:gd name="T117" fmla="*/ 46 h 766"/>
                      <a:gd name="T118" fmla="*/ 139 w 920"/>
                      <a:gd name="T119" fmla="*/ 27 h 766"/>
                      <a:gd name="T120" fmla="*/ 219 w 920"/>
                      <a:gd name="T121" fmla="*/ 88 h 766"/>
                      <a:gd name="T122" fmla="*/ 277 w 920"/>
                      <a:gd name="T123" fmla="*/ 54 h 766"/>
                      <a:gd name="T124" fmla="*/ 355 w 920"/>
                      <a:gd name="T125" fmla="*/ 6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20" h="766">
                        <a:moveTo>
                          <a:pt x="358" y="6"/>
                        </a:moveTo>
                        <a:lnTo>
                          <a:pt x="360" y="8"/>
                        </a:lnTo>
                        <a:lnTo>
                          <a:pt x="363" y="6"/>
                        </a:lnTo>
                        <a:lnTo>
                          <a:pt x="364" y="6"/>
                        </a:lnTo>
                        <a:lnTo>
                          <a:pt x="366" y="6"/>
                        </a:lnTo>
                        <a:lnTo>
                          <a:pt x="368" y="8"/>
                        </a:lnTo>
                        <a:lnTo>
                          <a:pt x="369" y="8"/>
                        </a:lnTo>
                        <a:lnTo>
                          <a:pt x="371" y="8"/>
                        </a:lnTo>
                        <a:lnTo>
                          <a:pt x="372" y="6"/>
                        </a:lnTo>
                        <a:lnTo>
                          <a:pt x="374" y="6"/>
                        </a:lnTo>
                        <a:lnTo>
                          <a:pt x="376" y="8"/>
                        </a:lnTo>
                        <a:lnTo>
                          <a:pt x="377" y="8"/>
                        </a:lnTo>
                        <a:lnTo>
                          <a:pt x="377" y="12"/>
                        </a:lnTo>
                        <a:lnTo>
                          <a:pt x="379" y="14"/>
                        </a:lnTo>
                        <a:lnTo>
                          <a:pt x="379" y="17"/>
                        </a:lnTo>
                        <a:lnTo>
                          <a:pt x="380" y="20"/>
                        </a:lnTo>
                        <a:lnTo>
                          <a:pt x="382" y="23"/>
                        </a:lnTo>
                        <a:lnTo>
                          <a:pt x="383" y="27"/>
                        </a:lnTo>
                        <a:lnTo>
                          <a:pt x="385" y="31"/>
                        </a:lnTo>
                        <a:lnTo>
                          <a:pt x="388" y="36"/>
                        </a:lnTo>
                        <a:lnTo>
                          <a:pt x="390" y="41"/>
                        </a:lnTo>
                        <a:lnTo>
                          <a:pt x="390" y="44"/>
                        </a:lnTo>
                        <a:lnTo>
                          <a:pt x="391" y="46"/>
                        </a:lnTo>
                        <a:lnTo>
                          <a:pt x="393" y="49"/>
                        </a:lnTo>
                        <a:lnTo>
                          <a:pt x="396" y="52"/>
                        </a:lnTo>
                        <a:lnTo>
                          <a:pt x="398" y="54"/>
                        </a:lnTo>
                        <a:lnTo>
                          <a:pt x="398" y="57"/>
                        </a:lnTo>
                        <a:lnTo>
                          <a:pt x="398" y="58"/>
                        </a:lnTo>
                        <a:lnTo>
                          <a:pt x="399" y="60"/>
                        </a:lnTo>
                        <a:lnTo>
                          <a:pt x="401" y="60"/>
                        </a:lnTo>
                        <a:lnTo>
                          <a:pt x="402" y="58"/>
                        </a:lnTo>
                        <a:lnTo>
                          <a:pt x="404" y="58"/>
                        </a:lnTo>
                        <a:lnTo>
                          <a:pt x="406" y="57"/>
                        </a:lnTo>
                        <a:lnTo>
                          <a:pt x="407" y="55"/>
                        </a:lnTo>
                        <a:lnTo>
                          <a:pt x="410" y="54"/>
                        </a:lnTo>
                        <a:lnTo>
                          <a:pt x="412" y="52"/>
                        </a:lnTo>
                        <a:lnTo>
                          <a:pt x="415" y="49"/>
                        </a:lnTo>
                        <a:lnTo>
                          <a:pt x="417" y="46"/>
                        </a:lnTo>
                        <a:lnTo>
                          <a:pt x="418" y="44"/>
                        </a:lnTo>
                        <a:lnTo>
                          <a:pt x="420" y="43"/>
                        </a:lnTo>
                        <a:lnTo>
                          <a:pt x="421" y="43"/>
                        </a:lnTo>
                        <a:lnTo>
                          <a:pt x="423" y="43"/>
                        </a:lnTo>
                        <a:lnTo>
                          <a:pt x="426" y="41"/>
                        </a:lnTo>
                        <a:lnTo>
                          <a:pt x="428" y="41"/>
                        </a:lnTo>
                        <a:lnTo>
                          <a:pt x="431" y="41"/>
                        </a:lnTo>
                        <a:lnTo>
                          <a:pt x="434" y="41"/>
                        </a:lnTo>
                        <a:lnTo>
                          <a:pt x="439" y="39"/>
                        </a:lnTo>
                        <a:lnTo>
                          <a:pt x="440" y="39"/>
                        </a:lnTo>
                        <a:lnTo>
                          <a:pt x="445" y="39"/>
                        </a:lnTo>
                        <a:lnTo>
                          <a:pt x="447" y="38"/>
                        </a:lnTo>
                        <a:lnTo>
                          <a:pt x="448" y="36"/>
                        </a:lnTo>
                        <a:lnTo>
                          <a:pt x="450" y="35"/>
                        </a:lnTo>
                        <a:lnTo>
                          <a:pt x="453" y="33"/>
                        </a:lnTo>
                        <a:lnTo>
                          <a:pt x="455" y="31"/>
                        </a:lnTo>
                        <a:lnTo>
                          <a:pt x="456" y="30"/>
                        </a:lnTo>
                        <a:lnTo>
                          <a:pt x="459" y="30"/>
                        </a:lnTo>
                        <a:lnTo>
                          <a:pt x="463" y="30"/>
                        </a:lnTo>
                        <a:lnTo>
                          <a:pt x="466" y="30"/>
                        </a:lnTo>
                        <a:lnTo>
                          <a:pt x="467" y="30"/>
                        </a:lnTo>
                        <a:lnTo>
                          <a:pt x="469" y="33"/>
                        </a:lnTo>
                        <a:lnTo>
                          <a:pt x="471" y="35"/>
                        </a:lnTo>
                        <a:lnTo>
                          <a:pt x="471" y="36"/>
                        </a:lnTo>
                        <a:lnTo>
                          <a:pt x="472" y="38"/>
                        </a:lnTo>
                        <a:lnTo>
                          <a:pt x="474" y="39"/>
                        </a:lnTo>
                        <a:lnTo>
                          <a:pt x="475" y="41"/>
                        </a:lnTo>
                        <a:lnTo>
                          <a:pt x="477" y="39"/>
                        </a:lnTo>
                        <a:lnTo>
                          <a:pt x="478" y="39"/>
                        </a:lnTo>
                        <a:lnTo>
                          <a:pt x="480" y="38"/>
                        </a:lnTo>
                        <a:lnTo>
                          <a:pt x="483" y="35"/>
                        </a:lnTo>
                        <a:lnTo>
                          <a:pt x="485" y="33"/>
                        </a:lnTo>
                        <a:lnTo>
                          <a:pt x="486" y="31"/>
                        </a:lnTo>
                        <a:lnTo>
                          <a:pt x="488" y="28"/>
                        </a:lnTo>
                        <a:lnTo>
                          <a:pt x="490" y="28"/>
                        </a:lnTo>
                        <a:lnTo>
                          <a:pt x="494" y="27"/>
                        </a:lnTo>
                        <a:lnTo>
                          <a:pt x="497" y="28"/>
                        </a:lnTo>
                        <a:lnTo>
                          <a:pt x="502" y="30"/>
                        </a:lnTo>
                        <a:lnTo>
                          <a:pt x="509" y="30"/>
                        </a:lnTo>
                        <a:lnTo>
                          <a:pt x="510" y="28"/>
                        </a:lnTo>
                        <a:lnTo>
                          <a:pt x="512" y="28"/>
                        </a:lnTo>
                        <a:lnTo>
                          <a:pt x="516" y="28"/>
                        </a:lnTo>
                        <a:lnTo>
                          <a:pt x="518" y="28"/>
                        </a:lnTo>
                        <a:lnTo>
                          <a:pt x="520" y="28"/>
                        </a:lnTo>
                        <a:lnTo>
                          <a:pt x="521" y="28"/>
                        </a:lnTo>
                        <a:lnTo>
                          <a:pt x="523" y="30"/>
                        </a:lnTo>
                        <a:lnTo>
                          <a:pt x="524" y="28"/>
                        </a:lnTo>
                        <a:lnTo>
                          <a:pt x="528" y="28"/>
                        </a:lnTo>
                        <a:lnTo>
                          <a:pt x="529" y="27"/>
                        </a:lnTo>
                        <a:lnTo>
                          <a:pt x="531" y="28"/>
                        </a:lnTo>
                        <a:lnTo>
                          <a:pt x="534" y="28"/>
                        </a:lnTo>
                        <a:lnTo>
                          <a:pt x="536" y="28"/>
                        </a:lnTo>
                        <a:lnTo>
                          <a:pt x="537" y="27"/>
                        </a:lnTo>
                        <a:lnTo>
                          <a:pt x="539" y="27"/>
                        </a:lnTo>
                        <a:lnTo>
                          <a:pt x="540" y="27"/>
                        </a:lnTo>
                        <a:lnTo>
                          <a:pt x="540" y="25"/>
                        </a:lnTo>
                        <a:lnTo>
                          <a:pt x="542" y="27"/>
                        </a:lnTo>
                        <a:lnTo>
                          <a:pt x="543" y="27"/>
                        </a:lnTo>
                        <a:lnTo>
                          <a:pt x="545" y="25"/>
                        </a:lnTo>
                        <a:lnTo>
                          <a:pt x="547" y="25"/>
                        </a:lnTo>
                        <a:lnTo>
                          <a:pt x="548" y="27"/>
                        </a:lnTo>
                        <a:lnTo>
                          <a:pt x="550" y="27"/>
                        </a:lnTo>
                        <a:lnTo>
                          <a:pt x="551" y="27"/>
                        </a:lnTo>
                        <a:lnTo>
                          <a:pt x="553" y="25"/>
                        </a:lnTo>
                        <a:lnTo>
                          <a:pt x="553" y="27"/>
                        </a:lnTo>
                        <a:lnTo>
                          <a:pt x="556" y="28"/>
                        </a:lnTo>
                        <a:lnTo>
                          <a:pt x="558" y="28"/>
                        </a:lnTo>
                        <a:lnTo>
                          <a:pt x="559" y="28"/>
                        </a:lnTo>
                        <a:lnTo>
                          <a:pt x="561" y="30"/>
                        </a:lnTo>
                        <a:lnTo>
                          <a:pt x="562" y="30"/>
                        </a:lnTo>
                        <a:lnTo>
                          <a:pt x="564" y="30"/>
                        </a:lnTo>
                        <a:lnTo>
                          <a:pt x="564" y="31"/>
                        </a:lnTo>
                        <a:lnTo>
                          <a:pt x="566" y="31"/>
                        </a:lnTo>
                        <a:lnTo>
                          <a:pt x="567" y="33"/>
                        </a:lnTo>
                        <a:lnTo>
                          <a:pt x="567" y="35"/>
                        </a:lnTo>
                        <a:lnTo>
                          <a:pt x="569" y="36"/>
                        </a:lnTo>
                        <a:lnTo>
                          <a:pt x="572" y="38"/>
                        </a:lnTo>
                        <a:lnTo>
                          <a:pt x="572" y="36"/>
                        </a:lnTo>
                        <a:lnTo>
                          <a:pt x="574" y="36"/>
                        </a:lnTo>
                        <a:lnTo>
                          <a:pt x="575" y="36"/>
                        </a:lnTo>
                        <a:lnTo>
                          <a:pt x="577" y="35"/>
                        </a:lnTo>
                        <a:lnTo>
                          <a:pt x="578" y="35"/>
                        </a:lnTo>
                        <a:lnTo>
                          <a:pt x="578" y="33"/>
                        </a:lnTo>
                        <a:lnTo>
                          <a:pt x="580" y="31"/>
                        </a:lnTo>
                        <a:lnTo>
                          <a:pt x="580" y="33"/>
                        </a:lnTo>
                        <a:lnTo>
                          <a:pt x="580" y="31"/>
                        </a:lnTo>
                        <a:lnTo>
                          <a:pt x="583" y="28"/>
                        </a:lnTo>
                        <a:lnTo>
                          <a:pt x="586" y="27"/>
                        </a:lnTo>
                        <a:lnTo>
                          <a:pt x="586" y="25"/>
                        </a:lnTo>
                        <a:lnTo>
                          <a:pt x="588" y="23"/>
                        </a:lnTo>
                        <a:lnTo>
                          <a:pt x="591" y="23"/>
                        </a:lnTo>
                        <a:lnTo>
                          <a:pt x="591" y="22"/>
                        </a:lnTo>
                        <a:lnTo>
                          <a:pt x="593" y="22"/>
                        </a:lnTo>
                        <a:lnTo>
                          <a:pt x="597" y="20"/>
                        </a:lnTo>
                        <a:lnTo>
                          <a:pt x="599" y="19"/>
                        </a:lnTo>
                        <a:lnTo>
                          <a:pt x="600" y="19"/>
                        </a:lnTo>
                        <a:lnTo>
                          <a:pt x="602" y="17"/>
                        </a:lnTo>
                        <a:lnTo>
                          <a:pt x="604" y="17"/>
                        </a:lnTo>
                        <a:lnTo>
                          <a:pt x="605" y="16"/>
                        </a:lnTo>
                        <a:lnTo>
                          <a:pt x="608" y="19"/>
                        </a:lnTo>
                        <a:lnTo>
                          <a:pt x="610" y="20"/>
                        </a:lnTo>
                        <a:lnTo>
                          <a:pt x="613" y="22"/>
                        </a:lnTo>
                        <a:lnTo>
                          <a:pt x="618" y="23"/>
                        </a:lnTo>
                        <a:lnTo>
                          <a:pt x="623" y="27"/>
                        </a:lnTo>
                        <a:lnTo>
                          <a:pt x="626" y="30"/>
                        </a:lnTo>
                        <a:lnTo>
                          <a:pt x="626" y="31"/>
                        </a:lnTo>
                        <a:lnTo>
                          <a:pt x="627" y="35"/>
                        </a:lnTo>
                        <a:lnTo>
                          <a:pt x="629" y="36"/>
                        </a:lnTo>
                        <a:lnTo>
                          <a:pt x="629" y="38"/>
                        </a:lnTo>
                        <a:lnTo>
                          <a:pt x="629" y="39"/>
                        </a:lnTo>
                        <a:lnTo>
                          <a:pt x="629" y="41"/>
                        </a:lnTo>
                        <a:lnTo>
                          <a:pt x="631" y="43"/>
                        </a:lnTo>
                        <a:lnTo>
                          <a:pt x="631" y="44"/>
                        </a:lnTo>
                        <a:lnTo>
                          <a:pt x="631" y="46"/>
                        </a:lnTo>
                        <a:lnTo>
                          <a:pt x="632" y="46"/>
                        </a:lnTo>
                        <a:lnTo>
                          <a:pt x="634" y="46"/>
                        </a:lnTo>
                        <a:lnTo>
                          <a:pt x="634" y="49"/>
                        </a:lnTo>
                        <a:lnTo>
                          <a:pt x="634" y="50"/>
                        </a:lnTo>
                        <a:lnTo>
                          <a:pt x="635" y="52"/>
                        </a:lnTo>
                        <a:lnTo>
                          <a:pt x="635" y="55"/>
                        </a:lnTo>
                        <a:lnTo>
                          <a:pt x="635" y="57"/>
                        </a:lnTo>
                        <a:lnTo>
                          <a:pt x="634" y="58"/>
                        </a:lnTo>
                        <a:lnTo>
                          <a:pt x="634" y="60"/>
                        </a:lnTo>
                        <a:lnTo>
                          <a:pt x="632" y="62"/>
                        </a:lnTo>
                        <a:lnTo>
                          <a:pt x="634" y="63"/>
                        </a:lnTo>
                        <a:lnTo>
                          <a:pt x="632" y="65"/>
                        </a:lnTo>
                        <a:lnTo>
                          <a:pt x="632" y="66"/>
                        </a:lnTo>
                        <a:lnTo>
                          <a:pt x="632" y="68"/>
                        </a:lnTo>
                        <a:lnTo>
                          <a:pt x="632" y="71"/>
                        </a:lnTo>
                        <a:lnTo>
                          <a:pt x="632" y="73"/>
                        </a:lnTo>
                        <a:lnTo>
                          <a:pt x="634" y="73"/>
                        </a:lnTo>
                        <a:lnTo>
                          <a:pt x="637" y="74"/>
                        </a:lnTo>
                        <a:lnTo>
                          <a:pt x="637" y="76"/>
                        </a:lnTo>
                        <a:lnTo>
                          <a:pt x="640" y="77"/>
                        </a:lnTo>
                        <a:lnTo>
                          <a:pt x="640" y="79"/>
                        </a:lnTo>
                        <a:lnTo>
                          <a:pt x="640" y="81"/>
                        </a:lnTo>
                        <a:lnTo>
                          <a:pt x="642" y="82"/>
                        </a:lnTo>
                        <a:lnTo>
                          <a:pt x="642" y="84"/>
                        </a:lnTo>
                        <a:lnTo>
                          <a:pt x="643" y="85"/>
                        </a:lnTo>
                        <a:lnTo>
                          <a:pt x="645" y="87"/>
                        </a:lnTo>
                        <a:lnTo>
                          <a:pt x="648" y="87"/>
                        </a:lnTo>
                        <a:lnTo>
                          <a:pt x="648" y="88"/>
                        </a:lnTo>
                        <a:lnTo>
                          <a:pt x="650" y="88"/>
                        </a:lnTo>
                        <a:lnTo>
                          <a:pt x="651" y="90"/>
                        </a:lnTo>
                        <a:lnTo>
                          <a:pt x="651" y="92"/>
                        </a:lnTo>
                        <a:lnTo>
                          <a:pt x="653" y="92"/>
                        </a:lnTo>
                        <a:lnTo>
                          <a:pt x="653" y="93"/>
                        </a:lnTo>
                        <a:lnTo>
                          <a:pt x="654" y="95"/>
                        </a:lnTo>
                        <a:lnTo>
                          <a:pt x="654" y="96"/>
                        </a:lnTo>
                        <a:lnTo>
                          <a:pt x="654" y="98"/>
                        </a:lnTo>
                        <a:lnTo>
                          <a:pt x="654" y="100"/>
                        </a:lnTo>
                        <a:lnTo>
                          <a:pt x="656" y="100"/>
                        </a:lnTo>
                        <a:lnTo>
                          <a:pt x="656" y="101"/>
                        </a:lnTo>
                        <a:lnTo>
                          <a:pt x="657" y="101"/>
                        </a:lnTo>
                        <a:lnTo>
                          <a:pt x="659" y="103"/>
                        </a:lnTo>
                        <a:lnTo>
                          <a:pt x="661" y="104"/>
                        </a:lnTo>
                        <a:lnTo>
                          <a:pt x="661" y="106"/>
                        </a:lnTo>
                        <a:lnTo>
                          <a:pt x="661" y="107"/>
                        </a:lnTo>
                        <a:lnTo>
                          <a:pt x="661" y="109"/>
                        </a:lnTo>
                        <a:lnTo>
                          <a:pt x="662" y="109"/>
                        </a:lnTo>
                        <a:lnTo>
                          <a:pt x="662" y="111"/>
                        </a:lnTo>
                        <a:lnTo>
                          <a:pt x="664" y="111"/>
                        </a:lnTo>
                        <a:lnTo>
                          <a:pt x="662" y="112"/>
                        </a:lnTo>
                        <a:lnTo>
                          <a:pt x="664" y="114"/>
                        </a:lnTo>
                        <a:lnTo>
                          <a:pt x="665" y="115"/>
                        </a:lnTo>
                        <a:lnTo>
                          <a:pt x="665" y="117"/>
                        </a:lnTo>
                        <a:lnTo>
                          <a:pt x="667" y="117"/>
                        </a:lnTo>
                        <a:lnTo>
                          <a:pt x="669" y="117"/>
                        </a:lnTo>
                        <a:lnTo>
                          <a:pt x="669" y="119"/>
                        </a:lnTo>
                        <a:lnTo>
                          <a:pt x="670" y="119"/>
                        </a:lnTo>
                        <a:lnTo>
                          <a:pt x="670" y="120"/>
                        </a:lnTo>
                        <a:lnTo>
                          <a:pt x="672" y="120"/>
                        </a:lnTo>
                        <a:lnTo>
                          <a:pt x="673" y="120"/>
                        </a:lnTo>
                        <a:lnTo>
                          <a:pt x="675" y="122"/>
                        </a:lnTo>
                        <a:lnTo>
                          <a:pt x="676" y="122"/>
                        </a:lnTo>
                        <a:lnTo>
                          <a:pt x="678" y="123"/>
                        </a:lnTo>
                        <a:lnTo>
                          <a:pt x="680" y="123"/>
                        </a:lnTo>
                        <a:lnTo>
                          <a:pt x="681" y="125"/>
                        </a:lnTo>
                        <a:lnTo>
                          <a:pt x="683" y="125"/>
                        </a:lnTo>
                        <a:lnTo>
                          <a:pt x="684" y="126"/>
                        </a:lnTo>
                        <a:lnTo>
                          <a:pt x="684" y="128"/>
                        </a:lnTo>
                        <a:lnTo>
                          <a:pt x="684" y="130"/>
                        </a:lnTo>
                        <a:lnTo>
                          <a:pt x="686" y="131"/>
                        </a:lnTo>
                        <a:lnTo>
                          <a:pt x="688" y="131"/>
                        </a:lnTo>
                        <a:lnTo>
                          <a:pt x="688" y="133"/>
                        </a:lnTo>
                        <a:lnTo>
                          <a:pt x="689" y="133"/>
                        </a:lnTo>
                        <a:lnTo>
                          <a:pt x="691" y="133"/>
                        </a:lnTo>
                        <a:lnTo>
                          <a:pt x="691" y="134"/>
                        </a:lnTo>
                        <a:lnTo>
                          <a:pt x="692" y="134"/>
                        </a:lnTo>
                        <a:lnTo>
                          <a:pt x="694" y="134"/>
                        </a:lnTo>
                        <a:lnTo>
                          <a:pt x="695" y="136"/>
                        </a:lnTo>
                        <a:lnTo>
                          <a:pt x="697" y="134"/>
                        </a:lnTo>
                        <a:lnTo>
                          <a:pt x="699" y="134"/>
                        </a:lnTo>
                        <a:lnTo>
                          <a:pt x="700" y="134"/>
                        </a:lnTo>
                        <a:lnTo>
                          <a:pt x="702" y="136"/>
                        </a:lnTo>
                        <a:lnTo>
                          <a:pt x="702" y="138"/>
                        </a:lnTo>
                        <a:lnTo>
                          <a:pt x="702" y="139"/>
                        </a:lnTo>
                        <a:lnTo>
                          <a:pt x="703" y="141"/>
                        </a:lnTo>
                        <a:lnTo>
                          <a:pt x="703" y="142"/>
                        </a:lnTo>
                        <a:lnTo>
                          <a:pt x="705" y="144"/>
                        </a:lnTo>
                        <a:lnTo>
                          <a:pt x="705" y="145"/>
                        </a:lnTo>
                        <a:lnTo>
                          <a:pt x="703" y="145"/>
                        </a:lnTo>
                        <a:lnTo>
                          <a:pt x="703" y="147"/>
                        </a:lnTo>
                        <a:lnTo>
                          <a:pt x="705" y="147"/>
                        </a:lnTo>
                        <a:lnTo>
                          <a:pt x="705" y="149"/>
                        </a:lnTo>
                        <a:lnTo>
                          <a:pt x="707" y="149"/>
                        </a:lnTo>
                        <a:lnTo>
                          <a:pt x="707" y="147"/>
                        </a:lnTo>
                        <a:lnTo>
                          <a:pt x="708" y="147"/>
                        </a:lnTo>
                        <a:lnTo>
                          <a:pt x="708" y="149"/>
                        </a:lnTo>
                        <a:lnTo>
                          <a:pt x="710" y="150"/>
                        </a:lnTo>
                        <a:lnTo>
                          <a:pt x="711" y="150"/>
                        </a:lnTo>
                        <a:lnTo>
                          <a:pt x="711" y="152"/>
                        </a:lnTo>
                        <a:lnTo>
                          <a:pt x="713" y="153"/>
                        </a:lnTo>
                        <a:lnTo>
                          <a:pt x="715" y="155"/>
                        </a:lnTo>
                        <a:lnTo>
                          <a:pt x="716" y="157"/>
                        </a:lnTo>
                        <a:lnTo>
                          <a:pt x="716" y="158"/>
                        </a:lnTo>
                        <a:lnTo>
                          <a:pt x="715" y="158"/>
                        </a:lnTo>
                        <a:lnTo>
                          <a:pt x="715" y="160"/>
                        </a:lnTo>
                        <a:lnTo>
                          <a:pt x="716" y="161"/>
                        </a:lnTo>
                        <a:lnTo>
                          <a:pt x="718" y="161"/>
                        </a:lnTo>
                        <a:lnTo>
                          <a:pt x="718" y="163"/>
                        </a:lnTo>
                        <a:lnTo>
                          <a:pt x="718" y="164"/>
                        </a:lnTo>
                        <a:lnTo>
                          <a:pt x="716" y="164"/>
                        </a:lnTo>
                        <a:lnTo>
                          <a:pt x="715" y="164"/>
                        </a:lnTo>
                        <a:lnTo>
                          <a:pt x="715" y="166"/>
                        </a:lnTo>
                        <a:lnTo>
                          <a:pt x="716" y="168"/>
                        </a:lnTo>
                        <a:lnTo>
                          <a:pt x="718" y="168"/>
                        </a:lnTo>
                        <a:lnTo>
                          <a:pt x="719" y="168"/>
                        </a:lnTo>
                        <a:lnTo>
                          <a:pt x="719" y="169"/>
                        </a:lnTo>
                        <a:lnTo>
                          <a:pt x="718" y="171"/>
                        </a:lnTo>
                        <a:lnTo>
                          <a:pt x="718" y="172"/>
                        </a:lnTo>
                        <a:lnTo>
                          <a:pt x="718" y="174"/>
                        </a:lnTo>
                        <a:lnTo>
                          <a:pt x="716" y="174"/>
                        </a:lnTo>
                        <a:lnTo>
                          <a:pt x="718" y="174"/>
                        </a:lnTo>
                        <a:lnTo>
                          <a:pt x="718" y="176"/>
                        </a:lnTo>
                        <a:lnTo>
                          <a:pt x="716" y="177"/>
                        </a:lnTo>
                        <a:lnTo>
                          <a:pt x="718" y="177"/>
                        </a:lnTo>
                        <a:lnTo>
                          <a:pt x="718" y="179"/>
                        </a:lnTo>
                        <a:lnTo>
                          <a:pt x="718" y="180"/>
                        </a:lnTo>
                        <a:lnTo>
                          <a:pt x="716" y="182"/>
                        </a:lnTo>
                        <a:lnTo>
                          <a:pt x="716" y="185"/>
                        </a:lnTo>
                        <a:lnTo>
                          <a:pt x="716" y="187"/>
                        </a:lnTo>
                        <a:lnTo>
                          <a:pt x="715" y="187"/>
                        </a:lnTo>
                        <a:lnTo>
                          <a:pt x="715" y="188"/>
                        </a:lnTo>
                        <a:lnTo>
                          <a:pt x="715" y="190"/>
                        </a:lnTo>
                        <a:lnTo>
                          <a:pt x="716" y="191"/>
                        </a:lnTo>
                        <a:lnTo>
                          <a:pt x="718" y="193"/>
                        </a:lnTo>
                        <a:lnTo>
                          <a:pt x="719" y="193"/>
                        </a:lnTo>
                        <a:lnTo>
                          <a:pt x="721" y="195"/>
                        </a:lnTo>
                        <a:lnTo>
                          <a:pt x="722" y="196"/>
                        </a:lnTo>
                        <a:lnTo>
                          <a:pt x="722" y="198"/>
                        </a:lnTo>
                        <a:lnTo>
                          <a:pt x="724" y="198"/>
                        </a:lnTo>
                        <a:lnTo>
                          <a:pt x="724" y="199"/>
                        </a:lnTo>
                        <a:lnTo>
                          <a:pt x="726" y="199"/>
                        </a:lnTo>
                        <a:lnTo>
                          <a:pt x="727" y="199"/>
                        </a:lnTo>
                        <a:lnTo>
                          <a:pt x="729" y="199"/>
                        </a:lnTo>
                        <a:lnTo>
                          <a:pt x="730" y="199"/>
                        </a:lnTo>
                        <a:lnTo>
                          <a:pt x="732" y="199"/>
                        </a:lnTo>
                        <a:lnTo>
                          <a:pt x="732" y="201"/>
                        </a:lnTo>
                        <a:lnTo>
                          <a:pt x="734" y="201"/>
                        </a:lnTo>
                        <a:lnTo>
                          <a:pt x="734" y="202"/>
                        </a:lnTo>
                        <a:lnTo>
                          <a:pt x="735" y="201"/>
                        </a:lnTo>
                        <a:lnTo>
                          <a:pt x="737" y="201"/>
                        </a:lnTo>
                        <a:lnTo>
                          <a:pt x="738" y="201"/>
                        </a:lnTo>
                        <a:lnTo>
                          <a:pt x="738" y="199"/>
                        </a:lnTo>
                        <a:lnTo>
                          <a:pt x="740" y="199"/>
                        </a:lnTo>
                        <a:lnTo>
                          <a:pt x="741" y="198"/>
                        </a:lnTo>
                        <a:lnTo>
                          <a:pt x="741" y="196"/>
                        </a:lnTo>
                        <a:lnTo>
                          <a:pt x="741" y="198"/>
                        </a:lnTo>
                        <a:lnTo>
                          <a:pt x="743" y="198"/>
                        </a:lnTo>
                        <a:lnTo>
                          <a:pt x="743" y="196"/>
                        </a:lnTo>
                        <a:lnTo>
                          <a:pt x="746" y="196"/>
                        </a:lnTo>
                        <a:lnTo>
                          <a:pt x="748" y="196"/>
                        </a:lnTo>
                        <a:lnTo>
                          <a:pt x="748" y="198"/>
                        </a:lnTo>
                        <a:lnTo>
                          <a:pt x="751" y="199"/>
                        </a:lnTo>
                        <a:lnTo>
                          <a:pt x="753" y="201"/>
                        </a:lnTo>
                        <a:lnTo>
                          <a:pt x="754" y="201"/>
                        </a:lnTo>
                        <a:lnTo>
                          <a:pt x="756" y="201"/>
                        </a:lnTo>
                        <a:lnTo>
                          <a:pt x="756" y="202"/>
                        </a:lnTo>
                        <a:lnTo>
                          <a:pt x="756" y="204"/>
                        </a:lnTo>
                        <a:lnTo>
                          <a:pt x="756" y="202"/>
                        </a:lnTo>
                        <a:lnTo>
                          <a:pt x="756" y="204"/>
                        </a:lnTo>
                        <a:lnTo>
                          <a:pt x="756" y="206"/>
                        </a:lnTo>
                        <a:lnTo>
                          <a:pt x="756" y="207"/>
                        </a:lnTo>
                        <a:lnTo>
                          <a:pt x="754" y="209"/>
                        </a:lnTo>
                        <a:lnTo>
                          <a:pt x="754" y="210"/>
                        </a:lnTo>
                        <a:lnTo>
                          <a:pt x="754" y="212"/>
                        </a:lnTo>
                        <a:lnTo>
                          <a:pt x="753" y="212"/>
                        </a:lnTo>
                        <a:lnTo>
                          <a:pt x="751" y="214"/>
                        </a:lnTo>
                        <a:lnTo>
                          <a:pt x="751" y="215"/>
                        </a:lnTo>
                        <a:lnTo>
                          <a:pt x="753" y="217"/>
                        </a:lnTo>
                        <a:lnTo>
                          <a:pt x="754" y="217"/>
                        </a:lnTo>
                        <a:lnTo>
                          <a:pt x="756" y="218"/>
                        </a:lnTo>
                        <a:lnTo>
                          <a:pt x="757" y="218"/>
                        </a:lnTo>
                        <a:lnTo>
                          <a:pt x="757" y="220"/>
                        </a:lnTo>
                        <a:lnTo>
                          <a:pt x="759" y="220"/>
                        </a:lnTo>
                        <a:lnTo>
                          <a:pt x="760" y="220"/>
                        </a:lnTo>
                        <a:lnTo>
                          <a:pt x="759" y="220"/>
                        </a:lnTo>
                        <a:lnTo>
                          <a:pt x="759" y="221"/>
                        </a:lnTo>
                        <a:lnTo>
                          <a:pt x="759" y="223"/>
                        </a:lnTo>
                        <a:lnTo>
                          <a:pt x="759" y="225"/>
                        </a:lnTo>
                        <a:lnTo>
                          <a:pt x="757" y="226"/>
                        </a:lnTo>
                        <a:lnTo>
                          <a:pt x="757" y="228"/>
                        </a:lnTo>
                        <a:lnTo>
                          <a:pt x="757" y="229"/>
                        </a:lnTo>
                        <a:lnTo>
                          <a:pt x="756" y="231"/>
                        </a:lnTo>
                        <a:lnTo>
                          <a:pt x="756" y="234"/>
                        </a:lnTo>
                        <a:lnTo>
                          <a:pt x="754" y="237"/>
                        </a:lnTo>
                        <a:lnTo>
                          <a:pt x="751" y="239"/>
                        </a:lnTo>
                        <a:lnTo>
                          <a:pt x="749" y="244"/>
                        </a:lnTo>
                        <a:lnTo>
                          <a:pt x="748" y="247"/>
                        </a:lnTo>
                        <a:lnTo>
                          <a:pt x="746" y="248"/>
                        </a:lnTo>
                        <a:lnTo>
                          <a:pt x="745" y="250"/>
                        </a:lnTo>
                        <a:lnTo>
                          <a:pt x="741" y="255"/>
                        </a:lnTo>
                        <a:lnTo>
                          <a:pt x="740" y="255"/>
                        </a:lnTo>
                        <a:lnTo>
                          <a:pt x="738" y="256"/>
                        </a:lnTo>
                        <a:lnTo>
                          <a:pt x="737" y="258"/>
                        </a:lnTo>
                        <a:lnTo>
                          <a:pt x="734" y="258"/>
                        </a:lnTo>
                        <a:lnTo>
                          <a:pt x="732" y="258"/>
                        </a:lnTo>
                        <a:lnTo>
                          <a:pt x="729" y="258"/>
                        </a:lnTo>
                        <a:lnTo>
                          <a:pt x="727" y="260"/>
                        </a:lnTo>
                        <a:lnTo>
                          <a:pt x="726" y="260"/>
                        </a:lnTo>
                        <a:lnTo>
                          <a:pt x="726" y="261"/>
                        </a:lnTo>
                        <a:lnTo>
                          <a:pt x="722" y="261"/>
                        </a:lnTo>
                        <a:lnTo>
                          <a:pt x="721" y="261"/>
                        </a:lnTo>
                        <a:lnTo>
                          <a:pt x="718" y="260"/>
                        </a:lnTo>
                        <a:lnTo>
                          <a:pt x="716" y="260"/>
                        </a:lnTo>
                        <a:lnTo>
                          <a:pt x="715" y="261"/>
                        </a:lnTo>
                        <a:lnTo>
                          <a:pt x="713" y="261"/>
                        </a:lnTo>
                        <a:lnTo>
                          <a:pt x="711" y="261"/>
                        </a:lnTo>
                        <a:lnTo>
                          <a:pt x="711" y="263"/>
                        </a:lnTo>
                        <a:lnTo>
                          <a:pt x="711" y="264"/>
                        </a:lnTo>
                        <a:lnTo>
                          <a:pt x="711" y="267"/>
                        </a:lnTo>
                        <a:lnTo>
                          <a:pt x="711" y="272"/>
                        </a:lnTo>
                        <a:lnTo>
                          <a:pt x="711" y="277"/>
                        </a:lnTo>
                        <a:lnTo>
                          <a:pt x="711" y="283"/>
                        </a:lnTo>
                        <a:lnTo>
                          <a:pt x="710" y="293"/>
                        </a:lnTo>
                        <a:lnTo>
                          <a:pt x="710" y="299"/>
                        </a:lnTo>
                        <a:lnTo>
                          <a:pt x="710" y="305"/>
                        </a:lnTo>
                        <a:lnTo>
                          <a:pt x="710" y="312"/>
                        </a:lnTo>
                        <a:lnTo>
                          <a:pt x="710" y="315"/>
                        </a:lnTo>
                        <a:lnTo>
                          <a:pt x="708" y="315"/>
                        </a:lnTo>
                        <a:lnTo>
                          <a:pt x="708" y="317"/>
                        </a:lnTo>
                        <a:lnTo>
                          <a:pt x="711" y="320"/>
                        </a:lnTo>
                        <a:lnTo>
                          <a:pt x="716" y="324"/>
                        </a:lnTo>
                        <a:lnTo>
                          <a:pt x="719" y="328"/>
                        </a:lnTo>
                        <a:lnTo>
                          <a:pt x="721" y="331"/>
                        </a:lnTo>
                        <a:lnTo>
                          <a:pt x="726" y="336"/>
                        </a:lnTo>
                        <a:lnTo>
                          <a:pt x="732" y="340"/>
                        </a:lnTo>
                        <a:lnTo>
                          <a:pt x="738" y="347"/>
                        </a:lnTo>
                        <a:lnTo>
                          <a:pt x="741" y="348"/>
                        </a:lnTo>
                        <a:lnTo>
                          <a:pt x="745" y="353"/>
                        </a:lnTo>
                        <a:lnTo>
                          <a:pt x="748" y="356"/>
                        </a:lnTo>
                        <a:lnTo>
                          <a:pt x="753" y="359"/>
                        </a:lnTo>
                        <a:lnTo>
                          <a:pt x="756" y="362"/>
                        </a:lnTo>
                        <a:lnTo>
                          <a:pt x="759" y="366"/>
                        </a:lnTo>
                        <a:lnTo>
                          <a:pt x="762" y="369"/>
                        </a:lnTo>
                        <a:lnTo>
                          <a:pt x="762" y="370"/>
                        </a:lnTo>
                        <a:lnTo>
                          <a:pt x="764" y="369"/>
                        </a:lnTo>
                        <a:lnTo>
                          <a:pt x="765" y="370"/>
                        </a:lnTo>
                        <a:lnTo>
                          <a:pt x="767" y="370"/>
                        </a:lnTo>
                        <a:lnTo>
                          <a:pt x="768" y="372"/>
                        </a:lnTo>
                        <a:lnTo>
                          <a:pt x="768" y="374"/>
                        </a:lnTo>
                        <a:lnTo>
                          <a:pt x="770" y="374"/>
                        </a:lnTo>
                        <a:lnTo>
                          <a:pt x="770" y="375"/>
                        </a:lnTo>
                        <a:lnTo>
                          <a:pt x="772" y="375"/>
                        </a:lnTo>
                        <a:lnTo>
                          <a:pt x="773" y="375"/>
                        </a:lnTo>
                        <a:lnTo>
                          <a:pt x="775" y="375"/>
                        </a:lnTo>
                        <a:lnTo>
                          <a:pt x="776" y="375"/>
                        </a:lnTo>
                        <a:lnTo>
                          <a:pt x="778" y="374"/>
                        </a:lnTo>
                        <a:lnTo>
                          <a:pt x="779" y="375"/>
                        </a:lnTo>
                        <a:lnTo>
                          <a:pt x="779" y="377"/>
                        </a:lnTo>
                        <a:lnTo>
                          <a:pt x="781" y="375"/>
                        </a:lnTo>
                        <a:lnTo>
                          <a:pt x="781" y="377"/>
                        </a:lnTo>
                        <a:lnTo>
                          <a:pt x="783" y="378"/>
                        </a:lnTo>
                        <a:lnTo>
                          <a:pt x="787" y="378"/>
                        </a:lnTo>
                        <a:lnTo>
                          <a:pt x="789" y="381"/>
                        </a:lnTo>
                        <a:lnTo>
                          <a:pt x="789" y="383"/>
                        </a:lnTo>
                        <a:lnTo>
                          <a:pt x="789" y="385"/>
                        </a:lnTo>
                        <a:lnTo>
                          <a:pt x="789" y="386"/>
                        </a:lnTo>
                        <a:lnTo>
                          <a:pt x="791" y="389"/>
                        </a:lnTo>
                        <a:lnTo>
                          <a:pt x="792" y="389"/>
                        </a:lnTo>
                        <a:lnTo>
                          <a:pt x="794" y="391"/>
                        </a:lnTo>
                        <a:lnTo>
                          <a:pt x="797" y="393"/>
                        </a:lnTo>
                        <a:lnTo>
                          <a:pt x="802" y="396"/>
                        </a:lnTo>
                        <a:lnTo>
                          <a:pt x="803" y="397"/>
                        </a:lnTo>
                        <a:lnTo>
                          <a:pt x="805" y="397"/>
                        </a:lnTo>
                        <a:lnTo>
                          <a:pt x="806" y="400"/>
                        </a:lnTo>
                        <a:lnTo>
                          <a:pt x="808" y="402"/>
                        </a:lnTo>
                        <a:lnTo>
                          <a:pt x="810" y="404"/>
                        </a:lnTo>
                        <a:lnTo>
                          <a:pt x="810" y="405"/>
                        </a:lnTo>
                        <a:lnTo>
                          <a:pt x="811" y="405"/>
                        </a:lnTo>
                        <a:lnTo>
                          <a:pt x="813" y="405"/>
                        </a:lnTo>
                        <a:lnTo>
                          <a:pt x="813" y="407"/>
                        </a:lnTo>
                        <a:lnTo>
                          <a:pt x="814" y="407"/>
                        </a:lnTo>
                        <a:lnTo>
                          <a:pt x="816" y="405"/>
                        </a:lnTo>
                        <a:lnTo>
                          <a:pt x="817" y="405"/>
                        </a:lnTo>
                        <a:lnTo>
                          <a:pt x="819" y="405"/>
                        </a:lnTo>
                        <a:lnTo>
                          <a:pt x="821" y="407"/>
                        </a:lnTo>
                        <a:lnTo>
                          <a:pt x="821" y="408"/>
                        </a:lnTo>
                        <a:lnTo>
                          <a:pt x="822" y="405"/>
                        </a:lnTo>
                        <a:lnTo>
                          <a:pt x="824" y="405"/>
                        </a:lnTo>
                        <a:lnTo>
                          <a:pt x="824" y="404"/>
                        </a:lnTo>
                        <a:lnTo>
                          <a:pt x="825" y="402"/>
                        </a:lnTo>
                        <a:lnTo>
                          <a:pt x="825" y="400"/>
                        </a:lnTo>
                        <a:lnTo>
                          <a:pt x="827" y="399"/>
                        </a:lnTo>
                        <a:lnTo>
                          <a:pt x="827" y="397"/>
                        </a:lnTo>
                        <a:lnTo>
                          <a:pt x="829" y="394"/>
                        </a:lnTo>
                        <a:lnTo>
                          <a:pt x="830" y="393"/>
                        </a:lnTo>
                        <a:lnTo>
                          <a:pt x="832" y="391"/>
                        </a:lnTo>
                        <a:lnTo>
                          <a:pt x="832" y="389"/>
                        </a:lnTo>
                        <a:lnTo>
                          <a:pt x="833" y="388"/>
                        </a:lnTo>
                        <a:lnTo>
                          <a:pt x="833" y="386"/>
                        </a:lnTo>
                        <a:lnTo>
                          <a:pt x="835" y="386"/>
                        </a:lnTo>
                        <a:lnTo>
                          <a:pt x="836" y="386"/>
                        </a:lnTo>
                        <a:lnTo>
                          <a:pt x="838" y="386"/>
                        </a:lnTo>
                        <a:lnTo>
                          <a:pt x="840" y="388"/>
                        </a:lnTo>
                        <a:lnTo>
                          <a:pt x="844" y="391"/>
                        </a:lnTo>
                        <a:lnTo>
                          <a:pt x="846" y="393"/>
                        </a:lnTo>
                        <a:lnTo>
                          <a:pt x="848" y="394"/>
                        </a:lnTo>
                        <a:lnTo>
                          <a:pt x="851" y="397"/>
                        </a:lnTo>
                        <a:lnTo>
                          <a:pt x="854" y="399"/>
                        </a:lnTo>
                        <a:lnTo>
                          <a:pt x="855" y="400"/>
                        </a:lnTo>
                        <a:lnTo>
                          <a:pt x="857" y="404"/>
                        </a:lnTo>
                        <a:lnTo>
                          <a:pt x="859" y="405"/>
                        </a:lnTo>
                        <a:lnTo>
                          <a:pt x="860" y="407"/>
                        </a:lnTo>
                        <a:lnTo>
                          <a:pt x="862" y="408"/>
                        </a:lnTo>
                        <a:lnTo>
                          <a:pt x="862" y="410"/>
                        </a:lnTo>
                        <a:lnTo>
                          <a:pt x="862" y="412"/>
                        </a:lnTo>
                        <a:lnTo>
                          <a:pt x="863" y="413"/>
                        </a:lnTo>
                        <a:lnTo>
                          <a:pt x="863" y="415"/>
                        </a:lnTo>
                        <a:lnTo>
                          <a:pt x="863" y="416"/>
                        </a:lnTo>
                        <a:lnTo>
                          <a:pt x="865" y="416"/>
                        </a:lnTo>
                        <a:lnTo>
                          <a:pt x="865" y="418"/>
                        </a:lnTo>
                        <a:lnTo>
                          <a:pt x="867" y="418"/>
                        </a:lnTo>
                        <a:lnTo>
                          <a:pt x="868" y="418"/>
                        </a:lnTo>
                        <a:lnTo>
                          <a:pt x="871" y="421"/>
                        </a:lnTo>
                        <a:lnTo>
                          <a:pt x="873" y="421"/>
                        </a:lnTo>
                        <a:lnTo>
                          <a:pt x="874" y="421"/>
                        </a:lnTo>
                        <a:lnTo>
                          <a:pt x="876" y="421"/>
                        </a:lnTo>
                        <a:lnTo>
                          <a:pt x="878" y="423"/>
                        </a:lnTo>
                        <a:lnTo>
                          <a:pt x="879" y="423"/>
                        </a:lnTo>
                        <a:lnTo>
                          <a:pt x="881" y="424"/>
                        </a:lnTo>
                        <a:lnTo>
                          <a:pt x="881" y="426"/>
                        </a:lnTo>
                        <a:lnTo>
                          <a:pt x="884" y="427"/>
                        </a:lnTo>
                        <a:lnTo>
                          <a:pt x="886" y="429"/>
                        </a:lnTo>
                        <a:lnTo>
                          <a:pt x="887" y="429"/>
                        </a:lnTo>
                        <a:lnTo>
                          <a:pt x="889" y="431"/>
                        </a:lnTo>
                        <a:lnTo>
                          <a:pt x="890" y="431"/>
                        </a:lnTo>
                        <a:lnTo>
                          <a:pt x="892" y="431"/>
                        </a:lnTo>
                        <a:lnTo>
                          <a:pt x="893" y="431"/>
                        </a:lnTo>
                        <a:lnTo>
                          <a:pt x="893" y="432"/>
                        </a:lnTo>
                        <a:lnTo>
                          <a:pt x="895" y="432"/>
                        </a:lnTo>
                        <a:lnTo>
                          <a:pt x="897" y="432"/>
                        </a:lnTo>
                        <a:lnTo>
                          <a:pt x="898" y="434"/>
                        </a:lnTo>
                        <a:lnTo>
                          <a:pt x="900" y="435"/>
                        </a:lnTo>
                        <a:lnTo>
                          <a:pt x="900" y="437"/>
                        </a:lnTo>
                        <a:lnTo>
                          <a:pt x="901" y="437"/>
                        </a:lnTo>
                        <a:lnTo>
                          <a:pt x="903" y="439"/>
                        </a:lnTo>
                        <a:lnTo>
                          <a:pt x="905" y="439"/>
                        </a:lnTo>
                        <a:lnTo>
                          <a:pt x="906" y="440"/>
                        </a:lnTo>
                        <a:lnTo>
                          <a:pt x="908" y="440"/>
                        </a:lnTo>
                        <a:lnTo>
                          <a:pt x="909" y="442"/>
                        </a:lnTo>
                        <a:lnTo>
                          <a:pt x="911" y="442"/>
                        </a:lnTo>
                        <a:lnTo>
                          <a:pt x="913" y="443"/>
                        </a:lnTo>
                        <a:lnTo>
                          <a:pt x="916" y="445"/>
                        </a:lnTo>
                        <a:lnTo>
                          <a:pt x="917" y="443"/>
                        </a:lnTo>
                        <a:lnTo>
                          <a:pt x="919" y="443"/>
                        </a:lnTo>
                        <a:lnTo>
                          <a:pt x="920" y="443"/>
                        </a:lnTo>
                        <a:lnTo>
                          <a:pt x="920" y="445"/>
                        </a:lnTo>
                        <a:lnTo>
                          <a:pt x="920" y="446"/>
                        </a:lnTo>
                        <a:lnTo>
                          <a:pt x="920" y="448"/>
                        </a:lnTo>
                        <a:lnTo>
                          <a:pt x="919" y="450"/>
                        </a:lnTo>
                        <a:lnTo>
                          <a:pt x="917" y="451"/>
                        </a:lnTo>
                        <a:lnTo>
                          <a:pt x="917" y="453"/>
                        </a:lnTo>
                        <a:lnTo>
                          <a:pt x="917" y="454"/>
                        </a:lnTo>
                        <a:lnTo>
                          <a:pt x="916" y="456"/>
                        </a:lnTo>
                        <a:lnTo>
                          <a:pt x="914" y="458"/>
                        </a:lnTo>
                        <a:lnTo>
                          <a:pt x="913" y="458"/>
                        </a:lnTo>
                        <a:lnTo>
                          <a:pt x="911" y="458"/>
                        </a:lnTo>
                        <a:lnTo>
                          <a:pt x="908" y="459"/>
                        </a:lnTo>
                        <a:lnTo>
                          <a:pt x="906" y="459"/>
                        </a:lnTo>
                        <a:lnTo>
                          <a:pt x="906" y="461"/>
                        </a:lnTo>
                        <a:lnTo>
                          <a:pt x="903" y="464"/>
                        </a:lnTo>
                        <a:lnTo>
                          <a:pt x="901" y="465"/>
                        </a:lnTo>
                        <a:lnTo>
                          <a:pt x="900" y="467"/>
                        </a:lnTo>
                        <a:lnTo>
                          <a:pt x="898" y="469"/>
                        </a:lnTo>
                        <a:lnTo>
                          <a:pt x="898" y="470"/>
                        </a:lnTo>
                        <a:lnTo>
                          <a:pt x="898" y="472"/>
                        </a:lnTo>
                        <a:lnTo>
                          <a:pt x="898" y="473"/>
                        </a:lnTo>
                        <a:lnTo>
                          <a:pt x="900" y="475"/>
                        </a:lnTo>
                        <a:lnTo>
                          <a:pt x="901" y="477"/>
                        </a:lnTo>
                        <a:lnTo>
                          <a:pt x="903" y="478"/>
                        </a:lnTo>
                        <a:lnTo>
                          <a:pt x="905" y="481"/>
                        </a:lnTo>
                        <a:lnTo>
                          <a:pt x="906" y="484"/>
                        </a:lnTo>
                        <a:lnTo>
                          <a:pt x="908" y="486"/>
                        </a:lnTo>
                        <a:lnTo>
                          <a:pt x="908" y="488"/>
                        </a:lnTo>
                        <a:lnTo>
                          <a:pt x="908" y="489"/>
                        </a:lnTo>
                        <a:lnTo>
                          <a:pt x="908" y="491"/>
                        </a:lnTo>
                        <a:lnTo>
                          <a:pt x="908" y="492"/>
                        </a:lnTo>
                        <a:lnTo>
                          <a:pt x="908" y="494"/>
                        </a:lnTo>
                        <a:lnTo>
                          <a:pt x="908" y="496"/>
                        </a:lnTo>
                        <a:lnTo>
                          <a:pt x="909" y="496"/>
                        </a:lnTo>
                        <a:lnTo>
                          <a:pt x="911" y="496"/>
                        </a:lnTo>
                        <a:lnTo>
                          <a:pt x="913" y="496"/>
                        </a:lnTo>
                        <a:lnTo>
                          <a:pt x="914" y="496"/>
                        </a:lnTo>
                        <a:lnTo>
                          <a:pt x="916" y="494"/>
                        </a:lnTo>
                        <a:lnTo>
                          <a:pt x="917" y="494"/>
                        </a:lnTo>
                        <a:lnTo>
                          <a:pt x="919" y="494"/>
                        </a:lnTo>
                        <a:lnTo>
                          <a:pt x="919" y="496"/>
                        </a:lnTo>
                        <a:lnTo>
                          <a:pt x="919" y="497"/>
                        </a:lnTo>
                        <a:lnTo>
                          <a:pt x="917" y="499"/>
                        </a:lnTo>
                        <a:lnTo>
                          <a:pt x="917" y="500"/>
                        </a:lnTo>
                        <a:lnTo>
                          <a:pt x="914" y="502"/>
                        </a:lnTo>
                        <a:lnTo>
                          <a:pt x="913" y="503"/>
                        </a:lnTo>
                        <a:lnTo>
                          <a:pt x="911" y="503"/>
                        </a:lnTo>
                        <a:lnTo>
                          <a:pt x="909" y="503"/>
                        </a:lnTo>
                        <a:lnTo>
                          <a:pt x="908" y="503"/>
                        </a:lnTo>
                        <a:lnTo>
                          <a:pt x="905" y="502"/>
                        </a:lnTo>
                        <a:lnTo>
                          <a:pt x="903" y="502"/>
                        </a:lnTo>
                        <a:lnTo>
                          <a:pt x="900" y="500"/>
                        </a:lnTo>
                        <a:lnTo>
                          <a:pt x="898" y="500"/>
                        </a:lnTo>
                        <a:lnTo>
                          <a:pt x="897" y="499"/>
                        </a:lnTo>
                        <a:lnTo>
                          <a:pt x="897" y="497"/>
                        </a:lnTo>
                        <a:lnTo>
                          <a:pt x="893" y="497"/>
                        </a:lnTo>
                        <a:lnTo>
                          <a:pt x="892" y="496"/>
                        </a:lnTo>
                        <a:lnTo>
                          <a:pt x="892" y="494"/>
                        </a:lnTo>
                        <a:lnTo>
                          <a:pt x="890" y="492"/>
                        </a:lnTo>
                        <a:lnTo>
                          <a:pt x="890" y="491"/>
                        </a:lnTo>
                        <a:lnTo>
                          <a:pt x="889" y="491"/>
                        </a:lnTo>
                        <a:lnTo>
                          <a:pt x="887" y="489"/>
                        </a:lnTo>
                        <a:lnTo>
                          <a:pt x="887" y="488"/>
                        </a:lnTo>
                        <a:lnTo>
                          <a:pt x="886" y="488"/>
                        </a:lnTo>
                        <a:lnTo>
                          <a:pt x="884" y="488"/>
                        </a:lnTo>
                        <a:lnTo>
                          <a:pt x="881" y="486"/>
                        </a:lnTo>
                        <a:lnTo>
                          <a:pt x="879" y="486"/>
                        </a:lnTo>
                        <a:lnTo>
                          <a:pt x="878" y="486"/>
                        </a:lnTo>
                        <a:lnTo>
                          <a:pt x="874" y="486"/>
                        </a:lnTo>
                        <a:lnTo>
                          <a:pt x="873" y="488"/>
                        </a:lnTo>
                        <a:lnTo>
                          <a:pt x="873" y="489"/>
                        </a:lnTo>
                        <a:lnTo>
                          <a:pt x="871" y="492"/>
                        </a:lnTo>
                        <a:lnTo>
                          <a:pt x="871" y="494"/>
                        </a:lnTo>
                        <a:lnTo>
                          <a:pt x="871" y="496"/>
                        </a:lnTo>
                        <a:lnTo>
                          <a:pt x="871" y="497"/>
                        </a:lnTo>
                        <a:lnTo>
                          <a:pt x="873" y="499"/>
                        </a:lnTo>
                        <a:lnTo>
                          <a:pt x="873" y="502"/>
                        </a:lnTo>
                        <a:lnTo>
                          <a:pt x="873" y="503"/>
                        </a:lnTo>
                        <a:lnTo>
                          <a:pt x="871" y="507"/>
                        </a:lnTo>
                        <a:lnTo>
                          <a:pt x="870" y="508"/>
                        </a:lnTo>
                        <a:lnTo>
                          <a:pt x="868" y="508"/>
                        </a:lnTo>
                        <a:lnTo>
                          <a:pt x="867" y="508"/>
                        </a:lnTo>
                        <a:lnTo>
                          <a:pt x="865" y="510"/>
                        </a:lnTo>
                        <a:lnTo>
                          <a:pt x="862" y="513"/>
                        </a:lnTo>
                        <a:lnTo>
                          <a:pt x="860" y="513"/>
                        </a:lnTo>
                        <a:lnTo>
                          <a:pt x="857" y="513"/>
                        </a:lnTo>
                        <a:lnTo>
                          <a:pt x="854" y="515"/>
                        </a:lnTo>
                        <a:lnTo>
                          <a:pt x="851" y="515"/>
                        </a:lnTo>
                        <a:lnTo>
                          <a:pt x="849" y="516"/>
                        </a:lnTo>
                        <a:lnTo>
                          <a:pt x="846" y="519"/>
                        </a:lnTo>
                        <a:lnTo>
                          <a:pt x="844" y="521"/>
                        </a:lnTo>
                        <a:lnTo>
                          <a:pt x="841" y="524"/>
                        </a:lnTo>
                        <a:lnTo>
                          <a:pt x="841" y="526"/>
                        </a:lnTo>
                        <a:lnTo>
                          <a:pt x="841" y="529"/>
                        </a:lnTo>
                        <a:lnTo>
                          <a:pt x="841" y="530"/>
                        </a:lnTo>
                        <a:lnTo>
                          <a:pt x="841" y="534"/>
                        </a:lnTo>
                        <a:lnTo>
                          <a:pt x="841" y="537"/>
                        </a:lnTo>
                        <a:lnTo>
                          <a:pt x="840" y="541"/>
                        </a:lnTo>
                        <a:lnTo>
                          <a:pt x="838" y="545"/>
                        </a:lnTo>
                        <a:lnTo>
                          <a:pt x="836" y="546"/>
                        </a:lnTo>
                        <a:lnTo>
                          <a:pt x="833" y="549"/>
                        </a:lnTo>
                        <a:lnTo>
                          <a:pt x="832" y="549"/>
                        </a:lnTo>
                        <a:lnTo>
                          <a:pt x="830" y="549"/>
                        </a:lnTo>
                        <a:lnTo>
                          <a:pt x="825" y="549"/>
                        </a:lnTo>
                        <a:lnTo>
                          <a:pt x="824" y="549"/>
                        </a:lnTo>
                        <a:lnTo>
                          <a:pt x="822" y="549"/>
                        </a:lnTo>
                        <a:lnTo>
                          <a:pt x="819" y="549"/>
                        </a:lnTo>
                        <a:lnTo>
                          <a:pt x="817" y="549"/>
                        </a:lnTo>
                        <a:lnTo>
                          <a:pt x="817" y="551"/>
                        </a:lnTo>
                        <a:lnTo>
                          <a:pt x="816" y="551"/>
                        </a:lnTo>
                        <a:lnTo>
                          <a:pt x="814" y="551"/>
                        </a:lnTo>
                        <a:lnTo>
                          <a:pt x="813" y="553"/>
                        </a:lnTo>
                        <a:lnTo>
                          <a:pt x="813" y="554"/>
                        </a:lnTo>
                        <a:lnTo>
                          <a:pt x="811" y="556"/>
                        </a:lnTo>
                        <a:lnTo>
                          <a:pt x="810" y="557"/>
                        </a:lnTo>
                        <a:lnTo>
                          <a:pt x="808" y="557"/>
                        </a:lnTo>
                        <a:lnTo>
                          <a:pt x="806" y="560"/>
                        </a:lnTo>
                        <a:lnTo>
                          <a:pt x="805" y="562"/>
                        </a:lnTo>
                        <a:lnTo>
                          <a:pt x="805" y="564"/>
                        </a:lnTo>
                        <a:lnTo>
                          <a:pt x="805" y="565"/>
                        </a:lnTo>
                        <a:lnTo>
                          <a:pt x="806" y="568"/>
                        </a:lnTo>
                        <a:lnTo>
                          <a:pt x="810" y="572"/>
                        </a:lnTo>
                        <a:lnTo>
                          <a:pt x="813" y="573"/>
                        </a:lnTo>
                        <a:lnTo>
                          <a:pt x="814" y="576"/>
                        </a:lnTo>
                        <a:lnTo>
                          <a:pt x="816" y="581"/>
                        </a:lnTo>
                        <a:lnTo>
                          <a:pt x="817" y="584"/>
                        </a:lnTo>
                        <a:lnTo>
                          <a:pt x="817" y="587"/>
                        </a:lnTo>
                        <a:lnTo>
                          <a:pt x="817" y="589"/>
                        </a:lnTo>
                        <a:lnTo>
                          <a:pt x="816" y="591"/>
                        </a:lnTo>
                        <a:lnTo>
                          <a:pt x="814" y="592"/>
                        </a:lnTo>
                        <a:lnTo>
                          <a:pt x="813" y="594"/>
                        </a:lnTo>
                        <a:lnTo>
                          <a:pt x="811" y="597"/>
                        </a:lnTo>
                        <a:lnTo>
                          <a:pt x="811" y="598"/>
                        </a:lnTo>
                        <a:lnTo>
                          <a:pt x="810" y="602"/>
                        </a:lnTo>
                        <a:lnTo>
                          <a:pt x="808" y="603"/>
                        </a:lnTo>
                        <a:lnTo>
                          <a:pt x="805" y="605"/>
                        </a:lnTo>
                        <a:lnTo>
                          <a:pt x="803" y="605"/>
                        </a:lnTo>
                        <a:lnTo>
                          <a:pt x="802" y="605"/>
                        </a:lnTo>
                        <a:lnTo>
                          <a:pt x="800" y="606"/>
                        </a:lnTo>
                        <a:lnTo>
                          <a:pt x="798" y="606"/>
                        </a:lnTo>
                        <a:lnTo>
                          <a:pt x="797" y="608"/>
                        </a:lnTo>
                        <a:lnTo>
                          <a:pt x="797" y="610"/>
                        </a:lnTo>
                        <a:lnTo>
                          <a:pt x="794" y="614"/>
                        </a:lnTo>
                        <a:lnTo>
                          <a:pt x="795" y="614"/>
                        </a:lnTo>
                        <a:lnTo>
                          <a:pt x="795" y="616"/>
                        </a:lnTo>
                        <a:lnTo>
                          <a:pt x="795" y="618"/>
                        </a:lnTo>
                        <a:lnTo>
                          <a:pt x="794" y="619"/>
                        </a:lnTo>
                        <a:lnTo>
                          <a:pt x="794" y="622"/>
                        </a:lnTo>
                        <a:lnTo>
                          <a:pt x="795" y="622"/>
                        </a:lnTo>
                        <a:lnTo>
                          <a:pt x="795" y="624"/>
                        </a:lnTo>
                        <a:lnTo>
                          <a:pt x="797" y="625"/>
                        </a:lnTo>
                        <a:lnTo>
                          <a:pt x="797" y="627"/>
                        </a:lnTo>
                        <a:lnTo>
                          <a:pt x="798" y="627"/>
                        </a:lnTo>
                        <a:lnTo>
                          <a:pt x="798" y="629"/>
                        </a:lnTo>
                        <a:lnTo>
                          <a:pt x="798" y="630"/>
                        </a:lnTo>
                        <a:lnTo>
                          <a:pt x="798" y="632"/>
                        </a:lnTo>
                        <a:lnTo>
                          <a:pt x="798" y="633"/>
                        </a:lnTo>
                        <a:lnTo>
                          <a:pt x="797" y="635"/>
                        </a:lnTo>
                        <a:lnTo>
                          <a:pt x="797" y="637"/>
                        </a:lnTo>
                        <a:lnTo>
                          <a:pt x="797" y="638"/>
                        </a:lnTo>
                        <a:lnTo>
                          <a:pt x="798" y="640"/>
                        </a:lnTo>
                        <a:lnTo>
                          <a:pt x="798" y="641"/>
                        </a:lnTo>
                        <a:lnTo>
                          <a:pt x="800" y="644"/>
                        </a:lnTo>
                        <a:lnTo>
                          <a:pt x="802" y="644"/>
                        </a:lnTo>
                        <a:lnTo>
                          <a:pt x="803" y="644"/>
                        </a:lnTo>
                        <a:lnTo>
                          <a:pt x="806" y="644"/>
                        </a:lnTo>
                        <a:lnTo>
                          <a:pt x="810" y="643"/>
                        </a:lnTo>
                        <a:lnTo>
                          <a:pt x="811" y="643"/>
                        </a:lnTo>
                        <a:lnTo>
                          <a:pt x="813" y="643"/>
                        </a:lnTo>
                        <a:lnTo>
                          <a:pt x="814" y="643"/>
                        </a:lnTo>
                        <a:lnTo>
                          <a:pt x="814" y="644"/>
                        </a:lnTo>
                        <a:lnTo>
                          <a:pt x="816" y="644"/>
                        </a:lnTo>
                        <a:lnTo>
                          <a:pt x="817" y="644"/>
                        </a:lnTo>
                        <a:lnTo>
                          <a:pt x="817" y="646"/>
                        </a:lnTo>
                        <a:lnTo>
                          <a:pt x="817" y="648"/>
                        </a:lnTo>
                        <a:lnTo>
                          <a:pt x="816" y="648"/>
                        </a:lnTo>
                        <a:lnTo>
                          <a:pt x="816" y="649"/>
                        </a:lnTo>
                        <a:lnTo>
                          <a:pt x="817" y="649"/>
                        </a:lnTo>
                        <a:lnTo>
                          <a:pt x="819" y="649"/>
                        </a:lnTo>
                        <a:lnTo>
                          <a:pt x="821" y="651"/>
                        </a:lnTo>
                        <a:lnTo>
                          <a:pt x="819" y="652"/>
                        </a:lnTo>
                        <a:lnTo>
                          <a:pt x="817" y="652"/>
                        </a:lnTo>
                        <a:lnTo>
                          <a:pt x="817" y="654"/>
                        </a:lnTo>
                        <a:lnTo>
                          <a:pt x="817" y="656"/>
                        </a:lnTo>
                        <a:lnTo>
                          <a:pt x="816" y="656"/>
                        </a:lnTo>
                        <a:lnTo>
                          <a:pt x="816" y="657"/>
                        </a:lnTo>
                        <a:lnTo>
                          <a:pt x="816" y="659"/>
                        </a:lnTo>
                        <a:lnTo>
                          <a:pt x="816" y="660"/>
                        </a:lnTo>
                        <a:lnTo>
                          <a:pt x="814" y="660"/>
                        </a:lnTo>
                        <a:lnTo>
                          <a:pt x="813" y="662"/>
                        </a:lnTo>
                        <a:lnTo>
                          <a:pt x="813" y="663"/>
                        </a:lnTo>
                        <a:lnTo>
                          <a:pt x="813" y="665"/>
                        </a:lnTo>
                        <a:lnTo>
                          <a:pt x="811" y="667"/>
                        </a:lnTo>
                        <a:lnTo>
                          <a:pt x="810" y="668"/>
                        </a:lnTo>
                        <a:lnTo>
                          <a:pt x="808" y="668"/>
                        </a:lnTo>
                        <a:lnTo>
                          <a:pt x="808" y="670"/>
                        </a:lnTo>
                        <a:lnTo>
                          <a:pt x="808" y="671"/>
                        </a:lnTo>
                        <a:lnTo>
                          <a:pt x="810" y="671"/>
                        </a:lnTo>
                        <a:lnTo>
                          <a:pt x="811" y="673"/>
                        </a:lnTo>
                        <a:lnTo>
                          <a:pt x="811" y="676"/>
                        </a:lnTo>
                        <a:lnTo>
                          <a:pt x="813" y="676"/>
                        </a:lnTo>
                        <a:lnTo>
                          <a:pt x="814" y="678"/>
                        </a:lnTo>
                        <a:lnTo>
                          <a:pt x="816" y="678"/>
                        </a:lnTo>
                        <a:lnTo>
                          <a:pt x="817" y="678"/>
                        </a:lnTo>
                        <a:lnTo>
                          <a:pt x="817" y="676"/>
                        </a:lnTo>
                        <a:lnTo>
                          <a:pt x="819" y="676"/>
                        </a:lnTo>
                        <a:lnTo>
                          <a:pt x="821" y="676"/>
                        </a:lnTo>
                        <a:lnTo>
                          <a:pt x="822" y="678"/>
                        </a:lnTo>
                        <a:lnTo>
                          <a:pt x="824" y="678"/>
                        </a:lnTo>
                        <a:lnTo>
                          <a:pt x="825" y="676"/>
                        </a:lnTo>
                        <a:lnTo>
                          <a:pt x="827" y="676"/>
                        </a:lnTo>
                        <a:lnTo>
                          <a:pt x="827" y="678"/>
                        </a:lnTo>
                        <a:lnTo>
                          <a:pt x="829" y="679"/>
                        </a:lnTo>
                        <a:lnTo>
                          <a:pt x="830" y="681"/>
                        </a:lnTo>
                        <a:lnTo>
                          <a:pt x="832" y="682"/>
                        </a:lnTo>
                        <a:lnTo>
                          <a:pt x="833" y="682"/>
                        </a:lnTo>
                        <a:lnTo>
                          <a:pt x="833" y="684"/>
                        </a:lnTo>
                        <a:lnTo>
                          <a:pt x="835" y="684"/>
                        </a:lnTo>
                        <a:lnTo>
                          <a:pt x="836" y="684"/>
                        </a:lnTo>
                        <a:lnTo>
                          <a:pt x="836" y="686"/>
                        </a:lnTo>
                        <a:lnTo>
                          <a:pt x="838" y="686"/>
                        </a:lnTo>
                        <a:lnTo>
                          <a:pt x="838" y="689"/>
                        </a:lnTo>
                        <a:lnTo>
                          <a:pt x="838" y="690"/>
                        </a:lnTo>
                        <a:lnTo>
                          <a:pt x="838" y="692"/>
                        </a:lnTo>
                        <a:lnTo>
                          <a:pt x="838" y="694"/>
                        </a:lnTo>
                        <a:lnTo>
                          <a:pt x="838" y="695"/>
                        </a:lnTo>
                        <a:lnTo>
                          <a:pt x="840" y="698"/>
                        </a:lnTo>
                        <a:lnTo>
                          <a:pt x="840" y="700"/>
                        </a:lnTo>
                        <a:lnTo>
                          <a:pt x="841" y="701"/>
                        </a:lnTo>
                        <a:lnTo>
                          <a:pt x="843" y="703"/>
                        </a:lnTo>
                        <a:lnTo>
                          <a:pt x="844" y="703"/>
                        </a:lnTo>
                        <a:lnTo>
                          <a:pt x="844" y="705"/>
                        </a:lnTo>
                        <a:lnTo>
                          <a:pt x="844" y="706"/>
                        </a:lnTo>
                        <a:lnTo>
                          <a:pt x="844" y="708"/>
                        </a:lnTo>
                        <a:lnTo>
                          <a:pt x="844" y="709"/>
                        </a:lnTo>
                        <a:lnTo>
                          <a:pt x="846" y="711"/>
                        </a:lnTo>
                        <a:lnTo>
                          <a:pt x="846" y="713"/>
                        </a:lnTo>
                        <a:lnTo>
                          <a:pt x="844" y="713"/>
                        </a:lnTo>
                        <a:lnTo>
                          <a:pt x="844" y="714"/>
                        </a:lnTo>
                        <a:lnTo>
                          <a:pt x="843" y="714"/>
                        </a:lnTo>
                        <a:lnTo>
                          <a:pt x="843" y="716"/>
                        </a:lnTo>
                        <a:lnTo>
                          <a:pt x="841" y="716"/>
                        </a:lnTo>
                        <a:lnTo>
                          <a:pt x="841" y="714"/>
                        </a:lnTo>
                        <a:lnTo>
                          <a:pt x="840" y="714"/>
                        </a:lnTo>
                        <a:lnTo>
                          <a:pt x="840" y="713"/>
                        </a:lnTo>
                        <a:lnTo>
                          <a:pt x="838" y="714"/>
                        </a:lnTo>
                        <a:lnTo>
                          <a:pt x="836" y="714"/>
                        </a:lnTo>
                        <a:lnTo>
                          <a:pt x="836" y="716"/>
                        </a:lnTo>
                        <a:lnTo>
                          <a:pt x="835" y="719"/>
                        </a:lnTo>
                        <a:lnTo>
                          <a:pt x="835" y="722"/>
                        </a:lnTo>
                        <a:lnTo>
                          <a:pt x="833" y="724"/>
                        </a:lnTo>
                        <a:lnTo>
                          <a:pt x="833" y="725"/>
                        </a:lnTo>
                        <a:lnTo>
                          <a:pt x="835" y="725"/>
                        </a:lnTo>
                        <a:lnTo>
                          <a:pt x="833" y="725"/>
                        </a:lnTo>
                        <a:lnTo>
                          <a:pt x="833" y="727"/>
                        </a:lnTo>
                        <a:lnTo>
                          <a:pt x="833" y="728"/>
                        </a:lnTo>
                        <a:lnTo>
                          <a:pt x="832" y="730"/>
                        </a:lnTo>
                        <a:lnTo>
                          <a:pt x="832" y="732"/>
                        </a:lnTo>
                        <a:lnTo>
                          <a:pt x="830" y="732"/>
                        </a:lnTo>
                        <a:lnTo>
                          <a:pt x="830" y="733"/>
                        </a:lnTo>
                        <a:lnTo>
                          <a:pt x="830" y="735"/>
                        </a:lnTo>
                        <a:lnTo>
                          <a:pt x="830" y="736"/>
                        </a:lnTo>
                        <a:lnTo>
                          <a:pt x="830" y="738"/>
                        </a:lnTo>
                        <a:lnTo>
                          <a:pt x="832" y="739"/>
                        </a:lnTo>
                        <a:lnTo>
                          <a:pt x="833" y="741"/>
                        </a:lnTo>
                        <a:lnTo>
                          <a:pt x="835" y="741"/>
                        </a:lnTo>
                        <a:lnTo>
                          <a:pt x="836" y="739"/>
                        </a:lnTo>
                        <a:lnTo>
                          <a:pt x="838" y="739"/>
                        </a:lnTo>
                        <a:lnTo>
                          <a:pt x="838" y="736"/>
                        </a:lnTo>
                        <a:lnTo>
                          <a:pt x="840" y="735"/>
                        </a:lnTo>
                        <a:lnTo>
                          <a:pt x="841" y="735"/>
                        </a:lnTo>
                        <a:lnTo>
                          <a:pt x="843" y="735"/>
                        </a:lnTo>
                        <a:lnTo>
                          <a:pt x="843" y="736"/>
                        </a:lnTo>
                        <a:lnTo>
                          <a:pt x="844" y="736"/>
                        </a:lnTo>
                        <a:lnTo>
                          <a:pt x="844" y="738"/>
                        </a:lnTo>
                        <a:lnTo>
                          <a:pt x="846" y="739"/>
                        </a:lnTo>
                        <a:lnTo>
                          <a:pt x="846" y="741"/>
                        </a:lnTo>
                        <a:lnTo>
                          <a:pt x="844" y="741"/>
                        </a:lnTo>
                        <a:lnTo>
                          <a:pt x="844" y="744"/>
                        </a:lnTo>
                        <a:lnTo>
                          <a:pt x="843" y="746"/>
                        </a:lnTo>
                        <a:lnTo>
                          <a:pt x="841" y="747"/>
                        </a:lnTo>
                        <a:lnTo>
                          <a:pt x="840" y="747"/>
                        </a:lnTo>
                        <a:lnTo>
                          <a:pt x="832" y="747"/>
                        </a:lnTo>
                        <a:lnTo>
                          <a:pt x="824" y="747"/>
                        </a:lnTo>
                        <a:lnTo>
                          <a:pt x="813" y="747"/>
                        </a:lnTo>
                        <a:lnTo>
                          <a:pt x="805" y="747"/>
                        </a:lnTo>
                        <a:lnTo>
                          <a:pt x="803" y="747"/>
                        </a:lnTo>
                        <a:lnTo>
                          <a:pt x="802" y="747"/>
                        </a:lnTo>
                        <a:lnTo>
                          <a:pt x="798" y="749"/>
                        </a:lnTo>
                        <a:lnTo>
                          <a:pt x="794" y="747"/>
                        </a:lnTo>
                        <a:lnTo>
                          <a:pt x="791" y="747"/>
                        </a:lnTo>
                        <a:lnTo>
                          <a:pt x="776" y="747"/>
                        </a:lnTo>
                        <a:lnTo>
                          <a:pt x="770" y="746"/>
                        </a:lnTo>
                        <a:lnTo>
                          <a:pt x="767" y="746"/>
                        </a:lnTo>
                        <a:lnTo>
                          <a:pt x="764" y="739"/>
                        </a:lnTo>
                        <a:lnTo>
                          <a:pt x="751" y="739"/>
                        </a:lnTo>
                        <a:lnTo>
                          <a:pt x="749" y="747"/>
                        </a:lnTo>
                        <a:lnTo>
                          <a:pt x="741" y="747"/>
                        </a:lnTo>
                        <a:lnTo>
                          <a:pt x="738" y="749"/>
                        </a:lnTo>
                        <a:lnTo>
                          <a:pt x="735" y="749"/>
                        </a:lnTo>
                        <a:lnTo>
                          <a:pt x="734" y="749"/>
                        </a:lnTo>
                        <a:lnTo>
                          <a:pt x="732" y="751"/>
                        </a:lnTo>
                        <a:lnTo>
                          <a:pt x="732" y="752"/>
                        </a:lnTo>
                        <a:lnTo>
                          <a:pt x="727" y="758"/>
                        </a:lnTo>
                        <a:lnTo>
                          <a:pt x="726" y="762"/>
                        </a:lnTo>
                        <a:lnTo>
                          <a:pt x="726" y="763"/>
                        </a:lnTo>
                        <a:lnTo>
                          <a:pt x="724" y="766"/>
                        </a:lnTo>
                        <a:lnTo>
                          <a:pt x="722" y="766"/>
                        </a:lnTo>
                        <a:lnTo>
                          <a:pt x="718" y="766"/>
                        </a:lnTo>
                        <a:lnTo>
                          <a:pt x="716" y="766"/>
                        </a:lnTo>
                        <a:lnTo>
                          <a:pt x="715" y="765"/>
                        </a:lnTo>
                        <a:lnTo>
                          <a:pt x="708" y="760"/>
                        </a:lnTo>
                        <a:lnTo>
                          <a:pt x="708" y="758"/>
                        </a:lnTo>
                        <a:lnTo>
                          <a:pt x="697" y="758"/>
                        </a:lnTo>
                        <a:lnTo>
                          <a:pt x="695" y="751"/>
                        </a:lnTo>
                        <a:lnTo>
                          <a:pt x="692" y="747"/>
                        </a:lnTo>
                        <a:lnTo>
                          <a:pt x="689" y="746"/>
                        </a:lnTo>
                        <a:lnTo>
                          <a:pt x="672" y="746"/>
                        </a:lnTo>
                        <a:lnTo>
                          <a:pt x="670" y="746"/>
                        </a:lnTo>
                        <a:lnTo>
                          <a:pt x="669" y="746"/>
                        </a:lnTo>
                        <a:lnTo>
                          <a:pt x="664" y="747"/>
                        </a:lnTo>
                        <a:lnTo>
                          <a:pt x="650" y="747"/>
                        </a:lnTo>
                        <a:lnTo>
                          <a:pt x="643" y="743"/>
                        </a:lnTo>
                        <a:lnTo>
                          <a:pt x="631" y="743"/>
                        </a:lnTo>
                        <a:lnTo>
                          <a:pt x="610" y="741"/>
                        </a:lnTo>
                        <a:lnTo>
                          <a:pt x="607" y="741"/>
                        </a:lnTo>
                        <a:lnTo>
                          <a:pt x="605" y="741"/>
                        </a:lnTo>
                        <a:lnTo>
                          <a:pt x="596" y="741"/>
                        </a:lnTo>
                        <a:lnTo>
                          <a:pt x="586" y="741"/>
                        </a:lnTo>
                        <a:lnTo>
                          <a:pt x="580" y="741"/>
                        </a:lnTo>
                        <a:lnTo>
                          <a:pt x="575" y="741"/>
                        </a:lnTo>
                        <a:lnTo>
                          <a:pt x="574" y="752"/>
                        </a:lnTo>
                        <a:lnTo>
                          <a:pt x="561" y="752"/>
                        </a:lnTo>
                        <a:lnTo>
                          <a:pt x="555" y="752"/>
                        </a:lnTo>
                        <a:lnTo>
                          <a:pt x="547" y="751"/>
                        </a:lnTo>
                        <a:lnTo>
                          <a:pt x="529" y="751"/>
                        </a:lnTo>
                        <a:lnTo>
                          <a:pt x="504" y="747"/>
                        </a:lnTo>
                        <a:lnTo>
                          <a:pt x="490" y="747"/>
                        </a:lnTo>
                        <a:lnTo>
                          <a:pt x="461" y="747"/>
                        </a:lnTo>
                        <a:lnTo>
                          <a:pt x="459" y="747"/>
                        </a:lnTo>
                        <a:lnTo>
                          <a:pt x="458" y="746"/>
                        </a:lnTo>
                        <a:lnTo>
                          <a:pt x="450" y="747"/>
                        </a:lnTo>
                        <a:lnTo>
                          <a:pt x="444" y="747"/>
                        </a:lnTo>
                        <a:lnTo>
                          <a:pt x="439" y="747"/>
                        </a:lnTo>
                        <a:lnTo>
                          <a:pt x="437" y="747"/>
                        </a:lnTo>
                        <a:lnTo>
                          <a:pt x="433" y="747"/>
                        </a:lnTo>
                        <a:lnTo>
                          <a:pt x="425" y="747"/>
                        </a:lnTo>
                        <a:lnTo>
                          <a:pt x="417" y="747"/>
                        </a:lnTo>
                        <a:lnTo>
                          <a:pt x="404" y="747"/>
                        </a:lnTo>
                        <a:lnTo>
                          <a:pt x="396" y="743"/>
                        </a:lnTo>
                        <a:lnTo>
                          <a:pt x="395" y="739"/>
                        </a:lnTo>
                        <a:lnTo>
                          <a:pt x="387" y="735"/>
                        </a:lnTo>
                        <a:lnTo>
                          <a:pt x="385" y="733"/>
                        </a:lnTo>
                        <a:lnTo>
                          <a:pt x="387" y="728"/>
                        </a:lnTo>
                        <a:lnTo>
                          <a:pt x="385" y="727"/>
                        </a:lnTo>
                        <a:lnTo>
                          <a:pt x="385" y="725"/>
                        </a:lnTo>
                        <a:lnTo>
                          <a:pt x="383" y="725"/>
                        </a:lnTo>
                        <a:lnTo>
                          <a:pt x="382" y="724"/>
                        </a:lnTo>
                        <a:lnTo>
                          <a:pt x="382" y="722"/>
                        </a:lnTo>
                        <a:lnTo>
                          <a:pt x="383" y="720"/>
                        </a:lnTo>
                        <a:lnTo>
                          <a:pt x="385" y="719"/>
                        </a:lnTo>
                        <a:lnTo>
                          <a:pt x="387" y="719"/>
                        </a:lnTo>
                        <a:lnTo>
                          <a:pt x="390" y="717"/>
                        </a:lnTo>
                        <a:lnTo>
                          <a:pt x="390" y="716"/>
                        </a:lnTo>
                        <a:lnTo>
                          <a:pt x="390" y="714"/>
                        </a:lnTo>
                        <a:lnTo>
                          <a:pt x="388" y="711"/>
                        </a:lnTo>
                        <a:lnTo>
                          <a:pt x="388" y="709"/>
                        </a:lnTo>
                        <a:lnTo>
                          <a:pt x="390" y="709"/>
                        </a:lnTo>
                        <a:lnTo>
                          <a:pt x="391" y="709"/>
                        </a:lnTo>
                        <a:lnTo>
                          <a:pt x="391" y="708"/>
                        </a:lnTo>
                        <a:lnTo>
                          <a:pt x="390" y="708"/>
                        </a:lnTo>
                        <a:lnTo>
                          <a:pt x="390" y="706"/>
                        </a:lnTo>
                        <a:lnTo>
                          <a:pt x="388" y="706"/>
                        </a:lnTo>
                        <a:lnTo>
                          <a:pt x="387" y="706"/>
                        </a:lnTo>
                        <a:lnTo>
                          <a:pt x="383" y="708"/>
                        </a:lnTo>
                        <a:lnTo>
                          <a:pt x="383" y="709"/>
                        </a:lnTo>
                        <a:lnTo>
                          <a:pt x="383" y="711"/>
                        </a:lnTo>
                        <a:lnTo>
                          <a:pt x="383" y="713"/>
                        </a:lnTo>
                        <a:lnTo>
                          <a:pt x="382" y="714"/>
                        </a:lnTo>
                        <a:lnTo>
                          <a:pt x="382" y="716"/>
                        </a:lnTo>
                        <a:lnTo>
                          <a:pt x="380" y="716"/>
                        </a:lnTo>
                        <a:lnTo>
                          <a:pt x="377" y="717"/>
                        </a:lnTo>
                        <a:lnTo>
                          <a:pt x="376" y="717"/>
                        </a:lnTo>
                        <a:lnTo>
                          <a:pt x="376" y="716"/>
                        </a:lnTo>
                        <a:lnTo>
                          <a:pt x="374" y="714"/>
                        </a:lnTo>
                        <a:lnTo>
                          <a:pt x="372" y="713"/>
                        </a:lnTo>
                        <a:lnTo>
                          <a:pt x="371" y="713"/>
                        </a:lnTo>
                        <a:lnTo>
                          <a:pt x="369" y="713"/>
                        </a:lnTo>
                        <a:lnTo>
                          <a:pt x="368" y="711"/>
                        </a:lnTo>
                        <a:lnTo>
                          <a:pt x="364" y="708"/>
                        </a:lnTo>
                        <a:lnTo>
                          <a:pt x="363" y="706"/>
                        </a:lnTo>
                        <a:lnTo>
                          <a:pt x="361" y="706"/>
                        </a:lnTo>
                        <a:lnTo>
                          <a:pt x="361" y="705"/>
                        </a:lnTo>
                        <a:lnTo>
                          <a:pt x="361" y="703"/>
                        </a:lnTo>
                        <a:lnTo>
                          <a:pt x="360" y="703"/>
                        </a:lnTo>
                        <a:lnTo>
                          <a:pt x="358" y="701"/>
                        </a:lnTo>
                        <a:lnTo>
                          <a:pt x="357" y="700"/>
                        </a:lnTo>
                        <a:lnTo>
                          <a:pt x="355" y="698"/>
                        </a:lnTo>
                        <a:lnTo>
                          <a:pt x="352" y="697"/>
                        </a:lnTo>
                        <a:lnTo>
                          <a:pt x="350" y="695"/>
                        </a:lnTo>
                        <a:lnTo>
                          <a:pt x="350" y="694"/>
                        </a:lnTo>
                        <a:lnTo>
                          <a:pt x="350" y="690"/>
                        </a:lnTo>
                        <a:lnTo>
                          <a:pt x="353" y="690"/>
                        </a:lnTo>
                        <a:lnTo>
                          <a:pt x="353" y="689"/>
                        </a:lnTo>
                        <a:lnTo>
                          <a:pt x="355" y="689"/>
                        </a:lnTo>
                        <a:lnTo>
                          <a:pt x="355" y="687"/>
                        </a:lnTo>
                        <a:lnTo>
                          <a:pt x="355" y="686"/>
                        </a:lnTo>
                        <a:lnTo>
                          <a:pt x="357" y="686"/>
                        </a:lnTo>
                        <a:lnTo>
                          <a:pt x="357" y="684"/>
                        </a:lnTo>
                        <a:lnTo>
                          <a:pt x="355" y="684"/>
                        </a:lnTo>
                        <a:lnTo>
                          <a:pt x="355" y="682"/>
                        </a:lnTo>
                        <a:lnTo>
                          <a:pt x="353" y="682"/>
                        </a:lnTo>
                        <a:lnTo>
                          <a:pt x="352" y="682"/>
                        </a:lnTo>
                        <a:lnTo>
                          <a:pt x="350" y="682"/>
                        </a:lnTo>
                        <a:lnTo>
                          <a:pt x="349" y="682"/>
                        </a:lnTo>
                        <a:lnTo>
                          <a:pt x="347" y="684"/>
                        </a:lnTo>
                        <a:lnTo>
                          <a:pt x="345" y="684"/>
                        </a:lnTo>
                        <a:lnTo>
                          <a:pt x="344" y="684"/>
                        </a:lnTo>
                        <a:lnTo>
                          <a:pt x="342" y="684"/>
                        </a:lnTo>
                        <a:lnTo>
                          <a:pt x="342" y="686"/>
                        </a:lnTo>
                        <a:lnTo>
                          <a:pt x="339" y="686"/>
                        </a:lnTo>
                        <a:lnTo>
                          <a:pt x="339" y="684"/>
                        </a:lnTo>
                        <a:lnTo>
                          <a:pt x="338" y="682"/>
                        </a:lnTo>
                        <a:lnTo>
                          <a:pt x="336" y="681"/>
                        </a:lnTo>
                        <a:lnTo>
                          <a:pt x="334" y="681"/>
                        </a:lnTo>
                        <a:lnTo>
                          <a:pt x="331" y="681"/>
                        </a:lnTo>
                        <a:lnTo>
                          <a:pt x="330" y="682"/>
                        </a:lnTo>
                        <a:lnTo>
                          <a:pt x="328" y="682"/>
                        </a:lnTo>
                        <a:lnTo>
                          <a:pt x="326" y="684"/>
                        </a:lnTo>
                        <a:lnTo>
                          <a:pt x="323" y="686"/>
                        </a:lnTo>
                        <a:lnTo>
                          <a:pt x="322" y="686"/>
                        </a:lnTo>
                        <a:lnTo>
                          <a:pt x="320" y="686"/>
                        </a:lnTo>
                        <a:lnTo>
                          <a:pt x="318" y="686"/>
                        </a:lnTo>
                        <a:lnTo>
                          <a:pt x="317" y="686"/>
                        </a:lnTo>
                        <a:lnTo>
                          <a:pt x="315" y="684"/>
                        </a:lnTo>
                        <a:lnTo>
                          <a:pt x="314" y="682"/>
                        </a:lnTo>
                        <a:lnTo>
                          <a:pt x="312" y="682"/>
                        </a:lnTo>
                        <a:lnTo>
                          <a:pt x="312" y="681"/>
                        </a:lnTo>
                        <a:lnTo>
                          <a:pt x="312" y="679"/>
                        </a:lnTo>
                        <a:lnTo>
                          <a:pt x="314" y="678"/>
                        </a:lnTo>
                        <a:lnTo>
                          <a:pt x="315" y="678"/>
                        </a:lnTo>
                        <a:lnTo>
                          <a:pt x="315" y="676"/>
                        </a:lnTo>
                        <a:lnTo>
                          <a:pt x="312" y="673"/>
                        </a:lnTo>
                        <a:lnTo>
                          <a:pt x="309" y="671"/>
                        </a:lnTo>
                        <a:lnTo>
                          <a:pt x="307" y="673"/>
                        </a:lnTo>
                        <a:lnTo>
                          <a:pt x="306" y="675"/>
                        </a:lnTo>
                        <a:lnTo>
                          <a:pt x="304" y="676"/>
                        </a:lnTo>
                        <a:lnTo>
                          <a:pt x="303" y="676"/>
                        </a:lnTo>
                        <a:lnTo>
                          <a:pt x="301" y="675"/>
                        </a:lnTo>
                        <a:lnTo>
                          <a:pt x="299" y="675"/>
                        </a:lnTo>
                        <a:lnTo>
                          <a:pt x="298" y="673"/>
                        </a:lnTo>
                        <a:lnTo>
                          <a:pt x="298" y="671"/>
                        </a:lnTo>
                        <a:lnTo>
                          <a:pt x="298" y="670"/>
                        </a:lnTo>
                        <a:lnTo>
                          <a:pt x="298" y="668"/>
                        </a:lnTo>
                        <a:lnTo>
                          <a:pt x="298" y="667"/>
                        </a:lnTo>
                        <a:lnTo>
                          <a:pt x="299" y="667"/>
                        </a:lnTo>
                        <a:lnTo>
                          <a:pt x="301" y="665"/>
                        </a:lnTo>
                        <a:lnTo>
                          <a:pt x="301" y="663"/>
                        </a:lnTo>
                        <a:lnTo>
                          <a:pt x="299" y="662"/>
                        </a:lnTo>
                        <a:lnTo>
                          <a:pt x="298" y="660"/>
                        </a:lnTo>
                        <a:lnTo>
                          <a:pt x="296" y="660"/>
                        </a:lnTo>
                        <a:lnTo>
                          <a:pt x="295" y="660"/>
                        </a:lnTo>
                        <a:lnTo>
                          <a:pt x="293" y="660"/>
                        </a:lnTo>
                        <a:lnTo>
                          <a:pt x="292" y="662"/>
                        </a:lnTo>
                        <a:lnTo>
                          <a:pt x="290" y="662"/>
                        </a:lnTo>
                        <a:lnTo>
                          <a:pt x="287" y="662"/>
                        </a:lnTo>
                        <a:lnTo>
                          <a:pt x="285" y="662"/>
                        </a:lnTo>
                        <a:lnTo>
                          <a:pt x="285" y="663"/>
                        </a:lnTo>
                        <a:lnTo>
                          <a:pt x="284" y="665"/>
                        </a:lnTo>
                        <a:lnTo>
                          <a:pt x="284" y="667"/>
                        </a:lnTo>
                        <a:lnTo>
                          <a:pt x="282" y="667"/>
                        </a:lnTo>
                        <a:lnTo>
                          <a:pt x="282" y="665"/>
                        </a:lnTo>
                        <a:lnTo>
                          <a:pt x="280" y="665"/>
                        </a:lnTo>
                        <a:lnTo>
                          <a:pt x="279" y="665"/>
                        </a:lnTo>
                        <a:lnTo>
                          <a:pt x="277" y="665"/>
                        </a:lnTo>
                        <a:lnTo>
                          <a:pt x="277" y="663"/>
                        </a:lnTo>
                        <a:lnTo>
                          <a:pt x="276" y="663"/>
                        </a:lnTo>
                        <a:lnTo>
                          <a:pt x="274" y="663"/>
                        </a:lnTo>
                        <a:lnTo>
                          <a:pt x="274" y="662"/>
                        </a:lnTo>
                        <a:lnTo>
                          <a:pt x="273" y="659"/>
                        </a:lnTo>
                        <a:lnTo>
                          <a:pt x="274" y="657"/>
                        </a:lnTo>
                        <a:lnTo>
                          <a:pt x="274" y="656"/>
                        </a:lnTo>
                        <a:lnTo>
                          <a:pt x="274" y="654"/>
                        </a:lnTo>
                        <a:lnTo>
                          <a:pt x="273" y="652"/>
                        </a:lnTo>
                        <a:lnTo>
                          <a:pt x="269" y="652"/>
                        </a:lnTo>
                        <a:lnTo>
                          <a:pt x="266" y="651"/>
                        </a:lnTo>
                        <a:lnTo>
                          <a:pt x="265" y="649"/>
                        </a:lnTo>
                        <a:lnTo>
                          <a:pt x="263" y="649"/>
                        </a:lnTo>
                        <a:lnTo>
                          <a:pt x="261" y="649"/>
                        </a:lnTo>
                        <a:lnTo>
                          <a:pt x="260" y="648"/>
                        </a:lnTo>
                        <a:lnTo>
                          <a:pt x="258" y="648"/>
                        </a:lnTo>
                        <a:lnTo>
                          <a:pt x="257" y="646"/>
                        </a:lnTo>
                        <a:lnTo>
                          <a:pt x="257" y="648"/>
                        </a:lnTo>
                        <a:lnTo>
                          <a:pt x="255" y="646"/>
                        </a:lnTo>
                        <a:lnTo>
                          <a:pt x="255" y="644"/>
                        </a:lnTo>
                        <a:lnTo>
                          <a:pt x="257" y="644"/>
                        </a:lnTo>
                        <a:lnTo>
                          <a:pt x="257" y="643"/>
                        </a:lnTo>
                        <a:lnTo>
                          <a:pt x="257" y="641"/>
                        </a:lnTo>
                        <a:lnTo>
                          <a:pt x="257" y="640"/>
                        </a:lnTo>
                        <a:lnTo>
                          <a:pt x="255" y="640"/>
                        </a:lnTo>
                        <a:lnTo>
                          <a:pt x="254" y="640"/>
                        </a:lnTo>
                        <a:lnTo>
                          <a:pt x="252" y="640"/>
                        </a:lnTo>
                        <a:lnTo>
                          <a:pt x="250" y="641"/>
                        </a:lnTo>
                        <a:lnTo>
                          <a:pt x="247" y="641"/>
                        </a:lnTo>
                        <a:lnTo>
                          <a:pt x="246" y="641"/>
                        </a:lnTo>
                        <a:lnTo>
                          <a:pt x="246" y="640"/>
                        </a:lnTo>
                        <a:lnTo>
                          <a:pt x="244" y="640"/>
                        </a:lnTo>
                        <a:lnTo>
                          <a:pt x="241" y="640"/>
                        </a:lnTo>
                        <a:lnTo>
                          <a:pt x="241" y="638"/>
                        </a:lnTo>
                        <a:lnTo>
                          <a:pt x="241" y="637"/>
                        </a:lnTo>
                        <a:lnTo>
                          <a:pt x="241" y="635"/>
                        </a:lnTo>
                        <a:lnTo>
                          <a:pt x="242" y="632"/>
                        </a:lnTo>
                        <a:lnTo>
                          <a:pt x="244" y="630"/>
                        </a:lnTo>
                        <a:lnTo>
                          <a:pt x="249" y="624"/>
                        </a:lnTo>
                        <a:lnTo>
                          <a:pt x="252" y="619"/>
                        </a:lnTo>
                        <a:lnTo>
                          <a:pt x="257" y="614"/>
                        </a:lnTo>
                        <a:lnTo>
                          <a:pt x="261" y="608"/>
                        </a:lnTo>
                        <a:lnTo>
                          <a:pt x="265" y="606"/>
                        </a:lnTo>
                        <a:lnTo>
                          <a:pt x="266" y="603"/>
                        </a:lnTo>
                        <a:lnTo>
                          <a:pt x="266" y="602"/>
                        </a:lnTo>
                        <a:lnTo>
                          <a:pt x="266" y="600"/>
                        </a:lnTo>
                        <a:lnTo>
                          <a:pt x="265" y="597"/>
                        </a:lnTo>
                        <a:lnTo>
                          <a:pt x="265" y="595"/>
                        </a:lnTo>
                        <a:lnTo>
                          <a:pt x="265" y="592"/>
                        </a:lnTo>
                        <a:lnTo>
                          <a:pt x="265" y="591"/>
                        </a:lnTo>
                        <a:lnTo>
                          <a:pt x="265" y="587"/>
                        </a:lnTo>
                        <a:lnTo>
                          <a:pt x="265" y="586"/>
                        </a:lnTo>
                        <a:lnTo>
                          <a:pt x="265" y="581"/>
                        </a:lnTo>
                        <a:lnTo>
                          <a:pt x="266" y="576"/>
                        </a:lnTo>
                        <a:lnTo>
                          <a:pt x="266" y="573"/>
                        </a:lnTo>
                        <a:lnTo>
                          <a:pt x="268" y="570"/>
                        </a:lnTo>
                        <a:lnTo>
                          <a:pt x="271" y="568"/>
                        </a:lnTo>
                        <a:lnTo>
                          <a:pt x="274" y="567"/>
                        </a:lnTo>
                        <a:lnTo>
                          <a:pt x="277" y="565"/>
                        </a:lnTo>
                        <a:lnTo>
                          <a:pt x="280" y="562"/>
                        </a:lnTo>
                        <a:lnTo>
                          <a:pt x="282" y="559"/>
                        </a:lnTo>
                        <a:lnTo>
                          <a:pt x="282" y="554"/>
                        </a:lnTo>
                        <a:lnTo>
                          <a:pt x="280" y="551"/>
                        </a:lnTo>
                        <a:lnTo>
                          <a:pt x="280" y="548"/>
                        </a:lnTo>
                        <a:lnTo>
                          <a:pt x="279" y="543"/>
                        </a:lnTo>
                        <a:lnTo>
                          <a:pt x="279" y="540"/>
                        </a:lnTo>
                        <a:lnTo>
                          <a:pt x="279" y="537"/>
                        </a:lnTo>
                        <a:lnTo>
                          <a:pt x="279" y="535"/>
                        </a:lnTo>
                        <a:lnTo>
                          <a:pt x="279" y="532"/>
                        </a:lnTo>
                        <a:lnTo>
                          <a:pt x="280" y="530"/>
                        </a:lnTo>
                        <a:lnTo>
                          <a:pt x="284" y="527"/>
                        </a:lnTo>
                        <a:lnTo>
                          <a:pt x="285" y="524"/>
                        </a:lnTo>
                        <a:lnTo>
                          <a:pt x="287" y="519"/>
                        </a:lnTo>
                        <a:lnTo>
                          <a:pt x="288" y="515"/>
                        </a:lnTo>
                        <a:lnTo>
                          <a:pt x="290" y="511"/>
                        </a:lnTo>
                        <a:lnTo>
                          <a:pt x="290" y="507"/>
                        </a:lnTo>
                        <a:lnTo>
                          <a:pt x="292" y="503"/>
                        </a:lnTo>
                        <a:lnTo>
                          <a:pt x="295" y="502"/>
                        </a:lnTo>
                        <a:lnTo>
                          <a:pt x="295" y="500"/>
                        </a:lnTo>
                        <a:lnTo>
                          <a:pt x="295" y="499"/>
                        </a:lnTo>
                        <a:lnTo>
                          <a:pt x="296" y="499"/>
                        </a:lnTo>
                        <a:lnTo>
                          <a:pt x="298" y="499"/>
                        </a:lnTo>
                        <a:lnTo>
                          <a:pt x="299" y="497"/>
                        </a:lnTo>
                        <a:lnTo>
                          <a:pt x="301" y="496"/>
                        </a:lnTo>
                        <a:lnTo>
                          <a:pt x="301" y="494"/>
                        </a:lnTo>
                        <a:lnTo>
                          <a:pt x="304" y="494"/>
                        </a:lnTo>
                        <a:lnTo>
                          <a:pt x="306" y="494"/>
                        </a:lnTo>
                        <a:lnTo>
                          <a:pt x="307" y="492"/>
                        </a:lnTo>
                        <a:lnTo>
                          <a:pt x="309" y="492"/>
                        </a:lnTo>
                        <a:lnTo>
                          <a:pt x="311" y="496"/>
                        </a:lnTo>
                        <a:lnTo>
                          <a:pt x="312" y="499"/>
                        </a:lnTo>
                        <a:lnTo>
                          <a:pt x="315" y="500"/>
                        </a:lnTo>
                        <a:lnTo>
                          <a:pt x="317" y="500"/>
                        </a:lnTo>
                        <a:lnTo>
                          <a:pt x="320" y="500"/>
                        </a:lnTo>
                        <a:lnTo>
                          <a:pt x="323" y="500"/>
                        </a:lnTo>
                        <a:lnTo>
                          <a:pt x="326" y="500"/>
                        </a:lnTo>
                        <a:lnTo>
                          <a:pt x="330" y="500"/>
                        </a:lnTo>
                        <a:lnTo>
                          <a:pt x="333" y="499"/>
                        </a:lnTo>
                        <a:lnTo>
                          <a:pt x="336" y="496"/>
                        </a:lnTo>
                        <a:lnTo>
                          <a:pt x="338" y="489"/>
                        </a:lnTo>
                        <a:lnTo>
                          <a:pt x="341" y="484"/>
                        </a:lnTo>
                        <a:lnTo>
                          <a:pt x="342" y="481"/>
                        </a:lnTo>
                        <a:lnTo>
                          <a:pt x="345" y="478"/>
                        </a:lnTo>
                        <a:lnTo>
                          <a:pt x="349" y="477"/>
                        </a:lnTo>
                        <a:lnTo>
                          <a:pt x="352" y="475"/>
                        </a:lnTo>
                        <a:lnTo>
                          <a:pt x="355" y="473"/>
                        </a:lnTo>
                        <a:lnTo>
                          <a:pt x="358" y="473"/>
                        </a:lnTo>
                        <a:lnTo>
                          <a:pt x="360" y="470"/>
                        </a:lnTo>
                        <a:lnTo>
                          <a:pt x="363" y="467"/>
                        </a:lnTo>
                        <a:lnTo>
                          <a:pt x="368" y="464"/>
                        </a:lnTo>
                        <a:lnTo>
                          <a:pt x="372" y="462"/>
                        </a:lnTo>
                        <a:lnTo>
                          <a:pt x="377" y="461"/>
                        </a:lnTo>
                        <a:lnTo>
                          <a:pt x="380" y="458"/>
                        </a:lnTo>
                        <a:lnTo>
                          <a:pt x="387" y="454"/>
                        </a:lnTo>
                        <a:lnTo>
                          <a:pt x="391" y="454"/>
                        </a:lnTo>
                        <a:lnTo>
                          <a:pt x="395" y="454"/>
                        </a:lnTo>
                        <a:lnTo>
                          <a:pt x="398" y="453"/>
                        </a:lnTo>
                        <a:lnTo>
                          <a:pt x="401" y="451"/>
                        </a:lnTo>
                        <a:lnTo>
                          <a:pt x="402" y="448"/>
                        </a:lnTo>
                        <a:lnTo>
                          <a:pt x="404" y="445"/>
                        </a:lnTo>
                        <a:lnTo>
                          <a:pt x="406" y="443"/>
                        </a:lnTo>
                        <a:lnTo>
                          <a:pt x="407" y="443"/>
                        </a:lnTo>
                        <a:lnTo>
                          <a:pt x="409" y="443"/>
                        </a:lnTo>
                        <a:lnTo>
                          <a:pt x="410" y="443"/>
                        </a:lnTo>
                        <a:lnTo>
                          <a:pt x="412" y="443"/>
                        </a:lnTo>
                        <a:lnTo>
                          <a:pt x="414" y="442"/>
                        </a:lnTo>
                        <a:lnTo>
                          <a:pt x="415" y="440"/>
                        </a:lnTo>
                        <a:lnTo>
                          <a:pt x="417" y="439"/>
                        </a:lnTo>
                        <a:lnTo>
                          <a:pt x="420" y="435"/>
                        </a:lnTo>
                        <a:lnTo>
                          <a:pt x="420" y="434"/>
                        </a:lnTo>
                        <a:lnTo>
                          <a:pt x="421" y="431"/>
                        </a:lnTo>
                        <a:lnTo>
                          <a:pt x="421" y="429"/>
                        </a:lnTo>
                        <a:lnTo>
                          <a:pt x="425" y="427"/>
                        </a:lnTo>
                        <a:lnTo>
                          <a:pt x="426" y="426"/>
                        </a:lnTo>
                        <a:lnTo>
                          <a:pt x="428" y="424"/>
                        </a:lnTo>
                        <a:lnTo>
                          <a:pt x="428" y="421"/>
                        </a:lnTo>
                        <a:lnTo>
                          <a:pt x="429" y="420"/>
                        </a:lnTo>
                        <a:lnTo>
                          <a:pt x="429" y="418"/>
                        </a:lnTo>
                        <a:lnTo>
                          <a:pt x="431" y="416"/>
                        </a:lnTo>
                        <a:lnTo>
                          <a:pt x="433" y="416"/>
                        </a:lnTo>
                        <a:lnTo>
                          <a:pt x="434" y="416"/>
                        </a:lnTo>
                        <a:lnTo>
                          <a:pt x="436" y="416"/>
                        </a:lnTo>
                        <a:lnTo>
                          <a:pt x="439" y="418"/>
                        </a:lnTo>
                        <a:lnTo>
                          <a:pt x="442" y="418"/>
                        </a:lnTo>
                        <a:lnTo>
                          <a:pt x="445" y="418"/>
                        </a:lnTo>
                        <a:lnTo>
                          <a:pt x="448" y="415"/>
                        </a:lnTo>
                        <a:lnTo>
                          <a:pt x="452" y="412"/>
                        </a:lnTo>
                        <a:lnTo>
                          <a:pt x="455" y="408"/>
                        </a:lnTo>
                        <a:lnTo>
                          <a:pt x="458" y="405"/>
                        </a:lnTo>
                        <a:lnTo>
                          <a:pt x="458" y="404"/>
                        </a:lnTo>
                        <a:lnTo>
                          <a:pt x="456" y="404"/>
                        </a:lnTo>
                        <a:lnTo>
                          <a:pt x="455" y="404"/>
                        </a:lnTo>
                        <a:lnTo>
                          <a:pt x="453" y="402"/>
                        </a:lnTo>
                        <a:lnTo>
                          <a:pt x="452" y="400"/>
                        </a:lnTo>
                        <a:lnTo>
                          <a:pt x="450" y="400"/>
                        </a:lnTo>
                        <a:lnTo>
                          <a:pt x="450" y="399"/>
                        </a:lnTo>
                        <a:lnTo>
                          <a:pt x="448" y="399"/>
                        </a:lnTo>
                        <a:lnTo>
                          <a:pt x="448" y="396"/>
                        </a:lnTo>
                        <a:lnTo>
                          <a:pt x="447" y="396"/>
                        </a:lnTo>
                        <a:lnTo>
                          <a:pt x="447" y="394"/>
                        </a:lnTo>
                        <a:lnTo>
                          <a:pt x="445" y="393"/>
                        </a:lnTo>
                        <a:lnTo>
                          <a:pt x="444" y="391"/>
                        </a:lnTo>
                        <a:lnTo>
                          <a:pt x="442" y="389"/>
                        </a:lnTo>
                        <a:lnTo>
                          <a:pt x="442" y="388"/>
                        </a:lnTo>
                        <a:lnTo>
                          <a:pt x="442" y="386"/>
                        </a:lnTo>
                        <a:lnTo>
                          <a:pt x="442" y="385"/>
                        </a:lnTo>
                        <a:lnTo>
                          <a:pt x="442" y="383"/>
                        </a:lnTo>
                        <a:lnTo>
                          <a:pt x="440" y="383"/>
                        </a:lnTo>
                        <a:lnTo>
                          <a:pt x="440" y="381"/>
                        </a:lnTo>
                        <a:lnTo>
                          <a:pt x="439" y="380"/>
                        </a:lnTo>
                        <a:lnTo>
                          <a:pt x="437" y="380"/>
                        </a:lnTo>
                        <a:lnTo>
                          <a:pt x="437" y="378"/>
                        </a:lnTo>
                        <a:lnTo>
                          <a:pt x="436" y="378"/>
                        </a:lnTo>
                        <a:lnTo>
                          <a:pt x="436" y="377"/>
                        </a:lnTo>
                        <a:lnTo>
                          <a:pt x="434" y="377"/>
                        </a:lnTo>
                        <a:lnTo>
                          <a:pt x="433" y="375"/>
                        </a:lnTo>
                        <a:lnTo>
                          <a:pt x="431" y="374"/>
                        </a:lnTo>
                        <a:lnTo>
                          <a:pt x="431" y="372"/>
                        </a:lnTo>
                        <a:lnTo>
                          <a:pt x="431" y="370"/>
                        </a:lnTo>
                        <a:lnTo>
                          <a:pt x="429" y="370"/>
                        </a:lnTo>
                        <a:lnTo>
                          <a:pt x="426" y="370"/>
                        </a:lnTo>
                        <a:lnTo>
                          <a:pt x="425" y="370"/>
                        </a:lnTo>
                        <a:lnTo>
                          <a:pt x="423" y="370"/>
                        </a:lnTo>
                        <a:lnTo>
                          <a:pt x="421" y="370"/>
                        </a:lnTo>
                        <a:lnTo>
                          <a:pt x="420" y="370"/>
                        </a:lnTo>
                        <a:lnTo>
                          <a:pt x="418" y="370"/>
                        </a:lnTo>
                        <a:lnTo>
                          <a:pt x="415" y="372"/>
                        </a:lnTo>
                        <a:lnTo>
                          <a:pt x="414" y="370"/>
                        </a:lnTo>
                        <a:lnTo>
                          <a:pt x="412" y="372"/>
                        </a:lnTo>
                        <a:lnTo>
                          <a:pt x="409" y="374"/>
                        </a:lnTo>
                        <a:lnTo>
                          <a:pt x="407" y="374"/>
                        </a:lnTo>
                        <a:lnTo>
                          <a:pt x="407" y="372"/>
                        </a:lnTo>
                        <a:lnTo>
                          <a:pt x="406" y="372"/>
                        </a:lnTo>
                        <a:lnTo>
                          <a:pt x="406" y="370"/>
                        </a:lnTo>
                        <a:lnTo>
                          <a:pt x="406" y="369"/>
                        </a:lnTo>
                        <a:lnTo>
                          <a:pt x="406" y="367"/>
                        </a:lnTo>
                        <a:lnTo>
                          <a:pt x="406" y="366"/>
                        </a:lnTo>
                        <a:lnTo>
                          <a:pt x="406" y="364"/>
                        </a:lnTo>
                        <a:lnTo>
                          <a:pt x="406" y="362"/>
                        </a:lnTo>
                        <a:lnTo>
                          <a:pt x="404" y="362"/>
                        </a:lnTo>
                        <a:lnTo>
                          <a:pt x="401" y="362"/>
                        </a:lnTo>
                        <a:lnTo>
                          <a:pt x="399" y="362"/>
                        </a:lnTo>
                        <a:lnTo>
                          <a:pt x="396" y="362"/>
                        </a:lnTo>
                        <a:lnTo>
                          <a:pt x="395" y="362"/>
                        </a:lnTo>
                        <a:lnTo>
                          <a:pt x="395" y="361"/>
                        </a:lnTo>
                        <a:lnTo>
                          <a:pt x="393" y="361"/>
                        </a:lnTo>
                        <a:lnTo>
                          <a:pt x="391" y="361"/>
                        </a:lnTo>
                        <a:lnTo>
                          <a:pt x="391" y="359"/>
                        </a:lnTo>
                        <a:lnTo>
                          <a:pt x="390" y="359"/>
                        </a:lnTo>
                        <a:lnTo>
                          <a:pt x="388" y="359"/>
                        </a:lnTo>
                        <a:lnTo>
                          <a:pt x="387" y="358"/>
                        </a:lnTo>
                        <a:lnTo>
                          <a:pt x="387" y="356"/>
                        </a:lnTo>
                        <a:lnTo>
                          <a:pt x="388" y="355"/>
                        </a:lnTo>
                        <a:lnTo>
                          <a:pt x="388" y="353"/>
                        </a:lnTo>
                        <a:lnTo>
                          <a:pt x="388" y="351"/>
                        </a:lnTo>
                        <a:lnTo>
                          <a:pt x="387" y="351"/>
                        </a:lnTo>
                        <a:lnTo>
                          <a:pt x="385" y="351"/>
                        </a:lnTo>
                        <a:lnTo>
                          <a:pt x="383" y="351"/>
                        </a:lnTo>
                        <a:lnTo>
                          <a:pt x="380" y="351"/>
                        </a:lnTo>
                        <a:lnTo>
                          <a:pt x="379" y="351"/>
                        </a:lnTo>
                        <a:lnTo>
                          <a:pt x="379" y="350"/>
                        </a:lnTo>
                        <a:lnTo>
                          <a:pt x="379" y="348"/>
                        </a:lnTo>
                        <a:lnTo>
                          <a:pt x="379" y="347"/>
                        </a:lnTo>
                        <a:lnTo>
                          <a:pt x="377" y="347"/>
                        </a:lnTo>
                        <a:lnTo>
                          <a:pt x="376" y="347"/>
                        </a:lnTo>
                        <a:lnTo>
                          <a:pt x="374" y="347"/>
                        </a:lnTo>
                        <a:lnTo>
                          <a:pt x="371" y="347"/>
                        </a:lnTo>
                        <a:lnTo>
                          <a:pt x="369" y="345"/>
                        </a:lnTo>
                        <a:lnTo>
                          <a:pt x="368" y="345"/>
                        </a:lnTo>
                        <a:lnTo>
                          <a:pt x="368" y="342"/>
                        </a:lnTo>
                        <a:lnTo>
                          <a:pt x="368" y="340"/>
                        </a:lnTo>
                        <a:lnTo>
                          <a:pt x="369" y="339"/>
                        </a:lnTo>
                        <a:lnTo>
                          <a:pt x="369" y="337"/>
                        </a:lnTo>
                        <a:lnTo>
                          <a:pt x="369" y="336"/>
                        </a:lnTo>
                        <a:lnTo>
                          <a:pt x="369" y="332"/>
                        </a:lnTo>
                        <a:lnTo>
                          <a:pt x="369" y="331"/>
                        </a:lnTo>
                        <a:lnTo>
                          <a:pt x="369" y="329"/>
                        </a:lnTo>
                        <a:lnTo>
                          <a:pt x="369" y="328"/>
                        </a:lnTo>
                        <a:lnTo>
                          <a:pt x="369" y="326"/>
                        </a:lnTo>
                        <a:lnTo>
                          <a:pt x="368" y="326"/>
                        </a:lnTo>
                        <a:lnTo>
                          <a:pt x="366" y="324"/>
                        </a:lnTo>
                        <a:lnTo>
                          <a:pt x="366" y="323"/>
                        </a:lnTo>
                        <a:lnTo>
                          <a:pt x="364" y="323"/>
                        </a:lnTo>
                        <a:lnTo>
                          <a:pt x="366" y="320"/>
                        </a:lnTo>
                        <a:lnTo>
                          <a:pt x="366" y="318"/>
                        </a:lnTo>
                        <a:lnTo>
                          <a:pt x="366" y="317"/>
                        </a:lnTo>
                        <a:lnTo>
                          <a:pt x="364" y="317"/>
                        </a:lnTo>
                        <a:lnTo>
                          <a:pt x="364" y="315"/>
                        </a:lnTo>
                        <a:lnTo>
                          <a:pt x="363" y="315"/>
                        </a:lnTo>
                        <a:lnTo>
                          <a:pt x="361" y="317"/>
                        </a:lnTo>
                        <a:lnTo>
                          <a:pt x="360" y="318"/>
                        </a:lnTo>
                        <a:lnTo>
                          <a:pt x="358" y="318"/>
                        </a:lnTo>
                        <a:lnTo>
                          <a:pt x="357" y="318"/>
                        </a:lnTo>
                        <a:lnTo>
                          <a:pt x="352" y="320"/>
                        </a:lnTo>
                        <a:lnTo>
                          <a:pt x="350" y="321"/>
                        </a:lnTo>
                        <a:lnTo>
                          <a:pt x="349" y="321"/>
                        </a:lnTo>
                        <a:lnTo>
                          <a:pt x="347" y="321"/>
                        </a:lnTo>
                        <a:lnTo>
                          <a:pt x="347" y="320"/>
                        </a:lnTo>
                        <a:lnTo>
                          <a:pt x="345" y="320"/>
                        </a:lnTo>
                        <a:lnTo>
                          <a:pt x="345" y="318"/>
                        </a:lnTo>
                        <a:lnTo>
                          <a:pt x="345" y="315"/>
                        </a:lnTo>
                        <a:lnTo>
                          <a:pt x="344" y="312"/>
                        </a:lnTo>
                        <a:lnTo>
                          <a:pt x="342" y="310"/>
                        </a:lnTo>
                        <a:lnTo>
                          <a:pt x="342" y="309"/>
                        </a:lnTo>
                        <a:lnTo>
                          <a:pt x="344" y="307"/>
                        </a:lnTo>
                        <a:lnTo>
                          <a:pt x="344" y="305"/>
                        </a:lnTo>
                        <a:lnTo>
                          <a:pt x="342" y="302"/>
                        </a:lnTo>
                        <a:lnTo>
                          <a:pt x="341" y="302"/>
                        </a:lnTo>
                        <a:lnTo>
                          <a:pt x="339" y="302"/>
                        </a:lnTo>
                        <a:lnTo>
                          <a:pt x="338" y="301"/>
                        </a:lnTo>
                        <a:lnTo>
                          <a:pt x="338" y="302"/>
                        </a:lnTo>
                        <a:lnTo>
                          <a:pt x="334" y="302"/>
                        </a:lnTo>
                        <a:lnTo>
                          <a:pt x="331" y="304"/>
                        </a:lnTo>
                        <a:lnTo>
                          <a:pt x="328" y="302"/>
                        </a:lnTo>
                        <a:lnTo>
                          <a:pt x="326" y="302"/>
                        </a:lnTo>
                        <a:lnTo>
                          <a:pt x="325" y="302"/>
                        </a:lnTo>
                        <a:lnTo>
                          <a:pt x="323" y="302"/>
                        </a:lnTo>
                        <a:lnTo>
                          <a:pt x="323" y="304"/>
                        </a:lnTo>
                        <a:lnTo>
                          <a:pt x="322" y="304"/>
                        </a:lnTo>
                        <a:lnTo>
                          <a:pt x="320" y="302"/>
                        </a:lnTo>
                        <a:lnTo>
                          <a:pt x="318" y="301"/>
                        </a:lnTo>
                        <a:lnTo>
                          <a:pt x="318" y="299"/>
                        </a:lnTo>
                        <a:lnTo>
                          <a:pt x="318" y="298"/>
                        </a:lnTo>
                        <a:lnTo>
                          <a:pt x="317" y="298"/>
                        </a:lnTo>
                        <a:lnTo>
                          <a:pt x="317" y="296"/>
                        </a:lnTo>
                        <a:lnTo>
                          <a:pt x="318" y="294"/>
                        </a:lnTo>
                        <a:lnTo>
                          <a:pt x="317" y="293"/>
                        </a:lnTo>
                        <a:lnTo>
                          <a:pt x="317" y="294"/>
                        </a:lnTo>
                        <a:lnTo>
                          <a:pt x="315" y="294"/>
                        </a:lnTo>
                        <a:lnTo>
                          <a:pt x="315" y="293"/>
                        </a:lnTo>
                        <a:lnTo>
                          <a:pt x="314" y="293"/>
                        </a:lnTo>
                        <a:lnTo>
                          <a:pt x="311" y="294"/>
                        </a:lnTo>
                        <a:lnTo>
                          <a:pt x="309" y="294"/>
                        </a:lnTo>
                        <a:lnTo>
                          <a:pt x="307" y="294"/>
                        </a:lnTo>
                        <a:lnTo>
                          <a:pt x="307" y="293"/>
                        </a:lnTo>
                        <a:lnTo>
                          <a:pt x="306" y="293"/>
                        </a:lnTo>
                        <a:lnTo>
                          <a:pt x="306" y="291"/>
                        </a:lnTo>
                        <a:lnTo>
                          <a:pt x="306" y="290"/>
                        </a:lnTo>
                        <a:lnTo>
                          <a:pt x="304" y="290"/>
                        </a:lnTo>
                        <a:lnTo>
                          <a:pt x="303" y="288"/>
                        </a:lnTo>
                        <a:lnTo>
                          <a:pt x="303" y="286"/>
                        </a:lnTo>
                        <a:lnTo>
                          <a:pt x="303" y="285"/>
                        </a:lnTo>
                        <a:lnTo>
                          <a:pt x="303" y="282"/>
                        </a:lnTo>
                        <a:lnTo>
                          <a:pt x="304" y="282"/>
                        </a:lnTo>
                        <a:lnTo>
                          <a:pt x="306" y="282"/>
                        </a:lnTo>
                        <a:lnTo>
                          <a:pt x="306" y="280"/>
                        </a:lnTo>
                        <a:lnTo>
                          <a:pt x="304" y="280"/>
                        </a:lnTo>
                        <a:lnTo>
                          <a:pt x="303" y="279"/>
                        </a:lnTo>
                        <a:lnTo>
                          <a:pt x="301" y="277"/>
                        </a:lnTo>
                        <a:lnTo>
                          <a:pt x="299" y="277"/>
                        </a:lnTo>
                        <a:lnTo>
                          <a:pt x="298" y="275"/>
                        </a:lnTo>
                        <a:lnTo>
                          <a:pt x="295" y="274"/>
                        </a:lnTo>
                        <a:lnTo>
                          <a:pt x="293" y="274"/>
                        </a:lnTo>
                        <a:lnTo>
                          <a:pt x="292" y="274"/>
                        </a:lnTo>
                        <a:lnTo>
                          <a:pt x="287" y="272"/>
                        </a:lnTo>
                        <a:lnTo>
                          <a:pt x="284" y="271"/>
                        </a:lnTo>
                        <a:lnTo>
                          <a:pt x="282" y="271"/>
                        </a:lnTo>
                        <a:lnTo>
                          <a:pt x="282" y="269"/>
                        </a:lnTo>
                        <a:lnTo>
                          <a:pt x="280" y="267"/>
                        </a:lnTo>
                        <a:lnTo>
                          <a:pt x="279" y="266"/>
                        </a:lnTo>
                        <a:lnTo>
                          <a:pt x="279" y="264"/>
                        </a:lnTo>
                        <a:lnTo>
                          <a:pt x="277" y="263"/>
                        </a:lnTo>
                        <a:lnTo>
                          <a:pt x="276" y="263"/>
                        </a:lnTo>
                        <a:lnTo>
                          <a:pt x="274" y="263"/>
                        </a:lnTo>
                        <a:lnTo>
                          <a:pt x="274" y="261"/>
                        </a:lnTo>
                        <a:lnTo>
                          <a:pt x="273" y="261"/>
                        </a:lnTo>
                        <a:lnTo>
                          <a:pt x="269" y="261"/>
                        </a:lnTo>
                        <a:lnTo>
                          <a:pt x="268" y="260"/>
                        </a:lnTo>
                        <a:lnTo>
                          <a:pt x="268" y="258"/>
                        </a:lnTo>
                        <a:lnTo>
                          <a:pt x="268" y="256"/>
                        </a:lnTo>
                        <a:lnTo>
                          <a:pt x="268" y="255"/>
                        </a:lnTo>
                        <a:lnTo>
                          <a:pt x="266" y="255"/>
                        </a:lnTo>
                        <a:lnTo>
                          <a:pt x="265" y="255"/>
                        </a:lnTo>
                        <a:lnTo>
                          <a:pt x="265" y="256"/>
                        </a:lnTo>
                        <a:lnTo>
                          <a:pt x="263" y="256"/>
                        </a:lnTo>
                        <a:lnTo>
                          <a:pt x="260" y="258"/>
                        </a:lnTo>
                        <a:lnTo>
                          <a:pt x="258" y="260"/>
                        </a:lnTo>
                        <a:lnTo>
                          <a:pt x="257" y="260"/>
                        </a:lnTo>
                        <a:lnTo>
                          <a:pt x="255" y="260"/>
                        </a:lnTo>
                        <a:lnTo>
                          <a:pt x="254" y="260"/>
                        </a:lnTo>
                        <a:lnTo>
                          <a:pt x="252" y="260"/>
                        </a:lnTo>
                        <a:lnTo>
                          <a:pt x="250" y="260"/>
                        </a:lnTo>
                        <a:lnTo>
                          <a:pt x="249" y="258"/>
                        </a:lnTo>
                        <a:lnTo>
                          <a:pt x="247" y="258"/>
                        </a:lnTo>
                        <a:lnTo>
                          <a:pt x="246" y="255"/>
                        </a:lnTo>
                        <a:lnTo>
                          <a:pt x="247" y="253"/>
                        </a:lnTo>
                        <a:lnTo>
                          <a:pt x="249" y="252"/>
                        </a:lnTo>
                        <a:lnTo>
                          <a:pt x="249" y="250"/>
                        </a:lnTo>
                        <a:lnTo>
                          <a:pt x="247" y="250"/>
                        </a:lnTo>
                        <a:lnTo>
                          <a:pt x="246" y="247"/>
                        </a:lnTo>
                        <a:lnTo>
                          <a:pt x="244" y="245"/>
                        </a:lnTo>
                        <a:lnTo>
                          <a:pt x="242" y="244"/>
                        </a:lnTo>
                        <a:lnTo>
                          <a:pt x="242" y="242"/>
                        </a:lnTo>
                        <a:lnTo>
                          <a:pt x="241" y="241"/>
                        </a:lnTo>
                        <a:lnTo>
                          <a:pt x="239" y="239"/>
                        </a:lnTo>
                        <a:lnTo>
                          <a:pt x="239" y="237"/>
                        </a:lnTo>
                        <a:lnTo>
                          <a:pt x="238" y="236"/>
                        </a:lnTo>
                        <a:lnTo>
                          <a:pt x="235" y="236"/>
                        </a:lnTo>
                        <a:lnTo>
                          <a:pt x="233" y="236"/>
                        </a:lnTo>
                        <a:lnTo>
                          <a:pt x="231" y="234"/>
                        </a:lnTo>
                        <a:lnTo>
                          <a:pt x="228" y="233"/>
                        </a:lnTo>
                        <a:lnTo>
                          <a:pt x="227" y="233"/>
                        </a:lnTo>
                        <a:lnTo>
                          <a:pt x="225" y="231"/>
                        </a:lnTo>
                        <a:lnTo>
                          <a:pt x="223" y="231"/>
                        </a:lnTo>
                        <a:lnTo>
                          <a:pt x="222" y="229"/>
                        </a:lnTo>
                        <a:lnTo>
                          <a:pt x="222" y="228"/>
                        </a:lnTo>
                        <a:lnTo>
                          <a:pt x="222" y="226"/>
                        </a:lnTo>
                        <a:lnTo>
                          <a:pt x="220" y="226"/>
                        </a:lnTo>
                        <a:lnTo>
                          <a:pt x="220" y="225"/>
                        </a:lnTo>
                        <a:lnTo>
                          <a:pt x="220" y="223"/>
                        </a:lnTo>
                        <a:lnTo>
                          <a:pt x="222" y="220"/>
                        </a:lnTo>
                        <a:lnTo>
                          <a:pt x="220" y="220"/>
                        </a:lnTo>
                        <a:lnTo>
                          <a:pt x="219" y="217"/>
                        </a:lnTo>
                        <a:lnTo>
                          <a:pt x="217" y="215"/>
                        </a:lnTo>
                        <a:lnTo>
                          <a:pt x="219" y="214"/>
                        </a:lnTo>
                        <a:lnTo>
                          <a:pt x="217" y="212"/>
                        </a:lnTo>
                        <a:lnTo>
                          <a:pt x="216" y="214"/>
                        </a:lnTo>
                        <a:lnTo>
                          <a:pt x="214" y="212"/>
                        </a:lnTo>
                        <a:lnTo>
                          <a:pt x="212" y="212"/>
                        </a:lnTo>
                        <a:lnTo>
                          <a:pt x="212" y="210"/>
                        </a:lnTo>
                        <a:lnTo>
                          <a:pt x="211" y="209"/>
                        </a:lnTo>
                        <a:lnTo>
                          <a:pt x="209" y="209"/>
                        </a:lnTo>
                        <a:lnTo>
                          <a:pt x="208" y="207"/>
                        </a:lnTo>
                        <a:lnTo>
                          <a:pt x="206" y="207"/>
                        </a:lnTo>
                        <a:lnTo>
                          <a:pt x="204" y="206"/>
                        </a:lnTo>
                        <a:lnTo>
                          <a:pt x="203" y="206"/>
                        </a:lnTo>
                        <a:lnTo>
                          <a:pt x="203" y="204"/>
                        </a:lnTo>
                        <a:lnTo>
                          <a:pt x="203" y="202"/>
                        </a:lnTo>
                        <a:lnTo>
                          <a:pt x="201" y="199"/>
                        </a:lnTo>
                        <a:lnTo>
                          <a:pt x="200" y="198"/>
                        </a:lnTo>
                        <a:lnTo>
                          <a:pt x="198" y="196"/>
                        </a:lnTo>
                        <a:lnTo>
                          <a:pt x="198" y="195"/>
                        </a:lnTo>
                        <a:lnTo>
                          <a:pt x="197" y="195"/>
                        </a:lnTo>
                        <a:lnTo>
                          <a:pt x="195" y="195"/>
                        </a:lnTo>
                        <a:lnTo>
                          <a:pt x="193" y="195"/>
                        </a:lnTo>
                        <a:lnTo>
                          <a:pt x="192" y="195"/>
                        </a:lnTo>
                        <a:lnTo>
                          <a:pt x="190" y="195"/>
                        </a:lnTo>
                        <a:lnTo>
                          <a:pt x="187" y="193"/>
                        </a:lnTo>
                        <a:lnTo>
                          <a:pt x="185" y="191"/>
                        </a:lnTo>
                        <a:lnTo>
                          <a:pt x="182" y="188"/>
                        </a:lnTo>
                        <a:lnTo>
                          <a:pt x="181" y="188"/>
                        </a:lnTo>
                        <a:lnTo>
                          <a:pt x="179" y="187"/>
                        </a:lnTo>
                        <a:lnTo>
                          <a:pt x="176" y="185"/>
                        </a:lnTo>
                        <a:lnTo>
                          <a:pt x="174" y="183"/>
                        </a:lnTo>
                        <a:lnTo>
                          <a:pt x="173" y="182"/>
                        </a:lnTo>
                        <a:lnTo>
                          <a:pt x="173" y="180"/>
                        </a:lnTo>
                        <a:lnTo>
                          <a:pt x="171" y="179"/>
                        </a:lnTo>
                        <a:lnTo>
                          <a:pt x="171" y="177"/>
                        </a:lnTo>
                        <a:lnTo>
                          <a:pt x="170" y="177"/>
                        </a:lnTo>
                        <a:lnTo>
                          <a:pt x="168" y="176"/>
                        </a:lnTo>
                        <a:lnTo>
                          <a:pt x="166" y="176"/>
                        </a:lnTo>
                        <a:lnTo>
                          <a:pt x="166" y="174"/>
                        </a:lnTo>
                        <a:lnTo>
                          <a:pt x="165" y="172"/>
                        </a:lnTo>
                        <a:lnTo>
                          <a:pt x="166" y="171"/>
                        </a:lnTo>
                        <a:lnTo>
                          <a:pt x="165" y="169"/>
                        </a:lnTo>
                        <a:lnTo>
                          <a:pt x="165" y="168"/>
                        </a:lnTo>
                        <a:lnTo>
                          <a:pt x="165" y="166"/>
                        </a:lnTo>
                        <a:lnTo>
                          <a:pt x="166" y="164"/>
                        </a:lnTo>
                        <a:lnTo>
                          <a:pt x="166" y="163"/>
                        </a:lnTo>
                        <a:lnTo>
                          <a:pt x="165" y="161"/>
                        </a:lnTo>
                        <a:lnTo>
                          <a:pt x="165" y="160"/>
                        </a:lnTo>
                        <a:lnTo>
                          <a:pt x="166" y="160"/>
                        </a:lnTo>
                        <a:lnTo>
                          <a:pt x="166" y="158"/>
                        </a:lnTo>
                        <a:lnTo>
                          <a:pt x="165" y="157"/>
                        </a:lnTo>
                        <a:lnTo>
                          <a:pt x="163" y="157"/>
                        </a:lnTo>
                        <a:lnTo>
                          <a:pt x="163" y="155"/>
                        </a:lnTo>
                        <a:lnTo>
                          <a:pt x="160" y="155"/>
                        </a:lnTo>
                        <a:lnTo>
                          <a:pt x="159" y="153"/>
                        </a:lnTo>
                        <a:lnTo>
                          <a:pt x="157" y="152"/>
                        </a:lnTo>
                        <a:lnTo>
                          <a:pt x="155" y="150"/>
                        </a:lnTo>
                        <a:lnTo>
                          <a:pt x="155" y="149"/>
                        </a:lnTo>
                        <a:lnTo>
                          <a:pt x="154" y="149"/>
                        </a:lnTo>
                        <a:lnTo>
                          <a:pt x="152" y="149"/>
                        </a:lnTo>
                        <a:lnTo>
                          <a:pt x="149" y="150"/>
                        </a:lnTo>
                        <a:lnTo>
                          <a:pt x="147" y="150"/>
                        </a:lnTo>
                        <a:lnTo>
                          <a:pt x="144" y="149"/>
                        </a:lnTo>
                        <a:lnTo>
                          <a:pt x="143" y="149"/>
                        </a:lnTo>
                        <a:lnTo>
                          <a:pt x="141" y="150"/>
                        </a:lnTo>
                        <a:lnTo>
                          <a:pt x="139" y="152"/>
                        </a:lnTo>
                        <a:lnTo>
                          <a:pt x="138" y="152"/>
                        </a:lnTo>
                        <a:lnTo>
                          <a:pt x="136" y="152"/>
                        </a:lnTo>
                        <a:lnTo>
                          <a:pt x="135" y="152"/>
                        </a:lnTo>
                        <a:lnTo>
                          <a:pt x="133" y="152"/>
                        </a:lnTo>
                        <a:lnTo>
                          <a:pt x="130" y="150"/>
                        </a:lnTo>
                        <a:lnTo>
                          <a:pt x="130" y="152"/>
                        </a:lnTo>
                        <a:lnTo>
                          <a:pt x="128" y="152"/>
                        </a:lnTo>
                        <a:lnTo>
                          <a:pt x="128" y="153"/>
                        </a:lnTo>
                        <a:lnTo>
                          <a:pt x="128" y="155"/>
                        </a:lnTo>
                        <a:lnTo>
                          <a:pt x="128" y="157"/>
                        </a:lnTo>
                        <a:lnTo>
                          <a:pt x="127" y="158"/>
                        </a:lnTo>
                        <a:lnTo>
                          <a:pt x="125" y="158"/>
                        </a:lnTo>
                        <a:lnTo>
                          <a:pt x="122" y="160"/>
                        </a:lnTo>
                        <a:lnTo>
                          <a:pt x="119" y="160"/>
                        </a:lnTo>
                        <a:lnTo>
                          <a:pt x="117" y="160"/>
                        </a:lnTo>
                        <a:lnTo>
                          <a:pt x="117" y="161"/>
                        </a:lnTo>
                        <a:lnTo>
                          <a:pt x="116" y="163"/>
                        </a:lnTo>
                        <a:lnTo>
                          <a:pt x="116" y="164"/>
                        </a:lnTo>
                        <a:lnTo>
                          <a:pt x="114" y="166"/>
                        </a:lnTo>
                        <a:lnTo>
                          <a:pt x="113" y="168"/>
                        </a:lnTo>
                        <a:lnTo>
                          <a:pt x="113" y="169"/>
                        </a:lnTo>
                        <a:lnTo>
                          <a:pt x="111" y="171"/>
                        </a:lnTo>
                        <a:lnTo>
                          <a:pt x="109" y="172"/>
                        </a:lnTo>
                        <a:lnTo>
                          <a:pt x="106" y="176"/>
                        </a:lnTo>
                        <a:lnTo>
                          <a:pt x="101" y="177"/>
                        </a:lnTo>
                        <a:lnTo>
                          <a:pt x="100" y="177"/>
                        </a:lnTo>
                        <a:lnTo>
                          <a:pt x="97" y="177"/>
                        </a:lnTo>
                        <a:lnTo>
                          <a:pt x="95" y="177"/>
                        </a:lnTo>
                        <a:lnTo>
                          <a:pt x="94" y="177"/>
                        </a:lnTo>
                        <a:lnTo>
                          <a:pt x="92" y="176"/>
                        </a:lnTo>
                        <a:lnTo>
                          <a:pt x="89" y="174"/>
                        </a:lnTo>
                        <a:lnTo>
                          <a:pt x="86" y="171"/>
                        </a:lnTo>
                        <a:lnTo>
                          <a:pt x="82" y="169"/>
                        </a:lnTo>
                        <a:lnTo>
                          <a:pt x="81" y="168"/>
                        </a:lnTo>
                        <a:lnTo>
                          <a:pt x="78" y="166"/>
                        </a:lnTo>
                        <a:lnTo>
                          <a:pt x="78" y="164"/>
                        </a:lnTo>
                        <a:lnTo>
                          <a:pt x="76" y="164"/>
                        </a:lnTo>
                        <a:lnTo>
                          <a:pt x="75" y="164"/>
                        </a:lnTo>
                        <a:lnTo>
                          <a:pt x="73" y="166"/>
                        </a:lnTo>
                        <a:lnTo>
                          <a:pt x="75" y="168"/>
                        </a:lnTo>
                        <a:lnTo>
                          <a:pt x="73" y="169"/>
                        </a:lnTo>
                        <a:lnTo>
                          <a:pt x="71" y="169"/>
                        </a:lnTo>
                        <a:lnTo>
                          <a:pt x="67" y="171"/>
                        </a:lnTo>
                        <a:lnTo>
                          <a:pt x="65" y="172"/>
                        </a:lnTo>
                        <a:lnTo>
                          <a:pt x="62" y="174"/>
                        </a:lnTo>
                        <a:lnTo>
                          <a:pt x="59" y="174"/>
                        </a:lnTo>
                        <a:lnTo>
                          <a:pt x="54" y="172"/>
                        </a:lnTo>
                        <a:lnTo>
                          <a:pt x="51" y="172"/>
                        </a:lnTo>
                        <a:lnTo>
                          <a:pt x="48" y="171"/>
                        </a:lnTo>
                        <a:lnTo>
                          <a:pt x="44" y="168"/>
                        </a:lnTo>
                        <a:lnTo>
                          <a:pt x="44" y="166"/>
                        </a:lnTo>
                        <a:lnTo>
                          <a:pt x="43" y="164"/>
                        </a:lnTo>
                        <a:lnTo>
                          <a:pt x="44" y="163"/>
                        </a:lnTo>
                        <a:lnTo>
                          <a:pt x="44" y="161"/>
                        </a:lnTo>
                        <a:lnTo>
                          <a:pt x="43" y="160"/>
                        </a:lnTo>
                        <a:lnTo>
                          <a:pt x="43" y="158"/>
                        </a:lnTo>
                        <a:lnTo>
                          <a:pt x="41" y="157"/>
                        </a:lnTo>
                        <a:lnTo>
                          <a:pt x="41" y="155"/>
                        </a:lnTo>
                        <a:lnTo>
                          <a:pt x="41" y="152"/>
                        </a:lnTo>
                        <a:lnTo>
                          <a:pt x="40" y="152"/>
                        </a:lnTo>
                        <a:lnTo>
                          <a:pt x="37" y="150"/>
                        </a:lnTo>
                        <a:lnTo>
                          <a:pt x="35" y="149"/>
                        </a:lnTo>
                        <a:lnTo>
                          <a:pt x="33" y="147"/>
                        </a:lnTo>
                        <a:lnTo>
                          <a:pt x="32" y="147"/>
                        </a:lnTo>
                        <a:lnTo>
                          <a:pt x="32" y="145"/>
                        </a:lnTo>
                        <a:lnTo>
                          <a:pt x="29" y="144"/>
                        </a:lnTo>
                        <a:lnTo>
                          <a:pt x="25" y="144"/>
                        </a:lnTo>
                        <a:lnTo>
                          <a:pt x="24" y="142"/>
                        </a:lnTo>
                        <a:lnTo>
                          <a:pt x="22" y="141"/>
                        </a:lnTo>
                        <a:lnTo>
                          <a:pt x="21" y="139"/>
                        </a:lnTo>
                        <a:lnTo>
                          <a:pt x="19" y="136"/>
                        </a:lnTo>
                        <a:lnTo>
                          <a:pt x="18" y="134"/>
                        </a:lnTo>
                        <a:lnTo>
                          <a:pt x="14" y="131"/>
                        </a:lnTo>
                        <a:lnTo>
                          <a:pt x="11" y="130"/>
                        </a:lnTo>
                        <a:lnTo>
                          <a:pt x="8" y="130"/>
                        </a:lnTo>
                        <a:lnTo>
                          <a:pt x="6" y="128"/>
                        </a:lnTo>
                        <a:lnTo>
                          <a:pt x="8" y="126"/>
                        </a:lnTo>
                        <a:lnTo>
                          <a:pt x="6" y="125"/>
                        </a:lnTo>
                        <a:lnTo>
                          <a:pt x="3" y="123"/>
                        </a:lnTo>
                        <a:lnTo>
                          <a:pt x="2" y="122"/>
                        </a:lnTo>
                        <a:lnTo>
                          <a:pt x="0" y="122"/>
                        </a:lnTo>
                        <a:lnTo>
                          <a:pt x="2" y="120"/>
                        </a:lnTo>
                        <a:lnTo>
                          <a:pt x="2" y="117"/>
                        </a:lnTo>
                        <a:lnTo>
                          <a:pt x="16" y="109"/>
                        </a:lnTo>
                        <a:lnTo>
                          <a:pt x="30" y="101"/>
                        </a:lnTo>
                        <a:lnTo>
                          <a:pt x="32" y="100"/>
                        </a:lnTo>
                        <a:lnTo>
                          <a:pt x="33" y="98"/>
                        </a:lnTo>
                        <a:lnTo>
                          <a:pt x="35" y="98"/>
                        </a:lnTo>
                        <a:lnTo>
                          <a:pt x="38" y="96"/>
                        </a:lnTo>
                        <a:lnTo>
                          <a:pt x="40" y="95"/>
                        </a:lnTo>
                        <a:lnTo>
                          <a:pt x="43" y="93"/>
                        </a:lnTo>
                        <a:lnTo>
                          <a:pt x="46" y="90"/>
                        </a:lnTo>
                        <a:lnTo>
                          <a:pt x="51" y="85"/>
                        </a:lnTo>
                        <a:lnTo>
                          <a:pt x="57" y="81"/>
                        </a:lnTo>
                        <a:lnTo>
                          <a:pt x="59" y="79"/>
                        </a:lnTo>
                        <a:lnTo>
                          <a:pt x="57" y="76"/>
                        </a:lnTo>
                        <a:lnTo>
                          <a:pt x="57" y="74"/>
                        </a:lnTo>
                        <a:lnTo>
                          <a:pt x="54" y="73"/>
                        </a:lnTo>
                        <a:lnTo>
                          <a:pt x="54" y="71"/>
                        </a:lnTo>
                        <a:lnTo>
                          <a:pt x="52" y="68"/>
                        </a:lnTo>
                        <a:lnTo>
                          <a:pt x="49" y="65"/>
                        </a:lnTo>
                        <a:lnTo>
                          <a:pt x="49" y="63"/>
                        </a:lnTo>
                        <a:lnTo>
                          <a:pt x="48" y="62"/>
                        </a:lnTo>
                        <a:lnTo>
                          <a:pt x="46" y="60"/>
                        </a:lnTo>
                        <a:lnTo>
                          <a:pt x="43" y="55"/>
                        </a:lnTo>
                        <a:lnTo>
                          <a:pt x="41" y="54"/>
                        </a:lnTo>
                        <a:lnTo>
                          <a:pt x="41" y="52"/>
                        </a:lnTo>
                        <a:lnTo>
                          <a:pt x="41" y="49"/>
                        </a:lnTo>
                        <a:lnTo>
                          <a:pt x="43" y="49"/>
                        </a:lnTo>
                        <a:lnTo>
                          <a:pt x="43" y="50"/>
                        </a:lnTo>
                        <a:lnTo>
                          <a:pt x="44" y="50"/>
                        </a:lnTo>
                        <a:lnTo>
                          <a:pt x="46" y="50"/>
                        </a:lnTo>
                        <a:lnTo>
                          <a:pt x="52" y="49"/>
                        </a:lnTo>
                        <a:lnTo>
                          <a:pt x="57" y="46"/>
                        </a:lnTo>
                        <a:lnTo>
                          <a:pt x="57" y="44"/>
                        </a:lnTo>
                        <a:lnTo>
                          <a:pt x="59" y="44"/>
                        </a:lnTo>
                        <a:lnTo>
                          <a:pt x="60" y="44"/>
                        </a:lnTo>
                        <a:lnTo>
                          <a:pt x="63" y="44"/>
                        </a:lnTo>
                        <a:lnTo>
                          <a:pt x="65" y="44"/>
                        </a:lnTo>
                        <a:lnTo>
                          <a:pt x="67" y="44"/>
                        </a:lnTo>
                        <a:lnTo>
                          <a:pt x="68" y="44"/>
                        </a:lnTo>
                        <a:lnTo>
                          <a:pt x="70" y="44"/>
                        </a:lnTo>
                        <a:lnTo>
                          <a:pt x="73" y="43"/>
                        </a:lnTo>
                        <a:lnTo>
                          <a:pt x="75" y="39"/>
                        </a:lnTo>
                        <a:lnTo>
                          <a:pt x="76" y="38"/>
                        </a:lnTo>
                        <a:lnTo>
                          <a:pt x="76" y="36"/>
                        </a:lnTo>
                        <a:lnTo>
                          <a:pt x="78" y="35"/>
                        </a:lnTo>
                        <a:lnTo>
                          <a:pt x="78" y="33"/>
                        </a:lnTo>
                        <a:lnTo>
                          <a:pt x="78" y="30"/>
                        </a:lnTo>
                        <a:lnTo>
                          <a:pt x="79" y="28"/>
                        </a:lnTo>
                        <a:lnTo>
                          <a:pt x="81" y="28"/>
                        </a:lnTo>
                        <a:lnTo>
                          <a:pt x="82" y="28"/>
                        </a:lnTo>
                        <a:lnTo>
                          <a:pt x="86" y="28"/>
                        </a:lnTo>
                        <a:lnTo>
                          <a:pt x="90" y="28"/>
                        </a:lnTo>
                        <a:lnTo>
                          <a:pt x="101" y="28"/>
                        </a:lnTo>
                        <a:lnTo>
                          <a:pt x="109" y="28"/>
                        </a:lnTo>
                        <a:lnTo>
                          <a:pt x="122" y="28"/>
                        </a:lnTo>
                        <a:lnTo>
                          <a:pt x="130" y="28"/>
                        </a:lnTo>
                        <a:lnTo>
                          <a:pt x="135" y="28"/>
                        </a:lnTo>
                        <a:lnTo>
                          <a:pt x="139" y="27"/>
                        </a:lnTo>
                        <a:lnTo>
                          <a:pt x="141" y="31"/>
                        </a:lnTo>
                        <a:lnTo>
                          <a:pt x="141" y="33"/>
                        </a:lnTo>
                        <a:lnTo>
                          <a:pt x="144" y="38"/>
                        </a:lnTo>
                        <a:lnTo>
                          <a:pt x="147" y="43"/>
                        </a:lnTo>
                        <a:lnTo>
                          <a:pt x="149" y="46"/>
                        </a:lnTo>
                        <a:lnTo>
                          <a:pt x="151" y="49"/>
                        </a:lnTo>
                        <a:lnTo>
                          <a:pt x="152" y="54"/>
                        </a:lnTo>
                        <a:lnTo>
                          <a:pt x="155" y="58"/>
                        </a:lnTo>
                        <a:lnTo>
                          <a:pt x="157" y="63"/>
                        </a:lnTo>
                        <a:lnTo>
                          <a:pt x="159" y="65"/>
                        </a:lnTo>
                        <a:lnTo>
                          <a:pt x="160" y="66"/>
                        </a:lnTo>
                        <a:lnTo>
                          <a:pt x="162" y="68"/>
                        </a:lnTo>
                        <a:lnTo>
                          <a:pt x="163" y="69"/>
                        </a:lnTo>
                        <a:lnTo>
                          <a:pt x="165" y="69"/>
                        </a:lnTo>
                        <a:lnTo>
                          <a:pt x="168" y="69"/>
                        </a:lnTo>
                        <a:lnTo>
                          <a:pt x="171" y="69"/>
                        </a:lnTo>
                        <a:lnTo>
                          <a:pt x="178" y="69"/>
                        </a:lnTo>
                        <a:lnTo>
                          <a:pt x="184" y="69"/>
                        </a:lnTo>
                        <a:lnTo>
                          <a:pt x="192" y="69"/>
                        </a:lnTo>
                        <a:lnTo>
                          <a:pt x="197" y="69"/>
                        </a:lnTo>
                        <a:lnTo>
                          <a:pt x="203" y="69"/>
                        </a:lnTo>
                        <a:lnTo>
                          <a:pt x="206" y="73"/>
                        </a:lnTo>
                        <a:lnTo>
                          <a:pt x="208" y="74"/>
                        </a:lnTo>
                        <a:lnTo>
                          <a:pt x="212" y="79"/>
                        </a:lnTo>
                        <a:lnTo>
                          <a:pt x="214" y="82"/>
                        </a:lnTo>
                        <a:lnTo>
                          <a:pt x="219" y="88"/>
                        </a:lnTo>
                        <a:lnTo>
                          <a:pt x="222" y="92"/>
                        </a:lnTo>
                        <a:lnTo>
                          <a:pt x="223" y="95"/>
                        </a:lnTo>
                        <a:lnTo>
                          <a:pt x="225" y="93"/>
                        </a:lnTo>
                        <a:lnTo>
                          <a:pt x="227" y="92"/>
                        </a:lnTo>
                        <a:lnTo>
                          <a:pt x="228" y="92"/>
                        </a:lnTo>
                        <a:lnTo>
                          <a:pt x="230" y="88"/>
                        </a:lnTo>
                        <a:lnTo>
                          <a:pt x="233" y="85"/>
                        </a:lnTo>
                        <a:lnTo>
                          <a:pt x="235" y="82"/>
                        </a:lnTo>
                        <a:lnTo>
                          <a:pt x="235" y="79"/>
                        </a:lnTo>
                        <a:lnTo>
                          <a:pt x="238" y="76"/>
                        </a:lnTo>
                        <a:lnTo>
                          <a:pt x="239" y="73"/>
                        </a:lnTo>
                        <a:lnTo>
                          <a:pt x="239" y="71"/>
                        </a:lnTo>
                        <a:lnTo>
                          <a:pt x="241" y="69"/>
                        </a:lnTo>
                        <a:lnTo>
                          <a:pt x="242" y="68"/>
                        </a:lnTo>
                        <a:lnTo>
                          <a:pt x="244" y="68"/>
                        </a:lnTo>
                        <a:lnTo>
                          <a:pt x="246" y="68"/>
                        </a:lnTo>
                        <a:lnTo>
                          <a:pt x="247" y="68"/>
                        </a:lnTo>
                        <a:lnTo>
                          <a:pt x="250" y="68"/>
                        </a:lnTo>
                        <a:lnTo>
                          <a:pt x="254" y="66"/>
                        </a:lnTo>
                        <a:lnTo>
                          <a:pt x="255" y="66"/>
                        </a:lnTo>
                        <a:lnTo>
                          <a:pt x="258" y="66"/>
                        </a:lnTo>
                        <a:lnTo>
                          <a:pt x="263" y="63"/>
                        </a:lnTo>
                        <a:lnTo>
                          <a:pt x="266" y="60"/>
                        </a:lnTo>
                        <a:lnTo>
                          <a:pt x="269" y="58"/>
                        </a:lnTo>
                        <a:lnTo>
                          <a:pt x="274" y="55"/>
                        </a:lnTo>
                        <a:lnTo>
                          <a:pt x="277" y="54"/>
                        </a:lnTo>
                        <a:lnTo>
                          <a:pt x="280" y="50"/>
                        </a:lnTo>
                        <a:lnTo>
                          <a:pt x="284" y="49"/>
                        </a:lnTo>
                        <a:lnTo>
                          <a:pt x="287" y="46"/>
                        </a:lnTo>
                        <a:lnTo>
                          <a:pt x="293" y="43"/>
                        </a:lnTo>
                        <a:lnTo>
                          <a:pt x="296" y="41"/>
                        </a:lnTo>
                        <a:lnTo>
                          <a:pt x="298" y="39"/>
                        </a:lnTo>
                        <a:lnTo>
                          <a:pt x="301" y="38"/>
                        </a:lnTo>
                        <a:lnTo>
                          <a:pt x="301" y="35"/>
                        </a:lnTo>
                        <a:lnTo>
                          <a:pt x="304" y="31"/>
                        </a:lnTo>
                        <a:lnTo>
                          <a:pt x="307" y="27"/>
                        </a:lnTo>
                        <a:lnTo>
                          <a:pt x="309" y="23"/>
                        </a:lnTo>
                        <a:lnTo>
                          <a:pt x="311" y="17"/>
                        </a:lnTo>
                        <a:lnTo>
                          <a:pt x="314" y="12"/>
                        </a:lnTo>
                        <a:lnTo>
                          <a:pt x="317" y="9"/>
                        </a:lnTo>
                        <a:lnTo>
                          <a:pt x="320" y="8"/>
                        </a:lnTo>
                        <a:lnTo>
                          <a:pt x="325" y="6"/>
                        </a:lnTo>
                        <a:lnTo>
                          <a:pt x="330" y="4"/>
                        </a:lnTo>
                        <a:lnTo>
                          <a:pt x="334" y="3"/>
                        </a:lnTo>
                        <a:lnTo>
                          <a:pt x="341" y="1"/>
                        </a:lnTo>
                        <a:lnTo>
                          <a:pt x="345" y="1"/>
                        </a:lnTo>
                        <a:lnTo>
                          <a:pt x="347" y="0"/>
                        </a:lnTo>
                        <a:lnTo>
                          <a:pt x="349" y="0"/>
                        </a:lnTo>
                        <a:lnTo>
                          <a:pt x="349" y="1"/>
                        </a:lnTo>
                        <a:lnTo>
                          <a:pt x="350" y="3"/>
                        </a:lnTo>
                        <a:lnTo>
                          <a:pt x="352" y="4"/>
                        </a:lnTo>
                        <a:lnTo>
                          <a:pt x="355" y="6"/>
                        </a:lnTo>
                        <a:lnTo>
                          <a:pt x="357" y="6"/>
                        </a:lnTo>
                        <a:lnTo>
                          <a:pt x="358" y="6"/>
                        </a:lnTo>
                        <a:close/>
                      </a:path>
                    </a:pathLst>
                  </a:custGeom>
                  <a:solidFill>
                    <a:srgbClr val="E1E1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54" name="Freeform 53"/>
                  <p:cNvSpPr>
                    <a:spLocks/>
                  </p:cNvSpPr>
                  <p:nvPr/>
                </p:nvSpPr>
                <p:spPr bwMode="auto">
                  <a:xfrm>
                    <a:off x="4013" y="2415"/>
                    <a:ext cx="679" cy="760"/>
                  </a:xfrm>
                  <a:custGeom>
                    <a:avLst/>
                    <a:gdLst>
                      <a:gd name="T0" fmla="*/ 141 w 679"/>
                      <a:gd name="T1" fmla="*/ 17 h 760"/>
                      <a:gd name="T2" fmla="*/ 166 w 679"/>
                      <a:gd name="T3" fmla="*/ 49 h 760"/>
                      <a:gd name="T4" fmla="*/ 207 w 679"/>
                      <a:gd name="T5" fmla="*/ 30 h 760"/>
                      <a:gd name="T6" fmla="*/ 239 w 679"/>
                      <a:gd name="T7" fmla="*/ 32 h 760"/>
                      <a:gd name="T8" fmla="*/ 283 w 679"/>
                      <a:gd name="T9" fmla="*/ 22 h 760"/>
                      <a:gd name="T10" fmla="*/ 312 w 679"/>
                      <a:gd name="T11" fmla="*/ 19 h 760"/>
                      <a:gd name="T12" fmla="*/ 336 w 679"/>
                      <a:gd name="T13" fmla="*/ 29 h 760"/>
                      <a:gd name="T14" fmla="*/ 363 w 679"/>
                      <a:gd name="T15" fmla="*/ 11 h 760"/>
                      <a:gd name="T16" fmla="*/ 391 w 679"/>
                      <a:gd name="T17" fmla="*/ 40 h 760"/>
                      <a:gd name="T18" fmla="*/ 396 w 679"/>
                      <a:gd name="T19" fmla="*/ 68 h 760"/>
                      <a:gd name="T20" fmla="*/ 413 w 679"/>
                      <a:gd name="T21" fmla="*/ 90 h 760"/>
                      <a:gd name="T22" fmla="*/ 424 w 679"/>
                      <a:gd name="T23" fmla="*/ 111 h 760"/>
                      <a:gd name="T24" fmla="*/ 445 w 679"/>
                      <a:gd name="T25" fmla="*/ 125 h 760"/>
                      <a:gd name="T26" fmla="*/ 464 w 679"/>
                      <a:gd name="T27" fmla="*/ 138 h 760"/>
                      <a:gd name="T28" fmla="*/ 474 w 679"/>
                      <a:gd name="T29" fmla="*/ 152 h 760"/>
                      <a:gd name="T30" fmla="*/ 477 w 679"/>
                      <a:gd name="T31" fmla="*/ 168 h 760"/>
                      <a:gd name="T32" fmla="*/ 481 w 679"/>
                      <a:gd name="T33" fmla="*/ 192 h 760"/>
                      <a:gd name="T34" fmla="*/ 500 w 679"/>
                      <a:gd name="T35" fmla="*/ 190 h 760"/>
                      <a:gd name="T36" fmla="*/ 513 w 679"/>
                      <a:gd name="T37" fmla="*/ 203 h 760"/>
                      <a:gd name="T38" fmla="*/ 516 w 679"/>
                      <a:gd name="T39" fmla="*/ 220 h 760"/>
                      <a:gd name="T40" fmla="*/ 488 w 679"/>
                      <a:gd name="T41" fmla="*/ 252 h 760"/>
                      <a:gd name="T42" fmla="*/ 469 w 679"/>
                      <a:gd name="T43" fmla="*/ 287 h 760"/>
                      <a:gd name="T44" fmla="*/ 512 w 679"/>
                      <a:gd name="T45" fmla="*/ 353 h 760"/>
                      <a:gd name="T46" fmla="*/ 538 w 679"/>
                      <a:gd name="T47" fmla="*/ 369 h 760"/>
                      <a:gd name="T48" fmla="*/ 565 w 679"/>
                      <a:gd name="T49" fmla="*/ 394 h 760"/>
                      <a:gd name="T50" fmla="*/ 584 w 679"/>
                      <a:gd name="T51" fmla="*/ 394 h 760"/>
                      <a:gd name="T52" fmla="*/ 613 w 679"/>
                      <a:gd name="T53" fmla="*/ 393 h 760"/>
                      <a:gd name="T54" fmla="*/ 633 w 679"/>
                      <a:gd name="T55" fmla="*/ 415 h 760"/>
                      <a:gd name="T56" fmla="*/ 659 w 679"/>
                      <a:gd name="T57" fmla="*/ 429 h 760"/>
                      <a:gd name="T58" fmla="*/ 678 w 679"/>
                      <a:gd name="T59" fmla="*/ 444 h 760"/>
                      <a:gd name="T60" fmla="*/ 657 w 679"/>
                      <a:gd name="T61" fmla="*/ 467 h 760"/>
                      <a:gd name="T62" fmla="*/ 675 w 679"/>
                      <a:gd name="T63" fmla="*/ 488 h 760"/>
                      <a:gd name="T64" fmla="*/ 656 w 679"/>
                      <a:gd name="T65" fmla="*/ 491 h 760"/>
                      <a:gd name="T66" fmla="*/ 630 w 679"/>
                      <a:gd name="T67" fmla="*/ 486 h 760"/>
                      <a:gd name="T68" fmla="*/ 608 w 679"/>
                      <a:gd name="T69" fmla="*/ 510 h 760"/>
                      <a:gd name="T70" fmla="*/ 581 w 679"/>
                      <a:gd name="T71" fmla="*/ 543 h 760"/>
                      <a:gd name="T72" fmla="*/ 572 w 679"/>
                      <a:gd name="T73" fmla="*/ 567 h 760"/>
                      <a:gd name="T74" fmla="*/ 557 w 679"/>
                      <a:gd name="T75" fmla="*/ 600 h 760"/>
                      <a:gd name="T76" fmla="*/ 557 w 679"/>
                      <a:gd name="T77" fmla="*/ 627 h 760"/>
                      <a:gd name="T78" fmla="*/ 576 w 679"/>
                      <a:gd name="T79" fmla="*/ 640 h 760"/>
                      <a:gd name="T80" fmla="*/ 572 w 679"/>
                      <a:gd name="T81" fmla="*/ 657 h 760"/>
                      <a:gd name="T82" fmla="*/ 581 w 679"/>
                      <a:gd name="T83" fmla="*/ 672 h 760"/>
                      <a:gd name="T84" fmla="*/ 597 w 679"/>
                      <a:gd name="T85" fmla="*/ 688 h 760"/>
                      <a:gd name="T86" fmla="*/ 600 w 679"/>
                      <a:gd name="T87" fmla="*/ 710 h 760"/>
                      <a:gd name="T88" fmla="*/ 589 w 679"/>
                      <a:gd name="T89" fmla="*/ 726 h 760"/>
                      <a:gd name="T90" fmla="*/ 605 w 679"/>
                      <a:gd name="T91" fmla="*/ 733 h 760"/>
                      <a:gd name="T92" fmla="*/ 529 w 679"/>
                      <a:gd name="T93" fmla="*/ 740 h 760"/>
                      <a:gd name="T94" fmla="*/ 475 w 679"/>
                      <a:gd name="T95" fmla="*/ 760 h 760"/>
                      <a:gd name="T96" fmla="*/ 364 w 679"/>
                      <a:gd name="T97" fmla="*/ 735 h 760"/>
                      <a:gd name="T98" fmla="*/ 198 w 679"/>
                      <a:gd name="T99" fmla="*/ 741 h 760"/>
                      <a:gd name="T100" fmla="*/ 144 w 679"/>
                      <a:gd name="T101" fmla="*/ 713 h 760"/>
                      <a:gd name="T102" fmla="*/ 142 w 679"/>
                      <a:gd name="T103" fmla="*/ 707 h 760"/>
                      <a:gd name="T104" fmla="*/ 119 w 679"/>
                      <a:gd name="T105" fmla="*/ 697 h 760"/>
                      <a:gd name="T106" fmla="*/ 112 w 679"/>
                      <a:gd name="T107" fmla="*/ 676 h 760"/>
                      <a:gd name="T108" fmla="*/ 85 w 679"/>
                      <a:gd name="T109" fmla="*/ 678 h 760"/>
                      <a:gd name="T110" fmla="*/ 65 w 679"/>
                      <a:gd name="T111" fmla="*/ 669 h 760"/>
                      <a:gd name="T112" fmla="*/ 52 w 679"/>
                      <a:gd name="T113" fmla="*/ 654 h 760"/>
                      <a:gd name="T114" fmla="*/ 32 w 679"/>
                      <a:gd name="T115" fmla="*/ 653 h 760"/>
                      <a:gd name="T116" fmla="*/ 16 w 679"/>
                      <a:gd name="T117" fmla="*/ 637 h 760"/>
                      <a:gd name="T118" fmla="*/ 8 w 679"/>
                      <a:gd name="T119" fmla="*/ 618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79" h="760">
                        <a:moveTo>
                          <a:pt x="117" y="0"/>
                        </a:moveTo>
                        <a:lnTo>
                          <a:pt x="119" y="2"/>
                        </a:lnTo>
                        <a:lnTo>
                          <a:pt x="122" y="0"/>
                        </a:lnTo>
                        <a:lnTo>
                          <a:pt x="123" y="0"/>
                        </a:lnTo>
                        <a:lnTo>
                          <a:pt x="125" y="0"/>
                        </a:lnTo>
                        <a:lnTo>
                          <a:pt x="127" y="2"/>
                        </a:lnTo>
                        <a:lnTo>
                          <a:pt x="128" y="2"/>
                        </a:lnTo>
                        <a:lnTo>
                          <a:pt x="130" y="2"/>
                        </a:lnTo>
                        <a:lnTo>
                          <a:pt x="131" y="0"/>
                        </a:lnTo>
                        <a:lnTo>
                          <a:pt x="133" y="0"/>
                        </a:lnTo>
                        <a:lnTo>
                          <a:pt x="135" y="2"/>
                        </a:lnTo>
                        <a:lnTo>
                          <a:pt x="136" y="2"/>
                        </a:lnTo>
                        <a:lnTo>
                          <a:pt x="136" y="6"/>
                        </a:lnTo>
                        <a:lnTo>
                          <a:pt x="138" y="8"/>
                        </a:lnTo>
                        <a:lnTo>
                          <a:pt x="138" y="11"/>
                        </a:lnTo>
                        <a:lnTo>
                          <a:pt x="139" y="14"/>
                        </a:lnTo>
                        <a:lnTo>
                          <a:pt x="141" y="17"/>
                        </a:lnTo>
                        <a:lnTo>
                          <a:pt x="142" y="21"/>
                        </a:lnTo>
                        <a:lnTo>
                          <a:pt x="144" y="25"/>
                        </a:lnTo>
                        <a:lnTo>
                          <a:pt x="147" y="30"/>
                        </a:lnTo>
                        <a:lnTo>
                          <a:pt x="149" y="35"/>
                        </a:lnTo>
                        <a:lnTo>
                          <a:pt x="149" y="38"/>
                        </a:lnTo>
                        <a:lnTo>
                          <a:pt x="150" y="40"/>
                        </a:lnTo>
                        <a:lnTo>
                          <a:pt x="152" y="43"/>
                        </a:lnTo>
                        <a:lnTo>
                          <a:pt x="155" y="46"/>
                        </a:lnTo>
                        <a:lnTo>
                          <a:pt x="157" y="48"/>
                        </a:lnTo>
                        <a:lnTo>
                          <a:pt x="157" y="51"/>
                        </a:lnTo>
                        <a:lnTo>
                          <a:pt x="157" y="52"/>
                        </a:lnTo>
                        <a:lnTo>
                          <a:pt x="158" y="54"/>
                        </a:lnTo>
                        <a:lnTo>
                          <a:pt x="160" y="54"/>
                        </a:lnTo>
                        <a:lnTo>
                          <a:pt x="161" y="52"/>
                        </a:lnTo>
                        <a:lnTo>
                          <a:pt x="163" y="52"/>
                        </a:lnTo>
                        <a:lnTo>
                          <a:pt x="165" y="51"/>
                        </a:lnTo>
                        <a:lnTo>
                          <a:pt x="166" y="49"/>
                        </a:lnTo>
                        <a:lnTo>
                          <a:pt x="169" y="48"/>
                        </a:lnTo>
                        <a:lnTo>
                          <a:pt x="171" y="46"/>
                        </a:lnTo>
                        <a:lnTo>
                          <a:pt x="174" y="43"/>
                        </a:lnTo>
                        <a:lnTo>
                          <a:pt x="176" y="40"/>
                        </a:lnTo>
                        <a:lnTo>
                          <a:pt x="177" y="38"/>
                        </a:lnTo>
                        <a:lnTo>
                          <a:pt x="179" y="37"/>
                        </a:lnTo>
                        <a:lnTo>
                          <a:pt x="180" y="37"/>
                        </a:lnTo>
                        <a:lnTo>
                          <a:pt x="182" y="37"/>
                        </a:lnTo>
                        <a:lnTo>
                          <a:pt x="185" y="35"/>
                        </a:lnTo>
                        <a:lnTo>
                          <a:pt x="187" y="35"/>
                        </a:lnTo>
                        <a:lnTo>
                          <a:pt x="190" y="35"/>
                        </a:lnTo>
                        <a:lnTo>
                          <a:pt x="193" y="35"/>
                        </a:lnTo>
                        <a:lnTo>
                          <a:pt x="198" y="33"/>
                        </a:lnTo>
                        <a:lnTo>
                          <a:pt x="199" y="33"/>
                        </a:lnTo>
                        <a:lnTo>
                          <a:pt x="204" y="33"/>
                        </a:lnTo>
                        <a:lnTo>
                          <a:pt x="206" y="32"/>
                        </a:lnTo>
                        <a:lnTo>
                          <a:pt x="207" y="30"/>
                        </a:lnTo>
                        <a:lnTo>
                          <a:pt x="209" y="29"/>
                        </a:lnTo>
                        <a:lnTo>
                          <a:pt x="212" y="27"/>
                        </a:lnTo>
                        <a:lnTo>
                          <a:pt x="214" y="25"/>
                        </a:lnTo>
                        <a:lnTo>
                          <a:pt x="215" y="24"/>
                        </a:lnTo>
                        <a:lnTo>
                          <a:pt x="218" y="24"/>
                        </a:lnTo>
                        <a:lnTo>
                          <a:pt x="222" y="24"/>
                        </a:lnTo>
                        <a:lnTo>
                          <a:pt x="225" y="24"/>
                        </a:lnTo>
                        <a:lnTo>
                          <a:pt x="226" y="24"/>
                        </a:lnTo>
                        <a:lnTo>
                          <a:pt x="228" y="27"/>
                        </a:lnTo>
                        <a:lnTo>
                          <a:pt x="230" y="29"/>
                        </a:lnTo>
                        <a:lnTo>
                          <a:pt x="230" y="30"/>
                        </a:lnTo>
                        <a:lnTo>
                          <a:pt x="231" y="32"/>
                        </a:lnTo>
                        <a:lnTo>
                          <a:pt x="233" y="33"/>
                        </a:lnTo>
                        <a:lnTo>
                          <a:pt x="234" y="35"/>
                        </a:lnTo>
                        <a:lnTo>
                          <a:pt x="236" y="33"/>
                        </a:lnTo>
                        <a:lnTo>
                          <a:pt x="237" y="33"/>
                        </a:lnTo>
                        <a:lnTo>
                          <a:pt x="239" y="32"/>
                        </a:lnTo>
                        <a:lnTo>
                          <a:pt x="242" y="29"/>
                        </a:lnTo>
                        <a:lnTo>
                          <a:pt x="244" y="27"/>
                        </a:lnTo>
                        <a:lnTo>
                          <a:pt x="245" y="25"/>
                        </a:lnTo>
                        <a:lnTo>
                          <a:pt x="247" y="22"/>
                        </a:lnTo>
                        <a:lnTo>
                          <a:pt x="249" y="22"/>
                        </a:lnTo>
                        <a:lnTo>
                          <a:pt x="253" y="21"/>
                        </a:lnTo>
                        <a:lnTo>
                          <a:pt x="256" y="22"/>
                        </a:lnTo>
                        <a:lnTo>
                          <a:pt x="261" y="24"/>
                        </a:lnTo>
                        <a:lnTo>
                          <a:pt x="268" y="24"/>
                        </a:lnTo>
                        <a:lnTo>
                          <a:pt x="269" y="22"/>
                        </a:lnTo>
                        <a:lnTo>
                          <a:pt x="271" y="22"/>
                        </a:lnTo>
                        <a:lnTo>
                          <a:pt x="275" y="22"/>
                        </a:lnTo>
                        <a:lnTo>
                          <a:pt x="277" y="22"/>
                        </a:lnTo>
                        <a:lnTo>
                          <a:pt x="279" y="22"/>
                        </a:lnTo>
                        <a:lnTo>
                          <a:pt x="280" y="22"/>
                        </a:lnTo>
                        <a:lnTo>
                          <a:pt x="282" y="24"/>
                        </a:lnTo>
                        <a:lnTo>
                          <a:pt x="283" y="22"/>
                        </a:lnTo>
                        <a:lnTo>
                          <a:pt x="287" y="22"/>
                        </a:lnTo>
                        <a:lnTo>
                          <a:pt x="288" y="21"/>
                        </a:lnTo>
                        <a:lnTo>
                          <a:pt x="290" y="22"/>
                        </a:lnTo>
                        <a:lnTo>
                          <a:pt x="293" y="22"/>
                        </a:lnTo>
                        <a:lnTo>
                          <a:pt x="295" y="22"/>
                        </a:lnTo>
                        <a:lnTo>
                          <a:pt x="296" y="21"/>
                        </a:lnTo>
                        <a:lnTo>
                          <a:pt x="298" y="21"/>
                        </a:lnTo>
                        <a:lnTo>
                          <a:pt x="299" y="21"/>
                        </a:lnTo>
                        <a:lnTo>
                          <a:pt x="299" y="19"/>
                        </a:lnTo>
                        <a:lnTo>
                          <a:pt x="301" y="21"/>
                        </a:lnTo>
                        <a:lnTo>
                          <a:pt x="302" y="21"/>
                        </a:lnTo>
                        <a:lnTo>
                          <a:pt x="304" y="19"/>
                        </a:lnTo>
                        <a:lnTo>
                          <a:pt x="306" y="19"/>
                        </a:lnTo>
                        <a:lnTo>
                          <a:pt x="307" y="21"/>
                        </a:lnTo>
                        <a:lnTo>
                          <a:pt x="309" y="21"/>
                        </a:lnTo>
                        <a:lnTo>
                          <a:pt x="310" y="21"/>
                        </a:lnTo>
                        <a:lnTo>
                          <a:pt x="312" y="19"/>
                        </a:lnTo>
                        <a:lnTo>
                          <a:pt x="312" y="21"/>
                        </a:lnTo>
                        <a:lnTo>
                          <a:pt x="315" y="22"/>
                        </a:lnTo>
                        <a:lnTo>
                          <a:pt x="317" y="22"/>
                        </a:lnTo>
                        <a:lnTo>
                          <a:pt x="318" y="22"/>
                        </a:lnTo>
                        <a:lnTo>
                          <a:pt x="320" y="24"/>
                        </a:lnTo>
                        <a:lnTo>
                          <a:pt x="321" y="24"/>
                        </a:lnTo>
                        <a:lnTo>
                          <a:pt x="323" y="24"/>
                        </a:lnTo>
                        <a:lnTo>
                          <a:pt x="323" y="25"/>
                        </a:lnTo>
                        <a:lnTo>
                          <a:pt x="325" y="25"/>
                        </a:lnTo>
                        <a:lnTo>
                          <a:pt x="326" y="27"/>
                        </a:lnTo>
                        <a:lnTo>
                          <a:pt x="326" y="29"/>
                        </a:lnTo>
                        <a:lnTo>
                          <a:pt x="328" y="30"/>
                        </a:lnTo>
                        <a:lnTo>
                          <a:pt x="331" y="32"/>
                        </a:lnTo>
                        <a:lnTo>
                          <a:pt x="331" y="30"/>
                        </a:lnTo>
                        <a:lnTo>
                          <a:pt x="333" y="30"/>
                        </a:lnTo>
                        <a:lnTo>
                          <a:pt x="334" y="30"/>
                        </a:lnTo>
                        <a:lnTo>
                          <a:pt x="336" y="29"/>
                        </a:lnTo>
                        <a:lnTo>
                          <a:pt x="337" y="29"/>
                        </a:lnTo>
                        <a:lnTo>
                          <a:pt x="337" y="27"/>
                        </a:lnTo>
                        <a:lnTo>
                          <a:pt x="339" y="25"/>
                        </a:lnTo>
                        <a:lnTo>
                          <a:pt x="339" y="27"/>
                        </a:lnTo>
                        <a:lnTo>
                          <a:pt x="339" y="25"/>
                        </a:lnTo>
                        <a:lnTo>
                          <a:pt x="342" y="22"/>
                        </a:lnTo>
                        <a:lnTo>
                          <a:pt x="345" y="21"/>
                        </a:lnTo>
                        <a:lnTo>
                          <a:pt x="345" y="19"/>
                        </a:lnTo>
                        <a:lnTo>
                          <a:pt x="347" y="17"/>
                        </a:lnTo>
                        <a:lnTo>
                          <a:pt x="350" y="17"/>
                        </a:lnTo>
                        <a:lnTo>
                          <a:pt x="350" y="16"/>
                        </a:lnTo>
                        <a:lnTo>
                          <a:pt x="352" y="16"/>
                        </a:lnTo>
                        <a:lnTo>
                          <a:pt x="356" y="14"/>
                        </a:lnTo>
                        <a:lnTo>
                          <a:pt x="358" y="13"/>
                        </a:lnTo>
                        <a:lnTo>
                          <a:pt x="359" y="13"/>
                        </a:lnTo>
                        <a:lnTo>
                          <a:pt x="361" y="11"/>
                        </a:lnTo>
                        <a:lnTo>
                          <a:pt x="363" y="11"/>
                        </a:lnTo>
                        <a:lnTo>
                          <a:pt x="364" y="10"/>
                        </a:lnTo>
                        <a:lnTo>
                          <a:pt x="367" y="13"/>
                        </a:lnTo>
                        <a:lnTo>
                          <a:pt x="369" y="14"/>
                        </a:lnTo>
                        <a:lnTo>
                          <a:pt x="372" y="16"/>
                        </a:lnTo>
                        <a:lnTo>
                          <a:pt x="377" y="17"/>
                        </a:lnTo>
                        <a:lnTo>
                          <a:pt x="382" y="21"/>
                        </a:lnTo>
                        <a:lnTo>
                          <a:pt x="385" y="24"/>
                        </a:lnTo>
                        <a:lnTo>
                          <a:pt x="385" y="25"/>
                        </a:lnTo>
                        <a:lnTo>
                          <a:pt x="386" y="29"/>
                        </a:lnTo>
                        <a:lnTo>
                          <a:pt x="388" y="30"/>
                        </a:lnTo>
                        <a:lnTo>
                          <a:pt x="388" y="32"/>
                        </a:lnTo>
                        <a:lnTo>
                          <a:pt x="388" y="33"/>
                        </a:lnTo>
                        <a:lnTo>
                          <a:pt x="388" y="35"/>
                        </a:lnTo>
                        <a:lnTo>
                          <a:pt x="390" y="37"/>
                        </a:lnTo>
                        <a:lnTo>
                          <a:pt x="390" y="38"/>
                        </a:lnTo>
                        <a:lnTo>
                          <a:pt x="390" y="40"/>
                        </a:lnTo>
                        <a:lnTo>
                          <a:pt x="391" y="40"/>
                        </a:lnTo>
                        <a:lnTo>
                          <a:pt x="393" y="40"/>
                        </a:lnTo>
                        <a:lnTo>
                          <a:pt x="393" y="43"/>
                        </a:lnTo>
                        <a:lnTo>
                          <a:pt x="393" y="44"/>
                        </a:lnTo>
                        <a:lnTo>
                          <a:pt x="394" y="46"/>
                        </a:lnTo>
                        <a:lnTo>
                          <a:pt x="394" y="49"/>
                        </a:lnTo>
                        <a:lnTo>
                          <a:pt x="394" y="51"/>
                        </a:lnTo>
                        <a:lnTo>
                          <a:pt x="393" y="52"/>
                        </a:lnTo>
                        <a:lnTo>
                          <a:pt x="393" y="54"/>
                        </a:lnTo>
                        <a:lnTo>
                          <a:pt x="391" y="56"/>
                        </a:lnTo>
                        <a:lnTo>
                          <a:pt x="393" y="57"/>
                        </a:lnTo>
                        <a:lnTo>
                          <a:pt x="391" y="59"/>
                        </a:lnTo>
                        <a:lnTo>
                          <a:pt x="391" y="60"/>
                        </a:lnTo>
                        <a:lnTo>
                          <a:pt x="391" y="62"/>
                        </a:lnTo>
                        <a:lnTo>
                          <a:pt x="391" y="65"/>
                        </a:lnTo>
                        <a:lnTo>
                          <a:pt x="391" y="67"/>
                        </a:lnTo>
                        <a:lnTo>
                          <a:pt x="393" y="67"/>
                        </a:lnTo>
                        <a:lnTo>
                          <a:pt x="396" y="68"/>
                        </a:lnTo>
                        <a:lnTo>
                          <a:pt x="396" y="70"/>
                        </a:lnTo>
                        <a:lnTo>
                          <a:pt x="399" y="71"/>
                        </a:lnTo>
                        <a:lnTo>
                          <a:pt x="399" y="73"/>
                        </a:lnTo>
                        <a:lnTo>
                          <a:pt x="399" y="75"/>
                        </a:lnTo>
                        <a:lnTo>
                          <a:pt x="401" y="76"/>
                        </a:lnTo>
                        <a:lnTo>
                          <a:pt x="401" y="78"/>
                        </a:lnTo>
                        <a:lnTo>
                          <a:pt x="402" y="79"/>
                        </a:lnTo>
                        <a:lnTo>
                          <a:pt x="404" y="81"/>
                        </a:lnTo>
                        <a:lnTo>
                          <a:pt x="407" y="81"/>
                        </a:lnTo>
                        <a:lnTo>
                          <a:pt x="407" y="82"/>
                        </a:lnTo>
                        <a:lnTo>
                          <a:pt x="409" y="82"/>
                        </a:lnTo>
                        <a:lnTo>
                          <a:pt x="410" y="84"/>
                        </a:lnTo>
                        <a:lnTo>
                          <a:pt x="410" y="86"/>
                        </a:lnTo>
                        <a:lnTo>
                          <a:pt x="412" y="86"/>
                        </a:lnTo>
                        <a:lnTo>
                          <a:pt x="412" y="87"/>
                        </a:lnTo>
                        <a:lnTo>
                          <a:pt x="413" y="89"/>
                        </a:lnTo>
                        <a:lnTo>
                          <a:pt x="413" y="90"/>
                        </a:lnTo>
                        <a:lnTo>
                          <a:pt x="413" y="92"/>
                        </a:lnTo>
                        <a:lnTo>
                          <a:pt x="413" y="94"/>
                        </a:lnTo>
                        <a:lnTo>
                          <a:pt x="415" y="94"/>
                        </a:lnTo>
                        <a:lnTo>
                          <a:pt x="415" y="95"/>
                        </a:lnTo>
                        <a:lnTo>
                          <a:pt x="416" y="95"/>
                        </a:lnTo>
                        <a:lnTo>
                          <a:pt x="418" y="97"/>
                        </a:lnTo>
                        <a:lnTo>
                          <a:pt x="420" y="98"/>
                        </a:lnTo>
                        <a:lnTo>
                          <a:pt x="420" y="100"/>
                        </a:lnTo>
                        <a:lnTo>
                          <a:pt x="420" y="101"/>
                        </a:lnTo>
                        <a:lnTo>
                          <a:pt x="420" y="103"/>
                        </a:lnTo>
                        <a:lnTo>
                          <a:pt x="421" y="103"/>
                        </a:lnTo>
                        <a:lnTo>
                          <a:pt x="421" y="105"/>
                        </a:lnTo>
                        <a:lnTo>
                          <a:pt x="423" y="105"/>
                        </a:lnTo>
                        <a:lnTo>
                          <a:pt x="421" y="106"/>
                        </a:lnTo>
                        <a:lnTo>
                          <a:pt x="423" y="108"/>
                        </a:lnTo>
                        <a:lnTo>
                          <a:pt x="424" y="109"/>
                        </a:lnTo>
                        <a:lnTo>
                          <a:pt x="424" y="111"/>
                        </a:lnTo>
                        <a:lnTo>
                          <a:pt x="426" y="111"/>
                        </a:lnTo>
                        <a:lnTo>
                          <a:pt x="428" y="111"/>
                        </a:lnTo>
                        <a:lnTo>
                          <a:pt x="428" y="113"/>
                        </a:lnTo>
                        <a:lnTo>
                          <a:pt x="429" y="113"/>
                        </a:lnTo>
                        <a:lnTo>
                          <a:pt x="429" y="114"/>
                        </a:lnTo>
                        <a:lnTo>
                          <a:pt x="431" y="114"/>
                        </a:lnTo>
                        <a:lnTo>
                          <a:pt x="432" y="114"/>
                        </a:lnTo>
                        <a:lnTo>
                          <a:pt x="434" y="116"/>
                        </a:lnTo>
                        <a:lnTo>
                          <a:pt x="435" y="116"/>
                        </a:lnTo>
                        <a:lnTo>
                          <a:pt x="437" y="117"/>
                        </a:lnTo>
                        <a:lnTo>
                          <a:pt x="439" y="117"/>
                        </a:lnTo>
                        <a:lnTo>
                          <a:pt x="440" y="119"/>
                        </a:lnTo>
                        <a:lnTo>
                          <a:pt x="442" y="119"/>
                        </a:lnTo>
                        <a:lnTo>
                          <a:pt x="443" y="120"/>
                        </a:lnTo>
                        <a:lnTo>
                          <a:pt x="443" y="122"/>
                        </a:lnTo>
                        <a:lnTo>
                          <a:pt x="443" y="124"/>
                        </a:lnTo>
                        <a:lnTo>
                          <a:pt x="445" y="125"/>
                        </a:lnTo>
                        <a:lnTo>
                          <a:pt x="447" y="125"/>
                        </a:lnTo>
                        <a:lnTo>
                          <a:pt x="447" y="127"/>
                        </a:lnTo>
                        <a:lnTo>
                          <a:pt x="448" y="127"/>
                        </a:lnTo>
                        <a:lnTo>
                          <a:pt x="450" y="127"/>
                        </a:lnTo>
                        <a:lnTo>
                          <a:pt x="450" y="128"/>
                        </a:lnTo>
                        <a:lnTo>
                          <a:pt x="451" y="128"/>
                        </a:lnTo>
                        <a:lnTo>
                          <a:pt x="453" y="128"/>
                        </a:lnTo>
                        <a:lnTo>
                          <a:pt x="454" y="130"/>
                        </a:lnTo>
                        <a:lnTo>
                          <a:pt x="456" y="128"/>
                        </a:lnTo>
                        <a:lnTo>
                          <a:pt x="458" y="128"/>
                        </a:lnTo>
                        <a:lnTo>
                          <a:pt x="459" y="128"/>
                        </a:lnTo>
                        <a:lnTo>
                          <a:pt x="461" y="130"/>
                        </a:lnTo>
                        <a:lnTo>
                          <a:pt x="461" y="132"/>
                        </a:lnTo>
                        <a:lnTo>
                          <a:pt x="461" y="133"/>
                        </a:lnTo>
                        <a:lnTo>
                          <a:pt x="462" y="135"/>
                        </a:lnTo>
                        <a:lnTo>
                          <a:pt x="462" y="136"/>
                        </a:lnTo>
                        <a:lnTo>
                          <a:pt x="464" y="138"/>
                        </a:lnTo>
                        <a:lnTo>
                          <a:pt x="464" y="139"/>
                        </a:lnTo>
                        <a:lnTo>
                          <a:pt x="462" y="139"/>
                        </a:lnTo>
                        <a:lnTo>
                          <a:pt x="462" y="141"/>
                        </a:lnTo>
                        <a:lnTo>
                          <a:pt x="464" y="141"/>
                        </a:lnTo>
                        <a:lnTo>
                          <a:pt x="464" y="143"/>
                        </a:lnTo>
                        <a:lnTo>
                          <a:pt x="466" y="143"/>
                        </a:lnTo>
                        <a:lnTo>
                          <a:pt x="466" y="141"/>
                        </a:lnTo>
                        <a:lnTo>
                          <a:pt x="467" y="141"/>
                        </a:lnTo>
                        <a:lnTo>
                          <a:pt x="467" y="143"/>
                        </a:lnTo>
                        <a:lnTo>
                          <a:pt x="469" y="144"/>
                        </a:lnTo>
                        <a:lnTo>
                          <a:pt x="470" y="144"/>
                        </a:lnTo>
                        <a:lnTo>
                          <a:pt x="470" y="146"/>
                        </a:lnTo>
                        <a:lnTo>
                          <a:pt x="472" y="147"/>
                        </a:lnTo>
                        <a:lnTo>
                          <a:pt x="474" y="149"/>
                        </a:lnTo>
                        <a:lnTo>
                          <a:pt x="475" y="151"/>
                        </a:lnTo>
                        <a:lnTo>
                          <a:pt x="475" y="152"/>
                        </a:lnTo>
                        <a:lnTo>
                          <a:pt x="474" y="152"/>
                        </a:lnTo>
                        <a:lnTo>
                          <a:pt x="474" y="154"/>
                        </a:lnTo>
                        <a:lnTo>
                          <a:pt x="475" y="155"/>
                        </a:lnTo>
                        <a:lnTo>
                          <a:pt x="477" y="155"/>
                        </a:lnTo>
                        <a:lnTo>
                          <a:pt x="477" y="157"/>
                        </a:lnTo>
                        <a:lnTo>
                          <a:pt x="477" y="158"/>
                        </a:lnTo>
                        <a:lnTo>
                          <a:pt x="475" y="158"/>
                        </a:lnTo>
                        <a:lnTo>
                          <a:pt x="474" y="158"/>
                        </a:lnTo>
                        <a:lnTo>
                          <a:pt x="474" y="160"/>
                        </a:lnTo>
                        <a:lnTo>
                          <a:pt x="475" y="162"/>
                        </a:lnTo>
                        <a:lnTo>
                          <a:pt x="477" y="162"/>
                        </a:lnTo>
                        <a:lnTo>
                          <a:pt x="478" y="162"/>
                        </a:lnTo>
                        <a:lnTo>
                          <a:pt x="478" y="163"/>
                        </a:lnTo>
                        <a:lnTo>
                          <a:pt x="477" y="165"/>
                        </a:lnTo>
                        <a:lnTo>
                          <a:pt x="477" y="166"/>
                        </a:lnTo>
                        <a:lnTo>
                          <a:pt x="477" y="168"/>
                        </a:lnTo>
                        <a:lnTo>
                          <a:pt x="475" y="168"/>
                        </a:lnTo>
                        <a:lnTo>
                          <a:pt x="477" y="168"/>
                        </a:lnTo>
                        <a:lnTo>
                          <a:pt x="477" y="170"/>
                        </a:lnTo>
                        <a:lnTo>
                          <a:pt x="475" y="171"/>
                        </a:lnTo>
                        <a:lnTo>
                          <a:pt x="477" y="171"/>
                        </a:lnTo>
                        <a:lnTo>
                          <a:pt x="477" y="173"/>
                        </a:lnTo>
                        <a:lnTo>
                          <a:pt x="477" y="174"/>
                        </a:lnTo>
                        <a:lnTo>
                          <a:pt x="475" y="176"/>
                        </a:lnTo>
                        <a:lnTo>
                          <a:pt x="475" y="179"/>
                        </a:lnTo>
                        <a:lnTo>
                          <a:pt x="475" y="181"/>
                        </a:lnTo>
                        <a:lnTo>
                          <a:pt x="474" y="181"/>
                        </a:lnTo>
                        <a:lnTo>
                          <a:pt x="474" y="182"/>
                        </a:lnTo>
                        <a:lnTo>
                          <a:pt x="474" y="184"/>
                        </a:lnTo>
                        <a:lnTo>
                          <a:pt x="475" y="185"/>
                        </a:lnTo>
                        <a:lnTo>
                          <a:pt x="477" y="187"/>
                        </a:lnTo>
                        <a:lnTo>
                          <a:pt x="478" y="187"/>
                        </a:lnTo>
                        <a:lnTo>
                          <a:pt x="480" y="189"/>
                        </a:lnTo>
                        <a:lnTo>
                          <a:pt x="481" y="190"/>
                        </a:lnTo>
                        <a:lnTo>
                          <a:pt x="481" y="192"/>
                        </a:lnTo>
                        <a:lnTo>
                          <a:pt x="483" y="192"/>
                        </a:lnTo>
                        <a:lnTo>
                          <a:pt x="483" y="193"/>
                        </a:lnTo>
                        <a:lnTo>
                          <a:pt x="485" y="193"/>
                        </a:lnTo>
                        <a:lnTo>
                          <a:pt x="486" y="193"/>
                        </a:lnTo>
                        <a:lnTo>
                          <a:pt x="488" y="193"/>
                        </a:lnTo>
                        <a:lnTo>
                          <a:pt x="489" y="193"/>
                        </a:lnTo>
                        <a:lnTo>
                          <a:pt x="491" y="193"/>
                        </a:lnTo>
                        <a:lnTo>
                          <a:pt x="491" y="195"/>
                        </a:lnTo>
                        <a:lnTo>
                          <a:pt x="493" y="195"/>
                        </a:lnTo>
                        <a:lnTo>
                          <a:pt x="493" y="196"/>
                        </a:lnTo>
                        <a:lnTo>
                          <a:pt x="494" y="195"/>
                        </a:lnTo>
                        <a:lnTo>
                          <a:pt x="496" y="195"/>
                        </a:lnTo>
                        <a:lnTo>
                          <a:pt x="497" y="195"/>
                        </a:lnTo>
                        <a:lnTo>
                          <a:pt x="497" y="193"/>
                        </a:lnTo>
                        <a:lnTo>
                          <a:pt x="499" y="193"/>
                        </a:lnTo>
                        <a:lnTo>
                          <a:pt x="500" y="192"/>
                        </a:lnTo>
                        <a:lnTo>
                          <a:pt x="500" y="190"/>
                        </a:lnTo>
                        <a:lnTo>
                          <a:pt x="500" y="192"/>
                        </a:lnTo>
                        <a:lnTo>
                          <a:pt x="502" y="192"/>
                        </a:lnTo>
                        <a:lnTo>
                          <a:pt x="502" y="190"/>
                        </a:lnTo>
                        <a:lnTo>
                          <a:pt x="505" y="190"/>
                        </a:lnTo>
                        <a:lnTo>
                          <a:pt x="507" y="190"/>
                        </a:lnTo>
                        <a:lnTo>
                          <a:pt x="507" y="192"/>
                        </a:lnTo>
                        <a:lnTo>
                          <a:pt x="510" y="193"/>
                        </a:lnTo>
                        <a:lnTo>
                          <a:pt x="512" y="195"/>
                        </a:lnTo>
                        <a:lnTo>
                          <a:pt x="513" y="195"/>
                        </a:lnTo>
                        <a:lnTo>
                          <a:pt x="515" y="195"/>
                        </a:lnTo>
                        <a:lnTo>
                          <a:pt x="515" y="196"/>
                        </a:lnTo>
                        <a:lnTo>
                          <a:pt x="515" y="198"/>
                        </a:lnTo>
                        <a:lnTo>
                          <a:pt x="515" y="196"/>
                        </a:lnTo>
                        <a:lnTo>
                          <a:pt x="515" y="198"/>
                        </a:lnTo>
                        <a:lnTo>
                          <a:pt x="515" y="200"/>
                        </a:lnTo>
                        <a:lnTo>
                          <a:pt x="515" y="201"/>
                        </a:lnTo>
                        <a:lnTo>
                          <a:pt x="513" y="203"/>
                        </a:lnTo>
                        <a:lnTo>
                          <a:pt x="513" y="204"/>
                        </a:lnTo>
                        <a:lnTo>
                          <a:pt x="513" y="206"/>
                        </a:lnTo>
                        <a:lnTo>
                          <a:pt x="512" y="206"/>
                        </a:lnTo>
                        <a:lnTo>
                          <a:pt x="510" y="208"/>
                        </a:lnTo>
                        <a:lnTo>
                          <a:pt x="510" y="209"/>
                        </a:lnTo>
                        <a:lnTo>
                          <a:pt x="512" y="211"/>
                        </a:lnTo>
                        <a:lnTo>
                          <a:pt x="513" y="211"/>
                        </a:lnTo>
                        <a:lnTo>
                          <a:pt x="515" y="212"/>
                        </a:lnTo>
                        <a:lnTo>
                          <a:pt x="516" y="212"/>
                        </a:lnTo>
                        <a:lnTo>
                          <a:pt x="516" y="214"/>
                        </a:lnTo>
                        <a:lnTo>
                          <a:pt x="518" y="214"/>
                        </a:lnTo>
                        <a:lnTo>
                          <a:pt x="519" y="214"/>
                        </a:lnTo>
                        <a:lnTo>
                          <a:pt x="518" y="214"/>
                        </a:lnTo>
                        <a:lnTo>
                          <a:pt x="518" y="215"/>
                        </a:lnTo>
                        <a:lnTo>
                          <a:pt x="518" y="217"/>
                        </a:lnTo>
                        <a:lnTo>
                          <a:pt x="518" y="219"/>
                        </a:lnTo>
                        <a:lnTo>
                          <a:pt x="516" y="220"/>
                        </a:lnTo>
                        <a:lnTo>
                          <a:pt x="516" y="222"/>
                        </a:lnTo>
                        <a:lnTo>
                          <a:pt x="516" y="223"/>
                        </a:lnTo>
                        <a:lnTo>
                          <a:pt x="515" y="225"/>
                        </a:lnTo>
                        <a:lnTo>
                          <a:pt x="515" y="228"/>
                        </a:lnTo>
                        <a:lnTo>
                          <a:pt x="513" y="231"/>
                        </a:lnTo>
                        <a:lnTo>
                          <a:pt x="510" y="233"/>
                        </a:lnTo>
                        <a:lnTo>
                          <a:pt x="508" y="238"/>
                        </a:lnTo>
                        <a:lnTo>
                          <a:pt x="507" y="241"/>
                        </a:lnTo>
                        <a:lnTo>
                          <a:pt x="505" y="242"/>
                        </a:lnTo>
                        <a:lnTo>
                          <a:pt x="504" y="244"/>
                        </a:lnTo>
                        <a:lnTo>
                          <a:pt x="500" y="249"/>
                        </a:lnTo>
                        <a:lnTo>
                          <a:pt x="499" y="249"/>
                        </a:lnTo>
                        <a:lnTo>
                          <a:pt x="497" y="250"/>
                        </a:lnTo>
                        <a:lnTo>
                          <a:pt x="496" y="252"/>
                        </a:lnTo>
                        <a:lnTo>
                          <a:pt x="493" y="252"/>
                        </a:lnTo>
                        <a:lnTo>
                          <a:pt x="491" y="252"/>
                        </a:lnTo>
                        <a:lnTo>
                          <a:pt x="488" y="252"/>
                        </a:lnTo>
                        <a:lnTo>
                          <a:pt x="486" y="254"/>
                        </a:lnTo>
                        <a:lnTo>
                          <a:pt x="485" y="254"/>
                        </a:lnTo>
                        <a:lnTo>
                          <a:pt x="485" y="255"/>
                        </a:lnTo>
                        <a:lnTo>
                          <a:pt x="481" y="255"/>
                        </a:lnTo>
                        <a:lnTo>
                          <a:pt x="480" y="255"/>
                        </a:lnTo>
                        <a:lnTo>
                          <a:pt x="477" y="254"/>
                        </a:lnTo>
                        <a:lnTo>
                          <a:pt x="475" y="254"/>
                        </a:lnTo>
                        <a:lnTo>
                          <a:pt x="474" y="255"/>
                        </a:lnTo>
                        <a:lnTo>
                          <a:pt x="472" y="255"/>
                        </a:lnTo>
                        <a:lnTo>
                          <a:pt x="470" y="255"/>
                        </a:lnTo>
                        <a:lnTo>
                          <a:pt x="470" y="257"/>
                        </a:lnTo>
                        <a:lnTo>
                          <a:pt x="470" y="258"/>
                        </a:lnTo>
                        <a:lnTo>
                          <a:pt x="470" y="261"/>
                        </a:lnTo>
                        <a:lnTo>
                          <a:pt x="470" y="266"/>
                        </a:lnTo>
                        <a:lnTo>
                          <a:pt x="470" y="271"/>
                        </a:lnTo>
                        <a:lnTo>
                          <a:pt x="470" y="277"/>
                        </a:lnTo>
                        <a:lnTo>
                          <a:pt x="469" y="287"/>
                        </a:lnTo>
                        <a:lnTo>
                          <a:pt x="469" y="293"/>
                        </a:lnTo>
                        <a:lnTo>
                          <a:pt x="469" y="299"/>
                        </a:lnTo>
                        <a:lnTo>
                          <a:pt x="469" y="306"/>
                        </a:lnTo>
                        <a:lnTo>
                          <a:pt x="469" y="309"/>
                        </a:lnTo>
                        <a:lnTo>
                          <a:pt x="467" y="309"/>
                        </a:lnTo>
                        <a:lnTo>
                          <a:pt x="467" y="311"/>
                        </a:lnTo>
                        <a:lnTo>
                          <a:pt x="470" y="314"/>
                        </a:lnTo>
                        <a:lnTo>
                          <a:pt x="475" y="318"/>
                        </a:lnTo>
                        <a:lnTo>
                          <a:pt x="478" y="322"/>
                        </a:lnTo>
                        <a:lnTo>
                          <a:pt x="480" y="325"/>
                        </a:lnTo>
                        <a:lnTo>
                          <a:pt x="485" y="330"/>
                        </a:lnTo>
                        <a:lnTo>
                          <a:pt x="491" y="334"/>
                        </a:lnTo>
                        <a:lnTo>
                          <a:pt x="497" y="341"/>
                        </a:lnTo>
                        <a:lnTo>
                          <a:pt x="500" y="342"/>
                        </a:lnTo>
                        <a:lnTo>
                          <a:pt x="504" y="347"/>
                        </a:lnTo>
                        <a:lnTo>
                          <a:pt x="507" y="350"/>
                        </a:lnTo>
                        <a:lnTo>
                          <a:pt x="512" y="353"/>
                        </a:lnTo>
                        <a:lnTo>
                          <a:pt x="515" y="356"/>
                        </a:lnTo>
                        <a:lnTo>
                          <a:pt x="518" y="360"/>
                        </a:lnTo>
                        <a:lnTo>
                          <a:pt x="521" y="363"/>
                        </a:lnTo>
                        <a:lnTo>
                          <a:pt x="521" y="364"/>
                        </a:lnTo>
                        <a:lnTo>
                          <a:pt x="523" y="363"/>
                        </a:lnTo>
                        <a:lnTo>
                          <a:pt x="524" y="364"/>
                        </a:lnTo>
                        <a:lnTo>
                          <a:pt x="526" y="364"/>
                        </a:lnTo>
                        <a:lnTo>
                          <a:pt x="527" y="366"/>
                        </a:lnTo>
                        <a:lnTo>
                          <a:pt x="527" y="368"/>
                        </a:lnTo>
                        <a:lnTo>
                          <a:pt x="529" y="368"/>
                        </a:lnTo>
                        <a:lnTo>
                          <a:pt x="529" y="369"/>
                        </a:lnTo>
                        <a:lnTo>
                          <a:pt x="531" y="369"/>
                        </a:lnTo>
                        <a:lnTo>
                          <a:pt x="532" y="369"/>
                        </a:lnTo>
                        <a:lnTo>
                          <a:pt x="534" y="369"/>
                        </a:lnTo>
                        <a:lnTo>
                          <a:pt x="535" y="369"/>
                        </a:lnTo>
                        <a:lnTo>
                          <a:pt x="537" y="368"/>
                        </a:lnTo>
                        <a:lnTo>
                          <a:pt x="538" y="369"/>
                        </a:lnTo>
                        <a:lnTo>
                          <a:pt x="538" y="371"/>
                        </a:lnTo>
                        <a:lnTo>
                          <a:pt x="540" y="369"/>
                        </a:lnTo>
                        <a:lnTo>
                          <a:pt x="540" y="371"/>
                        </a:lnTo>
                        <a:lnTo>
                          <a:pt x="542" y="372"/>
                        </a:lnTo>
                        <a:lnTo>
                          <a:pt x="546" y="372"/>
                        </a:lnTo>
                        <a:lnTo>
                          <a:pt x="548" y="375"/>
                        </a:lnTo>
                        <a:lnTo>
                          <a:pt x="548" y="377"/>
                        </a:lnTo>
                        <a:lnTo>
                          <a:pt x="548" y="379"/>
                        </a:lnTo>
                        <a:lnTo>
                          <a:pt x="548" y="380"/>
                        </a:lnTo>
                        <a:lnTo>
                          <a:pt x="550" y="383"/>
                        </a:lnTo>
                        <a:lnTo>
                          <a:pt x="551" y="383"/>
                        </a:lnTo>
                        <a:lnTo>
                          <a:pt x="553" y="385"/>
                        </a:lnTo>
                        <a:lnTo>
                          <a:pt x="556" y="387"/>
                        </a:lnTo>
                        <a:lnTo>
                          <a:pt x="561" y="390"/>
                        </a:lnTo>
                        <a:lnTo>
                          <a:pt x="562" y="391"/>
                        </a:lnTo>
                        <a:lnTo>
                          <a:pt x="564" y="391"/>
                        </a:lnTo>
                        <a:lnTo>
                          <a:pt x="565" y="394"/>
                        </a:lnTo>
                        <a:lnTo>
                          <a:pt x="567" y="396"/>
                        </a:lnTo>
                        <a:lnTo>
                          <a:pt x="569" y="398"/>
                        </a:lnTo>
                        <a:lnTo>
                          <a:pt x="569" y="399"/>
                        </a:lnTo>
                        <a:lnTo>
                          <a:pt x="570" y="399"/>
                        </a:lnTo>
                        <a:lnTo>
                          <a:pt x="572" y="399"/>
                        </a:lnTo>
                        <a:lnTo>
                          <a:pt x="572" y="401"/>
                        </a:lnTo>
                        <a:lnTo>
                          <a:pt x="573" y="401"/>
                        </a:lnTo>
                        <a:lnTo>
                          <a:pt x="575" y="399"/>
                        </a:lnTo>
                        <a:lnTo>
                          <a:pt x="576" y="399"/>
                        </a:lnTo>
                        <a:lnTo>
                          <a:pt x="578" y="399"/>
                        </a:lnTo>
                        <a:lnTo>
                          <a:pt x="580" y="401"/>
                        </a:lnTo>
                        <a:lnTo>
                          <a:pt x="580" y="402"/>
                        </a:lnTo>
                        <a:lnTo>
                          <a:pt x="581" y="399"/>
                        </a:lnTo>
                        <a:lnTo>
                          <a:pt x="583" y="399"/>
                        </a:lnTo>
                        <a:lnTo>
                          <a:pt x="583" y="398"/>
                        </a:lnTo>
                        <a:lnTo>
                          <a:pt x="584" y="396"/>
                        </a:lnTo>
                        <a:lnTo>
                          <a:pt x="584" y="394"/>
                        </a:lnTo>
                        <a:lnTo>
                          <a:pt x="586" y="393"/>
                        </a:lnTo>
                        <a:lnTo>
                          <a:pt x="586" y="391"/>
                        </a:lnTo>
                        <a:lnTo>
                          <a:pt x="588" y="388"/>
                        </a:lnTo>
                        <a:lnTo>
                          <a:pt x="589" y="387"/>
                        </a:lnTo>
                        <a:lnTo>
                          <a:pt x="591" y="385"/>
                        </a:lnTo>
                        <a:lnTo>
                          <a:pt x="591" y="383"/>
                        </a:lnTo>
                        <a:lnTo>
                          <a:pt x="592" y="382"/>
                        </a:lnTo>
                        <a:lnTo>
                          <a:pt x="592" y="380"/>
                        </a:lnTo>
                        <a:lnTo>
                          <a:pt x="594" y="380"/>
                        </a:lnTo>
                        <a:lnTo>
                          <a:pt x="595" y="380"/>
                        </a:lnTo>
                        <a:lnTo>
                          <a:pt x="597" y="380"/>
                        </a:lnTo>
                        <a:lnTo>
                          <a:pt x="599" y="382"/>
                        </a:lnTo>
                        <a:lnTo>
                          <a:pt x="603" y="385"/>
                        </a:lnTo>
                        <a:lnTo>
                          <a:pt x="605" y="387"/>
                        </a:lnTo>
                        <a:lnTo>
                          <a:pt x="607" y="388"/>
                        </a:lnTo>
                        <a:lnTo>
                          <a:pt x="610" y="391"/>
                        </a:lnTo>
                        <a:lnTo>
                          <a:pt x="613" y="393"/>
                        </a:lnTo>
                        <a:lnTo>
                          <a:pt x="614" y="394"/>
                        </a:lnTo>
                        <a:lnTo>
                          <a:pt x="616" y="398"/>
                        </a:lnTo>
                        <a:lnTo>
                          <a:pt x="618" y="399"/>
                        </a:lnTo>
                        <a:lnTo>
                          <a:pt x="619" y="401"/>
                        </a:lnTo>
                        <a:lnTo>
                          <a:pt x="621" y="402"/>
                        </a:lnTo>
                        <a:lnTo>
                          <a:pt x="621" y="404"/>
                        </a:lnTo>
                        <a:lnTo>
                          <a:pt x="621" y="406"/>
                        </a:lnTo>
                        <a:lnTo>
                          <a:pt x="622" y="407"/>
                        </a:lnTo>
                        <a:lnTo>
                          <a:pt x="622" y="409"/>
                        </a:lnTo>
                        <a:lnTo>
                          <a:pt x="622" y="410"/>
                        </a:lnTo>
                        <a:lnTo>
                          <a:pt x="624" y="410"/>
                        </a:lnTo>
                        <a:lnTo>
                          <a:pt x="624" y="412"/>
                        </a:lnTo>
                        <a:lnTo>
                          <a:pt x="626" y="412"/>
                        </a:lnTo>
                        <a:lnTo>
                          <a:pt x="627" y="412"/>
                        </a:lnTo>
                        <a:lnTo>
                          <a:pt x="630" y="415"/>
                        </a:lnTo>
                        <a:lnTo>
                          <a:pt x="632" y="415"/>
                        </a:lnTo>
                        <a:lnTo>
                          <a:pt x="633" y="415"/>
                        </a:lnTo>
                        <a:lnTo>
                          <a:pt x="635" y="415"/>
                        </a:lnTo>
                        <a:lnTo>
                          <a:pt x="637" y="417"/>
                        </a:lnTo>
                        <a:lnTo>
                          <a:pt x="638" y="417"/>
                        </a:lnTo>
                        <a:lnTo>
                          <a:pt x="640" y="418"/>
                        </a:lnTo>
                        <a:lnTo>
                          <a:pt x="640" y="420"/>
                        </a:lnTo>
                        <a:lnTo>
                          <a:pt x="643" y="421"/>
                        </a:lnTo>
                        <a:lnTo>
                          <a:pt x="645" y="423"/>
                        </a:lnTo>
                        <a:lnTo>
                          <a:pt x="646" y="423"/>
                        </a:lnTo>
                        <a:lnTo>
                          <a:pt x="648" y="425"/>
                        </a:lnTo>
                        <a:lnTo>
                          <a:pt x="649" y="425"/>
                        </a:lnTo>
                        <a:lnTo>
                          <a:pt x="651" y="425"/>
                        </a:lnTo>
                        <a:lnTo>
                          <a:pt x="652" y="425"/>
                        </a:lnTo>
                        <a:lnTo>
                          <a:pt x="652" y="426"/>
                        </a:lnTo>
                        <a:lnTo>
                          <a:pt x="654" y="426"/>
                        </a:lnTo>
                        <a:lnTo>
                          <a:pt x="656" y="426"/>
                        </a:lnTo>
                        <a:lnTo>
                          <a:pt x="657" y="428"/>
                        </a:lnTo>
                        <a:lnTo>
                          <a:pt x="659" y="429"/>
                        </a:lnTo>
                        <a:lnTo>
                          <a:pt x="659" y="431"/>
                        </a:lnTo>
                        <a:lnTo>
                          <a:pt x="660" y="431"/>
                        </a:lnTo>
                        <a:lnTo>
                          <a:pt x="662" y="433"/>
                        </a:lnTo>
                        <a:lnTo>
                          <a:pt x="664" y="433"/>
                        </a:lnTo>
                        <a:lnTo>
                          <a:pt x="665" y="434"/>
                        </a:lnTo>
                        <a:lnTo>
                          <a:pt x="667" y="434"/>
                        </a:lnTo>
                        <a:lnTo>
                          <a:pt x="668" y="436"/>
                        </a:lnTo>
                        <a:lnTo>
                          <a:pt x="670" y="436"/>
                        </a:lnTo>
                        <a:lnTo>
                          <a:pt x="672" y="437"/>
                        </a:lnTo>
                        <a:lnTo>
                          <a:pt x="675" y="439"/>
                        </a:lnTo>
                        <a:lnTo>
                          <a:pt x="676" y="437"/>
                        </a:lnTo>
                        <a:lnTo>
                          <a:pt x="678" y="437"/>
                        </a:lnTo>
                        <a:lnTo>
                          <a:pt x="679" y="437"/>
                        </a:lnTo>
                        <a:lnTo>
                          <a:pt x="679" y="439"/>
                        </a:lnTo>
                        <a:lnTo>
                          <a:pt x="679" y="440"/>
                        </a:lnTo>
                        <a:lnTo>
                          <a:pt x="679" y="442"/>
                        </a:lnTo>
                        <a:lnTo>
                          <a:pt x="678" y="444"/>
                        </a:lnTo>
                        <a:lnTo>
                          <a:pt x="676" y="445"/>
                        </a:lnTo>
                        <a:lnTo>
                          <a:pt x="676" y="447"/>
                        </a:lnTo>
                        <a:lnTo>
                          <a:pt x="676" y="448"/>
                        </a:lnTo>
                        <a:lnTo>
                          <a:pt x="675" y="450"/>
                        </a:lnTo>
                        <a:lnTo>
                          <a:pt x="673" y="452"/>
                        </a:lnTo>
                        <a:lnTo>
                          <a:pt x="672" y="452"/>
                        </a:lnTo>
                        <a:lnTo>
                          <a:pt x="670" y="452"/>
                        </a:lnTo>
                        <a:lnTo>
                          <a:pt x="667" y="453"/>
                        </a:lnTo>
                        <a:lnTo>
                          <a:pt x="665" y="453"/>
                        </a:lnTo>
                        <a:lnTo>
                          <a:pt x="665" y="455"/>
                        </a:lnTo>
                        <a:lnTo>
                          <a:pt x="662" y="458"/>
                        </a:lnTo>
                        <a:lnTo>
                          <a:pt x="660" y="459"/>
                        </a:lnTo>
                        <a:lnTo>
                          <a:pt x="659" y="461"/>
                        </a:lnTo>
                        <a:lnTo>
                          <a:pt x="657" y="463"/>
                        </a:lnTo>
                        <a:lnTo>
                          <a:pt x="657" y="464"/>
                        </a:lnTo>
                        <a:lnTo>
                          <a:pt x="657" y="466"/>
                        </a:lnTo>
                        <a:lnTo>
                          <a:pt x="657" y="467"/>
                        </a:lnTo>
                        <a:lnTo>
                          <a:pt x="659" y="469"/>
                        </a:lnTo>
                        <a:lnTo>
                          <a:pt x="660" y="471"/>
                        </a:lnTo>
                        <a:lnTo>
                          <a:pt x="662" y="472"/>
                        </a:lnTo>
                        <a:lnTo>
                          <a:pt x="664" y="475"/>
                        </a:lnTo>
                        <a:lnTo>
                          <a:pt x="665" y="478"/>
                        </a:lnTo>
                        <a:lnTo>
                          <a:pt x="667" y="480"/>
                        </a:lnTo>
                        <a:lnTo>
                          <a:pt x="667" y="482"/>
                        </a:lnTo>
                        <a:lnTo>
                          <a:pt x="667" y="483"/>
                        </a:lnTo>
                        <a:lnTo>
                          <a:pt x="667" y="485"/>
                        </a:lnTo>
                        <a:lnTo>
                          <a:pt x="667" y="486"/>
                        </a:lnTo>
                        <a:lnTo>
                          <a:pt x="667" y="488"/>
                        </a:lnTo>
                        <a:lnTo>
                          <a:pt x="667" y="490"/>
                        </a:lnTo>
                        <a:lnTo>
                          <a:pt x="668" y="490"/>
                        </a:lnTo>
                        <a:lnTo>
                          <a:pt x="670" y="490"/>
                        </a:lnTo>
                        <a:lnTo>
                          <a:pt x="672" y="490"/>
                        </a:lnTo>
                        <a:lnTo>
                          <a:pt x="673" y="490"/>
                        </a:lnTo>
                        <a:lnTo>
                          <a:pt x="675" y="488"/>
                        </a:lnTo>
                        <a:lnTo>
                          <a:pt x="676" y="488"/>
                        </a:lnTo>
                        <a:lnTo>
                          <a:pt x="678" y="488"/>
                        </a:lnTo>
                        <a:lnTo>
                          <a:pt x="678" y="490"/>
                        </a:lnTo>
                        <a:lnTo>
                          <a:pt x="678" y="491"/>
                        </a:lnTo>
                        <a:lnTo>
                          <a:pt x="676" y="493"/>
                        </a:lnTo>
                        <a:lnTo>
                          <a:pt x="676" y="494"/>
                        </a:lnTo>
                        <a:lnTo>
                          <a:pt x="673" y="496"/>
                        </a:lnTo>
                        <a:lnTo>
                          <a:pt x="672" y="497"/>
                        </a:lnTo>
                        <a:lnTo>
                          <a:pt x="670" y="497"/>
                        </a:lnTo>
                        <a:lnTo>
                          <a:pt x="668" y="497"/>
                        </a:lnTo>
                        <a:lnTo>
                          <a:pt x="667" y="497"/>
                        </a:lnTo>
                        <a:lnTo>
                          <a:pt x="664" y="496"/>
                        </a:lnTo>
                        <a:lnTo>
                          <a:pt x="662" y="496"/>
                        </a:lnTo>
                        <a:lnTo>
                          <a:pt x="659" y="494"/>
                        </a:lnTo>
                        <a:lnTo>
                          <a:pt x="657" y="494"/>
                        </a:lnTo>
                        <a:lnTo>
                          <a:pt x="656" y="493"/>
                        </a:lnTo>
                        <a:lnTo>
                          <a:pt x="656" y="491"/>
                        </a:lnTo>
                        <a:lnTo>
                          <a:pt x="652" y="491"/>
                        </a:lnTo>
                        <a:lnTo>
                          <a:pt x="651" y="490"/>
                        </a:lnTo>
                        <a:lnTo>
                          <a:pt x="651" y="488"/>
                        </a:lnTo>
                        <a:lnTo>
                          <a:pt x="649" y="486"/>
                        </a:lnTo>
                        <a:lnTo>
                          <a:pt x="649" y="485"/>
                        </a:lnTo>
                        <a:lnTo>
                          <a:pt x="648" y="485"/>
                        </a:lnTo>
                        <a:lnTo>
                          <a:pt x="646" y="483"/>
                        </a:lnTo>
                        <a:lnTo>
                          <a:pt x="646" y="482"/>
                        </a:lnTo>
                        <a:lnTo>
                          <a:pt x="645" y="482"/>
                        </a:lnTo>
                        <a:lnTo>
                          <a:pt x="643" y="482"/>
                        </a:lnTo>
                        <a:lnTo>
                          <a:pt x="640" y="480"/>
                        </a:lnTo>
                        <a:lnTo>
                          <a:pt x="638" y="480"/>
                        </a:lnTo>
                        <a:lnTo>
                          <a:pt x="637" y="480"/>
                        </a:lnTo>
                        <a:lnTo>
                          <a:pt x="633" y="480"/>
                        </a:lnTo>
                        <a:lnTo>
                          <a:pt x="632" y="482"/>
                        </a:lnTo>
                        <a:lnTo>
                          <a:pt x="632" y="483"/>
                        </a:lnTo>
                        <a:lnTo>
                          <a:pt x="630" y="486"/>
                        </a:lnTo>
                        <a:lnTo>
                          <a:pt x="630" y="488"/>
                        </a:lnTo>
                        <a:lnTo>
                          <a:pt x="630" y="490"/>
                        </a:lnTo>
                        <a:lnTo>
                          <a:pt x="630" y="491"/>
                        </a:lnTo>
                        <a:lnTo>
                          <a:pt x="632" y="493"/>
                        </a:lnTo>
                        <a:lnTo>
                          <a:pt x="632" y="496"/>
                        </a:lnTo>
                        <a:lnTo>
                          <a:pt x="632" y="497"/>
                        </a:lnTo>
                        <a:lnTo>
                          <a:pt x="630" y="501"/>
                        </a:lnTo>
                        <a:lnTo>
                          <a:pt x="629" y="502"/>
                        </a:lnTo>
                        <a:lnTo>
                          <a:pt x="627" y="502"/>
                        </a:lnTo>
                        <a:lnTo>
                          <a:pt x="626" y="502"/>
                        </a:lnTo>
                        <a:lnTo>
                          <a:pt x="624" y="504"/>
                        </a:lnTo>
                        <a:lnTo>
                          <a:pt x="621" y="507"/>
                        </a:lnTo>
                        <a:lnTo>
                          <a:pt x="619" y="507"/>
                        </a:lnTo>
                        <a:lnTo>
                          <a:pt x="616" y="507"/>
                        </a:lnTo>
                        <a:lnTo>
                          <a:pt x="613" y="509"/>
                        </a:lnTo>
                        <a:lnTo>
                          <a:pt x="610" y="509"/>
                        </a:lnTo>
                        <a:lnTo>
                          <a:pt x="608" y="510"/>
                        </a:lnTo>
                        <a:lnTo>
                          <a:pt x="605" y="513"/>
                        </a:lnTo>
                        <a:lnTo>
                          <a:pt x="603" y="515"/>
                        </a:lnTo>
                        <a:lnTo>
                          <a:pt x="600" y="518"/>
                        </a:lnTo>
                        <a:lnTo>
                          <a:pt x="600" y="520"/>
                        </a:lnTo>
                        <a:lnTo>
                          <a:pt x="600" y="523"/>
                        </a:lnTo>
                        <a:lnTo>
                          <a:pt x="600" y="524"/>
                        </a:lnTo>
                        <a:lnTo>
                          <a:pt x="600" y="528"/>
                        </a:lnTo>
                        <a:lnTo>
                          <a:pt x="600" y="531"/>
                        </a:lnTo>
                        <a:lnTo>
                          <a:pt x="599" y="535"/>
                        </a:lnTo>
                        <a:lnTo>
                          <a:pt x="597" y="539"/>
                        </a:lnTo>
                        <a:lnTo>
                          <a:pt x="595" y="540"/>
                        </a:lnTo>
                        <a:lnTo>
                          <a:pt x="592" y="543"/>
                        </a:lnTo>
                        <a:lnTo>
                          <a:pt x="591" y="543"/>
                        </a:lnTo>
                        <a:lnTo>
                          <a:pt x="589" y="543"/>
                        </a:lnTo>
                        <a:lnTo>
                          <a:pt x="584" y="543"/>
                        </a:lnTo>
                        <a:lnTo>
                          <a:pt x="583" y="543"/>
                        </a:lnTo>
                        <a:lnTo>
                          <a:pt x="581" y="543"/>
                        </a:lnTo>
                        <a:lnTo>
                          <a:pt x="578" y="543"/>
                        </a:lnTo>
                        <a:lnTo>
                          <a:pt x="576" y="543"/>
                        </a:lnTo>
                        <a:lnTo>
                          <a:pt x="576" y="545"/>
                        </a:lnTo>
                        <a:lnTo>
                          <a:pt x="575" y="545"/>
                        </a:lnTo>
                        <a:lnTo>
                          <a:pt x="573" y="545"/>
                        </a:lnTo>
                        <a:lnTo>
                          <a:pt x="572" y="547"/>
                        </a:lnTo>
                        <a:lnTo>
                          <a:pt x="572" y="548"/>
                        </a:lnTo>
                        <a:lnTo>
                          <a:pt x="570" y="550"/>
                        </a:lnTo>
                        <a:lnTo>
                          <a:pt x="569" y="551"/>
                        </a:lnTo>
                        <a:lnTo>
                          <a:pt x="567" y="551"/>
                        </a:lnTo>
                        <a:lnTo>
                          <a:pt x="565" y="554"/>
                        </a:lnTo>
                        <a:lnTo>
                          <a:pt x="564" y="556"/>
                        </a:lnTo>
                        <a:lnTo>
                          <a:pt x="564" y="558"/>
                        </a:lnTo>
                        <a:lnTo>
                          <a:pt x="564" y="559"/>
                        </a:lnTo>
                        <a:lnTo>
                          <a:pt x="565" y="562"/>
                        </a:lnTo>
                        <a:lnTo>
                          <a:pt x="569" y="566"/>
                        </a:lnTo>
                        <a:lnTo>
                          <a:pt x="572" y="567"/>
                        </a:lnTo>
                        <a:lnTo>
                          <a:pt x="573" y="570"/>
                        </a:lnTo>
                        <a:lnTo>
                          <a:pt x="575" y="575"/>
                        </a:lnTo>
                        <a:lnTo>
                          <a:pt x="576" y="578"/>
                        </a:lnTo>
                        <a:lnTo>
                          <a:pt x="576" y="581"/>
                        </a:lnTo>
                        <a:lnTo>
                          <a:pt x="576" y="583"/>
                        </a:lnTo>
                        <a:lnTo>
                          <a:pt x="575" y="585"/>
                        </a:lnTo>
                        <a:lnTo>
                          <a:pt x="573" y="586"/>
                        </a:lnTo>
                        <a:lnTo>
                          <a:pt x="572" y="588"/>
                        </a:lnTo>
                        <a:lnTo>
                          <a:pt x="570" y="591"/>
                        </a:lnTo>
                        <a:lnTo>
                          <a:pt x="570" y="592"/>
                        </a:lnTo>
                        <a:lnTo>
                          <a:pt x="569" y="596"/>
                        </a:lnTo>
                        <a:lnTo>
                          <a:pt x="567" y="597"/>
                        </a:lnTo>
                        <a:lnTo>
                          <a:pt x="564" y="599"/>
                        </a:lnTo>
                        <a:lnTo>
                          <a:pt x="562" y="599"/>
                        </a:lnTo>
                        <a:lnTo>
                          <a:pt x="561" y="599"/>
                        </a:lnTo>
                        <a:lnTo>
                          <a:pt x="559" y="600"/>
                        </a:lnTo>
                        <a:lnTo>
                          <a:pt x="557" y="600"/>
                        </a:lnTo>
                        <a:lnTo>
                          <a:pt x="556" y="602"/>
                        </a:lnTo>
                        <a:lnTo>
                          <a:pt x="556" y="604"/>
                        </a:lnTo>
                        <a:lnTo>
                          <a:pt x="553" y="608"/>
                        </a:lnTo>
                        <a:lnTo>
                          <a:pt x="554" y="608"/>
                        </a:lnTo>
                        <a:lnTo>
                          <a:pt x="554" y="610"/>
                        </a:lnTo>
                        <a:lnTo>
                          <a:pt x="554" y="612"/>
                        </a:lnTo>
                        <a:lnTo>
                          <a:pt x="553" y="613"/>
                        </a:lnTo>
                        <a:lnTo>
                          <a:pt x="553" y="616"/>
                        </a:lnTo>
                        <a:lnTo>
                          <a:pt x="554" y="616"/>
                        </a:lnTo>
                        <a:lnTo>
                          <a:pt x="554" y="618"/>
                        </a:lnTo>
                        <a:lnTo>
                          <a:pt x="556" y="619"/>
                        </a:lnTo>
                        <a:lnTo>
                          <a:pt x="556" y="621"/>
                        </a:lnTo>
                        <a:lnTo>
                          <a:pt x="557" y="621"/>
                        </a:lnTo>
                        <a:lnTo>
                          <a:pt x="557" y="623"/>
                        </a:lnTo>
                        <a:lnTo>
                          <a:pt x="557" y="624"/>
                        </a:lnTo>
                        <a:lnTo>
                          <a:pt x="557" y="626"/>
                        </a:lnTo>
                        <a:lnTo>
                          <a:pt x="557" y="627"/>
                        </a:lnTo>
                        <a:lnTo>
                          <a:pt x="556" y="629"/>
                        </a:lnTo>
                        <a:lnTo>
                          <a:pt x="556" y="631"/>
                        </a:lnTo>
                        <a:lnTo>
                          <a:pt x="556" y="632"/>
                        </a:lnTo>
                        <a:lnTo>
                          <a:pt x="557" y="634"/>
                        </a:lnTo>
                        <a:lnTo>
                          <a:pt x="557" y="635"/>
                        </a:lnTo>
                        <a:lnTo>
                          <a:pt x="559" y="638"/>
                        </a:lnTo>
                        <a:lnTo>
                          <a:pt x="561" y="638"/>
                        </a:lnTo>
                        <a:lnTo>
                          <a:pt x="562" y="638"/>
                        </a:lnTo>
                        <a:lnTo>
                          <a:pt x="565" y="638"/>
                        </a:lnTo>
                        <a:lnTo>
                          <a:pt x="569" y="637"/>
                        </a:lnTo>
                        <a:lnTo>
                          <a:pt x="570" y="637"/>
                        </a:lnTo>
                        <a:lnTo>
                          <a:pt x="572" y="637"/>
                        </a:lnTo>
                        <a:lnTo>
                          <a:pt x="573" y="637"/>
                        </a:lnTo>
                        <a:lnTo>
                          <a:pt x="573" y="638"/>
                        </a:lnTo>
                        <a:lnTo>
                          <a:pt x="575" y="638"/>
                        </a:lnTo>
                        <a:lnTo>
                          <a:pt x="576" y="638"/>
                        </a:lnTo>
                        <a:lnTo>
                          <a:pt x="576" y="640"/>
                        </a:lnTo>
                        <a:lnTo>
                          <a:pt x="576" y="642"/>
                        </a:lnTo>
                        <a:lnTo>
                          <a:pt x="575" y="642"/>
                        </a:lnTo>
                        <a:lnTo>
                          <a:pt x="575" y="643"/>
                        </a:lnTo>
                        <a:lnTo>
                          <a:pt x="576" y="643"/>
                        </a:lnTo>
                        <a:lnTo>
                          <a:pt x="578" y="643"/>
                        </a:lnTo>
                        <a:lnTo>
                          <a:pt x="580" y="645"/>
                        </a:lnTo>
                        <a:lnTo>
                          <a:pt x="578" y="646"/>
                        </a:lnTo>
                        <a:lnTo>
                          <a:pt x="576" y="646"/>
                        </a:lnTo>
                        <a:lnTo>
                          <a:pt x="576" y="648"/>
                        </a:lnTo>
                        <a:lnTo>
                          <a:pt x="576" y="650"/>
                        </a:lnTo>
                        <a:lnTo>
                          <a:pt x="575" y="650"/>
                        </a:lnTo>
                        <a:lnTo>
                          <a:pt x="575" y="651"/>
                        </a:lnTo>
                        <a:lnTo>
                          <a:pt x="575" y="653"/>
                        </a:lnTo>
                        <a:lnTo>
                          <a:pt x="575" y="654"/>
                        </a:lnTo>
                        <a:lnTo>
                          <a:pt x="573" y="654"/>
                        </a:lnTo>
                        <a:lnTo>
                          <a:pt x="572" y="656"/>
                        </a:lnTo>
                        <a:lnTo>
                          <a:pt x="572" y="657"/>
                        </a:lnTo>
                        <a:lnTo>
                          <a:pt x="572" y="659"/>
                        </a:lnTo>
                        <a:lnTo>
                          <a:pt x="570" y="661"/>
                        </a:lnTo>
                        <a:lnTo>
                          <a:pt x="569" y="662"/>
                        </a:lnTo>
                        <a:lnTo>
                          <a:pt x="567" y="662"/>
                        </a:lnTo>
                        <a:lnTo>
                          <a:pt x="567" y="664"/>
                        </a:lnTo>
                        <a:lnTo>
                          <a:pt x="567" y="665"/>
                        </a:lnTo>
                        <a:lnTo>
                          <a:pt x="569" y="665"/>
                        </a:lnTo>
                        <a:lnTo>
                          <a:pt x="570" y="667"/>
                        </a:lnTo>
                        <a:lnTo>
                          <a:pt x="570" y="670"/>
                        </a:lnTo>
                        <a:lnTo>
                          <a:pt x="572" y="670"/>
                        </a:lnTo>
                        <a:lnTo>
                          <a:pt x="573" y="672"/>
                        </a:lnTo>
                        <a:lnTo>
                          <a:pt x="575" y="672"/>
                        </a:lnTo>
                        <a:lnTo>
                          <a:pt x="576" y="672"/>
                        </a:lnTo>
                        <a:lnTo>
                          <a:pt x="576" y="670"/>
                        </a:lnTo>
                        <a:lnTo>
                          <a:pt x="578" y="670"/>
                        </a:lnTo>
                        <a:lnTo>
                          <a:pt x="580" y="670"/>
                        </a:lnTo>
                        <a:lnTo>
                          <a:pt x="581" y="672"/>
                        </a:lnTo>
                        <a:lnTo>
                          <a:pt x="583" y="672"/>
                        </a:lnTo>
                        <a:lnTo>
                          <a:pt x="584" y="670"/>
                        </a:lnTo>
                        <a:lnTo>
                          <a:pt x="586" y="670"/>
                        </a:lnTo>
                        <a:lnTo>
                          <a:pt x="586" y="672"/>
                        </a:lnTo>
                        <a:lnTo>
                          <a:pt x="588" y="673"/>
                        </a:lnTo>
                        <a:lnTo>
                          <a:pt x="589" y="675"/>
                        </a:lnTo>
                        <a:lnTo>
                          <a:pt x="591" y="676"/>
                        </a:lnTo>
                        <a:lnTo>
                          <a:pt x="592" y="676"/>
                        </a:lnTo>
                        <a:lnTo>
                          <a:pt x="592" y="678"/>
                        </a:lnTo>
                        <a:lnTo>
                          <a:pt x="594" y="678"/>
                        </a:lnTo>
                        <a:lnTo>
                          <a:pt x="595" y="678"/>
                        </a:lnTo>
                        <a:lnTo>
                          <a:pt x="595" y="680"/>
                        </a:lnTo>
                        <a:lnTo>
                          <a:pt x="597" y="680"/>
                        </a:lnTo>
                        <a:lnTo>
                          <a:pt x="597" y="683"/>
                        </a:lnTo>
                        <a:lnTo>
                          <a:pt x="597" y="684"/>
                        </a:lnTo>
                        <a:lnTo>
                          <a:pt x="597" y="686"/>
                        </a:lnTo>
                        <a:lnTo>
                          <a:pt x="597" y="688"/>
                        </a:lnTo>
                        <a:lnTo>
                          <a:pt x="597" y="689"/>
                        </a:lnTo>
                        <a:lnTo>
                          <a:pt x="599" y="692"/>
                        </a:lnTo>
                        <a:lnTo>
                          <a:pt x="599" y="694"/>
                        </a:lnTo>
                        <a:lnTo>
                          <a:pt x="600" y="695"/>
                        </a:lnTo>
                        <a:lnTo>
                          <a:pt x="602" y="697"/>
                        </a:lnTo>
                        <a:lnTo>
                          <a:pt x="603" y="697"/>
                        </a:lnTo>
                        <a:lnTo>
                          <a:pt x="603" y="699"/>
                        </a:lnTo>
                        <a:lnTo>
                          <a:pt x="603" y="700"/>
                        </a:lnTo>
                        <a:lnTo>
                          <a:pt x="603" y="702"/>
                        </a:lnTo>
                        <a:lnTo>
                          <a:pt x="603" y="703"/>
                        </a:lnTo>
                        <a:lnTo>
                          <a:pt x="605" y="705"/>
                        </a:lnTo>
                        <a:lnTo>
                          <a:pt x="605" y="707"/>
                        </a:lnTo>
                        <a:lnTo>
                          <a:pt x="603" y="707"/>
                        </a:lnTo>
                        <a:lnTo>
                          <a:pt x="603" y="708"/>
                        </a:lnTo>
                        <a:lnTo>
                          <a:pt x="602" y="708"/>
                        </a:lnTo>
                        <a:lnTo>
                          <a:pt x="602" y="710"/>
                        </a:lnTo>
                        <a:lnTo>
                          <a:pt x="600" y="710"/>
                        </a:lnTo>
                        <a:lnTo>
                          <a:pt x="600" y="708"/>
                        </a:lnTo>
                        <a:lnTo>
                          <a:pt x="599" y="708"/>
                        </a:lnTo>
                        <a:lnTo>
                          <a:pt x="599" y="707"/>
                        </a:lnTo>
                        <a:lnTo>
                          <a:pt x="597" y="708"/>
                        </a:lnTo>
                        <a:lnTo>
                          <a:pt x="595" y="708"/>
                        </a:lnTo>
                        <a:lnTo>
                          <a:pt x="595" y="710"/>
                        </a:lnTo>
                        <a:lnTo>
                          <a:pt x="594" y="713"/>
                        </a:lnTo>
                        <a:lnTo>
                          <a:pt x="594" y="716"/>
                        </a:lnTo>
                        <a:lnTo>
                          <a:pt x="592" y="718"/>
                        </a:lnTo>
                        <a:lnTo>
                          <a:pt x="592" y="719"/>
                        </a:lnTo>
                        <a:lnTo>
                          <a:pt x="594" y="719"/>
                        </a:lnTo>
                        <a:lnTo>
                          <a:pt x="592" y="719"/>
                        </a:lnTo>
                        <a:lnTo>
                          <a:pt x="592" y="721"/>
                        </a:lnTo>
                        <a:lnTo>
                          <a:pt x="592" y="722"/>
                        </a:lnTo>
                        <a:lnTo>
                          <a:pt x="591" y="724"/>
                        </a:lnTo>
                        <a:lnTo>
                          <a:pt x="591" y="726"/>
                        </a:lnTo>
                        <a:lnTo>
                          <a:pt x="589" y="726"/>
                        </a:lnTo>
                        <a:lnTo>
                          <a:pt x="589" y="727"/>
                        </a:lnTo>
                        <a:lnTo>
                          <a:pt x="589" y="729"/>
                        </a:lnTo>
                        <a:lnTo>
                          <a:pt x="589" y="730"/>
                        </a:lnTo>
                        <a:lnTo>
                          <a:pt x="589" y="732"/>
                        </a:lnTo>
                        <a:lnTo>
                          <a:pt x="591" y="733"/>
                        </a:lnTo>
                        <a:lnTo>
                          <a:pt x="592" y="735"/>
                        </a:lnTo>
                        <a:lnTo>
                          <a:pt x="594" y="735"/>
                        </a:lnTo>
                        <a:lnTo>
                          <a:pt x="595" y="733"/>
                        </a:lnTo>
                        <a:lnTo>
                          <a:pt x="597" y="733"/>
                        </a:lnTo>
                        <a:lnTo>
                          <a:pt x="597" y="730"/>
                        </a:lnTo>
                        <a:lnTo>
                          <a:pt x="599" y="729"/>
                        </a:lnTo>
                        <a:lnTo>
                          <a:pt x="600" y="729"/>
                        </a:lnTo>
                        <a:lnTo>
                          <a:pt x="602" y="729"/>
                        </a:lnTo>
                        <a:lnTo>
                          <a:pt x="602" y="730"/>
                        </a:lnTo>
                        <a:lnTo>
                          <a:pt x="603" y="730"/>
                        </a:lnTo>
                        <a:lnTo>
                          <a:pt x="603" y="732"/>
                        </a:lnTo>
                        <a:lnTo>
                          <a:pt x="605" y="733"/>
                        </a:lnTo>
                        <a:lnTo>
                          <a:pt x="605" y="735"/>
                        </a:lnTo>
                        <a:lnTo>
                          <a:pt x="603" y="735"/>
                        </a:lnTo>
                        <a:lnTo>
                          <a:pt x="603" y="738"/>
                        </a:lnTo>
                        <a:lnTo>
                          <a:pt x="602" y="740"/>
                        </a:lnTo>
                        <a:lnTo>
                          <a:pt x="600" y="741"/>
                        </a:lnTo>
                        <a:lnTo>
                          <a:pt x="599" y="741"/>
                        </a:lnTo>
                        <a:lnTo>
                          <a:pt x="591" y="741"/>
                        </a:lnTo>
                        <a:lnTo>
                          <a:pt x="583" y="741"/>
                        </a:lnTo>
                        <a:lnTo>
                          <a:pt x="572" y="741"/>
                        </a:lnTo>
                        <a:lnTo>
                          <a:pt x="564" y="741"/>
                        </a:lnTo>
                        <a:lnTo>
                          <a:pt x="562" y="741"/>
                        </a:lnTo>
                        <a:lnTo>
                          <a:pt x="561" y="741"/>
                        </a:lnTo>
                        <a:lnTo>
                          <a:pt x="557" y="743"/>
                        </a:lnTo>
                        <a:lnTo>
                          <a:pt x="553" y="741"/>
                        </a:lnTo>
                        <a:lnTo>
                          <a:pt x="550" y="741"/>
                        </a:lnTo>
                        <a:lnTo>
                          <a:pt x="535" y="741"/>
                        </a:lnTo>
                        <a:lnTo>
                          <a:pt x="529" y="740"/>
                        </a:lnTo>
                        <a:lnTo>
                          <a:pt x="526" y="740"/>
                        </a:lnTo>
                        <a:lnTo>
                          <a:pt x="523" y="733"/>
                        </a:lnTo>
                        <a:lnTo>
                          <a:pt x="510" y="733"/>
                        </a:lnTo>
                        <a:lnTo>
                          <a:pt x="508" y="741"/>
                        </a:lnTo>
                        <a:lnTo>
                          <a:pt x="500" y="741"/>
                        </a:lnTo>
                        <a:lnTo>
                          <a:pt x="497" y="743"/>
                        </a:lnTo>
                        <a:lnTo>
                          <a:pt x="494" y="743"/>
                        </a:lnTo>
                        <a:lnTo>
                          <a:pt x="493" y="743"/>
                        </a:lnTo>
                        <a:lnTo>
                          <a:pt x="491" y="745"/>
                        </a:lnTo>
                        <a:lnTo>
                          <a:pt x="491" y="746"/>
                        </a:lnTo>
                        <a:lnTo>
                          <a:pt x="486" y="752"/>
                        </a:lnTo>
                        <a:lnTo>
                          <a:pt x="485" y="756"/>
                        </a:lnTo>
                        <a:lnTo>
                          <a:pt x="485" y="757"/>
                        </a:lnTo>
                        <a:lnTo>
                          <a:pt x="483" y="760"/>
                        </a:lnTo>
                        <a:lnTo>
                          <a:pt x="481" y="760"/>
                        </a:lnTo>
                        <a:lnTo>
                          <a:pt x="477" y="760"/>
                        </a:lnTo>
                        <a:lnTo>
                          <a:pt x="475" y="760"/>
                        </a:lnTo>
                        <a:lnTo>
                          <a:pt x="474" y="759"/>
                        </a:lnTo>
                        <a:lnTo>
                          <a:pt x="467" y="754"/>
                        </a:lnTo>
                        <a:lnTo>
                          <a:pt x="467" y="752"/>
                        </a:lnTo>
                        <a:lnTo>
                          <a:pt x="456" y="752"/>
                        </a:lnTo>
                        <a:lnTo>
                          <a:pt x="454" y="745"/>
                        </a:lnTo>
                        <a:lnTo>
                          <a:pt x="451" y="741"/>
                        </a:lnTo>
                        <a:lnTo>
                          <a:pt x="448" y="740"/>
                        </a:lnTo>
                        <a:lnTo>
                          <a:pt x="431" y="740"/>
                        </a:lnTo>
                        <a:lnTo>
                          <a:pt x="429" y="740"/>
                        </a:lnTo>
                        <a:lnTo>
                          <a:pt x="428" y="740"/>
                        </a:lnTo>
                        <a:lnTo>
                          <a:pt x="423" y="741"/>
                        </a:lnTo>
                        <a:lnTo>
                          <a:pt x="409" y="741"/>
                        </a:lnTo>
                        <a:lnTo>
                          <a:pt x="402" y="737"/>
                        </a:lnTo>
                        <a:lnTo>
                          <a:pt x="390" y="737"/>
                        </a:lnTo>
                        <a:lnTo>
                          <a:pt x="369" y="735"/>
                        </a:lnTo>
                        <a:lnTo>
                          <a:pt x="366" y="735"/>
                        </a:lnTo>
                        <a:lnTo>
                          <a:pt x="364" y="735"/>
                        </a:lnTo>
                        <a:lnTo>
                          <a:pt x="355" y="735"/>
                        </a:lnTo>
                        <a:lnTo>
                          <a:pt x="345" y="735"/>
                        </a:lnTo>
                        <a:lnTo>
                          <a:pt x="339" y="735"/>
                        </a:lnTo>
                        <a:lnTo>
                          <a:pt x="334" y="735"/>
                        </a:lnTo>
                        <a:lnTo>
                          <a:pt x="333" y="746"/>
                        </a:lnTo>
                        <a:lnTo>
                          <a:pt x="320" y="746"/>
                        </a:lnTo>
                        <a:lnTo>
                          <a:pt x="314" y="746"/>
                        </a:lnTo>
                        <a:lnTo>
                          <a:pt x="306" y="745"/>
                        </a:lnTo>
                        <a:lnTo>
                          <a:pt x="288" y="745"/>
                        </a:lnTo>
                        <a:lnTo>
                          <a:pt x="263" y="741"/>
                        </a:lnTo>
                        <a:lnTo>
                          <a:pt x="249" y="741"/>
                        </a:lnTo>
                        <a:lnTo>
                          <a:pt x="220" y="741"/>
                        </a:lnTo>
                        <a:lnTo>
                          <a:pt x="218" y="741"/>
                        </a:lnTo>
                        <a:lnTo>
                          <a:pt x="217" y="740"/>
                        </a:lnTo>
                        <a:lnTo>
                          <a:pt x="209" y="741"/>
                        </a:lnTo>
                        <a:lnTo>
                          <a:pt x="203" y="741"/>
                        </a:lnTo>
                        <a:lnTo>
                          <a:pt x="198" y="741"/>
                        </a:lnTo>
                        <a:lnTo>
                          <a:pt x="196" y="741"/>
                        </a:lnTo>
                        <a:lnTo>
                          <a:pt x="192" y="741"/>
                        </a:lnTo>
                        <a:lnTo>
                          <a:pt x="184" y="741"/>
                        </a:lnTo>
                        <a:lnTo>
                          <a:pt x="176" y="741"/>
                        </a:lnTo>
                        <a:lnTo>
                          <a:pt x="163" y="741"/>
                        </a:lnTo>
                        <a:lnTo>
                          <a:pt x="155" y="737"/>
                        </a:lnTo>
                        <a:lnTo>
                          <a:pt x="154" y="733"/>
                        </a:lnTo>
                        <a:lnTo>
                          <a:pt x="146" y="729"/>
                        </a:lnTo>
                        <a:lnTo>
                          <a:pt x="144" y="727"/>
                        </a:lnTo>
                        <a:lnTo>
                          <a:pt x="146" y="722"/>
                        </a:lnTo>
                        <a:lnTo>
                          <a:pt x="144" y="721"/>
                        </a:lnTo>
                        <a:lnTo>
                          <a:pt x="144" y="719"/>
                        </a:lnTo>
                        <a:lnTo>
                          <a:pt x="142" y="719"/>
                        </a:lnTo>
                        <a:lnTo>
                          <a:pt x="141" y="718"/>
                        </a:lnTo>
                        <a:lnTo>
                          <a:pt x="141" y="716"/>
                        </a:lnTo>
                        <a:lnTo>
                          <a:pt x="142" y="714"/>
                        </a:lnTo>
                        <a:lnTo>
                          <a:pt x="144" y="713"/>
                        </a:lnTo>
                        <a:lnTo>
                          <a:pt x="146" y="713"/>
                        </a:lnTo>
                        <a:lnTo>
                          <a:pt x="149" y="711"/>
                        </a:lnTo>
                        <a:lnTo>
                          <a:pt x="149" y="710"/>
                        </a:lnTo>
                        <a:lnTo>
                          <a:pt x="149" y="708"/>
                        </a:lnTo>
                        <a:lnTo>
                          <a:pt x="147" y="705"/>
                        </a:lnTo>
                        <a:lnTo>
                          <a:pt x="147" y="703"/>
                        </a:lnTo>
                        <a:lnTo>
                          <a:pt x="149" y="703"/>
                        </a:lnTo>
                        <a:lnTo>
                          <a:pt x="150" y="703"/>
                        </a:lnTo>
                        <a:lnTo>
                          <a:pt x="150" y="702"/>
                        </a:lnTo>
                        <a:lnTo>
                          <a:pt x="149" y="702"/>
                        </a:lnTo>
                        <a:lnTo>
                          <a:pt x="149" y="700"/>
                        </a:lnTo>
                        <a:lnTo>
                          <a:pt x="147" y="700"/>
                        </a:lnTo>
                        <a:lnTo>
                          <a:pt x="146" y="700"/>
                        </a:lnTo>
                        <a:lnTo>
                          <a:pt x="142" y="702"/>
                        </a:lnTo>
                        <a:lnTo>
                          <a:pt x="142" y="703"/>
                        </a:lnTo>
                        <a:lnTo>
                          <a:pt x="142" y="705"/>
                        </a:lnTo>
                        <a:lnTo>
                          <a:pt x="142" y="707"/>
                        </a:lnTo>
                        <a:lnTo>
                          <a:pt x="141" y="708"/>
                        </a:lnTo>
                        <a:lnTo>
                          <a:pt x="141" y="710"/>
                        </a:lnTo>
                        <a:lnTo>
                          <a:pt x="139" y="710"/>
                        </a:lnTo>
                        <a:lnTo>
                          <a:pt x="136" y="711"/>
                        </a:lnTo>
                        <a:lnTo>
                          <a:pt x="135" y="711"/>
                        </a:lnTo>
                        <a:lnTo>
                          <a:pt x="135" y="710"/>
                        </a:lnTo>
                        <a:lnTo>
                          <a:pt x="133" y="708"/>
                        </a:lnTo>
                        <a:lnTo>
                          <a:pt x="131" y="707"/>
                        </a:lnTo>
                        <a:lnTo>
                          <a:pt x="130" y="707"/>
                        </a:lnTo>
                        <a:lnTo>
                          <a:pt x="128" y="707"/>
                        </a:lnTo>
                        <a:lnTo>
                          <a:pt x="127" y="705"/>
                        </a:lnTo>
                        <a:lnTo>
                          <a:pt x="123" y="702"/>
                        </a:lnTo>
                        <a:lnTo>
                          <a:pt x="122" y="700"/>
                        </a:lnTo>
                        <a:lnTo>
                          <a:pt x="120" y="700"/>
                        </a:lnTo>
                        <a:lnTo>
                          <a:pt x="120" y="699"/>
                        </a:lnTo>
                        <a:lnTo>
                          <a:pt x="120" y="697"/>
                        </a:lnTo>
                        <a:lnTo>
                          <a:pt x="119" y="697"/>
                        </a:lnTo>
                        <a:lnTo>
                          <a:pt x="117" y="695"/>
                        </a:lnTo>
                        <a:lnTo>
                          <a:pt x="116" y="694"/>
                        </a:lnTo>
                        <a:lnTo>
                          <a:pt x="114" y="692"/>
                        </a:lnTo>
                        <a:lnTo>
                          <a:pt x="111" y="691"/>
                        </a:lnTo>
                        <a:lnTo>
                          <a:pt x="109" y="689"/>
                        </a:lnTo>
                        <a:lnTo>
                          <a:pt x="109" y="688"/>
                        </a:lnTo>
                        <a:lnTo>
                          <a:pt x="109" y="684"/>
                        </a:lnTo>
                        <a:lnTo>
                          <a:pt x="112" y="684"/>
                        </a:lnTo>
                        <a:lnTo>
                          <a:pt x="112" y="683"/>
                        </a:lnTo>
                        <a:lnTo>
                          <a:pt x="114" y="683"/>
                        </a:lnTo>
                        <a:lnTo>
                          <a:pt x="114" y="681"/>
                        </a:lnTo>
                        <a:lnTo>
                          <a:pt x="114" y="680"/>
                        </a:lnTo>
                        <a:lnTo>
                          <a:pt x="116" y="680"/>
                        </a:lnTo>
                        <a:lnTo>
                          <a:pt x="116" y="678"/>
                        </a:lnTo>
                        <a:lnTo>
                          <a:pt x="114" y="678"/>
                        </a:lnTo>
                        <a:lnTo>
                          <a:pt x="114" y="676"/>
                        </a:lnTo>
                        <a:lnTo>
                          <a:pt x="112" y="676"/>
                        </a:lnTo>
                        <a:lnTo>
                          <a:pt x="111" y="676"/>
                        </a:lnTo>
                        <a:lnTo>
                          <a:pt x="109" y="676"/>
                        </a:lnTo>
                        <a:lnTo>
                          <a:pt x="108" y="676"/>
                        </a:lnTo>
                        <a:lnTo>
                          <a:pt x="106" y="678"/>
                        </a:lnTo>
                        <a:lnTo>
                          <a:pt x="104" y="678"/>
                        </a:lnTo>
                        <a:lnTo>
                          <a:pt x="103" y="678"/>
                        </a:lnTo>
                        <a:lnTo>
                          <a:pt x="101" y="678"/>
                        </a:lnTo>
                        <a:lnTo>
                          <a:pt x="101" y="680"/>
                        </a:lnTo>
                        <a:lnTo>
                          <a:pt x="98" y="680"/>
                        </a:lnTo>
                        <a:lnTo>
                          <a:pt x="98" y="678"/>
                        </a:lnTo>
                        <a:lnTo>
                          <a:pt x="97" y="676"/>
                        </a:lnTo>
                        <a:lnTo>
                          <a:pt x="95" y="675"/>
                        </a:lnTo>
                        <a:lnTo>
                          <a:pt x="93" y="675"/>
                        </a:lnTo>
                        <a:lnTo>
                          <a:pt x="90" y="675"/>
                        </a:lnTo>
                        <a:lnTo>
                          <a:pt x="89" y="676"/>
                        </a:lnTo>
                        <a:lnTo>
                          <a:pt x="87" y="676"/>
                        </a:lnTo>
                        <a:lnTo>
                          <a:pt x="85" y="678"/>
                        </a:lnTo>
                        <a:lnTo>
                          <a:pt x="82" y="680"/>
                        </a:lnTo>
                        <a:lnTo>
                          <a:pt x="81" y="680"/>
                        </a:lnTo>
                        <a:lnTo>
                          <a:pt x="79" y="680"/>
                        </a:lnTo>
                        <a:lnTo>
                          <a:pt x="77" y="680"/>
                        </a:lnTo>
                        <a:lnTo>
                          <a:pt x="76" y="680"/>
                        </a:lnTo>
                        <a:lnTo>
                          <a:pt x="74" y="678"/>
                        </a:lnTo>
                        <a:lnTo>
                          <a:pt x="73" y="676"/>
                        </a:lnTo>
                        <a:lnTo>
                          <a:pt x="71" y="676"/>
                        </a:lnTo>
                        <a:lnTo>
                          <a:pt x="71" y="675"/>
                        </a:lnTo>
                        <a:lnTo>
                          <a:pt x="71" y="673"/>
                        </a:lnTo>
                        <a:lnTo>
                          <a:pt x="73" y="672"/>
                        </a:lnTo>
                        <a:lnTo>
                          <a:pt x="74" y="672"/>
                        </a:lnTo>
                        <a:lnTo>
                          <a:pt x="74" y="670"/>
                        </a:lnTo>
                        <a:lnTo>
                          <a:pt x="71" y="667"/>
                        </a:lnTo>
                        <a:lnTo>
                          <a:pt x="68" y="665"/>
                        </a:lnTo>
                        <a:lnTo>
                          <a:pt x="66" y="667"/>
                        </a:lnTo>
                        <a:lnTo>
                          <a:pt x="65" y="669"/>
                        </a:lnTo>
                        <a:lnTo>
                          <a:pt x="63" y="670"/>
                        </a:lnTo>
                        <a:lnTo>
                          <a:pt x="62" y="670"/>
                        </a:lnTo>
                        <a:lnTo>
                          <a:pt x="60" y="669"/>
                        </a:lnTo>
                        <a:lnTo>
                          <a:pt x="58" y="669"/>
                        </a:lnTo>
                        <a:lnTo>
                          <a:pt x="57" y="667"/>
                        </a:lnTo>
                        <a:lnTo>
                          <a:pt x="57" y="665"/>
                        </a:lnTo>
                        <a:lnTo>
                          <a:pt x="57" y="664"/>
                        </a:lnTo>
                        <a:lnTo>
                          <a:pt x="57" y="662"/>
                        </a:lnTo>
                        <a:lnTo>
                          <a:pt x="57" y="661"/>
                        </a:lnTo>
                        <a:lnTo>
                          <a:pt x="58" y="661"/>
                        </a:lnTo>
                        <a:lnTo>
                          <a:pt x="60" y="659"/>
                        </a:lnTo>
                        <a:lnTo>
                          <a:pt x="60" y="657"/>
                        </a:lnTo>
                        <a:lnTo>
                          <a:pt x="58" y="656"/>
                        </a:lnTo>
                        <a:lnTo>
                          <a:pt x="57" y="654"/>
                        </a:lnTo>
                        <a:lnTo>
                          <a:pt x="55" y="654"/>
                        </a:lnTo>
                        <a:lnTo>
                          <a:pt x="54" y="654"/>
                        </a:lnTo>
                        <a:lnTo>
                          <a:pt x="52" y="654"/>
                        </a:lnTo>
                        <a:lnTo>
                          <a:pt x="51" y="656"/>
                        </a:lnTo>
                        <a:lnTo>
                          <a:pt x="49" y="656"/>
                        </a:lnTo>
                        <a:lnTo>
                          <a:pt x="46" y="656"/>
                        </a:lnTo>
                        <a:lnTo>
                          <a:pt x="44" y="656"/>
                        </a:lnTo>
                        <a:lnTo>
                          <a:pt x="44" y="657"/>
                        </a:lnTo>
                        <a:lnTo>
                          <a:pt x="43" y="659"/>
                        </a:lnTo>
                        <a:lnTo>
                          <a:pt x="43" y="661"/>
                        </a:lnTo>
                        <a:lnTo>
                          <a:pt x="41" y="661"/>
                        </a:lnTo>
                        <a:lnTo>
                          <a:pt x="41" y="659"/>
                        </a:lnTo>
                        <a:lnTo>
                          <a:pt x="39" y="659"/>
                        </a:lnTo>
                        <a:lnTo>
                          <a:pt x="38" y="659"/>
                        </a:lnTo>
                        <a:lnTo>
                          <a:pt x="36" y="659"/>
                        </a:lnTo>
                        <a:lnTo>
                          <a:pt x="36" y="657"/>
                        </a:lnTo>
                        <a:lnTo>
                          <a:pt x="35" y="657"/>
                        </a:lnTo>
                        <a:lnTo>
                          <a:pt x="33" y="657"/>
                        </a:lnTo>
                        <a:lnTo>
                          <a:pt x="33" y="656"/>
                        </a:lnTo>
                        <a:lnTo>
                          <a:pt x="32" y="653"/>
                        </a:lnTo>
                        <a:lnTo>
                          <a:pt x="33" y="651"/>
                        </a:lnTo>
                        <a:lnTo>
                          <a:pt x="33" y="650"/>
                        </a:lnTo>
                        <a:lnTo>
                          <a:pt x="33" y="648"/>
                        </a:lnTo>
                        <a:lnTo>
                          <a:pt x="32" y="646"/>
                        </a:lnTo>
                        <a:lnTo>
                          <a:pt x="28" y="646"/>
                        </a:lnTo>
                        <a:lnTo>
                          <a:pt x="25" y="645"/>
                        </a:lnTo>
                        <a:lnTo>
                          <a:pt x="24" y="643"/>
                        </a:lnTo>
                        <a:lnTo>
                          <a:pt x="22" y="643"/>
                        </a:lnTo>
                        <a:lnTo>
                          <a:pt x="20" y="643"/>
                        </a:lnTo>
                        <a:lnTo>
                          <a:pt x="19" y="642"/>
                        </a:lnTo>
                        <a:lnTo>
                          <a:pt x="17" y="642"/>
                        </a:lnTo>
                        <a:lnTo>
                          <a:pt x="16" y="640"/>
                        </a:lnTo>
                        <a:lnTo>
                          <a:pt x="16" y="642"/>
                        </a:lnTo>
                        <a:lnTo>
                          <a:pt x="14" y="640"/>
                        </a:lnTo>
                        <a:lnTo>
                          <a:pt x="14" y="638"/>
                        </a:lnTo>
                        <a:lnTo>
                          <a:pt x="16" y="638"/>
                        </a:lnTo>
                        <a:lnTo>
                          <a:pt x="16" y="637"/>
                        </a:lnTo>
                        <a:lnTo>
                          <a:pt x="16" y="635"/>
                        </a:lnTo>
                        <a:lnTo>
                          <a:pt x="16" y="634"/>
                        </a:lnTo>
                        <a:lnTo>
                          <a:pt x="14" y="634"/>
                        </a:lnTo>
                        <a:lnTo>
                          <a:pt x="13" y="634"/>
                        </a:lnTo>
                        <a:lnTo>
                          <a:pt x="11" y="634"/>
                        </a:lnTo>
                        <a:lnTo>
                          <a:pt x="9" y="635"/>
                        </a:lnTo>
                        <a:lnTo>
                          <a:pt x="6" y="635"/>
                        </a:lnTo>
                        <a:lnTo>
                          <a:pt x="5" y="635"/>
                        </a:lnTo>
                        <a:lnTo>
                          <a:pt x="5" y="634"/>
                        </a:lnTo>
                        <a:lnTo>
                          <a:pt x="3" y="634"/>
                        </a:lnTo>
                        <a:lnTo>
                          <a:pt x="0" y="634"/>
                        </a:lnTo>
                        <a:lnTo>
                          <a:pt x="0" y="632"/>
                        </a:lnTo>
                        <a:lnTo>
                          <a:pt x="0" y="631"/>
                        </a:lnTo>
                        <a:lnTo>
                          <a:pt x="0" y="629"/>
                        </a:lnTo>
                        <a:lnTo>
                          <a:pt x="1" y="626"/>
                        </a:lnTo>
                        <a:lnTo>
                          <a:pt x="3" y="624"/>
                        </a:lnTo>
                        <a:lnTo>
                          <a:pt x="8" y="618"/>
                        </a:lnTo>
                        <a:lnTo>
                          <a:pt x="11" y="613"/>
                        </a:lnTo>
                        <a:lnTo>
                          <a:pt x="16" y="608"/>
                        </a:lnTo>
                        <a:lnTo>
                          <a:pt x="20" y="602"/>
                        </a:lnTo>
                        <a:lnTo>
                          <a:pt x="24" y="600"/>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55" name="Freeform 54"/>
                  <p:cNvSpPr>
                    <a:spLocks/>
                  </p:cNvSpPr>
                  <p:nvPr/>
                </p:nvSpPr>
                <p:spPr bwMode="auto">
                  <a:xfrm>
                    <a:off x="3772" y="2409"/>
                    <a:ext cx="458" cy="606"/>
                  </a:xfrm>
                  <a:custGeom>
                    <a:avLst/>
                    <a:gdLst>
                      <a:gd name="T0" fmla="*/ 265 w 458"/>
                      <a:gd name="T1" fmla="*/ 586 h 606"/>
                      <a:gd name="T2" fmla="*/ 282 w 458"/>
                      <a:gd name="T3" fmla="*/ 554 h 606"/>
                      <a:gd name="T4" fmla="*/ 285 w 458"/>
                      <a:gd name="T5" fmla="*/ 524 h 606"/>
                      <a:gd name="T6" fmla="*/ 298 w 458"/>
                      <a:gd name="T7" fmla="*/ 499 h 606"/>
                      <a:gd name="T8" fmla="*/ 315 w 458"/>
                      <a:gd name="T9" fmla="*/ 500 h 606"/>
                      <a:gd name="T10" fmla="*/ 342 w 458"/>
                      <a:gd name="T11" fmla="*/ 481 h 606"/>
                      <a:gd name="T12" fmla="*/ 377 w 458"/>
                      <a:gd name="T13" fmla="*/ 461 h 606"/>
                      <a:gd name="T14" fmla="*/ 407 w 458"/>
                      <a:gd name="T15" fmla="*/ 443 h 606"/>
                      <a:gd name="T16" fmla="*/ 421 w 458"/>
                      <a:gd name="T17" fmla="*/ 429 h 606"/>
                      <a:gd name="T18" fmla="*/ 436 w 458"/>
                      <a:gd name="T19" fmla="*/ 416 h 606"/>
                      <a:gd name="T20" fmla="*/ 455 w 458"/>
                      <a:gd name="T21" fmla="*/ 404 h 606"/>
                      <a:gd name="T22" fmla="*/ 444 w 458"/>
                      <a:gd name="T23" fmla="*/ 391 h 606"/>
                      <a:gd name="T24" fmla="*/ 437 w 458"/>
                      <a:gd name="T25" fmla="*/ 378 h 606"/>
                      <a:gd name="T26" fmla="*/ 425 w 458"/>
                      <a:gd name="T27" fmla="*/ 370 h 606"/>
                      <a:gd name="T28" fmla="*/ 407 w 458"/>
                      <a:gd name="T29" fmla="*/ 372 h 606"/>
                      <a:gd name="T30" fmla="*/ 399 w 458"/>
                      <a:gd name="T31" fmla="*/ 362 h 606"/>
                      <a:gd name="T32" fmla="*/ 387 w 458"/>
                      <a:gd name="T33" fmla="*/ 356 h 606"/>
                      <a:gd name="T34" fmla="*/ 379 w 458"/>
                      <a:gd name="T35" fmla="*/ 348 h 606"/>
                      <a:gd name="T36" fmla="*/ 369 w 458"/>
                      <a:gd name="T37" fmla="*/ 339 h 606"/>
                      <a:gd name="T38" fmla="*/ 366 w 458"/>
                      <a:gd name="T39" fmla="*/ 323 h 606"/>
                      <a:gd name="T40" fmla="*/ 358 w 458"/>
                      <a:gd name="T41" fmla="*/ 318 h 606"/>
                      <a:gd name="T42" fmla="*/ 344 w 458"/>
                      <a:gd name="T43" fmla="*/ 312 h 606"/>
                      <a:gd name="T44" fmla="*/ 334 w 458"/>
                      <a:gd name="T45" fmla="*/ 302 h 606"/>
                      <a:gd name="T46" fmla="*/ 318 w 458"/>
                      <a:gd name="T47" fmla="*/ 299 h 606"/>
                      <a:gd name="T48" fmla="*/ 311 w 458"/>
                      <a:gd name="T49" fmla="*/ 294 h 606"/>
                      <a:gd name="T50" fmla="*/ 303 w 458"/>
                      <a:gd name="T51" fmla="*/ 285 h 606"/>
                      <a:gd name="T52" fmla="*/ 295 w 458"/>
                      <a:gd name="T53" fmla="*/ 274 h 606"/>
                      <a:gd name="T54" fmla="*/ 277 w 458"/>
                      <a:gd name="T55" fmla="*/ 263 h 606"/>
                      <a:gd name="T56" fmla="*/ 266 w 458"/>
                      <a:gd name="T57" fmla="*/ 255 h 606"/>
                      <a:gd name="T58" fmla="*/ 250 w 458"/>
                      <a:gd name="T59" fmla="*/ 260 h 606"/>
                      <a:gd name="T60" fmla="*/ 242 w 458"/>
                      <a:gd name="T61" fmla="*/ 244 h 606"/>
                      <a:gd name="T62" fmla="*/ 227 w 458"/>
                      <a:gd name="T63" fmla="*/ 233 h 606"/>
                      <a:gd name="T64" fmla="*/ 220 w 458"/>
                      <a:gd name="T65" fmla="*/ 220 h 606"/>
                      <a:gd name="T66" fmla="*/ 209 w 458"/>
                      <a:gd name="T67" fmla="*/ 209 h 606"/>
                      <a:gd name="T68" fmla="*/ 198 w 458"/>
                      <a:gd name="T69" fmla="*/ 195 h 606"/>
                      <a:gd name="T70" fmla="*/ 179 w 458"/>
                      <a:gd name="T71" fmla="*/ 187 h 606"/>
                      <a:gd name="T72" fmla="*/ 166 w 458"/>
                      <a:gd name="T73" fmla="*/ 174 h 606"/>
                      <a:gd name="T74" fmla="*/ 166 w 458"/>
                      <a:gd name="T75" fmla="*/ 160 h 606"/>
                      <a:gd name="T76" fmla="*/ 154 w 458"/>
                      <a:gd name="T77" fmla="*/ 149 h 606"/>
                      <a:gd name="T78" fmla="*/ 135 w 458"/>
                      <a:gd name="T79" fmla="*/ 152 h 606"/>
                      <a:gd name="T80" fmla="*/ 122 w 458"/>
                      <a:gd name="T81" fmla="*/ 160 h 606"/>
                      <a:gd name="T82" fmla="*/ 109 w 458"/>
                      <a:gd name="T83" fmla="*/ 172 h 606"/>
                      <a:gd name="T84" fmla="*/ 82 w 458"/>
                      <a:gd name="T85" fmla="*/ 169 h 606"/>
                      <a:gd name="T86" fmla="*/ 67 w 458"/>
                      <a:gd name="T87" fmla="*/ 171 h 606"/>
                      <a:gd name="T88" fmla="*/ 44 w 458"/>
                      <a:gd name="T89" fmla="*/ 163 h 606"/>
                      <a:gd name="T90" fmla="*/ 33 w 458"/>
                      <a:gd name="T91" fmla="*/ 147 h 606"/>
                      <a:gd name="T92" fmla="*/ 14 w 458"/>
                      <a:gd name="T93" fmla="*/ 131 h 606"/>
                      <a:gd name="T94" fmla="*/ 2 w 458"/>
                      <a:gd name="T95" fmla="*/ 117 h 606"/>
                      <a:gd name="T96" fmla="*/ 51 w 458"/>
                      <a:gd name="T97" fmla="*/ 85 h 606"/>
                      <a:gd name="T98" fmla="*/ 48 w 458"/>
                      <a:gd name="T99" fmla="*/ 62 h 606"/>
                      <a:gd name="T100" fmla="*/ 52 w 458"/>
                      <a:gd name="T101" fmla="*/ 49 h 606"/>
                      <a:gd name="T102" fmla="*/ 73 w 458"/>
                      <a:gd name="T103" fmla="*/ 43 h 606"/>
                      <a:gd name="T104" fmla="*/ 86 w 458"/>
                      <a:gd name="T105" fmla="*/ 28 h 606"/>
                      <a:gd name="T106" fmla="*/ 144 w 458"/>
                      <a:gd name="T107" fmla="*/ 38 h 606"/>
                      <a:gd name="T108" fmla="*/ 163 w 458"/>
                      <a:gd name="T109" fmla="*/ 69 h 606"/>
                      <a:gd name="T110" fmla="*/ 208 w 458"/>
                      <a:gd name="T111" fmla="*/ 74 h 606"/>
                      <a:gd name="T112" fmla="*/ 233 w 458"/>
                      <a:gd name="T113" fmla="*/ 85 h 606"/>
                      <a:gd name="T114" fmla="*/ 247 w 458"/>
                      <a:gd name="T115" fmla="*/ 68 h 606"/>
                      <a:gd name="T116" fmla="*/ 280 w 458"/>
                      <a:gd name="T117" fmla="*/ 50 h 606"/>
                      <a:gd name="T118" fmla="*/ 309 w 458"/>
                      <a:gd name="T119" fmla="*/ 23 h 606"/>
                      <a:gd name="T120" fmla="*/ 347 w 458"/>
                      <a:gd name="T121" fmla="*/ 0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58" h="606">
                        <a:moveTo>
                          <a:pt x="265" y="606"/>
                        </a:moveTo>
                        <a:lnTo>
                          <a:pt x="266" y="603"/>
                        </a:lnTo>
                        <a:lnTo>
                          <a:pt x="266" y="602"/>
                        </a:lnTo>
                        <a:lnTo>
                          <a:pt x="266" y="600"/>
                        </a:lnTo>
                        <a:lnTo>
                          <a:pt x="265" y="597"/>
                        </a:lnTo>
                        <a:lnTo>
                          <a:pt x="265" y="595"/>
                        </a:lnTo>
                        <a:lnTo>
                          <a:pt x="265" y="592"/>
                        </a:lnTo>
                        <a:lnTo>
                          <a:pt x="265" y="591"/>
                        </a:lnTo>
                        <a:lnTo>
                          <a:pt x="265" y="587"/>
                        </a:lnTo>
                        <a:lnTo>
                          <a:pt x="265" y="586"/>
                        </a:lnTo>
                        <a:lnTo>
                          <a:pt x="265" y="581"/>
                        </a:lnTo>
                        <a:lnTo>
                          <a:pt x="266" y="576"/>
                        </a:lnTo>
                        <a:lnTo>
                          <a:pt x="266" y="573"/>
                        </a:lnTo>
                        <a:lnTo>
                          <a:pt x="268" y="570"/>
                        </a:lnTo>
                        <a:lnTo>
                          <a:pt x="271" y="568"/>
                        </a:lnTo>
                        <a:lnTo>
                          <a:pt x="274" y="567"/>
                        </a:lnTo>
                        <a:lnTo>
                          <a:pt x="277" y="565"/>
                        </a:lnTo>
                        <a:lnTo>
                          <a:pt x="280" y="562"/>
                        </a:lnTo>
                        <a:lnTo>
                          <a:pt x="282" y="559"/>
                        </a:lnTo>
                        <a:lnTo>
                          <a:pt x="282" y="554"/>
                        </a:lnTo>
                        <a:lnTo>
                          <a:pt x="280" y="551"/>
                        </a:lnTo>
                        <a:lnTo>
                          <a:pt x="280" y="548"/>
                        </a:lnTo>
                        <a:lnTo>
                          <a:pt x="279" y="543"/>
                        </a:lnTo>
                        <a:lnTo>
                          <a:pt x="279" y="540"/>
                        </a:lnTo>
                        <a:lnTo>
                          <a:pt x="279" y="537"/>
                        </a:lnTo>
                        <a:lnTo>
                          <a:pt x="279" y="535"/>
                        </a:lnTo>
                        <a:lnTo>
                          <a:pt x="279" y="532"/>
                        </a:lnTo>
                        <a:lnTo>
                          <a:pt x="280" y="530"/>
                        </a:lnTo>
                        <a:lnTo>
                          <a:pt x="284" y="527"/>
                        </a:lnTo>
                        <a:lnTo>
                          <a:pt x="285" y="524"/>
                        </a:lnTo>
                        <a:lnTo>
                          <a:pt x="287" y="519"/>
                        </a:lnTo>
                        <a:lnTo>
                          <a:pt x="288" y="515"/>
                        </a:lnTo>
                        <a:lnTo>
                          <a:pt x="290" y="511"/>
                        </a:lnTo>
                        <a:lnTo>
                          <a:pt x="290" y="507"/>
                        </a:lnTo>
                        <a:lnTo>
                          <a:pt x="292" y="503"/>
                        </a:lnTo>
                        <a:lnTo>
                          <a:pt x="295" y="502"/>
                        </a:lnTo>
                        <a:lnTo>
                          <a:pt x="295" y="500"/>
                        </a:lnTo>
                        <a:lnTo>
                          <a:pt x="295" y="499"/>
                        </a:lnTo>
                        <a:lnTo>
                          <a:pt x="296" y="499"/>
                        </a:lnTo>
                        <a:lnTo>
                          <a:pt x="298" y="499"/>
                        </a:lnTo>
                        <a:lnTo>
                          <a:pt x="299" y="497"/>
                        </a:lnTo>
                        <a:lnTo>
                          <a:pt x="301" y="496"/>
                        </a:lnTo>
                        <a:lnTo>
                          <a:pt x="301" y="494"/>
                        </a:lnTo>
                        <a:lnTo>
                          <a:pt x="304" y="494"/>
                        </a:lnTo>
                        <a:lnTo>
                          <a:pt x="306" y="494"/>
                        </a:lnTo>
                        <a:lnTo>
                          <a:pt x="307" y="492"/>
                        </a:lnTo>
                        <a:lnTo>
                          <a:pt x="309" y="492"/>
                        </a:lnTo>
                        <a:lnTo>
                          <a:pt x="311" y="496"/>
                        </a:lnTo>
                        <a:lnTo>
                          <a:pt x="312" y="499"/>
                        </a:lnTo>
                        <a:lnTo>
                          <a:pt x="315" y="500"/>
                        </a:lnTo>
                        <a:lnTo>
                          <a:pt x="317" y="500"/>
                        </a:lnTo>
                        <a:lnTo>
                          <a:pt x="320" y="500"/>
                        </a:lnTo>
                        <a:lnTo>
                          <a:pt x="323" y="500"/>
                        </a:lnTo>
                        <a:lnTo>
                          <a:pt x="326" y="500"/>
                        </a:lnTo>
                        <a:lnTo>
                          <a:pt x="330" y="500"/>
                        </a:lnTo>
                        <a:lnTo>
                          <a:pt x="333" y="499"/>
                        </a:lnTo>
                        <a:lnTo>
                          <a:pt x="336" y="496"/>
                        </a:lnTo>
                        <a:lnTo>
                          <a:pt x="338" y="489"/>
                        </a:lnTo>
                        <a:lnTo>
                          <a:pt x="341" y="484"/>
                        </a:lnTo>
                        <a:lnTo>
                          <a:pt x="342" y="481"/>
                        </a:lnTo>
                        <a:lnTo>
                          <a:pt x="345" y="478"/>
                        </a:lnTo>
                        <a:lnTo>
                          <a:pt x="349" y="477"/>
                        </a:lnTo>
                        <a:lnTo>
                          <a:pt x="352" y="475"/>
                        </a:lnTo>
                        <a:lnTo>
                          <a:pt x="355" y="473"/>
                        </a:lnTo>
                        <a:lnTo>
                          <a:pt x="358" y="473"/>
                        </a:lnTo>
                        <a:lnTo>
                          <a:pt x="360" y="470"/>
                        </a:lnTo>
                        <a:lnTo>
                          <a:pt x="363" y="467"/>
                        </a:lnTo>
                        <a:lnTo>
                          <a:pt x="368" y="464"/>
                        </a:lnTo>
                        <a:lnTo>
                          <a:pt x="372" y="462"/>
                        </a:lnTo>
                        <a:lnTo>
                          <a:pt x="377" y="461"/>
                        </a:lnTo>
                        <a:lnTo>
                          <a:pt x="380" y="458"/>
                        </a:lnTo>
                        <a:lnTo>
                          <a:pt x="387" y="454"/>
                        </a:lnTo>
                        <a:lnTo>
                          <a:pt x="391" y="454"/>
                        </a:lnTo>
                        <a:lnTo>
                          <a:pt x="395" y="454"/>
                        </a:lnTo>
                        <a:lnTo>
                          <a:pt x="398" y="453"/>
                        </a:lnTo>
                        <a:lnTo>
                          <a:pt x="401" y="451"/>
                        </a:lnTo>
                        <a:lnTo>
                          <a:pt x="402" y="448"/>
                        </a:lnTo>
                        <a:lnTo>
                          <a:pt x="404" y="445"/>
                        </a:lnTo>
                        <a:lnTo>
                          <a:pt x="406" y="443"/>
                        </a:lnTo>
                        <a:lnTo>
                          <a:pt x="407" y="443"/>
                        </a:lnTo>
                        <a:lnTo>
                          <a:pt x="409" y="443"/>
                        </a:lnTo>
                        <a:lnTo>
                          <a:pt x="410" y="443"/>
                        </a:lnTo>
                        <a:lnTo>
                          <a:pt x="412" y="443"/>
                        </a:lnTo>
                        <a:lnTo>
                          <a:pt x="414" y="442"/>
                        </a:lnTo>
                        <a:lnTo>
                          <a:pt x="415" y="440"/>
                        </a:lnTo>
                        <a:lnTo>
                          <a:pt x="417" y="439"/>
                        </a:lnTo>
                        <a:lnTo>
                          <a:pt x="420" y="435"/>
                        </a:lnTo>
                        <a:lnTo>
                          <a:pt x="420" y="434"/>
                        </a:lnTo>
                        <a:lnTo>
                          <a:pt x="421" y="431"/>
                        </a:lnTo>
                        <a:lnTo>
                          <a:pt x="421" y="429"/>
                        </a:lnTo>
                        <a:lnTo>
                          <a:pt x="425" y="427"/>
                        </a:lnTo>
                        <a:lnTo>
                          <a:pt x="426" y="426"/>
                        </a:lnTo>
                        <a:lnTo>
                          <a:pt x="428" y="424"/>
                        </a:lnTo>
                        <a:lnTo>
                          <a:pt x="428" y="421"/>
                        </a:lnTo>
                        <a:lnTo>
                          <a:pt x="429" y="420"/>
                        </a:lnTo>
                        <a:lnTo>
                          <a:pt x="429" y="418"/>
                        </a:lnTo>
                        <a:lnTo>
                          <a:pt x="431" y="416"/>
                        </a:lnTo>
                        <a:lnTo>
                          <a:pt x="433" y="416"/>
                        </a:lnTo>
                        <a:lnTo>
                          <a:pt x="434" y="416"/>
                        </a:lnTo>
                        <a:lnTo>
                          <a:pt x="436" y="416"/>
                        </a:lnTo>
                        <a:lnTo>
                          <a:pt x="439" y="418"/>
                        </a:lnTo>
                        <a:lnTo>
                          <a:pt x="442" y="418"/>
                        </a:lnTo>
                        <a:lnTo>
                          <a:pt x="445" y="418"/>
                        </a:lnTo>
                        <a:lnTo>
                          <a:pt x="448" y="415"/>
                        </a:lnTo>
                        <a:lnTo>
                          <a:pt x="452" y="412"/>
                        </a:lnTo>
                        <a:lnTo>
                          <a:pt x="455" y="408"/>
                        </a:lnTo>
                        <a:lnTo>
                          <a:pt x="458" y="405"/>
                        </a:lnTo>
                        <a:lnTo>
                          <a:pt x="458" y="404"/>
                        </a:lnTo>
                        <a:lnTo>
                          <a:pt x="456" y="404"/>
                        </a:lnTo>
                        <a:lnTo>
                          <a:pt x="455" y="404"/>
                        </a:lnTo>
                        <a:lnTo>
                          <a:pt x="453" y="402"/>
                        </a:lnTo>
                        <a:lnTo>
                          <a:pt x="452" y="400"/>
                        </a:lnTo>
                        <a:lnTo>
                          <a:pt x="450" y="400"/>
                        </a:lnTo>
                        <a:lnTo>
                          <a:pt x="450" y="399"/>
                        </a:lnTo>
                        <a:lnTo>
                          <a:pt x="448" y="399"/>
                        </a:lnTo>
                        <a:lnTo>
                          <a:pt x="448" y="396"/>
                        </a:lnTo>
                        <a:lnTo>
                          <a:pt x="447" y="396"/>
                        </a:lnTo>
                        <a:lnTo>
                          <a:pt x="447" y="394"/>
                        </a:lnTo>
                        <a:lnTo>
                          <a:pt x="445" y="393"/>
                        </a:lnTo>
                        <a:lnTo>
                          <a:pt x="444" y="391"/>
                        </a:lnTo>
                        <a:lnTo>
                          <a:pt x="442" y="389"/>
                        </a:lnTo>
                        <a:lnTo>
                          <a:pt x="442" y="388"/>
                        </a:lnTo>
                        <a:lnTo>
                          <a:pt x="442" y="386"/>
                        </a:lnTo>
                        <a:lnTo>
                          <a:pt x="442" y="385"/>
                        </a:lnTo>
                        <a:lnTo>
                          <a:pt x="442" y="383"/>
                        </a:lnTo>
                        <a:lnTo>
                          <a:pt x="440" y="383"/>
                        </a:lnTo>
                        <a:lnTo>
                          <a:pt x="440" y="381"/>
                        </a:lnTo>
                        <a:lnTo>
                          <a:pt x="439" y="380"/>
                        </a:lnTo>
                        <a:lnTo>
                          <a:pt x="437" y="380"/>
                        </a:lnTo>
                        <a:lnTo>
                          <a:pt x="437" y="378"/>
                        </a:lnTo>
                        <a:lnTo>
                          <a:pt x="436" y="378"/>
                        </a:lnTo>
                        <a:lnTo>
                          <a:pt x="436" y="377"/>
                        </a:lnTo>
                        <a:lnTo>
                          <a:pt x="434" y="377"/>
                        </a:lnTo>
                        <a:lnTo>
                          <a:pt x="433" y="375"/>
                        </a:lnTo>
                        <a:lnTo>
                          <a:pt x="431" y="374"/>
                        </a:lnTo>
                        <a:lnTo>
                          <a:pt x="431" y="372"/>
                        </a:lnTo>
                        <a:lnTo>
                          <a:pt x="431" y="370"/>
                        </a:lnTo>
                        <a:lnTo>
                          <a:pt x="429" y="370"/>
                        </a:lnTo>
                        <a:lnTo>
                          <a:pt x="426" y="370"/>
                        </a:lnTo>
                        <a:lnTo>
                          <a:pt x="425" y="370"/>
                        </a:lnTo>
                        <a:lnTo>
                          <a:pt x="423" y="370"/>
                        </a:lnTo>
                        <a:lnTo>
                          <a:pt x="421" y="370"/>
                        </a:lnTo>
                        <a:lnTo>
                          <a:pt x="420" y="370"/>
                        </a:lnTo>
                        <a:lnTo>
                          <a:pt x="418" y="370"/>
                        </a:lnTo>
                        <a:lnTo>
                          <a:pt x="415" y="372"/>
                        </a:lnTo>
                        <a:lnTo>
                          <a:pt x="414" y="370"/>
                        </a:lnTo>
                        <a:lnTo>
                          <a:pt x="412" y="372"/>
                        </a:lnTo>
                        <a:lnTo>
                          <a:pt x="409" y="374"/>
                        </a:lnTo>
                        <a:lnTo>
                          <a:pt x="407" y="374"/>
                        </a:lnTo>
                        <a:lnTo>
                          <a:pt x="407" y="372"/>
                        </a:lnTo>
                        <a:lnTo>
                          <a:pt x="406" y="372"/>
                        </a:lnTo>
                        <a:lnTo>
                          <a:pt x="406" y="370"/>
                        </a:lnTo>
                        <a:lnTo>
                          <a:pt x="406" y="369"/>
                        </a:lnTo>
                        <a:lnTo>
                          <a:pt x="406" y="367"/>
                        </a:lnTo>
                        <a:lnTo>
                          <a:pt x="406" y="366"/>
                        </a:lnTo>
                        <a:lnTo>
                          <a:pt x="406" y="364"/>
                        </a:lnTo>
                        <a:lnTo>
                          <a:pt x="406" y="362"/>
                        </a:lnTo>
                        <a:lnTo>
                          <a:pt x="404" y="362"/>
                        </a:lnTo>
                        <a:lnTo>
                          <a:pt x="401" y="362"/>
                        </a:lnTo>
                        <a:lnTo>
                          <a:pt x="399" y="362"/>
                        </a:lnTo>
                        <a:lnTo>
                          <a:pt x="396" y="362"/>
                        </a:lnTo>
                        <a:lnTo>
                          <a:pt x="395" y="362"/>
                        </a:lnTo>
                        <a:lnTo>
                          <a:pt x="395" y="361"/>
                        </a:lnTo>
                        <a:lnTo>
                          <a:pt x="393" y="361"/>
                        </a:lnTo>
                        <a:lnTo>
                          <a:pt x="391" y="361"/>
                        </a:lnTo>
                        <a:lnTo>
                          <a:pt x="391" y="359"/>
                        </a:lnTo>
                        <a:lnTo>
                          <a:pt x="390" y="359"/>
                        </a:lnTo>
                        <a:lnTo>
                          <a:pt x="388" y="359"/>
                        </a:lnTo>
                        <a:lnTo>
                          <a:pt x="387" y="358"/>
                        </a:lnTo>
                        <a:lnTo>
                          <a:pt x="387" y="356"/>
                        </a:lnTo>
                        <a:lnTo>
                          <a:pt x="388" y="355"/>
                        </a:lnTo>
                        <a:lnTo>
                          <a:pt x="388" y="353"/>
                        </a:lnTo>
                        <a:lnTo>
                          <a:pt x="388" y="351"/>
                        </a:lnTo>
                        <a:lnTo>
                          <a:pt x="387" y="351"/>
                        </a:lnTo>
                        <a:lnTo>
                          <a:pt x="385" y="351"/>
                        </a:lnTo>
                        <a:lnTo>
                          <a:pt x="383" y="351"/>
                        </a:lnTo>
                        <a:lnTo>
                          <a:pt x="380" y="351"/>
                        </a:lnTo>
                        <a:lnTo>
                          <a:pt x="379" y="351"/>
                        </a:lnTo>
                        <a:lnTo>
                          <a:pt x="379" y="350"/>
                        </a:lnTo>
                        <a:lnTo>
                          <a:pt x="379" y="348"/>
                        </a:lnTo>
                        <a:lnTo>
                          <a:pt x="379" y="347"/>
                        </a:lnTo>
                        <a:lnTo>
                          <a:pt x="377" y="347"/>
                        </a:lnTo>
                        <a:lnTo>
                          <a:pt x="376" y="347"/>
                        </a:lnTo>
                        <a:lnTo>
                          <a:pt x="374" y="347"/>
                        </a:lnTo>
                        <a:lnTo>
                          <a:pt x="371" y="347"/>
                        </a:lnTo>
                        <a:lnTo>
                          <a:pt x="369" y="345"/>
                        </a:lnTo>
                        <a:lnTo>
                          <a:pt x="368" y="345"/>
                        </a:lnTo>
                        <a:lnTo>
                          <a:pt x="368" y="342"/>
                        </a:lnTo>
                        <a:lnTo>
                          <a:pt x="368" y="340"/>
                        </a:lnTo>
                        <a:lnTo>
                          <a:pt x="369" y="339"/>
                        </a:lnTo>
                        <a:lnTo>
                          <a:pt x="369" y="337"/>
                        </a:lnTo>
                        <a:lnTo>
                          <a:pt x="369" y="336"/>
                        </a:lnTo>
                        <a:lnTo>
                          <a:pt x="369" y="332"/>
                        </a:lnTo>
                        <a:lnTo>
                          <a:pt x="369" y="331"/>
                        </a:lnTo>
                        <a:lnTo>
                          <a:pt x="369" y="329"/>
                        </a:lnTo>
                        <a:lnTo>
                          <a:pt x="369" y="328"/>
                        </a:lnTo>
                        <a:lnTo>
                          <a:pt x="369" y="326"/>
                        </a:lnTo>
                        <a:lnTo>
                          <a:pt x="368" y="326"/>
                        </a:lnTo>
                        <a:lnTo>
                          <a:pt x="366" y="324"/>
                        </a:lnTo>
                        <a:lnTo>
                          <a:pt x="366" y="323"/>
                        </a:lnTo>
                        <a:lnTo>
                          <a:pt x="364" y="323"/>
                        </a:lnTo>
                        <a:lnTo>
                          <a:pt x="366" y="320"/>
                        </a:lnTo>
                        <a:lnTo>
                          <a:pt x="366" y="318"/>
                        </a:lnTo>
                        <a:lnTo>
                          <a:pt x="366" y="317"/>
                        </a:lnTo>
                        <a:lnTo>
                          <a:pt x="364" y="317"/>
                        </a:lnTo>
                        <a:lnTo>
                          <a:pt x="364" y="315"/>
                        </a:lnTo>
                        <a:lnTo>
                          <a:pt x="363" y="315"/>
                        </a:lnTo>
                        <a:lnTo>
                          <a:pt x="361" y="317"/>
                        </a:lnTo>
                        <a:lnTo>
                          <a:pt x="360" y="318"/>
                        </a:lnTo>
                        <a:lnTo>
                          <a:pt x="358" y="318"/>
                        </a:lnTo>
                        <a:lnTo>
                          <a:pt x="357" y="318"/>
                        </a:lnTo>
                        <a:lnTo>
                          <a:pt x="352" y="320"/>
                        </a:lnTo>
                        <a:lnTo>
                          <a:pt x="350" y="321"/>
                        </a:lnTo>
                        <a:lnTo>
                          <a:pt x="349" y="321"/>
                        </a:lnTo>
                        <a:lnTo>
                          <a:pt x="347" y="321"/>
                        </a:lnTo>
                        <a:lnTo>
                          <a:pt x="347" y="320"/>
                        </a:lnTo>
                        <a:lnTo>
                          <a:pt x="345" y="320"/>
                        </a:lnTo>
                        <a:lnTo>
                          <a:pt x="345" y="318"/>
                        </a:lnTo>
                        <a:lnTo>
                          <a:pt x="345" y="315"/>
                        </a:lnTo>
                        <a:lnTo>
                          <a:pt x="344" y="312"/>
                        </a:lnTo>
                        <a:lnTo>
                          <a:pt x="342" y="310"/>
                        </a:lnTo>
                        <a:lnTo>
                          <a:pt x="342" y="309"/>
                        </a:lnTo>
                        <a:lnTo>
                          <a:pt x="344" y="307"/>
                        </a:lnTo>
                        <a:lnTo>
                          <a:pt x="344" y="305"/>
                        </a:lnTo>
                        <a:lnTo>
                          <a:pt x="342" y="302"/>
                        </a:lnTo>
                        <a:lnTo>
                          <a:pt x="341" y="302"/>
                        </a:lnTo>
                        <a:lnTo>
                          <a:pt x="339" y="302"/>
                        </a:lnTo>
                        <a:lnTo>
                          <a:pt x="338" y="301"/>
                        </a:lnTo>
                        <a:lnTo>
                          <a:pt x="338" y="302"/>
                        </a:lnTo>
                        <a:lnTo>
                          <a:pt x="334" y="302"/>
                        </a:lnTo>
                        <a:lnTo>
                          <a:pt x="331" y="304"/>
                        </a:lnTo>
                        <a:lnTo>
                          <a:pt x="328" y="302"/>
                        </a:lnTo>
                        <a:lnTo>
                          <a:pt x="326" y="302"/>
                        </a:lnTo>
                        <a:lnTo>
                          <a:pt x="325" y="302"/>
                        </a:lnTo>
                        <a:lnTo>
                          <a:pt x="323" y="302"/>
                        </a:lnTo>
                        <a:lnTo>
                          <a:pt x="323" y="304"/>
                        </a:lnTo>
                        <a:lnTo>
                          <a:pt x="322" y="304"/>
                        </a:lnTo>
                        <a:lnTo>
                          <a:pt x="320" y="302"/>
                        </a:lnTo>
                        <a:lnTo>
                          <a:pt x="318" y="301"/>
                        </a:lnTo>
                        <a:lnTo>
                          <a:pt x="318" y="299"/>
                        </a:lnTo>
                        <a:lnTo>
                          <a:pt x="318" y="298"/>
                        </a:lnTo>
                        <a:lnTo>
                          <a:pt x="317" y="298"/>
                        </a:lnTo>
                        <a:lnTo>
                          <a:pt x="317" y="296"/>
                        </a:lnTo>
                        <a:lnTo>
                          <a:pt x="318" y="294"/>
                        </a:lnTo>
                        <a:lnTo>
                          <a:pt x="317" y="293"/>
                        </a:lnTo>
                        <a:lnTo>
                          <a:pt x="317" y="294"/>
                        </a:lnTo>
                        <a:lnTo>
                          <a:pt x="315" y="294"/>
                        </a:lnTo>
                        <a:lnTo>
                          <a:pt x="315" y="293"/>
                        </a:lnTo>
                        <a:lnTo>
                          <a:pt x="314" y="293"/>
                        </a:lnTo>
                        <a:lnTo>
                          <a:pt x="311" y="294"/>
                        </a:lnTo>
                        <a:lnTo>
                          <a:pt x="309" y="294"/>
                        </a:lnTo>
                        <a:lnTo>
                          <a:pt x="307" y="294"/>
                        </a:lnTo>
                        <a:lnTo>
                          <a:pt x="307" y="293"/>
                        </a:lnTo>
                        <a:lnTo>
                          <a:pt x="306" y="293"/>
                        </a:lnTo>
                        <a:lnTo>
                          <a:pt x="306" y="291"/>
                        </a:lnTo>
                        <a:lnTo>
                          <a:pt x="306" y="290"/>
                        </a:lnTo>
                        <a:lnTo>
                          <a:pt x="304" y="290"/>
                        </a:lnTo>
                        <a:lnTo>
                          <a:pt x="303" y="288"/>
                        </a:lnTo>
                        <a:lnTo>
                          <a:pt x="303" y="286"/>
                        </a:lnTo>
                        <a:lnTo>
                          <a:pt x="303" y="285"/>
                        </a:lnTo>
                        <a:lnTo>
                          <a:pt x="303" y="282"/>
                        </a:lnTo>
                        <a:lnTo>
                          <a:pt x="304" y="282"/>
                        </a:lnTo>
                        <a:lnTo>
                          <a:pt x="306" y="282"/>
                        </a:lnTo>
                        <a:lnTo>
                          <a:pt x="306" y="280"/>
                        </a:lnTo>
                        <a:lnTo>
                          <a:pt x="304" y="280"/>
                        </a:lnTo>
                        <a:lnTo>
                          <a:pt x="303" y="279"/>
                        </a:lnTo>
                        <a:lnTo>
                          <a:pt x="301" y="277"/>
                        </a:lnTo>
                        <a:lnTo>
                          <a:pt x="299" y="277"/>
                        </a:lnTo>
                        <a:lnTo>
                          <a:pt x="298" y="275"/>
                        </a:lnTo>
                        <a:lnTo>
                          <a:pt x="295" y="274"/>
                        </a:lnTo>
                        <a:lnTo>
                          <a:pt x="293" y="274"/>
                        </a:lnTo>
                        <a:lnTo>
                          <a:pt x="292" y="274"/>
                        </a:lnTo>
                        <a:lnTo>
                          <a:pt x="287" y="272"/>
                        </a:lnTo>
                        <a:lnTo>
                          <a:pt x="284" y="271"/>
                        </a:lnTo>
                        <a:lnTo>
                          <a:pt x="282" y="271"/>
                        </a:lnTo>
                        <a:lnTo>
                          <a:pt x="282" y="269"/>
                        </a:lnTo>
                        <a:lnTo>
                          <a:pt x="280" y="267"/>
                        </a:lnTo>
                        <a:lnTo>
                          <a:pt x="279" y="266"/>
                        </a:lnTo>
                        <a:lnTo>
                          <a:pt x="279" y="264"/>
                        </a:lnTo>
                        <a:lnTo>
                          <a:pt x="277" y="263"/>
                        </a:lnTo>
                        <a:lnTo>
                          <a:pt x="276" y="263"/>
                        </a:lnTo>
                        <a:lnTo>
                          <a:pt x="274" y="263"/>
                        </a:lnTo>
                        <a:lnTo>
                          <a:pt x="274" y="261"/>
                        </a:lnTo>
                        <a:lnTo>
                          <a:pt x="273" y="261"/>
                        </a:lnTo>
                        <a:lnTo>
                          <a:pt x="269" y="261"/>
                        </a:lnTo>
                        <a:lnTo>
                          <a:pt x="268" y="260"/>
                        </a:lnTo>
                        <a:lnTo>
                          <a:pt x="268" y="258"/>
                        </a:lnTo>
                        <a:lnTo>
                          <a:pt x="268" y="256"/>
                        </a:lnTo>
                        <a:lnTo>
                          <a:pt x="268" y="255"/>
                        </a:lnTo>
                        <a:lnTo>
                          <a:pt x="266" y="255"/>
                        </a:lnTo>
                        <a:lnTo>
                          <a:pt x="265" y="255"/>
                        </a:lnTo>
                        <a:lnTo>
                          <a:pt x="265" y="256"/>
                        </a:lnTo>
                        <a:lnTo>
                          <a:pt x="263" y="256"/>
                        </a:lnTo>
                        <a:lnTo>
                          <a:pt x="260" y="258"/>
                        </a:lnTo>
                        <a:lnTo>
                          <a:pt x="258" y="260"/>
                        </a:lnTo>
                        <a:lnTo>
                          <a:pt x="257" y="260"/>
                        </a:lnTo>
                        <a:lnTo>
                          <a:pt x="255" y="260"/>
                        </a:lnTo>
                        <a:lnTo>
                          <a:pt x="254" y="260"/>
                        </a:lnTo>
                        <a:lnTo>
                          <a:pt x="252" y="260"/>
                        </a:lnTo>
                        <a:lnTo>
                          <a:pt x="250" y="260"/>
                        </a:lnTo>
                        <a:lnTo>
                          <a:pt x="249" y="258"/>
                        </a:lnTo>
                        <a:lnTo>
                          <a:pt x="247" y="258"/>
                        </a:lnTo>
                        <a:lnTo>
                          <a:pt x="246" y="255"/>
                        </a:lnTo>
                        <a:lnTo>
                          <a:pt x="247" y="253"/>
                        </a:lnTo>
                        <a:lnTo>
                          <a:pt x="249" y="252"/>
                        </a:lnTo>
                        <a:lnTo>
                          <a:pt x="249" y="250"/>
                        </a:lnTo>
                        <a:lnTo>
                          <a:pt x="247" y="250"/>
                        </a:lnTo>
                        <a:lnTo>
                          <a:pt x="246" y="247"/>
                        </a:lnTo>
                        <a:lnTo>
                          <a:pt x="244" y="245"/>
                        </a:lnTo>
                        <a:lnTo>
                          <a:pt x="242" y="244"/>
                        </a:lnTo>
                        <a:lnTo>
                          <a:pt x="242" y="242"/>
                        </a:lnTo>
                        <a:lnTo>
                          <a:pt x="241" y="241"/>
                        </a:lnTo>
                        <a:lnTo>
                          <a:pt x="239" y="239"/>
                        </a:lnTo>
                        <a:lnTo>
                          <a:pt x="239" y="237"/>
                        </a:lnTo>
                        <a:lnTo>
                          <a:pt x="238" y="236"/>
                        </a:lnTo>
                        <a:lnTo>
                          <a:pt x="235" y="236"/>
                        </a:lnTo>
                        <a:lnTo>
                          <a:pt x="233" y="236"/>
                        </a:lnTo>
                        <a:lnTo>
                          <a:pt x="231" y="234"/>
                        </a:lnTo>
                        <a:lnTo>
                          <a:pt x="228" y="233"/>
                        </a:lnTo>
                        <a:lnTo>
                          <a:pt x="227" y="233"/>
                        </a:lnTo>
                        <a:lnTo>
                          <a:pt x="225" y="231"/>
                        </a:lnTo>
                        <a:lnTo>
                          <a:pt x="223" y="231"/>
                        </a:lnTo>
                        <a:lnTo>
                          <a:pt x="222" y="229"/>
                        </a:lnTo>
                        <a:lnTo>
                          <a:pt x="222" y="228"/>
                        </a:lnTo>
                        <a:lnTo>
                          <a:pt x="222" y="226"/>
                        </a:lnTo>
                        <a:lnTo>
                          <a:pt x="220" y="226"/>
                        </a:lnTo>
                        <a:lnTo>
                          <a:pt x="220" y="225"/>
                        </a:lnTo>
                        <a:lnTo>
                          <a:pt x="220" y="223"/>
                        </a:lnTo>
                        <a:lnTo>
                          <a:pt x="222" y="220"/>
                        </a:lnTo>
                        <a:lnTo>
                          <a:pt x="220" y="220"/>
                        </a:lnTo>
                        <a:lnTo>
                          <a:pt x="219" y="217"/>
                        </a:lnTo>
                        <a:lnTo>
                          <a:pt x="217" y="215"/>
                        </a:lnTo>
                        <a:lnTo>
                          <a:pt x="219" y="214"/>
                        </a:lnTo>
                        <a:lnTo>
                          <a:pt x="217" y="212"/>
                        </a:lnTo>
                        <a:lnTo>
                          <a:pt x="216" y="214"/>
                        </a:lnTo>
                        <a:lnTo>
                          <a:pt x="214" y="212"/>
                        </a:lnTo>
                        <a:lnTo>
                          <a:pt x="212" y="212"/>
                        </a:lnTo>
                        <a:lnTo>
                          <a:pt x="212" y="210"/>
                        </a:lnTo>
                        <a:lnTo>
                          <a:pt x="211" y="209"/>
                        </a:lnTo>
                        <a:lnTo>
                          <a:pt x="209" y="209"/>
                        </a:lnTo>
                        <a:lnTo>
                          <a:pt x="208" y="207"/>
                        </a:lnTo>
                        <a:lnTo>
                          <a:pt x="206" y="207"/>
                        </a:lnTo>
                        <a:lnTo>
                          <a:pt x="204" y="206"/>
                        </a:lnTo>
                        <a:lnTo>
                          <a:pt x="203" y="206"/>
                        </a:lnTo>
                        <a:lnTo>
                          <a:pt x="203" y="204"/>
                        </a:lnTo>
                        <a:lnTo>
                          <a:pt x="203" y="202"/>
                        </a:lnTo>
                        <a:lnTo>
                          <a:pt x="201" y="199"/>
                        </a:lnTo>
                        <a:lnTo>
                          <a:pt x="200" y="198"/>
                        </a:lnTo>
                        <a:lnTo>
                          <a:pt x="198" y="196"/>
                        </a:lnTo>
                        <a:lnTo>
                          <a:pt x="198" y="195"/>
                        </a:lnTo>
                        <a:lnTo>
                          <a:pt x="197" y="195"/>
                        </a:lnTo>
                        <a:lnTo>
                          <a:pt x="195" y="195"/>
                        </a:lnTo>
                        <a:lnTo>
                          <a:pt x="193" y="195"/>
                        </a:lnTo>
                        <a:lnTo>
                          <a:pt x="192" y="195"/>
                        </a:lnTo>
                        <a:lnTo>
                          <a:pt x="190" y="195"/>
                        </a:lnTo>
                        <a:lnTo>
                          <a:pt x="187" y="193"/>
                        </a:lnTo>
                        <a:lnTo>
                          <a:pt x="185" y="191"/>
                        </a:lnTo>
                        <a:lnTo>
                          <a:pt x="182" y="188"/>
                        </a:lnTo>
                        <a:lnTo>
                          <a:pt x="181" y="188"/>
                        </a:lnTo>
                        <a:lnTo>
                          <a:pt x="179" y="187"/>
                        </a:lnTo>
                        <a:lnTo>
                          <a:pt x="176" y="185"/>
                        </a:lnTo>
                        <a:lnTo>
                          <a:pt x="174" y="183"/>
                        </a:lnTo>
                        <a:lnTo>
                          <a:pt x="173" y="182"/>
                        </a:lnTo>
                        <a:lnTo>
                          <a:pt x="173" y="180"/>
                        </a:lnTo>
                        <a:lnTo>
                          <a:pt x="171" y="179"/>
                        </a:lnTo>
                        <a:lnTo>
                          <a:pt x="171" y="177"/>
                        </a:lnTo>
                        <a:lnTo>
                          <a:pt x="170" y="177"/>
                        </a:lnTo>
                        <a:lnTo>
                          <a:pt x="168" y="176"/>
                        </a:lnTo>
                        <a:lnTo>
                          <a:pt x="166" y="176"/>
                        </a:lnTo>
                        <a:lnTo>
                          <a:pt x="166" y="174"/>
                        </a:lnTo>
                        <a:lnTo>
                          <a:pt x="165" y="172"/>
                        </a:lnTo>
                        <a:lnTo>
                          <a:pt x="166" y="171"/>
                        </a:lnTo>
                        <a:lnTo>
                          <a:pt x="165" y="169"/>
                        </a:lnTo>
                        <a:lnTo>
                          <a:pt x="165" y="168"/>
                        </a:lnTo>
                        <a:lnTo>
                          <a:pt x="165" y="166"/>
                        </a:lnTo>
                        <a:lnTo>
                          <a:pt x="166" y="164"/>
                        </a:lnTo>
                        <a:lnTo>
                          <a:pt x="166" y="163"/>
                        </a:lnTo>
                        <a:lnTo>
                          <a:pt x="165" y="161"/>
                        </a:lnTo>
                        <a:lnTo>
                          <a:pt x="165" y="160"/>
                        </a:lnTo>
                        <a:lnTo>
                          <a:pt x="166" y="160"/>
                        </a:lnTo>
                        <a:lnTo>
                          <a:pt x="166" y="158"/>
                        </a:lnTo>
                        <a:lnTo>
                          <a:pt x="165" y="157"/>
                        </a:lnTo>
                        <a:lnTo>
                          <a:pt x="163" y="157"/>
                        </a:lnTo>
                        <a:lnTo>
                          <a:pt x="163" y="155"/>
                        </a:lnTo>
                        <a:lnTo>
                          <a:pt x="160" y="155"/>
                        </a:lnTo>
                        <a:lnTo>
                          <a:pt x="159" y="153"/>
                        </a:lnTo>
                        <a:lnTo>
                          <a:pt x="157" y="152"/>
                        </a:lnTo>
                        <a:lnTo>
                          <a:pt x="155" y="150"/>
                        </a:lnTo>
                        <a:lnTo>
                          <a:pt x="155" y="149"/>
                        </a:lnTo>
                        <a:lnTo>
                          <a:pt x="154" y="149"/>
                        </a:lnTo>
                        <a:lnTo>
                          <a:pt x="152" y="149"/>
                        </a:lnTo>
                        <a:lnTo>
                          <a:pt x="149" y="150"/>
                        </a:lnTo>
                        <a:lnTo>
                          <a:pt x="147" y="150"/>
                        </a:lnTo>
                        <a:lnTo>
                          <a:pt x="144" y="149"/>
                        </a:lnTo>
                        <a:lnTo>
                          <a:pt x="143" y="149"/>
                        </a:lnTo>
                        <a:lnTo>
                          <a:pt x="141" y="150"/>
                        </a:lnTo>
                        <a:lnTo>
                          <a:pt x="139" y="152"/>
                        </a:lnTo>
                        <a:lnTo>
                          <a:pt x="138" y="152"/>
                        </a:lnTo>
                        <a:lnTo>
                          <a:pt x="136" y="152"/>
                        </a:lnTo>
                        <a:lnTo>
                          <a:pt x="135" y="152"/>
                        </a:lnTo>
                        <a:lnTo>
                          <a:pt x="133" y="152"/>
                        </a:lnTo>
                        <a:lnTo>
                          <a:pt x="130" y="150"/>
                        </a:lnTo>
                        <a:lnTo>
                          <a:pt x="130" y="152"/>
                        </a:lnTo>
                        <a:lnTo>
                          <a:pt x="128" y="152"/>
                        </a:lnTo>
                        <a:lnTo>
                          <a:pt x="128" y="153"/>
                        </a:lnTo>
                        <a:lnTo>
                          <a:pt x="128" y="155"/>
                        </a:lnTo>
                        <a:lnTo>
                          <a:pt x="128" y="157"/>
                        </a:lnTo>
                        <a:lnTo>
                          <a:pt x="127" y="158"/>
                        </a:lnTo>
                        <a:lnTo>
                          <a:pt x="125" y="158"/>
                        </a:lnTo>
                        <a:lnTo>
                          <a:pt x="122" y="160"/>
                        </a:lnTo>
                        <a:lnTo>
                          <a:pt x="119" y="160"/>
                        </a:lnTo>
                        <a:lnTo>
                          <a:pt x="117" y="160"/>
                        </a:lnTo>
                        <a:lnTo>
                          <a:pt x="117" y="161"/>
                        </a:lnTo>
                        <a:lnTo>
                          <a:pt x="116" y="163"/>
                        </a:lnTo>
                        <a:lnTo>
                          <a:pt x="116" y="164"/>
                        </a:lnTo>
                        <a:lnTo>
                          <a:pt x="114" y="166"/>
                        </a:lnTo>
                        <a:lnTo>
                          <a:pt x="113" y="168"/>
                        </a:lnTo>
                        <a:lnTo>
                          <a:pt x="113" y="169"/>
                        </a:lnTo>
                        <a:lnTo>
                          <a:pt x="111" y="171"/>
                        </a:lnTo>
                        <a:lnTo>
                          <a:pt x="109" y="172"/>
                        </a:lnTo>
                        <a:lnTo>
                          <a:pt x="106" y="176"/>
                        </a:lnTo>
                        <a:lnTo>
                          <a:pt x="101" y="177"/>
                        </a:lnTo>
                        <a:lnTo>
                          <a:pt x="100" y="177"/>
                        </a:lnTo>
                        <a:lnTo>
                          <a:pt x="97" y="177"/>
                        </a:lnTo>
                        <a:lnTo>
                          <a:pt x="95" y="177"/>
                        </a:lnTo>
                        <a:lnTo>
                          <a:pt x="94" y="177"/>
                        </a:lnTo>
                        <a:lnTo>
                          <a:pt x="92" y="176"/>
                        </a:lnTo>
                        <a:lnTo>
                          <a:pt x="89" y="174"/>
                        </a:lnTo>
                        <a:lnTo>
                          <a:pt x="86" y="171"/>
                        </a:lnTo>
                        <a:lnTo>
                          <a:pt x="82" y="169"/>
                        </a:lnTo>
                        <a:lnTo>
                          <a:pt x="81" y="168"/>
                        </a:lnTo>
                        <a:lnTo>
                          <a:pt x="78" y="166"/>
                        </a:lnTo>
                        <a:lnTo>
                          <a:pt x="78" y="164"/>
                        </a:lnTo>
                        <a:lnTo>
                          <a:pt x="76" y="164"/>
                        </a:lnTo>
                        <a:lnTo>
                          <a:pt x="75" y="164"/>
                        </a:lnTo>
                        <a:lnTo>
                          <a:pt x="73" y="166"/>
                        </a:lnTo>
                        <a:lnTo>
                          <a:pt x="75" y="168"/>
                        </a:lnTo>
                        <a:lnTo>
                          <a:pt x="73" y="169"/>
                        </a:lnTo>
                        <a:lnTo>
                          <a:pt x="71" y="169"/>
                        </a:lnTo>
                        <a:lnTo>
                          <a:pt x="67" y="171"/>
                        </a:lnTo>
                        <a:lnTo>
                          <a:pt x="65" y="172"/>
                        </a:lnTo>
                        <a:lnTo>
                          <a:pt x="62" y="174"/>
                        </a:lnTo>
                        <a:lnTo>
                          <a:pt x="59" y="174"/>
                        </a:lnTo>
                        <a:lnTo>
                          <a:pt x="54" y="172"/>
                        </a:lnTo>
                        <a:lnTo>
                          <a:pt x="51" y="172"/>
                        </a:lnTo>
                        <a:lnTo>
                          <a:pt x="48" y="171"/>
                        </a:lnTo>
                        <a:lnTo>
                          <a:pt x="44" y="168"/>
                        </a:lnTo>
                        <a:lnTo>
                          <a:pt x="44" y="166"/>
                        </a:lnTo>
                        <a:lnTo>
                          <a:pt x="43" y="164"/>
                        </a:lnTo>
                        <a:lnTo>
                          <a:pt x="44" y="163"/>
                        </a:lnTo>
                        <a:lnTo>
                          <a:pt x="44" y="161"/>
                        </a:lnTo>
                        <a:lnTo>
                          <a:pt x="43" y="160"/>
                        </a:lnTo>
                        <a:lnTo>
                          <a:pt x="43" y="158"/>
                        </a:lnTo>
                        <a:lnTo>
                          <a:pt x="41" y="157"/>
                        </a:lnTo>
                        <a:lnTo>
                          <a:pt x="41" y="155"/>
                        </a:lnTo>
                        <a:lnTo>
                          <a:pt x="41" y="152"/>
                        </a:lnTo>
                        <a:lnTo>
                          <a:pt x="40" y="152"/>
                        </a:lnTo>
                        <a:lnTo>
                          <a:pt x="37" y="150"/>
                        </a:lnTo>
                        <a:lnTo>
                          <a:pt x="35" y="149"/>
                        </a:lnTo>
                        <a:lnTo>
                          <a:pt x="33" y="147"/>
                        </a:lnTo>
                        <a:lnTo>
                          <a:pt x="32" y="147"/>
                        </a:lnTo>
                        <a:lnTo>
                          <a:pt x="32" y="145"/>
                        </a:lnTo>
                        <a:lnTo>
                          <a:pt x="29" y="144"/>
                        </a:lnTo>
                        <a:lnTo>
                          <a:pt x="25" y="144"/>
                        </a:lnTo>
                        <a:lnTo>
                          <a:pt x="24" y="142"/>
                        </a:lnTo>
                        <a:lnTo>
                          <a:pt x="22" y="141"/>
                        </a:lnTo>
                        <a:lnTo>
                          <a:pt x="21" y="139"/>
                        </a:lnTo>
                        <a:lnTo>
                          <a:pt x="19" y="136"/>
                        </a:lnTo>
                        <a:lnTo>
                          <a:pt x="18" y="134"/>
                        </a:lnTo>
                        <a:lnTo>
                          <a:pt x="14" y="131"/>
                        </a:lnTo>
                        <a:lnTo>
                          <a:pt x="11" y="130"/>
                        </a:lnTo>
                        <a:lnTo>
                          <a:pt x="8" y="130"/>
                        </a:lnTo>
                        <a:lnTo>
                          <a:pt x="6" y="128"/>
                        </a:lnTo>
                        <a:lnTo>
                          <a:pt x="8" y="126"/>
                        </a:lnTo>
                        <a:lnTo>
                          <a:pt x="6" y="125"/>
                        </a:lnTo>
                        <a:lnTo>
                          <a:pt x="3" y="123"/>
                        </a:lnTo>
                        <a:lnTo>
                          <a:pt x="2" y="122"/>
                        </a:lnTo>
                        <a:lnTo>
                          <a:pt x="0" y="122"/>
                        </a:lnTo>
                        <a:lnTo>
                          <a:pt x="2" y="120"/>
                        </a:lnTo>
                        <a:lnTo>
                          <a:pt x="2" y="117"/>
                        </a:lnTo>
                        <a:lnTo>
                          <a:pt x="16" y="109"/>
                        </a:lnTo>
                        <a:lnTo>
                          <a:pt x="30" y="101"/>
                        </a:lnTo>
                        <a:lnTo>
                          <a:pt x="32" y="100"/>
                        </a:lnTo>
                        <a:lnTo>
                          <a:pt x="33" y="98"/>
                        </a:lnTo>
                        <a:lnTo>
                          <a:pt x="35" y="98"/>
                        </a:lnTo>
                        <a:lnTo>
                          <a:pt x="38" y="96"/>
                        </a:lnTo>
                        <a:lnTo>
                          <a:pt x="40" y="95"/>
                        </a:lnTo>
                        <a:lnTo>
                          <a:pt x="43" y="93"/>
                        </a:lnTo>
                        <a:lnTo>
                          <a:pt x="46" y="90"/>
                        </a:lnTo>
                        <a:lnTo>
                          <a:pt x="51" y="85"/>
                        </a:lnTo>
                        <a:lnTo>
                          <a:pt x="57" y="81"/>
                        </a:lnTo>
                        <a:lnTo>
                          <a:pt x="59" y="79"/>
                        </a:lnTo>
                        <a:lnTo>
                          <a:pt x="57" y="76"/>
                        </a:lnTo>
                        <a:lnTo>
                          <a:pt x="57" y="74"/>
                        </a:lnTo>
                        <a:lnTo>
                          <a:pt x="54" y="73"/>
                        </a:lnTo>
                        <a:lnTo>
                          <a:pt x="54" y="71"/>
                        </a:lnTo>
                        <a:lnTo>
                          <a:pt x="52" y="68"/>
                        </a:lnTo>
                        <a:lnTo>
                          <a:pt x="49" y="65"/>
                        </a:lnTo>
                        <a:lnTo>
                          <a:pt x="49" y="63"/>
                        </a:lnTo>
                        <a:lnTo>
                          <a:pt x="48" y="62"/>
                        </a:lnTo>
                        <a:lnTo>
                          <a:pt x="46" y="60"/>
                        </a:lnTo>
                        <a:lnTo>
                          <a:pt x="43" y="55"/>
                        </a:lnTo>
                        <a:lnTo>
                          <a:pt x="41" y="54"/>
                        </a:lnTo>
                        <a:lnTo>
                          <a:pt x="41" y="52"/>
                        </a:lnTo>
                        <a:lnTo>
                          <a:pt x="41" y="49"/>
                        </a:lnTo>
                        <a:lnTo>
                          <a:pt x="43" y="49"/>
                        </a:lnTo>
                        <a:lnTo>
                          <a:pt x="43" y="50"/>
                        </a:lnTo>
                        <a:lnTo>
                          <a:pt x="44" y="50"/>
                        </a:lnTo>
                        <a:lnTo>
                          <a:pt x="46" y="50"/>
                        </a:lnTo>
                        <a:lnTo>
                          <a:pt x="52" y="49"/>
                        </a:lnTo>
                        <a:lnTo>
                          <a:pt x="57" y="46"/>
                        </a:lnTo>
                        <a:lnTo>
                          <a:pt x="57" y="44"/>
                        </a:lnTo>
                        <a:lnTo>
                          <a:pt x="59" y="44"/>
                        </a:lnTo>
                        <a:lnTo>
                          <a:pt x="60" y="44"/>
                        </a:lnTo>
                        <a:lnTo>
                          <a:pt x="63" y="44"/>
                        </a:lnTo>
                        <a:lnTo>
                          <a:pt x="65" y="44"/>
                        </a:lnTo>
                        <a:lnTo>
                          <a:pt x="67" y="44"/>
                        </a:lnTo>
                        <a:lnTo>
                          <a:pt x="68" y="44"/>
                        </a:lnTo>
                        <a:lnTo>
                          <a:pt x="70" y="44"/>
                        </a:lnTo>
                        <a:lnTo>
                          <a:pt x="73" y="43"/>
                        </a:lnTo>
                        <a:lnTo>
                          <a:pt x="75" y="39"/>
                        </a:lnTo>
                        <a:lnTo>
                          <a:pt x="76" y="38"/>
                        </a:lnTo>
                        <a:lnTo>
                          <a:pt x="76" y="36"/>
                        </a:lnTo>
                        <a:lnTo>
                          <a:pt x="78" y="35"/>
                        </a:lnTo>
                        <a:lnTo>
                          <a:pt x="78" y="33"/>
                        </a:lnTo>
                        <a:lnTo>
                          <a:pt x="78" y="30"/>
                        </a:lnTo>
                        <a:lnTo>
                          <a:pt x="79" y="28"/>
                        </a:lnTo>
                        <a:lnTo>
                          <a:pt x="81" y="28"/>
                        </a:lnTo>
                        <a:lnTo>
                          <a:pt x="82" y="28"/>
                        </a:lnTo>
                        <a:lnTo>
                          <a:pt x="86" y="28"/>
                        </a:lnTo>
                        <a:lnTo>
                          <a:pt x="90" y="28"/>
                        </a:lnTo>
                        <a:lnTo>
                          <a:pt x="101" y="28"/>
                        </a:lnTo>
                        <a:lnTo>
                          <a:pt x="109" y="28"/>
                        </a:lnTo>
                        <a:lnTo>
                          <a:pt x="122" y="28"/>
                        </a:lnTo>
                        <a:lnTo>
                          <a:pt x="130" y="28"/>
                        </a:lnTo>
                        <a:lnTo>
                          <a:pt x="135" y="28"/>
                        </a:lnTo>
                        <a:lnTo>
                          <a:pt x="139" y="27"/>
                        </a:lnTo>
                        <a:lnTo>
                          <a:pt x="141" y="31"/>
                        </a:lnTo>
                        <a:lnTo>
                          <a:pt x="141" y="33"/>
                        </a:lnTo>
                        <a:lnTo>
                          <a:pt x="144" y="38"/>
                        </a:lnTo>
                        <a:lnTo>
                          <a:pt x="147" y="43"/>
                        </a:lnTo>
                        <a:lnTo>
                          <a:pt x="149" y="46"/>
                        </a:lnTo>
                        <a:lnTo>
                          <a:pt x="151" y="49"/>
                        </a:lnTo>
                        <a:lnTo>
                          <a:pt x="152" y="54"/>
                        </a:lnTo>
                        <a:lnTo>
                          <a:pt x="155" y="58"/>
                        </a:lnTo>
                        <a:lnTo>
                          <a:pt x="157" y="63"/>
                        </a:lnTo>
                        <a:lnTo>
                          <a:pt x="159" y="65"/>
                        </a:lnTo>
                        <a:lnTo>
                          <a:pt x="160" y="66"/>
                        </a:lnTo>
                        <a:lnTo>
                          <a:pt x="162" y="68"/>
                        </a:lnTo>
                        <a:lnTo>
                          <a:pt x="163" y="69"/>
                        </a:lnTo>
                        <a:lnTo>
                          <a:pt x="165" y="69"/>
                        </a:lnTo>
                        <a:lnTo>
                          <a:pt x="168" y="69"/>
                        </a:lnTo>
                        <a:lnTo>
                          <a:pt x="171" y="69"/>
                        </a:lnTo>
                        <a:lnTo>
                          <a:pt x="178" y="69"/>
                        </a:lnTo>
                        <a:lnTo>
                          <a:pt x="184" y="69"/>
                        </a:lnTo>
                        <a:lnTo>
                          <a:pt x="192" y="69"/>
                        </a:lnTo>
                        <a:lnTo>
                          <a:pt x="197" y="69"/>
                        </a:lnTo>
                        <a:lnTo>
                          <a:pt x="203" y="69"/>
                        </a:lnTo>
                        <a:lnTo>
                          <a:pt x="206" y="73"/>
                        </a:lnTo>
                        <a:lnTo>
                          <a:pt x="208" y="74"/>
                        </a:lnTo>
                        <a:lnTo>
                          <a:pt x="212" y="79"/>
                        </a:lnTo>
                        <a:lnTo>
                          <a:pt x="214" y="82"/>
                        </a:lnTo>
                        <a:lnTo>
                          <a:pt x="219" y="88"/>
                        </a:lnTo>
                        <a:lnTo>
                          <a:pt x="222" y="92"/>
                        </a:lnTo>
                        <a:lnTo>
                          <a:pt x="223" y="95"/>
                        </a:lnTo>
                        <a:lnTo>
                          <a:pt x="225" y="93"/>
                        </a:lnTo>
                        <a:lnTo>
                          <a:pt x="227" y="92"/>
                        </a:lnTo>
                        <a:lnTo>
                          <a:pt x="228" y="92"/>
                        </a:lnTo>
                        <a:lnTo>
                          <a:pt x="230" y="88"/>
                        </a:lnTo>
                        <a:lnTo>
                          <a:pt x="233" y="85"/>
                        </a:lnTo>
                        <a:lnTo>
                          <a:pt x="235" y="82"/>
                        </a:lnTo>
                        <a:lnTo>
                          <a:pt x="235" y="79"/>
                        </a:lnTo>
                        <a:lnTo>
                          <a:pt x="238" y="76"/>
                        </a:lnTo>
                        <a:lnTo>
                          <a:pt x="239" y="73"/>
                        </a:lnTo>
                        <a:lnTo>
                          <a:pt x="239" y="71"/>
                        </a:lnTo>
                        <a:lnTo>
                          <a:pt x="241" y="69"/>
                        </a:lnTo>
                        <a:lnTo>
                          <a:pt x="242" y="68"/>
                        </a:lnTo>
                        <a:lnTo>
                          <a:pt x="244" y="68"/>
                        </a:lnTo>
                        <a:lnTo>
                          <a:pt x="246" y="68"/>
                        </a:lnTo>
                        <a:lnTo>
                          <a:pt x="247" y="68"/>
                        </a:lnTo>
                        <a:lnTo>
                          <a:pt x="250" y="68"/>
                        </a:lnTo>
                        <a:lnTo>
                          <a:pt x="254" y="66"/>
                        </a:lnTo>
                        <a:lnTo>
                          <a:pt x="255" y="66"/>
                        </a:lnTo>
                        <a:lnTo>
                          <a:pt x="258" y="66"/>
                        </a:lnTo>
                        <a:lnTo>
                          <a:pt x="263" y="63"/>
                        </a:lnTo>
                        <a:lnTo>
                          <a:pt x="266" y="60"/>
                        </a:lnTo>
                        <a:lnTo>
                          <a:pt x="269" y="58"/>
                        </a:lnTo>
                        <a:lnTo>
                          <a:pt x="274" y="55"/>
                        </a:lnTo>
                        <a:lnTo>
                          <a:pt x="277" y="54"/>
                        </a:lnTo>
                        <a:lnTo>
                          <a:pt x="280" y="50"/>
                        </a:lnTo>
                        <a:lnTo>
                          <a:pt x="284" y="49"/>
                        </a:lnTo>
                        <a:lnTo>
                          <a:pt x="287" y="46"/>
                        </a:lnTo>
                        <a:lnTo>
                          <a:pt x="293" y="43"/>
                        </a:lnTo>
                        <a:lnTo>
                          <a:pt x="296" y="41"/>
                        </a:lnTo>
                        <a:lnTo>
                          <a:pt x="298" y="39"/>
                        </a:lnTo>
                        <a:lnTo>
                          <a:pt x="301" y="38"/>
                        </a:lnTo>
                        <a:lnTo>
                          <a:pt x="301" y="35"/>
                        </a:lnTo>
                        <a:lnTo>
                          <a:pt x="304" y="31"/>
                        </a:lnTo>
                        <a:lnTo>
                          <a:pt x="307" y="27"/>
                        </a:lnTo>
                        <a:lnTo>
                          <a:pt x="309" y="23"/>
                        </a:lnTo>
                        <a:lnTo>
                          <a:pt x="311" y="17"/>
                        </a:lnTo>
                        <a:lnTo>
                          <a:pt x="314" y="12"/>
                        </a:lnTo>
                        <a:lnTo>
                          <a:pt x="317" y="9"/>
                        </a:lnTo>
                        <a:lnTo>
                          <a:pt x="320" y="8"/>
                        </a:lnTo>
                        <a:lnTo>
                          <a:pt x="325" y="6"/>
                        </a:lnTo>
                        <a:lnTo>
                          <a:pt x="330" y="4"/>
                        </a:lnTo>
                        <a:lnTo>
                          <a:pt x="334" y="3"/>
                        </a:lnTo>
                        <a:lnTo>
                          <a:pt x="341" y="1"/>
                        </a:lnTo>
                        <a:lnTo>
                          <a:pt x="345" y="1"/>
                        </a:lnTo>
                        <a:lnTo>
                          <a:pt x="347" y="0"/>
                        </a:lnTo>
                        <a:lnTo>
                          <a:pt x="349" y="0"/>
                        </a:lnTo>
                        <a:lnTo>
                          <a:pt x="349" y="1"/>
                        </a:lnTo>
                        <a:lnTo>
                          <a:pt x="350" y="3"/>
                        </a:lnTo>
                        <a:lnTo>
                          <a:pt x="352" y="4"/>
                        </a:lnTo>
                        <a:lnTo>
                          <a:pt x="355" y="6"/>
                        </a:lnTo>
                        <a:lnTo>
                          <a:pt x="357" y="6"/>
                        </a:lnTo>
                        <a:lnTo>
                          <a:pt x="358" y="6"/>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56" name="Freeform 55"/>
                  <p:cNvSpPr>
                    <a:spLocks/>
                  </p:cNvSpPr>
                  <p:nvPr/>
                </p:nvSpPr>
                <p:spPr bwMode="auto">
                  <a:xfrm>
                    <a:off x="3911" y="2113"/>
                    <a:ext cx="471" cy="391"/>
                  </a:xfrm>
                  <a:custGeom>
                    <a:avLst/>
                    <a:gdLst>
                      <a:gd name="T0" fmla="*/ 157 w 471"/>
                      <a:gd name="T1" fmla="*/ 83 h 391"/>
                      <a:gd name="T2" fmla="*/ 194 w 471"/>
                      <a:gd name="T3" fmla="*/ 77 h 391"/>
                      <a:gd name="T4" fmla="*/ 216 w 471"/>
                      <a:gd name="T5" fmla="*/ 71 h 391"/>
                      <a:gd name="T6" fmla="*/ 233 w 471"/>
                      <a:gd name="T7" fmla="*/ 88 h 391"/>
                      <a:gd name="T8" fmla="*/ 227 w 471"/>
                      <a:gd name="T9" fmla="*/ 123 h 391"/>
                      <a:gd name="T10" fmla="*/ 254 w 471"/>
                      <a:gd name="T11" fmla="*/ 133 h 391"/>
                      <a:gd name="T12" fmla="*/ 284 w 471"/>
                      <a:gd name="T13" fmla="*/ 114 h 391"/>
                      <a:gd name="T14" fmla="*/ 324 w 471"/>
                      <a:gd name="T15" fmla="*/ 112 h 391"/>
                      <a:gd name="T16" fmla="*/ 352 w 471"/>
                      <a:gd name="T17" fmla="*/ 117 h 391"/>
                      <a:gd name="T18" fmla="*/ 355 w 471"/>
                      <a:gd name="T19" fmla="*/ 167 h 391"/>
                      <a:gd name="T20" fmla="*/ 343 w 471"/>
                      <a:gd name="T21" fmla="*/ 183 h 391"/>
                      <a:gd name="T22" fmla="*/ 341 w 471"/>
                      <a:gd name="T23" fmla="*/ 205 h 391"/>
                      <a:gd name="T24" fmla="*/ 354 w 471"/>
                      <a:gd name="T25" fmla="*/ 209 h 391"/>
                      <a:gd name="T26" fmla="*/ 366 w 471"/>
                      <a:gd name="T27" fmla="*/ 218 h 391"/>
                      <a:gd name="T28" fmla="*/ 379 w 471"/>
                      <a:gd name="T29" fmla="*/ 220 h 391"/>
                      <a:gd name="T30" fmla="*/ 387 w 471"/>
                      <a:gd name="T31" fmla="*/ 228 h 391"/>
                      <a:gd name="T32" fmla="*/ 398 w 471"/>
                      <a:gd name="T33" fmla="*/ 239 h 391"/>
                      <a:gd name="T34" fmla="*/ 409 w 471"/>
                      <a:gd name="T35" fmla="*/ 242 h 391"/>
                      <a:gd name="T36" fmla="*/ 411 w 471"/>
                      <a:gd name="T37" fmla="*/ 251 h 391"/>
                      <a:gd name="T38" fmla="*/ 420 w 471"/>
                      <a:gd name="T39" fmla="*/ 259 h 391"/>
                      <a:gd name="T40" fmla="*/ 441 w 471"/>
                      <a:gd name="T41" fmla="*/ 255 h 391"/>
                      <a:gd name="T42" fmla="*/ 454 w 471"/>
                      <a:gd name="T43" fmla="*/ 269 h 391"/>
                      <a:gd name="T44" fmla="*/ 458 w 471"/>
                      <a:gd name="T45" fmla="*/ 283 h 391"/>
                      <a:gd name="T46" fmla="*/ 465 w 471"/>
                      <a:gd name="T47" fmla="*/ 291 h 391"/>
                      <a:gd name="T48" fmla="*/ 468 w 471"/>
                      <a:gd name="T49" fmla="*/ 305 h 391"/>
                      <a:gd name="T50" fmla="*/ 460 w 471"/>
                      <a:gd name="T51" fmla="*/ 315 h 391"/>
                      <a:gd name="T52" fmla="*/ 441 w 471"/>
                      <a:gd name="T53" fmla="*/ 329 h 391"/>
                      <a:gd name="T54" fmla="*/ 428 w 471"/>
                      <a:gd name="T55" fmla="*/ 331 h 391"/>
                      <a:gd name="T56" fmla="*/ 414 w 471"/>
                      <a:gd name="T57" fmla="*/ 323 h 391"/>
                      <a:gd name="T58" fmla="*/ 401 w 471"/>
                      <a:gd name="T59" fmla="*/ 323 h 391"/>
                      <a:gd name="T60" fmla="*/ 382 w 471"/>
                      <a:gd name="T61" fmla="*/ 324 h 391"/>
                      <a:gd name="T62" fmla="*/ 351 w 471"/>
                      <a:gd name="T63" fmla="*/ 324 h 391"/>
                      <a:gd name="T64" fmla="*/ 333 w 471"/>
                      <a:gd name="T65" fmla="*/ 334 h 391"/>
                      <a:gd name="T66" fmla="*/ 314 w 471"/>
                      <a:gd name="T67" fmla="*/ 329 h 391"/>
                      <a:gd name="T68" fmla="*/ 287 w 471"/>
                      <a:gd name="T69" fmla="*/ 337 h 391"/>
                      <a:gd name="T70" fmla="*/ 267 w 471"/>
                      <a:gd name="T71" fmla="*/ 353 h 391"/>
                      <a:gd name="T72" fmla="*/ 252 w 471"/>
                      <a:gd name="T73" fmla="*/ 342 h 391"/>
                      <a:gd name="T74" fmla="*/ 238 w 471"/>
                      <a:gd name="T75" fmla="*/ 308 h 391"/>
                      <a:gd name="T76" fmla="*/ 224 w 471"/>
                      <a:gd name="T77" fmla="*/ 302 h 391"/>
                      <a:gd name="T78" fmla="*/ 206 w 471"/>
                      <a:gd name="T79" fmla="*/ 297 h 391"/>
                      <a:gd name="T80" fmla="*/ 168 w 471"/>
                      <a:gd name="T81" fmla="*/ 323 h 391"/>
                      <a:gd name="T82" fmla="*/ 138 w 471"/>
                      <a:gd name="T83" fmla="*/ 350 h 391"/>
                      <a:gd name="T84" fmla="*/ 107 w 471"/>
                      <a:gd name="T85" fmla="*/ 364 h 391"/>
                      <a:gd name="T86" fmla="*/ 91 w 471"/>
                      <a:gd name="T87" fmla="*/ 384 h 391"/>
                      <a:gd name="T88" fmla="*/ 67 w 471"/>
                      <a:gd name="T89" fmla="*/ 369 h 391"/>
                      <a:gd name="T90" fmla="*/ 23 w 471"/>
                      <a:gd name="T91" fmla="*/ 364 h 391"/>
                      <a:gd name="T92" fmla="*/ 2 w 471"/>
                      <a:gd name="T93" fmla="*/ 329 h 391"/>
                      <a:gd name="T94" fmla="*/ 4 w 471"/>
                      <a:gd name="T95" fmla="*/ 286 h 391"/>
                      <a:gd name="T96" fmla="*/ 24 w 471"/>
                      <a:gd name="T97" fmla="*/ 272 h 391"/>
                      <a:gd name="T98" fmla="*/ 24 w 471"/>
                      <a:gd name="T99" fmla="*/ 236 h 391"/>
                      <a:gd name="T100" fmla="*/ 8 w 471"/>
                      <a:gd name="T101" fmla="*/ 221 h 391"/>
                      <a:gd name="T102" fmla="*/ 21 w 471"/>
                      <a:gd name="T103" fmla="*/ 207 h 391"/>
                      <a:gd name="T104" fmla="*/ 23 w 471"/>
                      <a:gd name="T105" fmla="*/ 190 h 391"/>
                      <a:gd name="T106" fmla="*/ 48 w 471"/>
                      <a:gd name="T107" fmla="*/ 169 h 391"/>
                      <a:gd name="T108" fmla="*/ 86 w 471"/>
                      <a:gd name="T109" fmla="*/ 153 h 391"/>
                      <a:gd name="T110" fmla="*/ 83 w 471"/>
                      <a:gd name="T111" fmla="*/ 128 h 391"/>
                      <a:gd name="T112" fmla="*/ 65 w 471"/>
                      <a:gd name="T113" fmla="*/ 109 h 391"/>
                      <a:gd name="T114" fmla="*/ 61 w 471"/>
                      <a:gd name="T115" fmla="*/ 69 h 391"/>
                      <a:gd name="T116" fmla="*/ 94 w 471"/>
                      <a:gd name="T117" fmla="*/ 49 h 391"/>
                      <a:gd name="T118" fmla="*/ 119 w 471"/>
                      <a:gd name="T119" fmla="*/ 47 h 391"/>
                      <a:gd name="T120" fmla="*/ 134 w 471"/>
                      <a:gd name="T121" fmla="*/ 23 h 391"/>
                      <a:gd name="T122" fmla="*/ 138 w 471"/>
                      <a:gd name="T123" fmla="*/ 0 h 391"/>
                      <a:gd name="T124" fmla="*/ 154 w 471"/>
                      <a:gd name="T125" fmla="*/ 1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1" h="391">
                        <a:moveTo>
                          <a:pt x="162" y="44"/>
                        </a:moveTo>
                        <a:lnTo>
                          <a:pt x="157" y="52"/>
                        </a:lnTo>
                        <a:lnTo>
                          <a:pt x="153" y="60"/>
                        </a:lnTo>
                        <a:lnTo>
                          <a:pt x="153" y="66"/>
                        </a:lnTo>
                        <a:lnTo>
                          <a:pt x="151" y="71"/>
                        </a:lnTo>
                        <a:lnTo>
                          <a:pt x="153" y="77"/>
                        </a:lnTo>
                        <a:lnTo>
                          <a:pt x="154" y="80"/>
                        </a:lnTo>
                        <a:lnTo>
                          <a:pt x="154" y="82"/>
                        </a:lnTo>
                        <a:lnTo>
                          <a:pt x="156" y="83"/>
                        </a:lnTo>
                        <a:lnTo>
                          <a:pt x="157" y="83"/>
                        </a:lnTo>
                        <a:lnTo>
                          <a:pt x="157" y="85"/>
                        </a:lnTo>
                        <a:lnTo>
                          <a:pt x="160" y="85"/>
                        </a:lnTo>
                        <a:lnTo>
                          <a:pt x="162" y="85"/>
                        </a:lnTo>
                        <a:lnTo>
                          <a:pt x="164" y="85"/>
                        </a:lnTo>
                        <a:lnTo>
                          <a:pt x="167" y="85"/>
                        </a:lnTo>
                        <a:lnTo>
                          <a:pt x="170" y="85"/>
                        </a:lnTo>
                        <a:lnTo>
                          <a:pt x="176" y="83"/>
                        </a:lnTo>
                        <a:lnTo>
                          <a:pt x="183" y="80"/>
                        </a:lnTo>
                        <a:lnTo>
                          <a:pt x="187" y="79"/>
                        </a:lnTo>
                        <a:lnTo>
                          <a:pt x="194" y="77"/>
                        </a:lnTo>
                        <a:lnTo>
                          <a:pt x="200" y="74"/>
                        </a:lnTo>
                        <a:lnTo>
                          <a:pt x="203" y="72"/>
                        </a:lnTo>
                        <a:lnTo>
                          <a:pt x="206" y="72"/>
                        </a:lnTo>
                        <a:lnTo>
                          <a:pt x="206" y="71"/>
                        </a:lnTo>
                        <a:lnTo>
                          <a:pt x="208" y="71"/>
                        </a:lnTo>
                        <a:lnTo>
                          <a:pt x="210" y="69"/>
                        </a:lnTo>
                        <a:lnTo>
                          <a:pt x="211" y="71"/>
                        </a:lnTo>
                        <a:lnTo>
                          <a:pt x="213" y="71"/>
                        </a:lnTo>
                        <a:lnTo>
                          <a:pt x="214" y="71"/>
                        </a:lnTo>
                        <a:lnTo>
                          <a:pt x="216" y="71"/>
                        </a:lnTo>
                        <a:lnTo>
                          <a:pt x="218" y="71"/>
                        </a:lnTo>
                        <a:lnTo>
                          <a:pt x="218" y="72"/>
                        </a:lnTo>
                        <a:lnTo>
                          <a:pt x="219" y="74"/>
                        </a:lnTo>
                        <a:lnTo>
                          <a:pt x="221" y="74"/>
                        </a:lnTo>
                        <a:lnTo>
                          <a:pt x="221" y="77"/>
                        </a:lnTo>
                        <a:lnTo>
                          <a:pt x="222" y="80"/>
                        </a:lnTo>
                        <a:lnTo>
                          <a:pt x="224" y="82"/>
                        </a:lnTo>
                        <a:lnTo>
                          <a:pt x="229" y="85"/>
                        </a:lnTo>
                        <a:lnTo>
                          <a:pt x="230" y="87"/>
                        </a:lnTo>
                        <a:lnTo>
                          <a:pt x="233" y="88"/>
                        </a:lnTo>
                        <a:lnTo>
                          <a:pt x="233" y="91"/>
                        </a:lnTo>
                        <a:lnTo>
                          <a:pt x="233" y="93"/>
                        </a:lnTo>
                        <a:lnTo>
                          <a:pt x="230" y="101"/>
                        </a:lnTo>
                        <a:lnTo>
                          <a:pt x="229" y="104"/>
                        </a:lnTo>
                        <a:lnTo>
                          <a:pt x="227" y="107"/>
                        </a:lnTo>
                        <a:lnTo>
                          <a:pt x="225" y="112"/>
                        </a:lnTo>
                        <a:lnTo>
                          <a:pt x="225" y="114"/>
                        </a:lnTo>
                        <a:lnTo>
                          <a:pt x="225" y="115"/>
                        </a:lnTo>
                        <a:lnTo>
                          <a:pt x="227" y="120"/>
                        </a:lnTo>
                        <a:lnTo>
                          <a:pt x="227" y="123"/>
                        </a:lnTo>
                        <a:lnTo>
                          <a:pt x="229" y="126"/>
                        </a:lnTo>
                        <a:lnTo>
                          <a:pt x="229" y="131"/>
                        </a:lnTo>
                        <a:lnTo>
                          <a:pt x="230" y="133"/>
                        </a:lnTo>
                        <a:lnTo>
                          <a:pt x="232" y="134"/>
                        </a:lnTo>
                        <a:lnTo>
                          <a:pt x="233" y="134"/>
                        </a:lnTo>
                        <a:lnTo>
                          <a:pt x="237" y="134"/>
                        </a:lnTo>
                        <a:lnTo>
                          <a:pt x="240" y="134"/>
                        </a:lnTo>
                        <a:lnTo>
                          <a:pt x="244" y="134"/>
                        </a:lnTo>
                        <a:lnTo>
                          <a:pt x="249" y="134"/>
                        </a:lnTo>
                        <a:lnTo>
                          <a:pt x="254" y="133"/>
                        </a:lnTo>
                        <a:lnTo>
                          <a:pt x="259" y="133"/>
                        </a:lnTo>
                        <a:lnTo>
                          <a:pt x="263" y="131"/>
                        </a:lnTo>
                        <a:lnTo>
                          <a:pt x="267" y="129"/>
                        </a:lnTo>
                        <a:lnTo>
                          <a:pt x="270" y="129"/>
                        </a:lnTo>
                        <a:lnTo>
                          <a:pt x="273" y="128"/>
                        </a:lnTo>
                        <a:lnTo>
                          <a:pt x="275" y="125"/>
                        </a:lnTo>
                        <a:lnTo>
                          <a:pt x="276" y="121"/>
                        </a:lnTo>
                        <a:lnTo>
                          <a:pt x="278" y="120"/>
                        </a:lnTo>
                        <a:lnTo>
                          <a:pt x="281" y="117"/>
                        </a:lnTo>
                        <a:lnTo>
                          <a:pt x="284" y="114"/>
                        </a:lnTo>
                        <a:lnTo>
                          <a:pt x="287" y="110"/>
                        </a:lnTo>
                        <a:lnTo>
                          <a:pt x="290" y="109"/>
                        </a:lnTo>
                        <a:lnTo>
                          <a:pt x="297" y="109"/>
                        </a:lnTo>
                        <a:lnTo>
                          <a:pt x="301" y="107"/>
                        </a:lnTo>
                        <a:lnTo>
                          <a:pt x="306" y="107"/>
                        </a:lnTo>
                        <a:lnTo>
                          <a:pt x="309" y="107"/>
                        </a:lnTo>
                        <a:lnTo>
                          <a:pt x="314" y="107"/>
                        </a:lnTo>
                        <a:lnTo>
                          <a:pt x="316" y="109"/>
                        </a:lnTo>
                        <a:lnTo>
                          <a:pt x="320" y="110"/>
                        </a:lnTo>
                        <a:lnTo>
                          <a:pt x="324" y="112"/>
                        </a:lnTo>
                        <a:lnTo>
                          <a:pt x="327" y="114"/>
                        </a:lnTo>
                        <a:lnTo>
                          <a:pt x="330" y="114"/>
                        </a:lnTo>
                        <a:lnTo>
                          <a:pt x="333" y="114"/>
                        </a:lnTo>
                        <a:lnTo>
                          <a:pt x="336" y="114"/>
                        </a:lnTo>
                        <a:lnTo>
                          <a:pt x="339" y="114"/>
                        </a:lnTo>
                        <a:lnTo>
                          <a:pt x="343" y="114"/>
                        </a:lnTo>
                        <a:lnTo>
                          <a:pt x="344" y="114"/>
                        </a:lnTo>
                        <a:lnTo>
                          <a:pt x="347" y="115"/>
                        </a:lnTo>
                        <a:lnTo>
                          <a:pt x="351" y="117"/>
                        </a:lnTo>
                        <a:lnTo>
                          <a:pt x="352" y="117"/>
                        </a:lnTo>
                        <a:lnTo>
                          <a:pt x="354" y="118"/>
                        </a:lnTo>
                        <a:lnTo>
                          <a:pt x="355" y="121"/>
                        </a:lnTo>
                        <a:lnTo>
                          <a:pt x="357" y="128"/>
                        </a:lnTo>
                        <a:lnTo>
                          <a:pt x="357" y="131"/>
                        </a:lnTo>
                        <a:lnTo>
                          <a:pt x="357" y="140"/>
                        </a:lnTo>
                        <a:lnTo>
                          <a:pt x="357" y="148"/>
                        </a:lnTo>
                        <a:lnTo>
                          <a:pt x="357" y="153"/>
                        </a:lnTo>
                        <a:lnTo>
                          <a:pt x="357" y="160"/>
                        </a:lnTo>
                        <a:lnTo>
                          <a:pt x="355" y="164"/>
                        </a:lnTo>
                        <a:lnTo>
                          <a:pt x="355" y="167"/>
                        </a:lnTo>
                        <a:lnTo>
                          <a:pt x="354" y="171"/>
                        </a:lnTo>
                        <a:lnTo>
                          <a:pt x="352" y="172"/>
                        </a:lnTo>
                        <a:lnTo>
                          <a:pt x="351" y="174"/>
                        </a:lnTo>
                        <a:lnTo>
                          <a:pt x="346" y="175"/>
                        </a:lnTo>
                        <a:lnTo>
                          <a:pt x="344" y="177"/>
                        </a:lnTo>
                        <a:lnTo>
                          <a:pt x="344" y="179"/>
                        </a:lnTo>
                        <a:lnTo>
                          <a:pt x="343" y="179"/>
                        </a:lnTo>
                        <a:lnTo>
                          <a:pt x="343" y="180"/>
                        </a:lnTo>
                        <a:lnTo>
                          <a:pt x="343" y="182"/>
                        </a:lnTo>
                        <a:lnTo>
                          <a:pt x="343" y="183"/>
                        </a:lnTo>
                        <a:lnTo>
                          <a:pt x="343" y="186"/>
                        </a:lnTo>
                        <a:lnTo>
                          <a:pt x="343" y="190"/>
                        </a:lnTo>
                        <a:lnTo>
                          <a:pt x="341" y="191"/>
                        </a:lnTo>
                        <a:lnTo>
                          <a:pt x="339" y="194"/>
                        </a:lnTo>
                        <a:lnTo>
                          <a:pt x="338" y="196"/>
                        </a:lnTo>
                        <a:lnTo>
                          <a:pt x="338" y="199"/>
                        </a:lnTo>
                        <a:lnTo>
                          <a:pt x="338" y="201"/>
                        </a:lnTo>
                        <a:lnTo>
                          <a:pt x="338" y="202"/>
                        </a:lnTo>
                        <a:lnTo>
                          <a:pt x="339" y="204"/>
                        </a:lnTo>
                        <a:lnTo>
                          <a:pt x="341" y="205"/>
                        </a:lnTo>
                        <a:lnTo>
                          <a:pt x="343" y="205"/>
                        </a:lnTo>
                        <a:lnTo>
                          <a:pt x="343" y="207"/>
                        </a:lnTo>
                        <a:lnTo>
                          <a:pt x="344" y="207"/>
                        </a:lnTo>
                        <a:lnTo>
                          <a:pt x="346" y="209"/>
                        </a:lnTo>
                        <a:lnTo>
                          <a:pt x="347" y="210"/>
                        </a:lnTo>
                        <a:lnTo>
                          <a:pt x="349" y="209"/>
                        </a:lnTo>
                        <a:lnTo>
                          <a:pt x="351" y="209"/>
                        </a:lnTo>
                        <a:lnTo>
                          <a:pt x="352" y="207"/>
                        </a:lnTo>
                        <a:lnTo>
                          <a:pt x="354" y="207"/>
                        </a:lnTo>
                        <a:lnTo>
                          <a:pt x="354" y="209"/>
                        </a:lnTo>
                        <a:lnTo>
                          <a:pt x="355" y="210"/>
                        </a:lnTo>
                        <a:lnTo>
                          <a:pt x="355" y="212"/>
                        </a:lnTo>
                        <a:lnTo>
                          <a:pt x="355" y="213"/>
                        </a:lnTo>
                        <a:lnTo>
                          <a:pt x="357" y="215"/>
                        </a:lnTo>
                        <a:lnTo>
                          <a:pt x="358" y="217"/>
                        </a:lnTo>
                        <a:lnTo>
                          <a:pt x="360" y="217"/>
                        </a:lnTo>
                        <a:lnTo>
                          <a:pt x="362" y="217"/>
                        </a:lnTo>
                        <a:lnTo>
                          <a:pt x="363" y="218"/>
                        </a:lnTo>
                        <a:lnTo>
                          <a:pt x="365" y="218"/>
                        </a:lnTo>
                        <a:lnTo>
                          <a:pt x="366" y="218"/>
                        </a:lnTo>
                        <a:lnTo>
                          <a:pt x="368" y="215"/>
                        </a:lnTo>
                        <a:lnTo>
                          <a:pt x="370" y="215"/>
                        </a:lnTo>
                        <a:lnTo>
                          <a:pt x="371" y="215"/>
                        </a:lnTo>
                        <a:lnTo>
                          <a:pt x="374" y="215"/>
                        </a:lnTo>
                        <a:lnTo>
                          <a:pt x="374" y="217"/>
                        </a:lnTo>
                        <a:lnTo>
                          <a:pt x="376" y="217"/>
                        </a:lnTo>
                        <a:lnTo>
                          <a:pt x="376" y="218"/>
                        </a:lnTo>
                        <a:lnTo>
                          <a:pt x="377" y="218"/>
                        </a:lnTo>
                        <a:lnTo>
                          <a:pt x="379" y="218"/>
                        </a:lnTo>
                        <a:lnTo>
                          <a:pt x="379" y="220"/>
                        </a:lnTo>
                        <a:lnTo>
                          <a:pt x="381" y="220"/>
                        </a:lnTo>
                        <a:lnTo>
                          <a:pt x="381" y="221"/>
                        </a:lnTo>
                        <a:lnTo>
                          <a:pt x="382" y="221"/>
                        </a:lnTo>
                        <a:lnTo>
                          <a:pt x="384" y="221"/>
                        </a:lnTo>
                        <a:lnTo>
                          <a:pt x="385" y="223"/>
                        </a:lnTo>
                        <a:lnTo>
                          <a:pt x="385" y="224"/>
                        </a:lnTo>
                        <a:lnTo>
                          <a:pt x="387" y="224"/>
                        </a:lnTo>
                        <a:lnTo>
                          <a:pt x="387" y="226"/>
                        </a:lnTo>
                        <a:lnTo>
                          <a:pt x="389" y="226"/>
                        </a:lnTo>
                        <a:lnTo>
                          <a:pt x="387" y="228"/>
                        </a:lnTo>
                        <a:lnTo>
                          <a:pt x="389" y="231"/>
                        </a:lnTo>
                        <a:lnTo>
                          <a:pt x="389" y="232"/>
                        </a:lnTo>
                        <a:lnTo>
                          <a:pt x="387" y="236"/>
                        </a:lnTo>
                        <a:lnTo>
                          <a:pt x="389" y="236"/>
                        </a:lnTo>
                        <a:lnTo>
                          <a:pt x="389" y="237"/>
                        </a:lnTo>
                        <a:lnTo>
                          <a:pt x="390" y="239"/>
                        </a:lnTo>
                        <a:lnTo>
                          <a:pt x="392" y="240"/>
                        </a:lnTo>
                        <a:lnTo>
                          <a:pt x="393" y="240"/>
                        </a:lnTo>
                        <a:lnTo>
                          <a:pt x="397" y="240"/>
                        </a:lnTo>
                        <a:lnTo>
                          <a:pt x="398" y="239"/>
                        </a:lnTo>
                        <a:lnTo>
                          <a:pt x="398" y="237"/>
                        </a:lnTo>
                        <a:lnTo>
                          <a:pt x="401" y="236"/>
                        </a:lnTo>
                        <a:lnTo>
                          <a:pt x="403" y="234"/>
                        </a:lnTo>
                        <a:lnTo>
                          <a:pt x="404" y="234"/>
                        </a:lnTo>
                        <a:lnTo>
                          <a:pt x="404" y="236"/>
                        </a:lnTo>
                        <a:lnTo>
                          <a:pt x="404" y="237"/>
                        </a:lnTo>
                        <a:lnTo>
                          <a:pt x="404" y="239"/>
                        </a:lnTo>
                        <a:lnTo>
                          <a:pt x="406" y="240"/>
                        </a:lnTo>
                        <a:lnTo>
                          <a:pt x="408" y="242"/>
                        </a:lnTo>
                        <a:lnTo>
                          <a:pt x="409" y="242"/>
                        </a:lnTo>
                        <a:lnTo>
                          <a:pt x="411" y="242"/>
                        </a:lnTo>
                        <a:lnTo>
                          <a:pt x="411" y="243"/>
                        </a:lnTo>
                        <a:lnTo>
                          <a:pt x="411" y="245"/>
                        </a:lnTo>
                        <a:lnTo>
                          <a:pt x="411" y="247"/>
                        </a:lnTo>
                        <a:lnTo>
                          <a:pt x="409" y="248"/>
                        </a:lnTo>
                        <a:lnTo>
                          <a:pt x="408" y="248"/>
                        </a:lnTo>
                        <a:lnTo>
                          <a:pt x="408" y="250"/>
                        </a:lnTo>
                        <a:lnTo>
                          <a:pt x="409" y="250"/>
                        </a:lnTo>
                        <a:lnTo>
                          <a:pt x="409" y="251"/>
                        </a:lnTo>
                        <a:lnTo>
                          <a:pt x="411" y="251"/>
                        </a:lnTo>
                        <a:lnTo>
                          <a:pt x="412" y="253"/>
                        </a:lnTo>
                        <a:lnTo>
                          <a:pt x="414" y="251"/>
                        </a:lnTo>
                        <a:lnTo>
                          <a:pt x="414" y="250"/>
                        </a:lnTo>
                        <a:lnTo>
                          <a:pt x="416" y="250"/>
                        </a:lnTo>
                        <a:lnTo>
                          <a:pt x="417" y="250"/>
                        </a:lnTo>
                        <a:lnTo>
                          <a:pt x="419" y="250"/>
                        </a:lnTo>
                        <a:lnTo>
                          <a:pt x="420" y="250"/>
                        </a:lnTo>
                        <a:lnTo>
                          <a:pt x="420" y="251"/>
                        </a:lnTo>
                        <a:lnTo>
                          <a:pt x="420" y="256"/>
                        </a:lnTo>
                        <a:lnTo>
                          <a:pt x="420" y="259"/>
                        </a:lnTo>
                        <a:lnTo>
                          <a:pt x="420" y="261"/>
                        </a:lnTo>
                        <a:lnTo>
                          <a:pt x="423" y="261"/>
                        </a:lnTo>
                        <a:lnTo>
                          <a:pt x="427" y="261"/>
                        </a:lnTo>
                        <a:lnTo>
                          <a:pt x="430" y="259"/>
                        </a:lnTo>
                        <a:lnTo>
                          <a:pt x="433" y="258"/>
                        </a:lnTo>
                        <a:lnTo>
                          <a:pt x="435" y="256"/>
                        </a:lnTo>
                        <a:lnTo>
                          <a:pt x="435" y="258"/>
                        </a:lnTo>
                        <a:lnTo>
                          <a:pt x="436" y="256"/>
                        </a:lnTo>
                        <a:lnTo>
                          <a:pt x="439" y="255"/>
                        </a:lnTo>
                        <a:lnTo>
                          <a:pt x="441" y="255"/>
                        </a:lnTo>
                        <a:lnTo>
                          <a:pt x="441" y="256"/>
                        </a:lnTo>
                        <a:lnTo>
                          <a:pt x="444" y="255"/>
                        </a:lnTo>
                        <a:lnTo>
                          <a:pt x="446" y="256"/>
                        </a:lnTo>
                        <a:lnTo>
                          <a:pt x="447" y="256"/>
                        </a:lnTo>
                        <a:lnTo>
                          <a:pt x="450" y="258"/>
                        </a:lnTo>
                        <a:lnTo>
                          <a:pt x="450" y="259"/>
                        </a:lnTo>
                        <a:lnTo>
                          <a:pt x="449" y="264"/>
                        </a:lnTo>
                        <a:lnTo>
                          <a:pt x="450" y="266"/>
                        </a:lnTo>
                        <a:lnTo>
                          <a:pt x="452" y="267"/>
                        </a:lnTo>
                        <a:lnTo>
                          <a:pt x="454" y="269"/>
                        </a:lnTo>
                        <a:lnTo>
                          <a:pt x="454" y="270"/>
                        </a:lnTo>
                        <a:lnTo>
                          <a:pt x="455" y="274"/>
                        </a:lnTo>
                        <a:lnTo>
                          <a:pt x="455" y="275"/>
                        </a:lnTo>
                        <a:lnTo>
                          <a:pt x="454" y="277"/>
                        </a:lnTo>
                        <a:lnTo>
                          <a:pt x="452" y="277"/>
                        </a:lnTo>
                        <a:lnTo>
                          <a:pt x="452" y="278"/>
                        </a:lnTo>
                        <a:lnTo>
                          <a:pt x="452" y="280"/>
                        </a:lnTo>
                        <a:lnTo>
                          <a:pt x="452" y="281"/>
                        </a:lnTo>
                        <a:lnTo>
                          <a:pt x="454" y="283"/>
                        </a:lnTo>
                        <a:lnTo>
                          <a:pt x="458" y="283"/>
                        </a:lnTo>
                        <a:lnTo>
                          <a:pt x="460" y="283"/>
                        </a:lnTo>
                        <a:lnTo>
                          <a:pt x="461" y="283"/>
                        </a:lnTo>
                        <a:lnTo>
                          <a:pt x="463" y="283"/>
                        </a:lnTo>
                        <a:lnTo>
                          <a:pt x="465" y="283"/>
                        </a:lnTo>
                        <a:lnTo>
                          <a:pt x="466" y="285"/>
                        </a:lnTo>
                        <a:lnTo>
                          <a:pt x="466" y="286"/>
                        </a:lnTo>
                        <a:lnTo>
                          <a:pt x="466" y="288"/>
                        </a:lnTo>
                        <a:lnTo>
                          <a:pt x="466" y="289"/>
                        </a:lnTo>
                        <a:lnTo>
                          <a:pt x="466" y="291"/>
                        </a:lnTo>
                        <a:lnTo>
                          <a:pt x="465" y="291"/>
                        </a:lnTo>
                        <a:lnTo>
                          <a:pt x="465" y="293"/>
                        </a:lnTo>
                        <a:lnTo>
                          <a:pt x="466" y="294"/>
                        </a:lnTo>
                        <a:lnTo>
                          <a:pt x="466" y="296"/>
                        </a:lnTo>
                        <a:lnTo>
                          <a:pt x="468" y="296"/>
                        </a:lnTo>
                        <a:lnTo>
                          <a:pt x="469" y="297"/>
                        </a:lnTo>
                        <a:lnTo>
                          <a:pt x="471" y="299"/>
                        </a:lnTo>
                        <a:lnTo>
                          <a:pt x="469" y="300"/>
                        </a:lnTo>
                        <a:lnTo>
                          <a:pt x="469" y="302"/>
                        </a:lnTo>
                        <a:lnTo>
                          <a:pt x="468" y="304"/>
                        </a:lnTo>
                        <a:lnTo>
                          <a:pt x="468" y="305"/>
                        </a:lnTo>
                        <a:lnTo>
                          <a:pt x="466" y="305"/>
                        </a:lnTo>
                        <a:lnTo>
                          <a:pt x="466" y="307"/>
                        </a:lnTo>
                        <a:lnTo>
                          <a:pt x="465" y="307"/>
                        </a:lnTo>
                        <a:lnTo>
                          <a:pt x="465" y="308"/>
                        </a:lnTo>
                        <a:lnTo>
                          <a:pt x="465" y="310"/>
                        </a:lnTo>
                        <a:lnTo>
                          <a:pt x="466" y="312"/>
                        </a:lnTo>
                        <a:lnTo>
                          <a:pt x="465" y="313"/>
                        </a:lnTo>
                        <a:lnTo>
                          <a:pt x="463" y="313"/>
                        </a:lnTo>
                        <a:lnTo>
                          <a:pt x="461" y="315"/>
                        </a:lnTo>
                        <a:lnTo>
                          <a:pt x="460" y="315"/>
                        </a:lnTo>
                        <a:lnTo>
                          <a:pt x="458" y="316"/>
                        </a:lnTo>
                        <a:lnTo>
                          <a:pt x="454" y="318"/>
                        </a:lnTo>
                        <a:lnTo>
                          <a:pt x="452" y="318"/>
                        </a:lnTo>
                        <a:lnTo>
                          <a:pt x="452" y="319"/>
                        </a:lnTo>
                        <a:lnTo>
                          <a:pt x="449" y="319"/>
                        </a:lnTo>
                        <a:lnTo>
                          <a:pt x="447" y="321"/>
                        </a:lnTo>
                        <a:lnTo>
                          <a:pt x="447" y="323"/>
                        </a:lnTo>
                        <a:lnTo>
                          <a:pt x="444" y="324"/>
                        </a:lnTo>
                        <a:lnTo>
                          <a:pt x="441" y="327"/>
                        </a:lnTo>
                        <a:lnTo>
                          <a:pt x="441" y="329"/>
                        </a:lnTo>
                        <a:lnTo>
                          <a:pt x="441" y="327"/>
                        </a:lnTo>
                        <a:lnTo>
                          <a:pt x="439" y="329"/>
                        </a:lnTo>
                        <a:lnTo>
                          <a:pt x="439" y="331"/>
                        </a:lnTo>
                        <a:lnTo>
                          <a:pt x="438" y="331"/>
                        </a:lnTo>
                        <a:lnTo>
                          <a:pt x="436" y="332"/>
                        </a:lnTo>
                        <a:lnTo>
                          <a:pt x="435" y="332"/>
                        </a:lnTo>
                        <a:lnTo>
                          <a:pt x="433" y="332"/>
                        </a:lnTo>
                        <a:lnTo>
                          <a:pt x="433" y="334"/>
                        </a:lnTo>
                        <a:lnTo>
                          <a:pt x="430" y="332"/>
                        </a:lnTo>
                        <a:lnTo>
                          <a:pt x="428" y="331"/>
                        </a:lnTo>
                        <a:lnTo>
                          <a:pt x="428" y="329"/>
                        </a:lnTo>
                        <a:lnTo>
                          <a:pt x="427" y="327"/>
                        </a:lnTo>
                        <a:lnTo>
                          <a:pt x="425" y="327"/>
                        </a:lnTo>
                        <a:lnTo>
                          <a:pt x="425" y="326"/>
                        </a:lnTo>
                        <a:lnTo>
                          <a:pt x="423" y="326"/>
                        </a:lnTo>
                        <a:lnTo>
                          <a:pt x="422" y="326"/>
                        </a:lnTo>
                        <a:lnTo>
                          <a:pt x="420" y="324"/>
                        </a:lnTo>
                        <a:lnTo>
                          <a:pt x="419" y="324"/>
                        </a:lnTo>
                        <a:lnTo>
                          <a:pt x="417" y="324"/>
                        </a:lnTo>
                        <a:lnTo>
                          <a:pt x="414" y="323"/>
                        </a:lnTo>
                        <a:lnTo>
                          <a:pt x="414" y="321"/>
                        </a:lnTo>
                        <a:lnTo>
                          <a:pt x="412" y="323"/>
                        </a:lnTo>
                        <a:lnTo>
                          <a:pt x="411" y="323"/>
                        </a:lnTo>
                        <a:lnTo>
                          <a:pt x="409" y="323"/>
                        </a:lnTo>
                        <a:lnTo>
                          <a:pt x="408" y="321"/>
                        </a:lnTo>
                        <a:lnTo>
                          <a:pt x="406" y="321"/>
                        </a:lnTo>
                        <a:lnTo>
                          <a:pt x="404" y="323"/>
                        </a:lnTo>
                        <a:lnTo>
                          <a:pt x="403" y="323"/>
                        </a:lnTo>
                        <a:lnTo>
                          <a:pt x="401" y="321"/>
                        </a:lnTo>
                        <a:lnTo>
                          <a:pt x="401" y="323"/>
                        </a:lnTo>
                        <a:lnTo>
                          <a:pt x="400" y="323"/>
                        </a:lnTo>
                        <a:lnTo>
                          <a:pt x="398" y="323"/>
                        </a:lnTo>
                        <a:lnTo>
                          <a:pt x="397" y="324"/>
                        </a:lnTo>
                        <a:lnTo>
                          <a:pt x="395" y="324"/>
                        </a:lnTo>
                        <a:lnTo>
                          <a:pt x="392" y="324"/>
                        </a:lnTo>
                        <a:lnTo>
                          <a:pt x="390" y="323"/>
                        </a:lnTo>
                        <a:lnTo>
                          <a:pt x="389" y="324"/>
                        </a:lnTo>
                        <a:lnTo>
                          <a:pt x="385" y="324"/>
                        </a:lnTo>
                        <a:lnTo>
                          <a:pt x="384" y="326"/>
                        </a:lnTo>
                        <a:lnTo>
                          <a:pt x="382" y="324"/>
                        </a:lnTo>
                        <a:lnTo>
                          <a:pt x="381" y="324"/>
                        </a:lnTo>
                        <a:lnTo>
                          <a:pt x="379" y="324"/>
                        </a:lnTo>
                        <a:lnTo>
                          <a:pt x="377" y="324"/>
                        </a:lnTo>
                        <a:lnTo>
                          <a:pt x="373" y="324"/>
                        </a:lnTo>
                        <a:lnTo>
                          <a:pt x="371" y="324"/>
                        </a:lnTo>
                        <a:lnTo>
                          <a:pt x="370" y="326"/>
                        </a:lnTo>
                        <a:lnTo>
                          <a:pt x="363" y="326"/>
                        </a:lnTo>
                        <a:lnTo>
                          <a:pt x="358" y="324"/>
                        </a:lnTo>
                        <a:lnTo>
                          <a:pt x="355" y="323"/>
                        </a:lnTo>
                        <a:lnTo>
                          <a:pt x="351" y="324"/>
                        </a:lnTo>
                        <a:lnTo>
                          <a:pt x="349" y="324"/>
                        </a:lnTo>
                        <a:lnTo>
                          <a:pt x="347" y="327"/>
                        </a:lnTo>
                        <a:lnTo>
                          <a:pt x="346" y="329"/>
                        </a:lnTo>
                        <a:lnTo>
                          <a:pt x="344" y="331"/>
                        </a:lnTo>
                        <a:lnTo>
                          <a:pt x="341" y="334"/>
                        </a:lnTo>
                        <a:lnTo>
                          <a:pt x="339" y="335"/>
                        </a:lnTo>
                        <a:lnTo>
                          <a:pt x="338" y="335"/>
                        </a:lnTo>
                        <a:lnTo>
                          <a:pt x="336" y="337"/>
                        </a:lnTo>
                        <a:lnTo>
                          <a:pt x="335" y="335"/>
                        </a:lnTo>
                        <a:lnTo>
                          <a:pt x="333" y="334"/>
                        </a:lnTo>
                        <a:lnTo>
                          <a:pt x="332" y="332"/>
                        </a:lnTo>
                        <a:lnTo>
                          <a:pt x="332" y="331"/>
                        </a:lnTo>
                        <a:lnTo>
                          <a:pt x="330" y="329"/>
                        </a:lnTo>
                        <a:lnTo>
                          <a:pt x="328" y="326"/>
                        </a:lnTo>
                        <a:lnTo>
                          <a:pt x="327" y="326"/>
                        </a:lnTo>
                        <a:lnTo>
                          <a:pt x="324" y="326"/>
                        </a:lnTo>
                        <a:lnTo>
                          <a:pt x="320" y="326"/>
                        </a:lnTo>
                        <a:lnTo>
                          <a:pt x="317" y="326"/>
                        </a:lnTo>
                        <a:lnTo>
                          <a:pt x="316" y="327"/>
                        </a:lnTo>
                        <a:lnTo>
                          <a:pt x="314" y="329"/>
                        </a:lnTo>
                        <a:lnTo>
                          <a:pt x="311" y="331"/>
                        </a:lnTo>
                        <a:lnTo>
                          <a:pt x="309" y="332"/>
                        </a:lnTo>
                        <a:lnTo>
                          <a:pt x="308" y="334"/>
                        </a:lnTo>
                        <a:lnTo>
                          <a:pt x="306" y="335"/>
                        </a:lnTo>
                        <a:lnTo>
                          <a:pt x="301" y="335"/>
                        </a:lnTo>
                        <a:lnTo>
                          <a:pt x="300" y="335"/>
                        </a:lnTo>
                        <a:lnTo>
                          <a:pt x="295" y="337"/>
                        </a:lnTo>
                        <a:lnTo>
                          <a:pt x="292" y="337"/>
                        </a:lnTo>
                        <a:lnTo>
                          <a:pt x="289" y="337"/>
                        </a:lnTo>
                        <a:lnTo>
                          <a:pt x="287" y="337"/>
                        </a:lnTo>
                        <a:lnTo>
                          <a:pt x="284" y="339"/>
                        </a:lnTo>
                        <a:lnTo>
                          <a:pt x="282" y="339"/>
                        </a:lnTo>
                        <a:lnTo>
                          <a:pt x="281" y="339"/>
                        </a:lnTo>
                        <a:lnTo>
                          <a:pt x="279" y="340"/>
                        </a:lnTo>
                        <a:lnTo>
                          <a:pt x="278" y="342"/>
                        </a:lnTo>
                        <a:lnTo>
                          <a:pt x="276" y="345"/>
                        </a:lnTo>
                        <a:lnTo>
                          <a:pt x="273" y="348"/>
                        </a:lnTo>
                        <a:lnTo>
                          <a:pt x="271" y="350"/>
                        </a:lnTo>
                        <a:lnTo>
                          <a:pt x="268" y="351"/>
                        </a:lnTo>
                        <a:lnTo>
                          <a:pt x="267" y="353"/>
                        </a:lnTo>
                        <a:lnTo>
                          <a:pt x="265" y="354"/>
                        </a:lnTo>
                        <a:lnTo>
                          <a:pt x="263" y="354"/>
                        </a:lnTo>
                        <a:lnTo>
                          <a:pt x="262" y="356"/>
                        </a:lnTo>
                        <a:lnTo>
                          <a:pt x="260" y="356"/>
                        </a:lnTo>
                        <a:lnTo>
                          <a:pt x="259" y="354"/>
                        </a:lnTo>
                        <a:lnTo>
                          <a:pt x="259" y="353"/>
                        </a:lnTo>
                        <a:lnTo>
                          <a:pt x="259" y="350"/>
                        </a:lnTo>
                        <a:lnTo>
                          <a:pt x="257" y="348"/>
                        </a:lnTo>
                        <a:lnTo>
                          <a:pt x="254" y="345"/>
                        </a:lnTo>
                        <a:lnTo>
                          <a:pt x="252" y="342"/>
                        </a:lnTo>
                        <a:lnTo>
                          <a:pt x="251" y="340"/>
                        </a:lnTo>
                        <a:lnTo>
                          <a:pt x="251" y="337"/>
                        </a:lnTo>
                        <a:lnTo>
                          <a:pt x="249" y="332"/>
                        </a:lnTo>
                        <a:lnTo>
                          <a:pt x="246" y="327"/>
                        </a:lnTo>
                        <a:lnTo>
                          <a:pt x="244" y="323"/>
                        </a:lnTo>
                        <a:lnTo>
                          <a:pt x="243" y="319"/>
                        </a:lnTo>
                        <a:lnTo>
                          <a:pt x="241" y="316"/>
                        </a:lnTo>
                        <a:lnTo>
                          <a:pt x="240" y="313"/>
                        </a:lnTo>
                        <a:lnTo>
                          <a:pt x="240" y="310"/>
                        </a:lnTo>
                        <a:lnTo>
                          <a:pt x="238" y="308"/>
                        </a:lnTo>
                        <a:lnTo>
                          <a:pt x="238" y="304"/>
                        </a:lnTo>
                        <a:lnTo>
                          <a:pt x="237" y="304"/>
                        </a:lnTo>
                        <a:lnTo>
                          <a:pt x="235" y="302"/>
                        </a:lnTo>
                        <a:lnTo>
                          <a:pt x="233" y="302"/>
                        </a:lnTo>
                        <a:lnTo>
                          <a:pt x="232" y="304"/>
                        </a:lnTo>
                        <a:lnTo>
                          <a:pt x="230" y="304"/>
                        </a:lnTo>
                        <a:lnTo>
                          <a:pt x="229" y="304"/>
                        </a:lnTo>
                        <a:lnTo>
                          <a:pt x="227" y="302"/>
                        </a:lnTo>
                        <a:lnTo>
                          <a:pt x="225" y="302"/>
                        </a:lnTo>
                        <a:lnTo>
                          <a:pt x="224" y="302"/>
                        </a:lnTo>
                        <a:lnTo>
                          <a:pt x="221" y="304"/>
                        </a:lnTo>
                        <a:lnTo>
                          <a:pt x="219" y="302"/>
                        </a:lnTo>
                        <a:lnTo>
                          <a:pt x="218" y="302"/>
                        </a:lnTo>
                        <a:lnTo>
                          <a:pt x="216" y="302"/>
                        </a:lnTo>
                        <a:lnTo>
                          <a:pt x="213" y="300"/>
                        </a:lnTo>
                        <a:lnTo>
                          <a:pt x="211" y="299"/>
                        </a:lnTo>
                        <a:lnTo>
                          <a:pt x="210" y="297"/>
                        </a:lnTo>
                        <a:lnTo>
                          <a:pt x="210" y="296"/>
                        </a:lnTo>
                        <a:lnTo>
                          <a:pt x="208" y="296"/>
                        </a:lnTo>
                        <a:lnTo>
                          <a:pt x="206" y="297"/>
                        </a:lnTo>
                        <a:lnTo>
                          <a:pt x="202" y="297"/>
                        </a:lnTo>
                        <a:lnTo>
                          <a:pt x="195" y="299"/>
                        </a:lnTo>
                        <a:lnTo>
                          <a:pt x="191" y="300"/>
                        </a:lnTo>
                        <a:lnTo>
                          <a:pt x="186" y="302"/>
                        </a:lnTo>
                        <a:lnTo>
                          <a:pt x="181" y="304"/>
                        </a:lnTo>
                        <a:lnTo>
                          <a:pt x="178" y="305"/>
                        </a:lnTo>
                        <a:lnTo>
                          <a:pt x="175" y="308"/>
                        </a:lnTo>
                        <a:lnTo>
                          <a:pt x="172" y="313"/>
                        </a:lnTo>
                        <a:lnTo>
                          <a:pt x="170" y="319"/>
                        </a:lnTo>
                        <a:lnTo>
                          <a:pt x="168" y="323"/>
                        </a:lnTo>
                        <a:lnTo>
                          <a:pt x="165" y="327"/>
                        </a:lnTo>
                        <a:lnTo>
                          <a:pt x="162" y="331"/>
                        </a:lnTo>
                        <a:lnTo>
                          <a:pt x="162" y="334"/>
                        </a:lnTo>
                        <a:lnTo>
                          <a:pt x="159" y="335"/>
                        </a:lnTo>
                        <a:lnTo>
                          <a:pt x="157" y="337"/>
                        </a:lnTo>
                        <a:lnTo>
                          <a:pt x="154" y="339"/>
                        </a:lnTo>
                        <a:lnTo>
                          <a:pt x="148" y="342"/>
                        </a:lnTo>
                        <a:lnTo>
                          <a:pt x="145" y="345"/>
                        </a:lnTo>
                        <a:lnTo>
                          <a:pt x="141" y="346"/>
                        </a:lnTo>
                        <a:lnTo>
                          <a:pt x="138" y="350"/>
                        </a:lnTo>
                        <a:lnTo>
                          <a:pt x="135" y="351"/>
                        </a:lnTo>
                        <a:lnTo>
                          <a:pt x="130" y="354"/>
                        </a:lnTo>
                        <a:lnTo>
                          <a:pt x="127" y="356"/>
                        </a:lnTo>
                        <a:lnTo>
                          <a:pt x="124" y="359"/>
                        </a:lnTo>
                        <a:lnTo>
                          <a:pt x="119" y="362"/>
                        </a:lnTo>
                        <a:lnTo>
                          <a:pt x="116" y="362"/>
                        </a:lnTo>
                        <a:lnTo>
                          <a:pt x="115" y="362"/>
                        </a:lnTo>
                        <a:lnTo>
                          <a:pt x="111" y="364"/>
                        </a:lnTo>
                        <a:lnTo>
                          <a:pt x="108" y="364"/>
                        </a:lnTo>
                        <a:lnTo>
                          <a:pt x="107" y="364"/>
                        </a:lnTo>
                        <a:lnTo>
                          <a:pt x="105" y="364"/>
                        </a:lnTo>
                        <a:lnTo>
                          <a:pt x="103" y="364"/>
                        </a:lnTo>
                        <a:lnTo>
                          <a:pt x="102" y="365"/>
                        </a:lnTo>
                        <a:lnTo>
                          <a:pt x="100" y="367"/>
                        </a:lnTo>
                        <a:lnTo>
                          <a:pt x="100" y="369"/>
                        </a:lnTo>
                        <a:lnTo>
                          <a:pt x="99" y="372"/>
                        </a:lnTo>
                        <a:lnTo>
                          <a:pt x="96" y="375"/>
                        </a:lnTo>
                        <a:lnTo>
                          <a:pt x="96" y="378"/>
                        </a:lnTo>
                        <a:lnTo>
                          <a:pt x="94" y="381"/>
                        </a:lnTo>
                        <a:lnTo>
                          <a:pt x="91" y="384"/>
                        </a:lnTo>
                        <a:lnTo>
                          <a:pt x="89" y="388"/>
                        </a:lnTo>
                        <a:lnTo>
                          <a:pt x="88" y="388"/>
                        </a:lnTo>
                        <a:lnTo>
                          <a:pt x="86" y="389"/>
                        </a:lnTo>
                        <a:lnTo>
                          <a:pt x="84" y="391"/>
                        </a:lnTo>
                        <a:lnTo>
                          <a:pt x="83" y="388"/>
                        </a:lnTo>
                        <a:lnTo>
                          <a:pt x="80" y="384"/>
                        </a:lnTo>
                        <a:lnTo>
                          <a:pt x="75" y="378"/>
                        </a:lnTo>
                        <a:lnTo>
                          <a:pt x="73" y="375"/>
                        </a:lnTo>
                        <a:lnTo>
                          <a:pt x="69" y="370"/>
                        </a:lnTo>
                        <a:lnTo>
                          <a:pt x="67" y="369"/>
                        </a:lnTo>
                        <a:lnTo>
                          <a:pt x="64" y="365"/>
                        </a:lnTo>
                        <a:lnTo>
                          <a:pt x="58" y="365"/>
                        </a:lnTo>
                        <a:lnTo>
                          <a:pt x="53" y="365"/>
                        </a:lnTo>
                        <a:lnTo>
                          <a:pt x="45" y="365"/>
                        </a:lnTo>
                        <a:lnTo>
                          <a:pt x="39" y="365"/>
                        </a:lnTo>
                        <a:lnTo>
                          <a:pt x="32" y="365"/>
                        </a:lnTo>
                        <a:lnTo>
                          <a:pt x="29" y="365"/>
                        </a:lnTo>
                        <a:lnTo>
                          <a:pt x="26" y="365"/>
                        </a:lnTo>
                        <a:lnTo>
                          <a:pt x="24" y="365"/>
                        </a:lnTo>
                        <a:lnTo>
                          <a:pt x="23" y="364"/>
                        </a:lnTo>
                        <a:lnTo>
                          <a:pt x="21" y="362"/>
                        </a:lnTo>
                        <a:lnTo>
                          <a:pt x="20" y="361"/>
                        </a:lnTo>
                        <a:lnTo>
                          <a:pt x="18" y="359"/>
                        </a:lnTo>
                        <a:lnTo>
                          <a:pt x="16" y="354"/>
                        </a:lnTo>
                        <a:lnTo>
                          <a:pt x="13" y="350"/>
                        </a:lnTo>
                        <a:lnTo>
                          <a:pt x="12" y="345"/>
                        </a:lnTo>
                        <a:lnTo>
                          <a:pt x="10" y="342"/>
                        </a:lnTo>
                        <a:lnTo>
                          <a:pt x="8" y="339"/>
                        </a:lnTo>
                        <a:lnTo>
                          <a:pt x="5" y="334"/>
                        </a:lnTo>
                        <a:lnTo>
                          <a:pt x="2" y="329"/>
                        </a:lnTo>
                        <a:lnTo>
                          <a:pt x="2" y="327"/>
                        </a:lnTo>
                        <a:lnTo>
                          <a:pt x="0" y="323"/>
                        </a:lnTo>
                        <a:lnTo>
                          <a:pt x="0" y="310"/>
                        </a:lnTo>
                        <a:lnTo>
                          <a:pt x="0" y="305"/>
                        </a:lnTo>
                        <a:lnTo>
                          <a:pt x="0" y="300"/>
                        </a:lnTo>
                        <a:lnTo>
                          <a:pt x="0" y="296"/>
                        </a:lnTo>
                        <a:lnTo>
                          <a:pt x="0" y="294"/>
                        </a:lnTo>
                        <a:lnTo>
                          <a:pt x="0" y="291"/>
                        </a:lnTo>
                        <a:lnTo>
                          <a:pt x="2" y="289"/>
                        </a:lnTo>
                        <a:lnTo>
                          <a:pt x="4" y="286"/>
                        </a:lnTo>
                        <a:lnTo>
                          <a:pt x="5" y="283"/>
                        </a:lnTo>
                        <a:lnTo>
                          <a:pt x="7" y="281"/>
                        </a:lnTo>
                        <a:lnTo>
                          <a:pt x="10" y="281"/>
                        </a:lnTo>
                        <a:lnTo>
                          <a:pt x="13" y="280"/>
                        </a:lnTo>
                        <a:lnTo>
                          <a:pt x="16" y="280"/>
                        </a:lnTo>
                        <a:lnTo>
                          <a:pt x="20" y="278"/>
                        </a:lnTo>
                        <a:lnTo>
                          <a:pt x="21" y="278"/>
                        </a:lnTo>
                        <a:lnTo>
                          <a:pt x="23" y="277"/>
                        </a:lnTo>
                        <a:lnTo>
                          <a:pt x="24" y="275"/>
                        </a:lnTo>
                        <a:lnTo>
                          <a:pt x="24" y="272"/>
                        </a:lnTo>
                        <a:lnTo>
                          <a:pt x="26" y="269"/>
                        </a:lnTo>
                        <a:lnTo>
                          <a:pt x="26" y="264"/>
                        </a:lnTo>
                        <a:lnTo>
                          <a:pt x="26" y="262"/>
                        </a:lnTo>
                        <a:lnTo>
                          <a:pt x="24" y="259"/>
                        </a:lnTo>
                        <a:lnTo>
                          <a:pt x="24" y="256"/>
                        </a:lnTo>
                        <a:lnTo>
                          <a:pt x="26" y="251"/>
                        </a:lnTo>
                        <a:lnTo>
                          <a:pt x="26" y="245"/>
                        </a:lnTo>
                        <a:lnTo>
                          <a:pt x="26" y="242"/>
                        </a:lnTo>
                        <a:lnTo>
                          <a:pt x="24" y="239"/>
                        </a:lnTo>
                        <a:lnTo>
                          <a:pt x="24" y="236"/>
                        </a:lnTo>
                        <a:lnTo>
                          <a:pt x="23" y="234"/>
                        </a:lnTo>
                        <a:lnTo>
                          <a:pt x="18" y="232"/>
                        </a:lnTo>
                        <a:lnTo>
                          <a:pt x="15" y="231"/>
                        </a:lnTo>
                        <a:lnTo>
                          <a:pt x="12" y="231"/>
                        </a:lnTo>
                        <a:lnTo>
                          <a:pt x="10" y="229"/>
                        </a:lnTo>
                        <a:lnTo>
                          <a:pt x="7" y="228"/>
                        </a:lnTo>
                        <a:lnTo>
                          <a:pt x="5" y="226"/>
                        </a:lnTo>
                        <a:lnTo>
                          <a:pt x="5" y="224"/>
                        </a:lnTo>
                        <a:lnTo>
                          <a:pt x="7" y="223"/>
                        </a:lnTo>
                        <a:lnTo>
                          <a:pt x="8" y="221"/>
                        </a:lnTo>
                        <a:lnTo>
                          <a:pt x="15" y="220"/>
                        </a:lnTo>
                        <a:lnTo>
                          <a:pt x="20" y="218"/>
                        </a:lnTo>
                        <a:lnTo>
                          <a:pt x="21" y="217"/>
                        </a:lnTo>
                        <a:lnTo>
                          <a:pt x="24" y="217"/>
                        </a:lnTo>
                        <a:lnTo>
                          <a:pt x="24" y="215"/>
                        </a:lnTo>
                        <a:lnTo>
                          <a:pt x="26" y="215"/>
                        </a:lnTo>
                        <a:lnTo>
                          <a:pt x="26" y="213"/>
                        </a:lnTo>
                        <a:lnTo>
                          <a:pt x="24" y="212"/>
                        </a:lnTo>
                        <a:lnTo>
                          <a:pt x="23" y="210"/>
                        </a:lnTo>
                        <a:lnTo>
                          <a:pt x="21" y="207"/>
                        </a:lnTo>
                        <a:lnTo>
                          <a:pt x="18" y="204"/>
                        </a:lnTo>
                        <a:lnTo>
                          <a:pt x="16" y="201"/>
                        </a:lnTo>
                        <a:lnTo>
                          <a:pt x="13" y="199"/>
                        </a:lnTo>
                        <a:lnTo>
                          <a:pt x="12" y="196"/>
                        </a:lnTo>
                        <a:lnTo>
                          <a:pt x="10" y="194"/>
                        </a:lnTo>
                        <a:lnTo>
                          <a:pt x="8" y="193"/>
                        </a:lnTo>
                        <a:lnTo>
                          <a:pt x="10" y="193"/>
                        </a:lnTo>
                        <a:lnTo>
                          <a:pt x="13" y="191"/>
                        </a:lnTo>
                        <a:lnTo>
                          <a:pt x="18" y="191"/>
                        </a:lnTo>
                        <a:lnTo>
                          <a:pt x="23" y="190"/>
                        </a:lnTo>
                        <a:lnTo>
                          <a:pt x="29" y="188"/>
                        </a:lnTo>
                        <a:lnTo>
                          <a:pt x="34" y="186"/>
                        </a:lnTo>
                        <a:lnTo>
                          <a:pt x="35" y="185"/>
                        </a:lnTo>
                        <a:lnTo>
                          <a:pt x="37" y="183"/>
                        </a:lnTo>
                        <a:lnTo>
                          <a:pt x="40" y="179"/>
                        </a:lnTo>
                        <a:lnTo>
                          <a:pt x="42" y="177"/>
                        </a:lnTo>
                        <a:lnTo>
                          <a:pt x="43" y="174"/>
                        </a:lnTo>
                        <a:lnTo>
                          <a:pt x="45" y="172"/>
                        </a:lnTo>
                        <a:lnTo>
                          <a:pt x="46" y="171"/>
                        </a:lnTo>
                        <a:lnTo>
                          <a:pt x="48" y="169"/>
                        </a:lnTo>
                        <a:lnTo>
                          <a:pt x="51" y="169"/>
                        </a:lnTo>
                        <a:lnTo>
                          <a:pt x="56" y="167"/>
                        </a:lnTo>
                        <a:lnTo>
                          <a:pt x="65" y="166"/>
                        </a:lnTo>
                        <a:lnTo>
                          <a:pt x="72" y="164"/>
                        </a:lnTo>
                        <a:lnTo>
                          <a:pt x="77" y="163"/>
                        </a:lnTo>
                        <a:lnTo>
                          <a:pt x="84" y="163"/>
                        </a:lnTo>
                        <a:lnTo>
                          <a:pt x="86" y="161"/>
                        </a:lnTo>
                        <a:lnTo>
                          <a:pt x="89" y="161"/>
                        </a:lnTo>
                        <a:lnTo>
                          <a:pt x="88" y="158"/>
                        </a:lnTo>
                        <a:lnTo>
                          <a:pt x="86" y="153"/>
                        </a:lnTo>
                        <a:lnTo>
                          <a:pt x="83" y="150"/>
                        </a:lnTo>
                        <a:lnTo>
                          <a:pt x="81" y="147"/>
                        </a:lnTo>
                        <a:lnTo>
                          <a:pt x="81" y="144"/>
                        </a:lnTo>
                        <a:lnTo>
                          <a:pt x="81" y="140"/>
                        </a:lnTo>
                        <a:lnTo>
                          <a:pt x="81" y="139"/>
                        </a:lnTo>
                        <a:lnTo>
                          <a:pt x="83" y="136"/>
                        </a:lnTo>
                        <a:lnTo>
                          <a:pt x="84" y="134"/>
                        </a:lnTo>
                        <a:lnTo>
                          <a:pt x="84" y="131"/>
                        </a:lnTo>
                        <a:lnTo>
                          <a:pt x="84" y="129"/>
                        </a:lnTo>
                        <a:lnTo>
                          <a:pt x="83" y="128"/>
                        </a:lnTo>
                        <a:lnTo>
                          <a:pt x="81" y="126"/>
                        </a:lnTo>
                        <a:lnTo>
                          <a:pt x="80" y="125"/>
                        </a:lnTo>
                        <a:lnTo>
                          <a:pt x="78" y="123"/>
                        </a:lnTo>
                        <a:lnTo>
                          <a:pt x="75" y="121"/>
                        </a:lnTo>
                        <a:lnTo>
                          <a:pt x="72" y="120"/>
                        </a:lnTo>
                        <a:lnTo>
                          <a:pt x="70" y="118"/>
                        </a:lnTo>
                        <a:lnTo>
                          <a:pt x="69" y="117"/>
                        </a:lnTo>
                        <a:lnTo>
                          <a:pt x="67" y="114"/>
                        </a:lnTo>
                        <a:lnTo>
                          <a:pt x="65" y="112"/>
                        </a:lnTo>
                        <a:lnTo>
                          <a:pt x="65" y="109"/>
                        </a:lnTo>
                        <a:lnTo>
                          <a:pt x="65" y="104"/>
                        </a:lnTo>
                        <a:lnTo>
                          <a:pt x="64" y="99"/>
                        </a:lnTo>
                        <a:lnTo>
                          <a:pt x="65" y="95"/>
                        </a:lnTo>
                        <a:lnTo>
                          <a:pt x="65" y="91"/>
                        </a:lnTo>
                        <a:lnTo>
                          <a:pt x="64" y="87"/>
                        </a:lnTo>
                        <a:lnTo>
                          <a:pt x="64" y="83"/>
                        </a:lnTo>
                        <a:lnTo>
                          <a:pt x="64" y="77"/>
                        </a:lnTo>
                        <a:lnTo>
                          <a:pt x="62" y="74"/>
                        </a:lnTo>
                        <a:lnTo>
                          <a:pt x="62" y="71"/>
                        </a:lnTo>
                        <a:lnTo>
                          <a:pt x="61" y="69"/>
                        </a:lnTo>
                        <a:lnTo>
                          <a:pt x="61" y="68"/>
                        </a:lnTo>
                        <a:lnTo>
                          <a:pt x="61" y="66"/>
                        </a:lnTo>
                        <a:lnTo>
                          <a:pt x="64" y="64"/>
                        </a:lnTo>
                        <a:lnTo>
                          <a:pt x="69" y="63"/>
                        </a:lnTo>
                        <a:lnTo>
                          <a:pt x="73" y="60"/>
                        </a:lnTo>
                        <a:lnTo>
                          <a:pt x="77" y="58"/>
                        </a:lnTo>
                        <a:lnTo>
                          <a:pt x="81" y="57"/>
                        </a:lnTo>
                        <a:lnTo>
                          <a:pt x="86" y="52"/>
                        </a:lnTo>
                        <a:lnTo>
                          <a:pt x="91" y="50"/>
                        </a:lnTo>
                        <a:lnTo>
                          <a:pt x="94" y="49"/>
                        </a:lnTo>
                        <a:lnTo>
                          <a:pt x="97" y="47"/>
                        </a:lnTo>
                        <a:lnTo>
                          <a:pt x="102" y="47"/>
                        </a:lnTo>
                        <a:lnTo>
                          <a:pt x="103" y="47"/>
                        </a:lnTo>
                        <a:lnTo>
                          <a:pt x="105" y="47"/>
                        </a:lnTo>
                        <a:lnTo>
                          <a:pt x="107" y="49"/>
                        </a:lnTo>
                        <a:lnTo>
                          <a:pt x="108" y="47"/>
                        </a:lnTo>
                        <a:lnTo>
                          <a:pt x="110" y="47"/>
                        </a:lnTo>
                        <a:lnTo>
                          <a:pt x="113" y="47"/>
                        </a:lnTo>
                        <a:lnTo>
                          <a:pt x="116" y="47"/>
                        </a:lnTo>
                        <a:lnTo>
                          <a:pt x="119" y="47"/>
                        </a:lnTo>
                        <a:lnTo>
                          <a:pt x="121" y="47"/>
                        </a:lnTo>
                        <a:lnTo>
                          <a:pt x="122" y="45"/>
                        </a:lnTo>
                        <a:lnTo>
                          <a:pt x="126" y="45"/>
                        </a:lnTo>
                        <a:lnTo>
                          <a:pt x="126" y="44"/>
                        </a:lnTo>
                        <a:lnTo>
                          <a:pt x="127" y="41"/>
                        </a:lnTo>
                        <a:lnTo>
                          <a:pt x="129" y="36"/>
                        </a:lnTo>
                        <a:lnTo>
                          <a:pt x="130" y="33"/>
                        </a:lnTo>
                        <a:lnTo>
                          <a:pt x="132" y="30"/>
                        </a:lnTo>
                        <a:lnTo>
                          <a:pt x="132" y="26"/>
                        </a:lnTo>
                        <a:lnTo>
                          <a:pt x="134" y="23"/>
                        </a:lnTo>
                        <a:lnTo>
                          <a:pt x="134" y="22"/>
                        </a:lnTo>
                        <a:lnTo>
                          <a:pt x="134" y="19"/>
                        </a:lnTo>
                        <a:lnTo>
                          <a:pt x="134" y="15"/>
                        </a:lnTo>
                        <a:lnTo>
                          <a:pt x="135" y="11"/>
                        </a:lnTo>
                        <a:lnTo>
                          <a:pt x="135" y="9"/>
                        </a:lnTo>
                        <a:lnTo>
                          <a:pt x="137" y="7"/>
                        </a:lnTo>
                        <a:lnTo>
                          <a:pt x="137" y="6"/>
                        </a:lnTo>
                        <a:lnTo>
                          <a:pt x="137" y="3"/>
                        </a:lnTo>
                        <a:lnTo>
                          <a:pt x="137" y="1"/>
                        </a:lnTo>
                        <a:lnTo>
                          <a:pt x="138" y="0"/>
                        </a:lnTo>
                        <a:lnTo>
                          <a:pt x="140" y="0"/>
                        </a:lnTo>
                        <a:lnTo>
                          <a:pt x="141" y="0"/>
                        </a:lnTo>
                        <a:lnTo>
                          <a:pt x="143" y="1"/>
                        </a:lnTo>
                        <a:lnTo>
                          <a:pt x="145" y="1"/>
                        </a:lnTo>
                        <a:lnTo>
                          <a:pt x="149" y="3"/>
                        </a:lnTo>
                        <a:lnTo>
                          <a:pt x="149" y="4"/>
                        </a:lnTo>
                        <a:lnTo>
                          <a:pt x="151" y="6"/>
                        </a:lnTo>
                        <a:lnTo>
                          <a:pt x="151" y="7"/>
                        </a:lnTo>
                        <a:lnTo>
                          <a:pt x="153" y="9"/>
                        </a:lnTo>
                        <a:lnTo>
                          <a:pt x="154" y="11"/>
                        </a:lnTo>
                        <a:lnTo>
                          <a:pt x="157" y="14"/>
                        </a:lnTo>
                        <a:lnTo>
                          <a:pt x="159" y="17"/>
                        </a:lnTo>
                        <a:lnTo>
                          <a:pt x="160" y="23"/>
                        </a:lnTo>
                        <a:lnTo>
                          <a:pt x="160" y="28"/>
                        </a:lnTo>
                        <a:lnTo>
                          <a:pt x="162" y="33"/>
                        </a:lnTo>
                        <a:lnTo>
                          <a:pt x="164" y="36"/>
                        </a:lnTo>
                        <a:lnTo>
                          <a:pt x="164" y="38"/>
                        </a:lnTo>
                        <a:lnTo>
                          <a:pt x="164" y="39"/>
                        </a:lnTo>
                        <a:lnTo>
                          <a:pt x="162" y="44"/>
                        </a:lnTo>
                        <a:close/>
                      </a:path>
                    </a:pathLst>
                  </a:custGeom>
                  <a:solidFill>
                    <a:srgbClr val="E1E1E1"/>
                  </a:solid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57" name="Freeform 56"/>
                  <p:cNvSpPr>
                    <a:spLocks/>
                  </p:cNvSpPr>
                  <p:nvPr/>
                </p:nvSpPr>
                <p:spPr bwMode="auto">
                  <a:xfrm>
                    <a:off x="4795" y="1563"/>
                    <a:ext cx="1724" cy="1630"/>
                  </a:xfrm>
                  <a:custGeom>
                    <a:avLst/>
                    <a:gdLst>
                      <a:gd name="T0" fmla="*/ 350 w 1724"/>
                      <a:gd name="T1" fmla="*/ 147 h 1630"/>
                      <a:gd name="T2" fmla="*/ 515 w 1724"/>
                      <a:gd name="T3" fmla="*/ 277 h 1630"/>
                      <a:gd name="T4" fmla="*/ 567 w 1724"/>
                      <a:gd name="T5" fmla="*/ 328 h 1630"/>
                      <a:gd name="T6" fmla="*/ 607 w 1724"/>
                      <a:gd name="T7" fmla="*/ 374 h 1630"/>
                      <a:gd name="T8" fmla="*/ 644 w 1724"/>
                      <a:gd name="T9" fmla="*/ 367 h 1630"/>
                      <a:gd name="T10" fmla="*/ 677 w 1724"/>
                      <a:gd name="T11" fmla="*/ 367 h 1630"/>
                      <a:gd name="T12" fmla="*/ 720 w 1724"/>
                      <a:gd name="T13" fmla="*/ 352 h 1630"/>
                      <a:gd name="T14" fmla="*/ 745 w 1724"/>
                      <a:gd name="T15" fmla="*/ 353 h 1630"/>
                      <a:gd name="T16" fmla="*/ 772 w 1724"/>
                      <a:gd name="T17" fmla="*/ 331 h 1630"/>
                      <a:gd name="T18" fmla="*/ 811 w 1724"/>
                      <a:gd name="T19" fmla="*/ 307 h 1630"/>
                      <a:gd name="T20" fmla="*/ 965 w 1724"/>
                      <a:gd name="T21" fmla="*/ 382 h 1630"/>
                      <a:gd name="T22" fmla="*/ 1325 w 1724"/>
                      <a:gd name="T23" fmla="*/ 588 h 1630"/>
                      <a:gd name="T24" fmla="*/ 1545 w 1724"/>
                      <a:gd name="T25" fmla="*/ 537 h 1630"/>
                      <a:gd name="T26" fmla="*/ 1635 w 1724"/>
                      <a:gd name="T27" fmla="*/ 710 h 1630"/>
                      <a:gd name="T28" fmla="*/ 1529 w 1724"/>
                      <a:gd name="T29" fmla="*/ 729 h 1630"/>
                      <a:gd name="T30" fmla="*/ 1702 w 1724"/>
                      <a:gd name="T31" fmla="*/ 1007 h 1630"/>
                      <a:gd name="T32" fmla="*/ 1700 w 1724"/>
                      <a:gd name="T33" fmla="*/ 1093 h 1630"/>
                      <a:gd name="T34" fmla="*/ 1596 w 1724"/>
                      <a:gd name="T35" fmla="*/ 1218 h 1630"/>
                      <a:gd name="T36" fmla="*/ 1380 w 1724"/>
                      <a:gd name="T37" fmla="*/ 1316 h 1630"/>
                      <a:gd name="T38" fmla="*/ 1299 w 1724"/>
                      <a:gd name="T39" fmla="*/ 1323 h 1630"/>
                      <a:gd name="T40" fmla="*/ 1212 w 1724"/>
                      <a:gd name="T41" fmla="*/ 1323 h 1630"/>
                      <a:gd name="T42" fmla="*/ 1125 w 1724"/>
                      <a:gd name="T43" fmla="*/ 1297 h 1630"/>
                      <a:gd name="T44" fmla="*/ 1068 w 1724"/>
                      <a:gd name="T45" fmla="*/ 1364 h 1630"/>
                      <a:gd name="T46" fmla="*/ 1027 w 1724"/>
                      <a:gd name="T47" fmla="*/ 1392 h 1630"/>
                      <a:gd name="T48" fmla="*/ 1000 w 1724"/>
                      <a:gd name="T49" fmla="*/ 1430 h 1630"/>
                      <a:gd name="T50" fmla="*/ 952 w 1724"/>
                      <a:gd name="T51" fmla="*/ 1465 h 1630"/>
                      <a:gd name="T52" fmla="*/ 906 w 1724"/>
                      <a:gd name="T53" fmla="*/ 1514 h 1630"/>
                      <a:gd name="T54" fmla="*/ 876 w 1724"/>
                      <a:gd name="T55" fmla="*/ 1555 h 1630"/>
                      <a:gd name="T56" fmla="*/ 789 w 1724"/>
                      <a:gd name="T57" fmla="*/ 1590 h 1630"/>
                      <a:gd name="T58" fmla="*/ 545 w 1724"/>
                      <a:gd name="T59" fmla="*/ 1598 h 1630"/>
                      <a:gd name="T60" fmla="*/ 539 w 1724"/>
                      <a:gd name="T61" fmla="*/ 1524 h 1630"/>
                      <a:gd name="T62" fmla="*/ 579 w 1724"/>
                      <a:gd name="T63" fmla="*/ 1478 h 1630"/>
                      <a:gd name="T64" fmla="*/ 585 w 1724"/>
                      <a:gd name="T65" fmla="*/ 1424 h 1630"/>
                      <a:gd name="T66" fmla="*/ 575 w 1724"/>
                      <a:gd name="T67" fmla="*/ 1375 h 1630"/>
                      <a:gd name="T68" fmla="*/ 577 w 1724"/>
                      <a:gd name="T69" fmla="*/ 1292 h 1630"/>
                      <a:gd name="T70" fmla="*/ 560 w 1724"/>
                      <a:gd name="T71" fmla="*/ 1196 h 1630"/>
                      <a:gd name="T72" fmla="*/ 523 w 1724"/>
                      <a:gd name="T73" fmla="*/ 1170 h 1630"/>
                      <a:gd name="T74" fmla="*/ 374 w 1724"/>
                      <a:gd name="T75" fmla="*/ 1115 h 1630"/>
                      <a:gd name="T76" fmla="*/ 319 w 1724"/>
                      <a:gd name="T77" fmla="*/ 1102 h 1630"/>
                      <a:gd name="T78" fmla="*/ 247 w 1724"/>
                      <a:gd name="T79" fmla="*/ 1101 h 1630"/>
                      <a:gd name="T80" fmla="*/ 181 w 1724"/>
                      <a:gd name="T81" fmla="*/ 1045 h 1630"/>
                      <a:gd name="T82" fmla="*/ 156 w 1724"/>
                      <a:gd name="T83" fmla="*/ 993 h 1630"/>
                      <a:gd name="T84" fmla="*/ 165 w 1724"/>
                      <a:gd name="T85" fmla="*/ 928 h 1630"/>
                      <a:gd name="T86" fmla="*/ 206 w 1724"/>
                      <a:gd name="T87" fmla="*/ 917 h 1630"/>
                      <a:gd name="T88" fmla="*/ 233 w 1724"/>
                      <a:gd name="T89" fmla="*/ 889 h 1630"/>
                      <a:gd name="T90" fmla="*/ 183 w 1724"/>
                      <a:gd name="T91" fmla="*/ 825 h 1630"/>
                      <a:gd name="T92" fmla="*/ 114 w 1724"/>
                      <a:gd name="T93" fmla="*/ 790 h 1630"/>
                      <a:gd name="T94" fmla="*/ 132 w 1724"/>
                      <a:gd name="T95" fmla="*/ 752 h 1630"/>
                      <a:gd name="T96" fmla="*/ 148 w 1724"/>
                      <a:gd name="T97" fmla="*/ 722 h 1630"/>
                      <a:gd name="T98" fmla="*/ 80 w 1724"/>
                      <a:gd name="T99" fmla="*/ 692 h 1630"/>
                      <a:gd name="T100" fmla="*/ 88 w 1724"/>
                      <a:gd name="T101" fmla="*/ 646 h 1630"/>
                      <a:gd name="T102" fmla="*/ 102 w 1724"/>
                      <a:gd name="T103" fmla="*/ 583 h 1630"/>
                      <a:gd name="T104" fmla="*/ 83 w 1724"/>
                      <a:gd name="T105" fmla="*/ 510 h 1630"/>
                      <a:gd name="T106" fmla="*/ 100 w 1724"/>
                      <a:gd name="T107" fmla="*/ 466 h 1630"/>
                      <a:gd name="T108" fmla="*/ 45 w 1724"/>
                      <a:gd name="T109" fmla="*/ 437 h 1630"/>
                      <a:gd name="T110" fmla="*/ 24 w 1724"/>
                      <a:gd name="T111" fmla="*/ 377 h 1630"/>
                      <a:gd name="T112" fmla="*/ 32 w 1724"/>
                      <a:gd name="T113" fmla="*/ 266 h 1630"/>
                      <a:gd name="T114" fmla="*/ 43 w 1724"/>
                      <a:gd name="T115" fmla="*/ 176 h 1630"/>
                      <a:gd name="T116" fmla="*/ 70 w 1724"/>
                      <a:gd name="T117" fmla="*/ 119 h 1630"/>
                      <a:gd name="T118" fmla="*/ 95 w 1724"/>
                      <a:gd name="T119" fmla="*/ 65 h 1630"/>
                      <a:gd name="T120" fmla="*/ 133 w 1724"/>
                      <a:gd name="T121" fmla="*/ 1 h 1630"/>
                      <a:gd name="T122" fmla="*/ 236 w 1724"/>
                      <a:gd name="T123" fmla="*/ 11 h 1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4" h="1630">
                        <a:moveTo>
                          <a:pt x="284" y="20"/>
                        </a:moveTo>
                        <a:lnTo>
                          <a:pt x="282" y="25"/>
                        </a:lnTo>
                        <a:lnTo>
                          <a:pt x="282" y="28"/>
                        </a:lnTo>
                        <a:lnTo>
                          <a:pt x="281" y="33"/>
                        </a:lnTo>
                        <a:lnTo>
                          <a:pt x="279" y="35"/>
                        </a:lnTo>
                        <a:lnTo>
                          <a:pt x="278" y="36"/>
                        </a:lnTo>
                        <a:lnTo>
                          <a:pt x="278" y="38"/>
                        </a:lnTo>
                        <a:lnTo>
                          <a:pt x="278" y="39"/>
                        </a:lnTo>
                        <a:lnTo>
                          <a:pt x="278" y="41"/>
                        </a:lnTo>
                        <a:lnTo>
                          <a:pt x="278" y="43"/>
                        </a:lnTo>
                        <a:lnTo>
                          <a:pt x="278" y="44"/>
                        </a:lnTo>
                        <a:lnTo>
                          <a:pt x="279" y="46"/>
                        </a:lnTo>
                        <a:lnTo>
                          <a:pt x="279" y="47"/>
                        </a:lnTo>
                        <a:lnTo>
                          <a:pt x="279" y="49"/>
                        </a:lnTo>
                        <a:lnTo>
                          <a:pt x="281" y="52"/>
                        </a:lnTo>
                        <a:lnTo>
                          <a:pt x="281" y="54"/>
                        </a:lnTo>
                        <a:lnTo>
                          <a:pt x="282" y="55"/>
                        </a:lnTo>
                        <a:lnTo>
                          <a:pt x="282" y="57"/>
                        </a:lnTo>
                        <a:lnTo>
                          <a:pt x="284" y="57"/>
                        </a:lnTo>
                        <a:lnTo>
                          <a:pt x="289" y="57"/>
                        </a:lnTo>
                        <a:lnTo>
                          <a:pt x="292" y="57"/>
                        </a:lnTo>
                        <a:lnTo>
                          <a:pt x="297" y="55"/>
                        </a:lnTo>
                        <a:lnTo>
                          <a:pt x="301" y="54"/>
                        </a:lnTo>
                        <a:lnTo>
                          <a:pt x="306" y="52"/>
                        </a:lnTo>
                        <a:lnTo>
                          <a:pt x="308" y="58"/>
                        </a:lnTo>
                        <a:lnTo>
                          <a:pt x="311" y="70"/>
                        </a:lnTo>
                        <a:lnTo>
                          <a:pt x="314" y="77"/>
                        </a:lnTo>
                        <a:lnTo>
                          <a:pt x="317" y="87"/>
                        </a:lnTo>
                        <a:lnTo>
                          <a:pt x="322" y="98"/>
                        </a:lnTo>
                        <a:lnTo>
                          <a:pt x="325" y="106"/>
                        </a:lnTo>
                        <a:lnTo>
                          <a:pt x="328" y="112"/>
                        </a:lnTo>
                        <a:lnTo>
                          <a:pt x="333" y="122"/>
                        </a:lnTo>
                        <a:lnTo>
                          <a:pt x="339" y="130"/>
                        </a:lnTo>
                        <a:lnTo>
                          <a:pt x="349" y="144"/>
                        </a:lnTo>
                        <a:lnTo>
                          <a:pt x="350" y="147"/>
                        </a:lnTo>
                        <a:lnTo>
                          <a:pt x="352" y="149"/>
                        </a:lnTo>
                        <a:lnTo>
                          <a:pt x="358" y="154"/>
                        </a:lnTo>
                        <a:lnTo>
                          <a:pt x="373" y="163"/>
                        </a:lnTo>
                        <a:lnTo>
                          <a:pt x="381" y="168"/>
                        </a:lnTo>
                        <a:lnTo>
                          <a:pt x="382" y="169"/>
                        </a:lnTo>
                        <a:lnTo>
                          <a:pt x="384" y="169"/>
                        </a:lnTo>
                        <a:lnTo>
                          <a:pt x="384" y="171"/>
                        </a:lnTo>
                        <a:lnTo>
                          <a:pt x="384" y="173"/>
                        </a:lnTo>
                        <a:lnTo>
                          <a:pt x="384" y="176"/>
                        </a:lnTo>
                        <a:lnTo>
                          <a:pt x="384" y="177"/>
                        </a:lnTo>
                        <a:lnTo>
                          <a:pt x="384" y="179"/>
                        </a:lnTo>
                        <a:lnTo>
                          <a:pt x="385" y="179"/>
                        </a:lnTo>
                        <a:lnTo>
                          <a:pt x="387" y="179"/>
                        </a:lnTo>
                        <a:lnTo>
                          <a:pt x="388" y="180"/>
                        </a:lnTo>
                        <a:lnTo>
                          <a:pt x="390" y="180"/>
                        </a:lnTo>
                        <a:lnTo>
                          <a:pt x="392" y="182"/>
                        </a:lnTo>
                        <a:lnTo>
                          <a:pt x="393" y="185"/>
                        </a:lnTo>
                        <a:lnTo>
                          <a:pt x="393" y="187"/>
                        </a:lnTo>
                        <a:lnTo>
                          <a:pt x="395" y="188"/>
                        </a:lnTo>
                        <a:lnTo>
                          <a:pt x="395" y="190"/>
                        </a:lnTo>
                        <a:lnTo>
                          <a:pt x="393" y="192"/>
                        </a:lnTo>
                        <a:lnTo>
                          <a:pt x="392" y="193"/>
                        </a:lnTo>
                        <a:lnTo>
                          <a:pt x="393" y="195"/>
                        </a:lnTo>
                        <a:lnTo>
                          <a:pt x="404" y="215"/>
                        </a:lnTo>
                        <a:lnTo>
                          <a:pt x="419" y="215"/>
                        </a:lnTo>
                        <a:lnTo>
                          <a:pt x="447" y="226"/>
                        </a:lnTo>
                        <a:lnTo>
                          <a:pt x="460" y="231"/>
                        </a:lnTo>
                        <a:lnTo>
                          <a:pt x="487" y="241"/>
                        </a:lnTo>
                        <a:lnTo>
                          <a:pt x="503" y="247"/>
                        </a:lnTo>
                        <a:lnTo>
                          <a:pt x="504" y="247"/>
                        </a:lnTo>
                        <a:lnTo>
                          <a:pt x="504" y="249"/>
                        </a:lnTo>
                        <a:lnTo>
                          <a:pt x="506" y="250"/>
                        </a:lnTo>
                        <a:lnTo>
                          <a:pt x="509" y="261"/>
                        </a:lnTo>
                        <a:lnTo>
                          <a:pt x="512" y="275"/>
                        </a:lnTo>
                        <a:lnTo>
                          <a:pt x="515" y="277"/>
                        </a:lnTo>
                        <a:lnTo>
                          <a:pt x="518" y="277"/>
                        </a:lnTo>
                        <a:lnTo>
                          <a:pt x="520" y="277"/>
                        </a:lnTo>
                        <a:lnTo>
                          <a:pt x="526" y="279"/>
                        </a:lnTo>
                        <a:lnTo>
                          <a:pt x="529" y="279"/>
                        </a:lnTo>
                        <a:lnTo>
                          <a:pt x="534" y="280"/>
                        </a:lnTo>
                        <a:lnTo>
                          <a:pt x="537" y="282"/>
                        </a:lnTo>
                        <a:lnTo>
                          <a:pt x="539" y="282"/>
                        </a:lnTo>
                        <a:lnTo>
                          <a:pt x="541" y="283"/>
                        </a:lnTo>
                        <a:lnTo>
                          <a:pt x="542" y="285"/>
                        </a:lnTo>
                        <a:lnTo>
                          <a:pt x="542" y="288"/>
                        </a:lnTo>
                        <a:lnTo>
                          <a:pt x="544" y="290"/>
                        </a:lnTo>
                        <a:lnTo>
                          <a:pt x="545" y="291"/>
                        </a:lnTo>
                        <a:lnTo>
                          <a:pt x="544" y="293"/>
                        </a:lnTo>
                        <a:lnTo>
                          <a:pt x="544" y="294"/>
                        </a:lnTo>
                        <a:lnTo>
                          <a:pt x="542" y="296"/>
                        </a:lnTo>
                        <a:lnTo>
                          <a:pt x="544" y="298"/>
                        </a:lnTo>
                        <a:lnTo>
                          <a:pt x="544" y="299"/>
                        </a:lnTo>
                        <a:lnTo>
                          <a:pt x="544" y="302"/>
                        </a:lnTo>
                        <a:lnTo>
                          <a:pt x="545" y="307"/>
                        </a:lnTo>
                        <a:lnTo>
                          <a:pt x="547" y="310"/>
                        </a:lnTo>
                        <a:lnTo>
                          <a:pt x="548" y="312"/>
                        </a:lnTo>
                        <a:lnTo>
                          <a:pt x="550" y="313"/>
                        </a:lnTo>
                        <a:lnTo>
                          <a:pt x="552" y="315"/>
                        </a:lnTo>
                        <a:lnTo>
                          <a:pt x="553" y="320"/>
                        </a:lnTo>
                        <a:lnTo>
                          <a:pt x="555" y="321"/>
                        </a:lnTo>
                        <a:lnTo>
                          <a:pt x="556" y="321"/>
                        </a:lnTo>
                        <a:lnTo>
                          <a:pt x="556" y="323"/>
                        </a:lnTo>
                        <a:lnTo>
                          <a:pt x="558" y="323"/>
                        </a:lnTo>
                        <a:lnTo>
                          <a:pt x="560" y="323"/>
                        </a:lnTo>
                        <a:lnTo>
                          <a:pt x="561" y="325"/>
                        </a:lnTo>
                        <a:lnTo>
                          <a:pt x="563" y="326"/>
                        </a:lnTo>
                        <a:lnTo>
                          <a:pt x="564" y="326"/>
                        </a:lnTo>
                        <a:lnTo>
                          <a:pt x="566" y="326"/>
                        </a:lnTo>
                        <a:lnTo>
                          <a:pt x="567" y="326"/>
                        </a:lnTo>
                        <a:lnTo>
                          <a:pt x="567" y="328"/>
                        </a:lnTo>
                        <a:lnTo>
                          <a:pt x="569" y="328"/>
                        </a:lnTo>
                        <a:lnTo>
                          <a:pt x="571" y="329"/>
                        </a:lnTo>
                        <a:lnTo>
                          <a:pt x="572" y="329"/>
                        </a:lnTo>
                        <a:lnTo>
                          <a:pt x="574" y="331"/>
                        </a:lnTo>
                        <a:lnTo>
                          <a:pt x="577" y="331"/>
                        </a:lnTo>
                        <a:lnTo>
                          <a:pt x="579" y="333"/>
                        </a:lnTo>
                        <a:lnTo>
                          <a:pt x="580" y="333"/>
                        </a:lnTo>
                        <a:lnTo>
                          <a:pt x="582" y="334"/>
                        </a:lnTo>
                        <a:lnTo>
                          <a:pt x="583" y="334"/>
                        </a:lnTo>
                        <a:lnTo>
                          <a:pt x="585" y="334"/>
                        </a:lnTo>
                        <a:lnTo>
                          <a:pt x="586" y="336"/>
                        </a:lnTo>
                        <a:lnTo>
                          <a:pt x="588" y="336"/>
                        </a:lnTo>
                        <a:lnTo>
                          <a:pt x="590" y="336"/>
                        </a:lnTo>
                        <a:lnTo>
                          <a:pt x="590" y="337"/>
                        </a:lnTo>
                        <a:lnTo>
                          <a:pt x="591" y="337"/>
                        </a:lnTo>
                        <a:lnTo>
                          <a:pt x="593" y="337"/>
                        </a:lnTo>
                        <a:lnTo>
                          <a:pt x="593" y="339"/>
                        </a:lnTo>
                        <a:lnTo>
                          <a:pt x="593" y="342"/>
                        </a:lnTo>
                        <a:lnTo>
                          <a:pt x="594" y="344"/>
                        </a:lnTo>
                        <a:lnTo>
                          <a:pt x="594" y="345"/>
                        </a:lnTo>
                        <a:lnTo>
                          <a:pt x="594" y="347"/>
                        </a:lnTo>
                        <a:lnTo>
                          <a:pt x="594" y="348"/>
                        </a:lnTo>
                        <a:lnTo>
                          <a:pt x="594" y="353"/>
                        </a:lnTo>
                        <a:lnTo>
                          <a:pt x="594" y="355"/>
                        </a:lnTo>
                        <a:lnTo>
                          <a:pt x="594" y="358"/>
                        </a:lnTo>
                        <a:lnTo>
                          <a:pt x="596" y="359"/>
                        </a:lnTo>
                        <a:lnTo>
                          <a:pt x="596" y="361"/>
                        </a:lnTo>
                        <a:lnTo>
                          <a:pt x="598" y="363"/>
                        </a:lnTo>
                        <a:lnTo>
                          <a:pt x="598" y="364"/>
                        </a:lnTo>
                        <a:lnTo>
                          <a:pt x="599" y="367"/>
                        </a:lnTo>
                        <a:lnTo>
                          <a:pt x="602" y="371"/>
                        </a:lnTo>
                        <a:lnTo>
                          <a:pt x="604" y="371"/>
                        </a:lnTo>
                        <a:lnTo>
                          <a:pt x="605" y="371"/>
                        </a:lnTo>
                        <a:lnTo>
                          <a:pt x="605" y="372"/>
                        </a:lnTo>
                        <a:lnTo>
                          <a:pt x="607" y="374"/>
                        </a:lnTo>
                        <a:lnTo>
                          <a:pt x="609" y="374"/>
                        </a:lnTo>
                        <a:lnTo>
                          <a:pt x="610" y="372"/>
                        </a:lnTo>
                        <a:lnTo>
                          <a:pt x="612" y="371"/>
                        </a:lnTo>
                        <a:lnTo>
                          <a:pt x="613" y="369"/>
                        </a:lnTo>
                        <a:lnTo>
                          <a:pt x="615" y="367"/>
                        </a:lnTo>
                        <a:lnTo>
                          <a:pt x="615" y="366"/>
                        </a:lnTo>
                        <a:lnTo>
                          <a:pt x="615" y="364"/>
                        </a:lnTo>
                        <a:lnTo>
                          <a:pt x="617" y="364"/>
                        </a:lnTo>
                        <a:lnTo>
                          <a:pt x="618" y="364"/>
                        </a:lnTo>
                        <a:lnTo>
                          <a:pt x="618" y="363"/>
                        </a:lnTo>
                        <a:lnTo>
                          <a:pt x="618" y="361"/>
                        </a:lnTo>
                        <a:lnTo>
                          <a:pt x="618" y="359"/>
                        </a:lnTo>
                        <a:lnTo>
                          <a:pt x="620" y="359"/>
                        </a:lnTo>
                        <a:lnTo>
                          <a:pt x="621" y="359"/>
                        </a:lnTo>
                        <a:lnTo>
                          <a:pt x="623" y="358"/>
                        </a:lnTo>
                        <a:lnTo>
                          <a:pt x="624" y="358"/>
                        </a:lnTo>
                        <a:lnTo>
                          <a:pt x="628" y="358"/>
                        </a:lnTo>
                        <a:lnTo>
                          <a:pt x="629" y="359"/>
                        </a:lnTo>
                        <a:lnTo>
                          <a:pt x="631" y="358"/>
                        </a:lnTo>
                        <a:lnTo>
                          <a:pt x="632" y="356"/>
                        </a:lnTo>
                        <a:lnTo>
                          <a:pt x="631" y="355"/>
                        </a:lnTo>
                        <a:lnTo>
                          <a:pt x="631" y="353"/>
                        </a:lnTo>
                        <a:lnTo>
                          <a:pt x="632" y="352"/>
                        </a:lnTo>
                        <a:lnTo>
                          <a:pt x="636" y="352"/>
                        </a:lnTo>
                        <a:lnTo>
                          <a:pt x="636" y="353"/>
                        </a:lnTo>
                        <a:lnTo>
                          <a:pt x="637" y="353"/>
                        </a:lnTo>
                        <a:lnTo>
                          <a:pt x="639" y="353"/>
                        </a:lnTo>
                        <a:lnTo>
                          <a:pt x="640" y="355"/>
                        </a:lnTo>
                        <a:lnTo>
                          <a:pt x="640" y="356"/>
                        </a:lnTo>
                        <a:lnTo>
                          <a:pt x="642" y="359"/>
                        </a:lnTo>
                        <a:lnTo>
                          <a:pt x="642" y="361"/>
                        </a:lnTo>
                        <a:lnTo>
                          <a:pt x="644" y="363"/>
                        </a:lnTo>
                        <a:lnTo>
                          <a:pt x="644" y="364"/>
                        </a:lnTo>
                        <a:lnTo>
                          <a:pt x="642" y="366"/>
                        </a:lnTo>
                        <a:lnTo>
                          <a:pt x="644" y="367"/>
                        </a:lnTo>
                        <a:lnTo>
                          <a:pt x="645" y="367"/>
                        </a:lnTo>
                        <a:lnTo>
                          <a:pt x="648" y="367"/>
                        </a:lnTo>
                        <a:lnTo>
                          <a:pt x="650" y="367"/>
                        </a:lnTo>
                        <a:lnTo>
                          <a:pt x="651" y="367"/>
                        </a:lnTo>
                        <a:lnTo>
                          <a:pt x="653" y="367"/>
                        </a:lnTo>
                        <a:lnTo>
                          <a:pt x="655" y="366"/>
                        </a:lnTo>
                        <a:lnTo>
                          <a:pt x="656" y="366"/>
                        </a:lnTo>
                        <a:lnTo>
                          <a:pt x="656" y="364"/>
                        </a:lnTo>
                        <a:lnTo>
                          <a:pt x="656" y="363"/>
                        </a:lnTo>
                        <a:lnTo>
                          <a:pt x="656" y="361"/>
                        </a:lnTo>
                        <a:lnTo>
                          <a:pt x="655" y="359"/>
                        </a:lnTo>
                        <a:lnTo>
                          <a:pt x="656" y="356"/>
                        </a:lnTo>
                        <a:lnTo>
                          <a:pt x="656" y="355"/>
                        </a:lnTo>
                        <a:lnTo>
                          <a:pt x="656" y="353"/>
                        </a:lnTo>
                        <a:lnTo>
                          <a:pt x="658" y="353"/>
                        </a:lnTo>
                        <a:lnTo>
                          <a:pt x="659" y="353"/>
                        </a:lnTo>
                        <a:lnTo>
                          <a:pt x="661" y="353"/>
                        </a:lnTo>
                        <a:lnTo>
                          <a:pt x="663" y="353"/>
                        </a:lnTo>
                        <a:lnTo>
                          <a:pt x="664" y="352"/>
                        </a:lnTo>
                        <a:lnTo>
                          <a:pt x="666" y="352"/>
                        </a:lnTo>
                        <a:lnTo>
                          <a:pt x="666" y="353"/>
                        </a:lnTo>
                        <a:lnTo>
                          <a:pt x="667" y="353"/>
                        </a:lnTo>
                        <a:lnTo>
                          <a:pt x="667" y="355"/>
                        </a:lnTo>
                        <a:lnTo>
                          <a:pt x="666" y="356"/>
                        </a:lnTo>
                        <a:lnTo>
                          <a:pt x="666" y="359"/>
                        </a:lnTo>
                        <a:lnTo>
                          <a:pt x="666" y="361"/>
                        </a:lnTo>
                        <a:lnTo>
                          <a:pt x="666" y="363"/>
                        </a:lnTo>
                        <a:lnTo>
                          <a:pt x="667" y="363"/>
                        </a:lnTo>
                        <a:lnTo>
                          <a:pt x="667" y="364"/>
                        </a:lnTo>
                        <a:lnTo>
                          <a:pt x="669" y="366"/>
                        </a:lnTo>
                        <a:lnTo>
                          <a:pt x="670" y="366"/>
                        </a:lnTo>
                        <a:lnTo>
                          <a:pt x="672" y="366"/>
                        </a:lnTo>
                        <a:lnTo>
                          <a:pt x="674" y="366"/>
                        </a:lnTo>
                        <a:lnTo>
                          <a:pt x="675" y="367"/>
                        </a:lnTo>
                        <a:lnTo>
                          <a:pt x="677" y="367"/>
                        </a:lnTo>
                        <a:lnTo>
                          <a:pt x="678" y="367"/>
                        </a:lnTo>
                        <a:lnTo>
                          <a:pt x="678" y="366"/>
                        </a:lnTo>
                        <a:lnTo>
                          <a:pt x="680" y="366"/>
                        </a:lnTo>
                        <a:lnTo>
                          <a:pt x="682" y="364"/>
                        </a:lnTo>
                        <a:lnTo>
                          <a:pt x="683" y="366"/>
                        </a:lnTo>
                        <a:lnTo>
                          <a:pt x="686" y="364"/>
                        </a:lnTo>
                        <a:lnTo>
                          <a:pt x="688" y="364"/>
                        </a:lnTo>
                        <a:lnTo>
                          <a:pt x="689" y="363"/>
                        </a:lnTo>
                        <a:lnTo>
                          <a:pt x="691" y="361"/>
                        </a:lnTo>
                        <a:lnTo>
                          <a:pt x="693" y="361"/>
                        </a:lnTo>
                        <a:lnTo>
                          <a:pt x="694" y="361"/>
                        </a:lnTo>
                        <a:lnTo>
                          <a:pt x="694" y="359"/>
                        </a:lnTo>
                        <a:lnTo>
                          <a:pt x="696" y="359"/>
                        </a:lnTo>
                        <a:lnTo>
                          <a:pt x="697" y="359"/>
                        </a:lnTo>
                        <a:lnTo>
                          <a:pt x="699" y="361"/>
                        </a:lnTo>
                        <a:lnTo>
                          <a:pt x="701" y="361"/>
                        </a:lnTo>
                        <a:lnTo>
                          <a:pt x="702" y="363"/>
                        </a:lnTo>
                        <a:lnTo>
                          <a:pt x="704" y="363"/>
                        </a:lnTo>
                        <a:lnTo>
                          <a:pt x="705" y="363"/>
                        </a:lnTo>
                        <a:lnTo>
                          <a:pt x="707" y="364"/>
                        </a:lnTo>
                        <a:lnTo>
                          <a:pt x="710" y="366"/>
                        </a:lnTo>
                        <a:lnTo>
                          <a:pt x="712" y="366"/>
                        </a:lnTo>
                        <a:lnTo>
                          <a:pt x="713" y="366"/>
                        </a:lnTo>
                        <a:lnTo>
                          <a:pt x="713" y="367"/>
                        </a:lnTo>
                        <a:lnTo>
                          <a:pt x="715" y="367"/>
                        </a:lnTo>
                        <a:lnTo>
                          <a:pt x="716" y="367"/>
                        </a:lnTo>
                        <a:lnTo>
                          <a:pt x="718" y="367"/>
                        </a:lnTo>
                        <a:lnTo>
                          <a:pt x="718" y="366"/>
                        </a:lnTo>
                        <a:lnTo>
                          <a:pt x="720" y="364"/>
                        </a:lnTo>
                        <a:lnTo>
                          <a:pt x="721" y="363"/>
                        </a:lnTo>
                        <a:lnTo>
                          <a:pt x="721" y="359"/>
                        </a:lnTo>
                        <a:lnTo>
                          <a:pt x="721" y="358"/>
                        </a:lnTo>
                        <a:lnTo>
                          <a:pt x="721" y="355"/>
                        </a:lnTo>
                        <a:lnTo>
                          <a:pt x="720" y="353"/>
                        </a:lnTo>
                        <a:lnTo>
                          <a:pt x="720" y="352"/>
                        </a:lnTo>
                        <a:lnTo>
                          <a:pt x="718" y="350"/>
                        </a:lnTo>
                        <a:lnTo>
                          <a:pt x="716" y="350"/>
                        </a:lnTo>
                        <a:lnTo>
                          <a:pt x="718" y="348"/>
                        </a:lnTo>
                        <a:lnTo>
                          <a:pt x="718" y="347"/>
                        </a:lnTo>
                        <a:lnTo>
                          <a:pt x="718" y="345"/>
                        </a:lnTo>
                        <a:lnTo>
                          <a:pt x="716" y="344"/>
                        </a:lnTo>
                        <a:lnTo>
                          <a:pt x="718" y="342"/>
                        </a:lnTo>
                        <a:lnTo>
                          <a:pt x="718" y="340"/>
                        </a:lnTo>
                        <a:lnTo>
                          <a:pt x="720" y="340"/>
                        </a:lnTo>
                        <a:lnTo>
                          <a:pt x="721" y="340"/>
                        </a:lnTo>
                        <a:lnTo>
                          <a:pt x="723" y="340"/>
                        </a:lnTo>
                        <a:lnTo>
                          <a:pt x="724" y="340"/>
                        </a:lnTo>
                        <a:lnTo>
                          <a:pt x="724" y="339"/>
                        </a:lnTo>
                        <a:lnTo>
                          <a:pt x="726" y="339"/>
                        </a:lnTo>
                        <a:lnTo>
                          <a:pt x="727" y="339"/>
                        </a:lnTo>
                        <a:lnTo>
                          <a:pt x="729" y="339"/>
                        </a:lnTo>
                        <a:lnTo>
                          <a:pt x="729" y="340"/>
                        </a:lnTo>
                        <a:lnTo>
                          <a:pt x="731" y="342"/>
                        </a:lnTo>
                        <a:lnTo>
                          <a:pt x="731" y="344"/>
                        </a:lnTo>
                        <a:lnTo>
                          <a:pt x="732" y="344"/>
                        </a:lnTo>
                        <a:lnTo>
                          <a:pt x="731" y="345"/>
                        </a:lnTo>
                        <a:lnTo>
                          <a:pt x="732" y="347"/>
                        </a:lnTo>
                        <a:lnTo>
                          <a:pt x="732" y="348"/>
                        </a:lnTo>
                        <a:lnTo>
                          <a:pt x="734" y="348"/>
                        </a:lnTo>
                        <a:lnTo>
                          <a:pt x="734" y="350"/>
                        </a:lnTo>
                        <a:lnTo>
                          <a:pt x="735" y="352"/>
                        </a:lnTo>
                        <a:lnTo>
                          <a:pt x="737" y="350"/>
                        </a:lnTo>
                        <a:lnTo>
                          <a:pt x="737" y="352"/>
                        </a:lnTo>
                        <a:lnTo>
                          <a:pt x="737" y="353"/>
                        </a:lnTo>
                        <a:lnTo>
                          <a:pt x="739" y="352"/>
                        </a:lnTo>
                        <a:lnTo>
                          <a:pt x="740" y="353"/>
                        </a:lnTo>
                        <a:lnTo>
                          <a:pt x="742" y="353"/>
                        </a:lnTo>
                        <a:lnTo>
                          <a:pt x="743" y="355"/>
                        </a:lnTo>
                        <a:lnTo>
                          <a:pt x="745" y="355"/>
                        </a:lnTo>
                        <a:lnTo>
                          <a:pt x="745" y="353"/>
                        </a:lnTo>
                        <a:lnTo>
                          <a:pt x="746" y="353"/>
                        </a:lnTo>
                        <a:lnTo>
                          <a:pt x="746" y="352"/>
                        </a:lnTo>
                        <a:lnTo>
                          <a:pt x="748" y="352"/>
                        </a:lnTo>
                        <a:lnTo>
                          <a:pt x="750" y="352"/>
                        </a:lnTo>
                        <a:lnTo>
                          <a:pt x="751" y="352"/>
                        </a:lnTo>
                        <a:lnTo>
                          <a:pt x="751" y="350"/>
                        </a:lnTo>
                        <a:lnTo>
                          <a:pt x="753" y="350"/>
                        </a:lnTo>
                        <a:lnTo>
                          <a:pt x="754" y="350"/>
                        </a:lnTo>
                        <a:lnTo>
                          <a:pt x="756" y="350"/>
                        </a:lnTo>
                        <a:lnTo>
                          <a:pt x="756" y="348"/>
                        </a:lnTo>
                        <a:lnTo>
                          <a:pt x="756" y="347"/>
                        </a:lnTo>
                        <a:lnTo>
                          <a:pt x="758" y="347"/>
                        </a:lnTo>
                        <a:lnTo>
                          <a:pt x="759" y="347"/>
                        </a:lnTo>
                        <a:lnTo>
                          <a:pt x="761" y="347"/>
                        </a:lnTo>
                        <a:lnTo>
                          <a:pt x="761" y="345"/>
                        </a:lnTo>
                        <a:lnTo>
                          <a:pt x="762" y="342"/>
                        </a:lnTo>
                        <a:lnTo>
                          <a:pt x="761" y="340"/>
                        </a:lnTo>
                        <a:lnTo>
                          <a:pt x="759" y="340"/>
                        </a:lnTo>
                        <a:lnTo>
                          <a:pt x="758" y="339"/>
                        </a:lnTo>
                        <a:lnTo>
                          <a:pt x="756" y="337"/>
                        </a:lnTo>
                        <a:lnTo>
                          <a:pt x="756" y="336"/>
                        </a:lnTo>
                        <a:lnTo>
                          <a:pt x="758" y="334"/>
                        </a:lnTo>
                        <a:lnTo>
                          <a:pt x="758" y="333"/>
                        </a:lnTo>
                        <a:lnTo>
                          <a:pt x="759" y="333"/>
                        </a:lnTo>
                        <a:lnTo>
                          <a:pt x="759" y="331"/>
                        </a:lnTo>
                        <a:lnTo>
                          <a:pt x="761" y="329"/>
                        </a:lnTo>
                        <a:lnTo>
                          <a:pt x="762" y="329"/>
                        </a:lnTo>
                        <a:lnTo>
                          <a:pt x="764" y="329"/>
                        </a:lnTo>
                        <a:lnTo>
                          <a:pt x="764" y="328"/>
                        </a:lnTo>
                        <a:lnTo>
                          <a:pt x="765" y="328"/>
                        </a:lnTo>
                        <a:lnTo>
                          <a:pt x="765" y="329"/>
                        </a:lnTo>
                        <a:lnTo>
                          <a:pt x="767" y="329"/>
                        </a:lnTo>
                        <a:lnTo>
                          <a:pt x="769" y="329"/>
                        </a:lnTo>
                        <a:lnTo>
                          <a:pt x="770" y="329"/>
                        </a:lnTo>
                        <a:lnTo>
                          <a:pt x="772" y="331"/>
                        </a:lnTo>
                        <a:lnTo>
                          <a:pt x="772" y="333"/>
                        </a:lnTo>
                        <a:lnTo>
                          <a:pt x="773" y="333"/>
                        </a:lnTo>
                        <a:lnTo>
                          <a:pt x="775" y="334"/>
                        </a:lnTo>
                        <a:lnTo>
                          <a:pt x="777" y="334"/>
                        </a:lnTo>
                        <a:lnTo>
                          <a:pt x="778" y="334"/>
                        </a:lnTo>
                        <a:lnTo>
                          <a:pt x="780" y="334"/>
                        </a:lnTo>
                        <a:lnTo>
                          <a:pt x="781" y="333"/>
                        </a:lnTo>
                        <a:lnTo>
                          <a:pt x="783" y="333"/>
                        </a:lnTo>
                        <a:lnTo>
                          <a:pt x="784" y="331"/>
                        </a:lnTo>
                        <a:lnTo>
                          <a:pt x="786" y="331"/>
                        </a:lnTo>
                        <a:lnTo>
                          <a:pt x="786" y="328"/>
                        </a:lnTo>
                        <a:lnTo>
                          <a:pt x="786" y="326"/>
                        </a:lnTo>
                        <a:lnTo>
                          <a:pt x="786" y="325"/>
                        </a:lnTo>
                        <a:lnTo>
                          <a:pt x="784" y="323"/>
                        </a:lnTo>
                        <a:lnTo>
                          <a:pt x="784" y="321"/>
                        </a:lnTo>
                        <a:lnTo>
                          <a:pt x="786" y="321"/>
                        </a:lnTo>
                        <a:lnTo>
                          <a:pt x="788" y="321"/>
                        </a:lnTo>
                        <a:lnTo>
                          <a:pt x="789" y="323"/>
                        </a:lnTo>
                        <a:lnTo>
                          <a:pt x="791" y="323"/>
                        </a:lnTo>
                        <a:lnTo>
                          <a:pt x="792" y="321"/>
                        </a:lnTo>
                        <a:lnTo>
                          <a:pt x="794" y="321"/>
                        </a:lnTo>
                        <a:lnTo>
                          <a:pt x="796" y="321"/>
                        </a:lnTo>
                        <a:lnTo>
                          <a:pt x="796" y="320"/>
                        </a:lnTo>
                        <a:lnTo>
                          <a:pt x="796" y="318"/>
                        </a:lnTo>
                        <a:lnTo>
                          <a:pt x="796" y="317"/>
                        </a:lnTo>
                        <a:lnTo>
                          <a:pt x="799" y="317"/>
                        </a:lnTo>
                        <a:lnTo>
                          <a:pt x="799" y="315"/>
                        </a:lnTo>
                        <a:lnTo>
                          <a:pt x="800" y="313"/>
                        </a:lnTo>
                        <a:lnTo>
                          <a:pt x="802" y="312"/>
                        </a:lnTo>
                        <a:lnTo>
                          <a:pt x="803" y="312"/>
                        </a:lnTo>
                        <a:lnTo>
                          <a:pt x="805" y="310"/>
                        </a:lnTo>
                        <a:lnTo>
                          <a:pt x="807" y="307"/>
                        </a:lnTo>
                        <a:lnTo>
                          <a:pt x="808" y="307"/>
                        </a:lnTo>
                        <a:lnTo>
                          <a:pt x="810" y="307"/>
                        </a:lnTo>
                        <a:lnTo>
                          <a:pt x="811" y="307"/>
                        </a:lnTo>
                        <a:lnTo>
                          <a:pt x="813" y="306"/>
                        </a:lnTo>
                        <a:lnTo>
                          <a:pt x="813" y="304"/>
                        </a:lnTo>
                        <a:lnTo>
                          <a:pt x="813" y="306"/>
                        </a:lnTo>
                        <a:lnTo>
                          <a:pt x="815" y="306"/>
                        </a:lnTo>
                        <a:lnTo>
                          <a:pt x="816" y="306"/>
                        </a:lnTo>
                        <a:lnTo>
                          <a:pt x="818" y="306"/>
                        </a:lnTo>
                        <a:lnTo>
                          <a:pt x="819" y="306"/>
                        </a:lnTo>
                        <a:lnTo>
                          <a:pt x="823" y="304"/>
                        </a:lnTo>
                        <a:lnTo>
                          <a:pt x="824" y="304"/>
                        </a:lnTo>
                        <a:lnTo>
                          <a:pt x="826" y="306"/>
                        </a:lnTo>
                        <a:lnTo>
                          <a:pt x="827" y="306"/>
                        </a:lnTo>
                        <a:lnTo>
                          <a:pt x="830" y="306"/>
                        </a:lnTo>
                        <a:lnTo>
                          <a:pt x="832" y="304"/>
                        </a:lnTo>
                        <a:lnTo>
                          <a:pt x="834" y="304"/>
                        </a:lnTo>
                        <a:lnTo>
                          <a:pt x="835" y="304"/>
                        </a:lnTo>
                        <a:lnTo>
                          <a:pt x="837" y="304"/>
                        </a:lnTo>
                        <a:lnTo>
                          <a:pt x="838" y="304"/>
                        </a:lnTo>
                        <a:lnTo>
                          <a:pt x="840" y="302"/>
                        </a:lnTo>
                        <a:lnTo>
                          <a:pt x="842" y="304"/>
                        </a:lnTo>
                        <a:lnTo>
                          <a:pt x="843" y="304"/>
                        </a:lnTo>
                        <a:lnTo>
                          <a:pt x="845" y="304"/>
                        </a:lnTo>
                        <a:lnTo>
                          <a:pt x="846" y="304"/>
                        </a:lnTo>
                        <a:lnTo>
                          <a:pt x="848" y="304"/>
                        </a:lnTo>
                        <a:lnTo>
                          <a:pt x="849" y="302"/>
                        </a:lnTo>
                        <a:lnTo>
                          <a:pt x="849" y="304"/>
                        </a:lnTo>
                        <a:lnTo>
                          <a:pt x="851" y="304"/>
                        </a:lnTo>
                        <a:lnTo>
                          <a:pt x="853" y="304"/>
                        </a:lnTo>
                        <a:lnTo>
                          <a:pt x="853" y="315"/>
                        </a:lnTo>
                        <a:lnTo>
                          <a:pt x="853" y="320"/>
                        </a:lnTo>
                        <a:lnTo>
                          <a:pt x="854" y="328"/>
                        </a:lnTo>
                        <a:lnTo>
                          <a:pt x="856" y="356"/>
                        </a:lnTo>
                        <a:lnTo>
                          <a:pt x="930" y="356"/>
                        </a:lnTo>
                        <a:lnTo>
                          <a:pt x="933" y="356"/>
                        </a:lnTo>
                        <a:lnTo>
                          <a:pt x="960" y="377"/>
                        </a:lnTo>
                        <a:lnTo>
                          <a:pt x="965" y="382"/>
                        </a:lnTo>
                        <a:lnTo>
                          <a:pt x="975" y="391"/>
                        </a:lnTo>
                        <a:lnTo>
                          <a:pt x="975" y="390"/>
                        </a:lnTo>
                        <a:lnTo>
                          <a:pt x="982" y="394"/>
                        </a:lnTo>
                        <a:lnTo>
                          <a:pt x="987" y="401"/>
                        </a:lnTo>
                        <a:lnTo>
                          <a:pt x="997" y="409"/>
                        </a:lnTo>
                        <a:lnTo>
                          <a:pt x="1027" y="432"/>
                        </a:lnTo>
                        <a:lnTo>
                          <a:pt x="1028" y="434"/>
                        </a:lnTo>
                        <a:lnTo>
                          <a:pt x="1038" y="442"/>
                        </a:lnTo>
                        <a:lnTo>
                          <a:pt x="1044" y="447"/>
                        </a:lnTo>
                        <a:lnTo>
                          <a:pt x="1049" y="450"/>
                        </a:lnTo>
                        <a:lnTo>
                          <a:pt x="1054" y="454"/>
                        </a:lnTo>
                        <a:lnTo>
                          <a:pt x="1054" y="456"/>
                        </a:lnTo>
                        <a:lnTo>
                          <a:pt x="1059" y="458"/>
                        </a:lnTo>
                        <a:lnTo>
                          <a:pt x="1060" y="459"/>
                        </a:lnTo>
                        <a:lnTo>
                          <a:pt x="1068" y="467"/>
                        </a:lnTo>
                        <a:lnTo>
                          <a:pt x="1081" y="477"/>
                        </a:lnTo>
                        <a:lnTo>
                          <a:pt x="1087" y="483"/>
                        </a:lnTo>
                        <a:lnTo>
                          <a:pt x="1097" y="491"/>
                        </a:lnTo>
                        <a:lnTo>
                          <a:pt x="1101" y="494"/>
                        </a:lnTo>
                        <a:lnTo>
                          <a:pt x="1108" y="500"/>
                        </a:lnTo>
                        <a:lnTo>
                          <a:pt x="1111" y="502"/>
                        </a:lnTo>
                        <a:lnTo>
                          <a:pt x="1120" y="510"/>
                        </a:lnTo>
                        <a:lnTo>
                          <a:pt x="1125" y="513"/>
                        </a:lnTo>
                        <a:lnTo>
                          <a:pt x="1212" y="581"/>
                        </a:lnTo>
                        <a:lnTo>
                          <a:pt x="1234" y="584"/>
                        </a:lnTo>
                        <a:lnTo>
                          <a:pt x="1242" y="584"/>
                        </a:lnTo>
                        <a:lnTo>
                          <a:pt x="1268" y="586"/>
                        </a:lnTo>
                        <a:lnTo>
                          <a:pt x="1279" y="588"/>
                        </a:lnTo>
                        <a:lnTo>
                          <a:pt x="1282" y="586"/>
                        </a:lnTo>
                        <a:lnTo>
                          <a:pt x="1290" y="586"/>
                        </a:lnTo>
                        <a:lnTo>
                          <a:pt x="1295" y="588"/>
                        </a:lnTo>
                        <a:lnTo>
                          <a:pt x="1314" y="588"/>
                        </a:lnTo>
                        <a:lnTo>
                          <a:pt x="1317" y="588"/>
                        </a:lnTo>
                        <a:lnTo>
                          <a:pt x="1321" y="588"/>
                        </a:lnTo>
                        <a:lnTo>
                          <a:pt x="1325" y="588"/>
                        </a:lnTo>
                        <a:lnTo>
                          <a:pt x="1336" y="589"/>
                        </a:lnTo>
                        <a:lnTo>
                          <a:pt x="1347" y="589"/>
                        </a:lnTo>
                        <a:lnTo>
                          <a:pt x="1355" y="589"/>
                        </a:lnTo>
                        <a:lnTo>
                          <a:pt x="1364" y="591"/>
                        </a:lnTo>
                        <a:lnTo>
                          <a:pt x="1367" y="591"/>
                        </a:lnTo>
                        <a:lnTo>
                          <a:pt x="1378" y="591"/>
                        </a:lnTo>
                        <a:lnTo>
                          <a:pt x="1386" y="592"/>
                        </a:lnTo>
                        <a:lnTo>
                          <a:pt x="1390" y="592"/>
                        </a:lnTo>
                        <a:lnTo>
                          <a:pt x="1394" y="591"/>
                        </a:lnTo>
                        <a:lnTo>
                          <a:pt x="1396" y="591"/>
                        </a:lnTo>
                        <a:lnTo>
                          <a:pt x="1420" y="553"/>
                        </a:lnTo>
                        <a:lnTo>
                          <a:pt x="1426" y="540"/>
                        </a:lnTo>
                        <a:lnTo>
                          <a:pt x="1428" y="537"/>
                        </a:lnTo>
                        <a:lnTo>
                          <a:pt x="1431" y="538"/>
                        </a:lnTo>
                        <a:lnTo>
                          <a:pt x="1442" y="542"/>
                        </a:lnTo>
                        <a:lnTo>
                          <a:pt x="1450" y="534"/>
                        </a:lnTo>
                        <a:lnTo>
                          <a:pt x="1459" y="518"/>
                        </a:lnTo>
                        <a:lnTo>
                          <a:pt x="1464" y="518"/>
                        </a:lnTo>
                        <a:lnTo>
                          <a:pt x="1477" y="521"/>
                        </a:lnTo>
                        <a:lnTo>
                          <a:pt x="1481" y="523"/>
                        </a:lnTo>
                        <a:lnTo>
                          <a:pt x="1488" y="523"/>
                        </a:lnTo>
                        <a:lnTo>
                          <a:pt x="1494" y="523"/>
                        </a:lnTo>
                        <a:lnTo>
                          <a:pt x="1497" y="523"/>
                        </a:lnTo>
                        <a:lnTo>
                          <a:pt x="1499" y="523"/>
                        </a:lnTo>
                        <a:lnTo>
                          <a:pt x="1512" y="524"/>
                        </a:lnTo>
                        <a:lnTo>
                          <a:pt x="1513" y="524"/>
                        </a:lnTo>
                        <a:lnTo>
                          <a:pt x="1518" y="526"/>
                        </a:lnTo>
                        <a:lnTo>
                          <a:pt x="1524" y="527"/>
                        </a:lnTo>
                        <a:lnTo>
                          <a:pt x="1531" y="524"/>
                        </a:lnTo>
                        <a:lnTo>
                          <a:pt x="1538" y="521"/>
                        </a:lnTo>
                        <a:lnTo>
                          <a:pt x="1538" y="523"/>
                        </a:lnTo>
                        <a:lnTo>
                          <a:pt x="1540" y="526"/>
                        </a:lnTo>
                        <a:lnTo>
                          <a:pt x="1542" y="537"/>
                        </a:lnTo>
                        <a:lnTo>
                          <a:pt x="1543" y="537"/>
                        </a:lnTo>
                        <a:lnTo>
                          <a:pt x="1545" y="537"/>
                        </a:lnTo>
                        <a:lnTo>
                          <a:pt x="1553" y="542"/>
                        </a:lnTo>
                        <a:lnTo>
                          <a:pt x="1573" y="548"/>
                        </a:lnTo>
                        <a:lnTo>
                          <a:pt x="1572" y="553"/>
                        </a:lnTo>
                        <a:lnTo>
                          <a:pt x="1572" y="564"/>
                        </a:lnTo>
                        <a:lnTo>
                          <a:pt x="1567" y="572"/>
                        </a:lnTo>
                        <a:lnTo>
                          <a:pt x="1570" y="573"/>
                        </a:lnTo>
                        <a:lnTo>
                          <a:pt x="1573" y="575"/>
                        </a:lnTo>
                        <a:lnTo>
                          <a:pt x="1581" y="580"/>
                        </a:lnTo>
                        <a:lnTo>
                          <a:pt x="1586" y="581"/>
                        </a:lnTo>
                        <a:lnTo>
                          <a:pt x="1594" y="588"/>
                        </a:lnTo>
                        <a:lnTo>
                          <a:pt x="1596" y="588"/>
                        </a:lnTo>
                        <a:lnTo>
                          <a:pt x="1607" y="605"/>
                        </a:lnTo>
                        <a:lnTo>
                          <a:pt x="1611" y="611"/>
                        </a:lnTo>
                        <a:lnTo>
                          <a:pt x="1613" y="613"/>
                        </a:lnTo>
                        <a:lnTo>
                          <a:pt x="1613" y="616"/>
                        </a:lnTo>
                        <a:lnTo>
                          <a:pt x="1615" y="651"/>
                        </a:lnTo>
                        <a:lnTo>
                          <a:pt x="1626" y="664"/>
                        </a:lnTo>
                        <a:lnTo>
                          <a:pt x="1627" y="665"/>
                        </a:lnTo>
                        <a:lnTo>
                          <a:pt x="1627" y="667"/>
                        </a:lnTo>
                        <a:lnTo>
                          <a:pt x="1630" y="668"/>
                        </a:lnTo>
                        <a:lnTo>
                          <a:pt x="1630" y="670"/>
                        </a:lnTo>
                        <a:lnTo>
                          <a:pt x="1632" y="670"/>
                        </a:lnTo>
                        <a:lnTo>
                          <a:pt x="1635" y="675"/>
                        </a:lnTo>
                        <a:lnTo>
                          <a:pt x="1637" y="676"/>
                        </a:lnTo>
                        <a:lnTo>
                          <a:pt x="1638" y="679"/>
                        </a:lnTo>
                        <a:lnTo>
                          <a:pt x="1640" y="679"/>
                        </a:lnTo>
                        <a:lnTo>
                          <a:pt x="1640" y="683"/>
                        </a:lnTo>
                        <a:lnTo>
                          <a:pt x="1641" y="684"/>
                        </a:lnTo>
                        <a:lnTo>
                          <a:pt x="1640" y="692"/>
                        </a:lnTo>
                        <a:lnTo>
                          <a:pt x="1638" y="698"/>
                        </a:lnTo>
                        <a:lnTo>
                          <a:pt x="1638" y="703"/>
                        </a:lnTo>
                        <a:lnTo>
                          <a:pt x="1643" y="708"/>
                        </a:lnTo>
                        <a:lnTo>
                          <a:pt x="1641" y="710"/>
                        </a:lnTo>
                        <a:lnTo>
                          <a:pt x="1638" y="710"/>
                        </a:lnTo>
                        <a:lnTo>
                          <a:pt x="1635" y="710"/>
                        </a:lnTo>
                        <a:lnTo>
                          <a:pt x="1635" y="711"/>
                        </a:lnTo>
                        <a:lnTo>
                          <a:pt x="1635" y="714"/>
                        </a:lnTo>
                        <a:lnTo>
                          <a:pt x="1632" y="714"/>
                        </a:lnTo>
                        <a:lnTo>
                          <a:pt x="1630" y="716"/>
                        </a:lnTo>
                        <a:lnTo>
                          <a:pt x="1629" y="714"/>
                        </a:lnTo>
                        <a:lnTo>
                          <a:pt x="1627" y="713"/>
                        </a:lnTo>
                        <a:lnTo>
                          <a:pt x="1619" y="710"/>
                        </a:lnTo>
                        <a:lnTo>
                          <a:pt x="1611" y="711"/>
                        </a:lnTo>
                        <a:lnTo>
                          <a:pt x="1608" y="714"/>
                        </a:lnTo>
                        <a:lnTo>
                          <a:pt x="1608" y="716"/>
                        </a:lnTo>
                        <a:lnTo>
                          <a:pt x="1607" y="716"/>
                        </a:lnTo>
                        <a:lnTo>
                          <a:pt x="1599" y="713"/>
                        </a:lnTo>
                        <a:lnTo>
                          <a:pt x="1599" y="711"/>
                        </a:lnTo>
                        <a:lnTo>
                          <a:pt x="1592" y="711"/>
                        </a:lnTo>
                        <a:lnTo>
                          <a:pt x="1591" y="711"/>
                        </a:lnTo>
                        <a:lnTo>
                          <a:pt x="1589" y="713"/>
                        </a:lnTo>
                        <a:lnTo>
                          <a:pt x="1586" y="711"/>
                        </a:lnTo>
                        <a:lnTo>
                          <a:pt x="1581" y="710"/>
                        </a:lnTo>
                        <a:lnTo>
                          <a:pt x="1578" y="711"/>
                        </a:lnTo>
                        <a:lnTo>
                          <a:pt x="1575" y="713"/>
                        </a:lnTo>
                        <a:lnTo>
                          <a:pt x="1570" y="713"/>
                        </a:lnTo>
                        <a:lnTo>
                          <a:pt x="1567" y="714"/>
                        </a:lnTo>
                        <a:lnTo>
                          <a:pt x="1569" y="717"/>
                        </a:lnTo>
                        <a:lnTo>
                          <a:pt x="1562" y="719"/>
                        </a:lnTo>
                        <a:lnTo>
                          <a:pt x="1557" y="724"/>
                        </a:lnTo>
                        <a:lnTo>
                          <a:pt x="1551" y="725"/>
                        </a:lnTo>
                        <a:lnTo>
                          <a:pt x="1546" y="730"/>
                        </a:lnTo>
                        <a:lnTo>
                          <a:pt x="1543" y="733"/>
                        </a:lnTo>
                        <a:lnTo>
                          <a:pt x="1543" y="736"/>
                        </a:lnTo>
                        <a:lnTo>
                          <a:pt x="1542" y="738"/>
                        </a:lnTo>
                        <a:lnTo>
                          <a:pt x="1540" y="738"/>
                        </a:lnTo>
                        <a:lnTo>
                          <a:pt x="1538" y="738"/>
                        </a:lnTo>
                        <a:lnTo>
                          <a:pt x="1532" y="732"/>
                        </a:lnTo>
                        <a:lnTo>
                          <a:pt x="1531" y="729"/>
                        </a:lnTo>
                        <a:lnTo>
                          <a:pt x="1529" y="729"/>
                        </a:lnTo>
                        <a:lnTo>
                          <a:pt x="1527" y="729"/>
                        </a:lnTo>
                        <a:lnTo>
                          <a:pt x="1524" y="729"/>
                        </a:lnTo>
                        <a:lnTo>
                          <a:pt x="1523" y="732"/>
                        </a:lnTo>
                        <a:lnTo>
                          <a:pt x="1521" y="733"/>
                        </a:lnTo>
                        <a:lnTo>
                          <a:pt x="1518" y="736"/>
                        </a:lnTo>
                        <a:lnTo>
                          <a:pt x="1516" y="740"/>
                        </a:lnTo>
                        <a:lnTo>
                          <a:pt x="1518" y="741"/>
                        </a:lnTo>
                        <a:lnTo>
                          <a:pt x="1518" y="743"/>
                        </a:lnTo>
                        <a:lnTo>
                          <a:pt x="1518" y="744"/>
                        </a:lnTo>
                        <a:lnTo>
                          <a:pt x="1513" y="749"/>
                        </a:lnTo>
                        <a:lnTo>
                          <a:pt x="1513" y="752"/>
                        </a:lnTo>
                        <a:lnTo>
                          <a:pt x="1515" y="755"/>
                        </a:lnTo>
                        <a:lnTo>
                          <a:pt x="1516" y="759"/>
                        </a:lnTo>
                        <a:lnTo>
                          <a:pt x="1527" y="771"/>
                        </a:lnTo>
                        <a:lnTo>
                          <a:pt x="1531" y="776"/>
                        </a:lnTo>
                        <a:lnTo>
                          <a:pt x="1550" y="801"/>
                        </a:lnTo>
                        <a:lnTo>
                          <a:pt x="1559" y="814"/>
                        </a:lnTo>
                        <a:lnTo>
                          <a:pt x="1559" y="816"/>
                        </a:lnTo>
                        <a:lnTo>
                          <a:pt x="1588" y="852"/>
                        </a:lnTo>
                        <a:lnTo>
                          <a:pt x="1592" y="860"/>
                        </a:lnTo>
                        <a:lnTo>
                          <a:pt x="1596" y="862"/>
                        </a:lnTo>
                        <a:lnTo>
                          <a:pt x="1607" y="877"/>
                        </a:lnTo>
                        <a:lnTo>
                          <a:pt x="1607" y="879"/>
                        </a:lnTo>
                        <a:lnTo>
                          <a:pt x="1618" y="892"/>
                        </a:lnTo>
                        <a:lnTo>
                          <a:pt x="1626" y="903"/>
                        </a:lnTo>
                        <a:lnTo>
                          <a:pt x="1630" y="911"/>
                        </a:lnTo>
                        <a:lnTo>
                          <a:pt x="1635" y="917"/>
                        </a:lnTo>
                        <a:lnTo>
                          <a:pt x="1657" y="946"/>
                        </a:lnTo>
                        <a:lnTo>
                          <a:pt x="1668" y="960"/>
                        </a:lnTo>
                        <a:lnTo>
                          <a:pt x="1670" y="963"/>
                        </a:lnTo>
                        <a:lnTo>
                          <a:pt x="1687" y="987"/>
                        </a:lnTo>
                        <a:lnTo>
                          <a:pt x="1691" y="990"/>
                        </a:lnTo>
                        <a:lnTo>
                          <a:pt x="1697" y="999"/>
                        </a:lnTo>
                        <a:lnTo>
                          <a:pt x="1700" y="1003"/>
                        </a:lnTo>
                        <a:lnTo>
                          <a:pt x="1702" y="1007"/>
                        </a:lnTo>
                        <a:lnTo>
                          <a:pt x="1703" y="1007"/>
                        </a:lnTo>
                        <a:lnTo>
                          <a:pt x="1703" y="1009"/>
                        </a:lnTo>
                        <a:lnTo>
                          <a:pt x="1706" y="1010"/>
                        </a:lnTo>
                        <a:lnTo>
                          <a:pt x="1708" y="1012"/>
                        </a:lnTo>
                        <a:lnTo>
                          <a:pt x="1710" y="1014"/>
                        </a:lnTo>
                        <a:lnTo>
                          <a:pt x="1711" y="1017"/>
                        </a:lnTo>
                        <a:lnTo>
                          <a:pt x="1717" y="1026"/>
                        </a:lnTo>
                        <a:lnTo>
                          <a:pt x="1724" y="1033"/>
                        </a:lnTo>
                        <a:lnTo>
                          <a:pt x="1724" y="1034"/>
                        </a:lnTo>
                        <a:lnTo>
                          <a:pt x="1722" y="1036"/>
                        </a:lnTo>
                        <a:lnTo>
                          <a:pt x="1719" y="1036"/>
                        </a:lnTo>
                        <a:lnTo>
                          <a:pt x="1717" y="1037"/>
                        </a:lnTo>
                        <a:lnTo>
                          <a:pt x="1717" y="1041"/>
                        </a:lnTo>
                        <a:lnTo>
                          <a:pt x="1719" y="1044"/>
                        </a:lnTo>
                        <a:lnTo>
                          <a:pt x="1721" y="1045"/>
                        </a:lnTo>
                        <a:lnTo>
                          <a:pt x="1721" y="1048"/>
                        </a:lnTo>
                        <a:lnTo>
                          <a:pt x="1722" y="1048"/>
                        </a:lnTo>
                        <a:lnTo>
                          <a:pt x="1722" y="1052"/>
                        </a:lnTo>
                        <a:lnTo>
                          <a:pt x="1721" y="1053"/>
                        </a:lnTo>
                        <a:lnTo>
                          <a:pt x="1717" y="1055"/>
                        </a:lnTo>
                        <a:lnTo>
                          <a:pt x="1714" y="1056"/>
                        </a:lnTo>
                        <a:lnTo>
                          <a:pt x="1708" y="1061"/>
                        </a:lnTo>
                        <a:lnTo>
                          <a:pt x="1706" y="1064"/>
                        </a:lnTo>
                        <a:lnTo>
                          <a:pt x="1705" y="1067"/>
                        </a:lnTo>
                        <a:lnTo>
                          <a:pt x="1705" y="1072"/>
                        </a:lnTo>
                        <a:lnTo>
                          <a:pt x="1705" y="1074"/>
                        </a:lnTo>
                        <a:lnTo>
                          <a:pt x="1706" y="1075"/>
                        </a:lnTo>
                        <a:lnTo>
                          <a:pt x="1710" y="1077"/>
                        </a:lnTo>
                        <a:lnTo>
                          <a:pt x="1710" y="1079"/>
                        </a:lnTo>
                        <a:lnTo>
                          <a:pt x="1708" y="1080"/>
                        </a:lnTo>
                        <a:lnTo>
                          <a:pt x="1706" y="1082"/>
                        </a:lnTo>
                        <a:lnTo>
                          <a:pt x="1702" y="1083"/>
                        </a:lnTo>
                        <a:lnTo>
                          <a:pt x="1700" y="1087"/>
                        </a:lnTo>
                        <a:lnTo>
                          <a:pt x="1702" y="1091"/>
                        </a:lnTo>
                        <a:lnTo>
                          <a:pt x="1700" y="1093"/>
                        </a:lnTo>
                        <a:lnTo>
                          <a:pt x="1703" y="1096"/>
                        </a:lnTo>
                        <a:lnTo>
                          <a:pt x="1703" y="1098"/>
                        </a:lnTo>
                        <a:lnTo>
                          <a:pt x="1703" y="1099"/>
                        </a:lnTo>
                        <a:lnTo>
                          <a:pt x="1702" y="1099"/>
                        </a:lnTo>
                        <a:lnTo>
                          <a:pt x="1697" y="1101"/>
                        </a:lnTo>
                        <a:lnTo>
                          <a:pt x="1689" y="1101"/>
                        </a:lnTo>
                        <a:lnTo>
                          <a:pt x="1684" y="1104"/>
                        </a:lnTo>
                        <a:lnTo>
                          <a:pt x="1684" y="1106"/>
                        </a:lnTo>
                        <a:lnTo>
                          <a:pt x="1683" y="1112"/>
                        </a:lnTo>
                        <a:lnTo>
                          <a:pt x="1683" y="1113"/>
                        </a:lnTo>
                        <a:lnTo>
                          <a:pt x="1681" y="1115"/>
                        </a:lnTo>
                        <a:lnTo>
                          <a:pt x="1676" y="1118"/>
                        </a:lnTo>
                        <a:lnTo>
                          <a:pt x="1670" y="1121"/>
                        </a:lnTo>
                        <a:lnTo>
                          <a:pt x="1668" y="1126"/>
                        </a:lnTo>
                        <a:lnTo>
                          <a:pt x="1667" y="1128"/>
                        </a:lnTo>
                        <a:lnTo>
                          <a:pt x="1660" y="1134"/>
                        </a:lnTo>
                        <a:lnTo>
                          <a:pt x="1660" y="1140"/>
                        </a:lnTo>
                        <a:lnTo>
                          <a:pt x="1659" y="1144"/>
                        </a:lnTo>
                        <a:lnTo>
                          <a:pt x="1659" y="1148"/>
                        </a:lnTo>
                        <a:lnTo>
                          <a:pt x="1659" y="1151"/>
                        </a:lnTo>
                        <a:lnTo>
                          <a:pt x="1664" y="1158"/>
                        </a:lnTo>
                        <a:lnTo>
                          <a:pt x="1662" y="1164"/>
                        </a:lnTo>
                        <a:lnTo>
                          <a:pt x="1660" y="1166"/>
                        </a:lnTo>
                        <a:lnTo>
                          <a:pt x="1662" y="1167"/>
                        </a:lnTo>
                        <a:lnTo>
                          <a:pt x="1664" y="1167"/>
                        </a:lnTo>
                        <a:lnTo>
                          <a:pt x="1665" y="1169"/>
                        </a:lnTo>
                        <a:lnTo>
                          <a:pt x="1662" y="1172"/>
                        </a:lnTo>
                        <a:lnTo>
                          <a:pt x="1653" y="1178"/>
                        </a:lnTo>
                        <a:lnTo>
                          <a:pt x="1632" y="1188"/>
                        </a:lnTo>
                        <a:lnTo>
                          <a:pt x="1621" y="1201"/>
                        </a:lnTo>
                        <a:lnTo>
                          <a:pt x="1608" y="1212"/>
                        </a:lnTo>
                        <a:lnTo>
                          <a:pt x="1607" y="1213"/>
                        </a:lnTo>
                        <a:lnTo>
                          <a:pt x="1600" y="1218"/>
                        </a:lnTo>
                        <a:lnTo>
                          <a:pt x="1599" y="1218"/>
                        </a:lnTo>
                        <a:lnTo>
                          <a:pt x="1596" y="1218"/>
                        </a:lnTo>
                        <a:lnTo>
                          <a:pt x="1592" y="1218"/>
                        </a:lnTo>
                        <a:lnTo>
                          <a:pt x="1588" y="1220"/>
                        </a:lnTo>
                        <a:lnTo>
                          <a:pt x="1577" y="1232"/>
                        </a:lnTo>
                        <a:lnTo>
                          <a:pt x="1572" y="1237"/>
                        </a:lnTo>
                        <a:lnTo>
                          <a:pt x="1570" y="1237"/>
                        </a:lnTo>
                        <a:lnTo>
                          <a:pt x="1564" y="1246"/>
                        </a:lnTo>
                        <a:lnTo>
                          <a:pt x="1537" y="1272"/>
                        </a:lnTo>
                        <a:lnTo>
                          <a:pt x="1531" y="1280"/>
                        </a:lnTo>
                        <a:lnTo>
                          <a:pt x="1527" y="1283"/>
                        </a:lnTo>
                        <a:lnTo>
                          <a:pt x="1524" y="1286"/>
                        </a:lnTo>
                        <a:lnTo>
                          <a:pt x="1523" y="1286"/>
                        </a:lnTo>
                        <a:lnTo>
                          <a:pt x="1521" y="1288"/>
                        </a:lnTo>
                        <a:lnTo>
                          <a:pt x="1519" y="1289"/>
                        </a:lnTo>
                        <a:lnTo>
                          <a:pt x="1512" y="1299"/>
                        </a:lnTo>
                        <a:lnTo>
                          <a:pt x="1496" y="1315"/>
                        </a:lnTo>
                        <a:lnTo>
                          <a:pt x="1489" y="1321"/>
                        </a:lnTo>
                        <a:lnTo>
                          <a:pt x="1486" y="1324"/>
                        </a:lnTo>
                        <a:lnTo>
                          <a:pt x="1480" y="1327"/>
                        </a:lnTo>
                        <a:lnTo>
                          <a:pt x="1474" y="1327"/>
                        </a:lnTo>
                        <a:lnTo>
                          <a:pt x="1462" y="1329"/>
                        </a:lnTo>
                        <a:lnTo>
                          <a:pt x="1455" y="1329"/>
                        </a:lnTo>
                        <a:lnTo>
                          <a:pt x="1448" y="1329"/>
                        </a:lnTo>
                        <a:lnTo>
                          <a:pt x="1447" y="1329"/>
                        </a:lnTo>
                        <a:lnTo>
                          <a:pt x="1445" y="1329"/>
                        </a:lnTo>
                        <a:lnTo>
                          <a:pt x="1434" y="1326"/>
                        </a:lnTo>
                        <a:lnTo>
                          <a:pt x="1420" y="1323"/>
                        </a:lnTo>
                        <a:lnTo>
                          <a:pt x="1415" y="1319"/>
                        </a:lnTo>
                        <a:lnTo>
                          <a:pt x="1407" y="1318"/>
                        </a:lnTo>
                        <a:lnTo>
                          <a:pt x="1402" y="1318"/>
                        </a:lnTo>
                        <a:lnTo>
                          <a:pt x="1396" y="1313"/>
                        </a:lnTo>
                        <a:lnTo>
                          <a:pt x="1394" y="1313"/>
                        </a:lnTo>
                        <a:lnTo>
                          <a:pt x="1393" y="1313"/>
                        </a:lnTo>
                        <a:lnTo>
                          <a:pt x="1383" y="1318"/>
                        </a:lnTo>
                        <a:lnTo>
                          <a:pt x="1380" y="1318"/>
                        </a:lnTo>
                        <a:lnTo>
                          <a:pt x="1380" y="1316"/>
                        </a:lnTo>
                        <a:lnTo>
                          <a:pt x="1378" y="1315"/>
                        </a:lnTo>
                        <a:lnTo>
                          <a:pt x="1377" y="1315"/>
                        </a:lnTo>
                        <a:lnTo>
                          <a:pt x="1372" y="1318"/>
                        </a:lnTo>
                        <a:lnTo>
                          <a:pt x="1367" y="1321"/>
                        </a:lnTo>
                        <a:lnTo>
                          <a:pt x="1366" y="1321"/>
                        </a:lnTo>
                        <a:lnTo>
                          <a:pt x="1364" y="1321"/>
                        </a:lnTo>
                        <a:lnTo>
                          <a:pt x="1359" y="1319"/>
                        </a:lnTo>
                        <a:lnTo>
                          <a:pt x="1355" y="1319"/>
                        </a:lnTo>
                        <a:lnTo>
                          <a:pt x="1352" y="1319"/>
                        </a:lnTo>
                        <a:lnTo>
                          <a:pt x="1350" y="1321"/>
                        </a:lnTo>
                        <a:lnTo>
                          <a:pt x="1350" y="1323"/>
                        </a:lnTo>
                        <a:lnTo>
                          <a:pt x="1348" y="1326"/>
                        </a:lnTo>
                        <a:lnTo>
                          <a:pt x="1347" y="1326"/>
                        </a:lnTo>
                        <a:lnTo>
                          <a:pt x="1344" y="1326"/>
                        </a:lnTo>
                        <a:lnTo>
                          <a:pt x="1342" y="1327"/>
                        </a:lnTo>
                        <a:lnTo>
                          <a:pt x="1340" y="1327"/>
                        </a:lnTo>
                        <a:lnTo>
                          <a:pt x="1339" y="1327"/>
                        </a:lnTo>
                        <a:lnTo>
                          <a:pt x="1337" y="1327"/>
                        </a:lnTo>
                        <a:lnTo>
                          <a:pt x="1336" y="1329"/>
                        </a:lnTo>
                        <a:lnTo>
                          <a:pt x="1334" y="1329"/>
                        </a:lnTo>
                        <a:lnTo>
                          <a:pt x="1333" y="1329"/>
                        </a:lnTo>
                        <a:lnTo>
                          <a:pt x="1329" y="1329"/>
                        </a:lnTo>
                        <a:lnTo>
                          <a:pt x="1328" y="1327"/>
                        </a:lnTo>
                        <a:lnTo>
                          <a:pt x="1325" y="1327"/>
                        </a:lnTo>
                        <a:lnTo>
                          <a:pt x="1325" y="1329"/>
                        </a:lnTo>
                        <a:lnTo>
                          <a:pt x="1323" y="1330"/>
                        </a:lnTo>
                        <a:lnTo>
                          <a:pt x="1321" y="1330"/>
                        </a:lnTo>
                        <a:lnTo>
                          <a:pt x="1318" y="1329"/>
                        </a:lnTo>
                        <a:lnTo>
                          <a:pt x="1314" y="1330"/>
                        </a:lnTo>
                        <a:lnTo>
                          <a:pt x="1312" y="1330"/>
                        </a:lnTo>
                        <a:lnTo>
                          <a:pt x="1310" y="1327"/>
                        </a:lnTo>
                        <a:lnTo>
                          <a:pt x="1307" y="1327"/>
                        </a:lnTo>
                        <a:lnTo>
                          <a:pt x="1304" y="1327"/>
                        </a:lnTo>
                        <a:lnTo>
                          <a:pt x="1302" y="1327"/>
                        </a:lnTo>
                        <a:lnTo>
                          <a:pt x="1299" y="1323"/>
                        </a:lnTo>
                        <a:lnTo>
                          <a:pt x="1298" y="1324"/>
                        </a:lnTo>
                        <a:lnTo>
                          <a:pt x="1295" y="1329"/>
                        </a:lnTo>
                        <a:lnTo>
                          <a:pt x="1293" y="1332"/>
                        </a:lnTo>
                        <a:lnTo>
                          <a:pt x="1291" y="1335"/>
                        </a:lnTo>
                        <a:lnTo>
                          <a:pt x="1290" y="1337"/>
                        </a:lnTo>
                        <a:lnTo>
                          <a:pt x="1288" y="1337"/>
                        </a:lnTo>
                        <a:lnTo>
                          <a:pt x="1285" y="1335"/>
                        </a:lnTo>
                        <a:lnTo>
                          <a:pt x="1282" y="1332"/>
                        </a:lnTo>
                        <a:lnTo>
                          <a:pt x="1280" y="1332"/>
                        </a:lnTo>
                        <a:lnTo>
                          <a:pt x="1279" y="1332"/>
                        </a:lnTo>
                        <a:lnTo>
                          <a:pt x="1271" y="1342"/>
                        </a:lnTo>
                        <a:lnTo>
                          <a:pt x="1268" y="1343"/>
                        </a:lnTo>
                        <a:lnTo>
                          <a:pt x="1266" y="1343"/>
                        </a:lnTo>
                        <a:lnTo>
                          <a:pt x="1263" y="1345"/>
                        </a:lnTo>
                        <a:lnTo>
                          <a:pt x="1258" y="1343"/>
                        </a:lnTo>
                        <a:lnTo>
                          <a:pt x="1253" y="1340"/>
                        </a:lnTo>
                        <a:lnTo>
                          <a:pt x="1252" y="1340"/>
                        </a:lnTo>
                        <a:lnTo>
                          <a:pt x="1250" y="1340"/>
                        </a:lnTo>
                        <a:lnTo>
                          <a:pt x="1245" y="1346"/>
                        </a:lnTo>
                        <a:lnTo>
                          <a:pt x="1244" y="1346"/>
                        </a:lnTo>
                        <a:lnTo>
                          <a:pt x="1242" y="1346"/>
                        </a:lnTo>
                        <a:lnTo>
                          <a:pt x="1241" y="1348"/>
                        </a:lnTo>
                        <a:lnTo>
                          <a:pt x="1239" y="1346"/>
                        </a:lnTo>
                        <a:lnTo>
                          <a:pt x="1236" y="1345"/>
                        </a:lnTo>
                        <a:lnTo>
                          <a:pt x="1231" y="1345"/>
                        </a:lnTo>
                        <a:lnTo>
                          <a:pt x="1228" y="1345"/>
                        </a:lnTo>
                        <a:lnTo>
                          <a:pt x="1223" y="1343"/>
                        </a:lnTo>
                        <a:lnTo>
                          <a:pt x="1222" y="1342"/>
                        </a:lnTo>
                        <a:lnTo>
                          <a:pt x="1222" y="1340"/>
                        </a:lnTo>
                        <a:lnTo>
                          <a:pt x="1222" y="1337"/>
                        </a:lnTo>
                        <a:lnTo>
                          <a:pt x="1222" y="1330"/>
                        </a:lnTo>
                        <a:lnTo>
                          <a:pt x="1222" y="1329"/>
                        </a:lnTo>
                        <a:lnTo>
                          <a:pt x="1220" y="1327"/>
                        </a:lnTo>
                        <a:lnTo>
                          <a:pt x="1217" y="1324"/>
                        </a:lnTo>
                        <a:lnTo>
                          <a:pt x="1212" y="1323"/>
                        </a:lnTo>
                        <a:lnTo>
                          <a:pt x="1215" y="1318"/>
                        </a:lnTo>
                        <a:lnTo>
                          <a:pt x="1214" y="1315"/>
                        </a:lnTo>
                        <a:lnTo>
                          <a:pt x="1212" y="1315"/>
                        </a:lnTo>
                        <a:lnTo>
                          <a:pt x="1211" y="1315"/>
                        </a:lnTo>
                        <a:lnTo>
                          <a:pt x="1209" y="1313"/>
                        </a:lnTo>
                        <a:lnTo>
                          <a:pt x="1207" y="1313"/>
                        </a:lnTo>
                        <a:lnTo>
                          <a:pt x="1207" y="1310"/>
                        </a:lnTo>
                        <a:lnTo>
                          <a:pt x="1207" y="1307"/>
                        </a:lnTo>
                        <a:lnTo>
                          <a:pt x="1203" y="1304"/>
                        </a:lnTo>
                        <a:lnTo>
                          <a:pt x="1201" y="1299"/>
                        </a:lnTo>
                        <a:lnTo>
                          <a:pt x="1200" y="1297"/>
                        </a:lnTo>
                        <a:lnTo>
                          <a:pt x="1196" y="1297"/>
                        </a:lnTo>
                        <a:lnTo>
                          <a:pt x="1196" y="1302"/>
                        </a:lnTo>
                        <a:lnTo>
                          <a:pt x="1195" y="1304"/>
                        </a:lnTo>
                        <a:lnTo>
                          <a:pt x="1192" y="1310"/>
                        </a:lnTo>
                        <a:lnTo>
                          <a:pt x="1188" y="1311"/>
                        </a:lnTo>
                        <a:lnTo>
                          <a:pt x="1185" y="1313"/>
                        </a:lnTo>
                        <a:lnTo>
                          <a:pt x="1180" y="1311"/>
                        </a:lnTo>
                        <a:lnTo>
                          <a:pt x="1177" y="1308"/>
                        </a:lnTo>
                        <a:lnTo>
                          <a:pt x="1174" y="1307"/>
                        </a:lnTo>
                        <a:lnTo>
                          <a:pt x="1171" y="1307"/>
                        </a:lnTo>
                        <a:lnTo>
                          <a:pt x="1166" y="1300"/>
                        </a:lnTo>
                        <a:lnTo>
                          <a:pt x="1163" y="1300"/>
                        </a:lnTo>
                        <a:lnTo>
                          <a:pt x="1154" y="1308"/>
                        </a:lnTo>
                        <a:lnTo>
                          <a:pt x="1150" y="1308"/>
                        </a:lnTo>
                        <a:lnTo>
                          <a:pt x="1146" y="1300"/>
                        </a:lnTo>
                        <a:lnTo>
                          <a:pt x="1141" y="1302"/>
                        </a:lnTo>
                        <a:lnTo>
                          <a:pt x="1139" y="1302"/>
                        </a:lnTo>
                        <a:lnTo>
                          <a:pt x="1136" y="1304"/>
                        </a:lnTo>
                        <a:lnTo>
                          <a:pt x="1135" y="1302"/>
                        </a:lnTo>
                        <a:lnTo>
                          <a:pt x="1133" y="1302"/>
                        </a:lnTo>
                        <a:lnTo>
                          <a:pt x="1131" y="1297"/>
                        </a:lnTo>
                        <a:lnTo>
                          <a:pt x="1130" y="1296"/>
                        </a:lnTo>
                        <a:lnTo>
                          <a:pt x="1128" y="1296"/>
                        </a:lnTo>
                        <a:lnTo>
                          <a:pt x="1125" y="1297"/>
                        </a:lnTo>
                        <a:lnTo>
                          <a:pt x="1123" y="1300"/>
                        </a:lnTo>
                        <a:lnTo>
                          <a:pt x="1120" y="1300"/>
                        </a:lnTo>
                        <a:lnTo>
                          <a:pt x="1119" y="1305"/>
                        </a:lnTo>
                        <a:lnTo>
                          <a:pt x="1117" y="1307"/>
                        </a:lnTo>
                        <a:lnTo>
                          <a:pt x="1116" y="1310"/>
                        </a:lnTo>
                        <a:lnTo>
                          <a:pt x="1112" y="1310"/>
                        </a:lnTo>
                        <a:lnTo>
                          <a:pt x="1109" y="1308"/>
                        </a:lnTo>
                        <a:lnTo>
                          <a:pt x="1106" y="1308"/>
                        </a:lnTo>
                        <a:lnTo>
                          <a:pt x="1104" y="1310"/>
                        </a:lnTo>
                        <a:lnTo>
                          <a:pt x="1095" y="1315"/>
                        </a:lnTo>
                        <a:lnTo>
                          <a:pt x="1092" y="1327"/>
                        </a:lnTo>
                        <a:lnTo>
                          <a:pt x="1092" y="1329"/>
                        </a:lnTo>
                        <a:lnTo>
                          <a:pt x="1093" y="1332"/>
                        </a:lnTo>
                        <a:lnTo>
                          <a:pt x="1093" y="1334"/>
                        </a:lnTo>
                        <a:lnTo>
                          <a:pt x="1093" y="1335"/>
                        </a:lnTo>
                        <a:lnTo>
                          <a:pt x="1095" y="1335"/>
                        </a:lnTo>
                        <a:lnTo>
                          <a:pt x="1095" y="1337"/>
                        </a:lnTo>
                        <a:lnTo>
                          <a:pt x="1098" y="1337"/>
                        </a:lnTo>
                        <a:lnTo>
                          <a:pt x="1098" y="1340"/>
                        </a:lnTo>
                        <a:lnTo>
                          <a:pt x="1097" y="1342"/>
                        </a:lnTo>
                        <a:lnTo>
                          <a:pt x="1089" y="1343"/>
                        </a:lnTo>
                        <a:lnTo>
                          <a:pt x="1087" y="1348"/>
                        </a:lnTo>
                        <a:lnTo>
                          <a:pt x="1081" y="1351"/>
                        </a:lnTo>
                        <a:lnTo>
                          <a:pt x="1079" y="1351"/>
                        </a:lnTo>
                        <a:lnTo>
                          <a:pt x="1079" y="1349"/>
                        </a:lnTo>
                        <a:lnTo>
                          <a:pt x="1078" y="1348"/>
                        </a:lnTo>
                        <a:lnTo>
                          <a:pt x="1076" y="1348"/>
                        </a:lnTo>
                        <a:lnTo>
                          <a:pt x="1074" y="1348"/>
                        </a:lnTo>
                        <a:lnTo>
                          <a:pt x="1074" y="1349"/>
                        </a:lnTo>
                        <a:lnTo>
                          <a:pt x="1074" y="1351"/>
                        </a:lnTo>
                        <a:lnTo>
                          <a:pt x="1074" y="1353"/>
                        </a:lnTo>
                        <a:lnTo>
                          <a:pt x="1070" y="1359"/>
                        </a:lnTo>
                        <a:lnTo>
                          <a:pt x="1070" y="1361"/>
                        </a:lnTo>
                        <a:lnTo>
                          <a:pt x="1070" y="1362"/>
                        </a:lnTo>
                        <a:lnTo>
                          <a:pt x="1068" y="1364"/>
                        </a:lnTo>
                        <a:lnTo>
                          <a:pt x="1065" y="1365"/>
                        </a:lnTo>
                        <a:lnTo>
                          <a:pt x="1057" y="1364"/>
                        </a:lnTo>
                        <a:lnTo>
                          <a:pt x="1055" y="1364"/>
                        </a:lnTo>
                        <a:lnTo>
                          <a:pt x="1054" y="1367"/>
                        </a:lnTo>
                        <a:lnTo>
                          <a:pt x="1054" y="1368"/>
                        </a:lnTo>
                        <a:lnTo>
                          <a:pt x="1055" y="1370"/>
                        </a:lnTo>
                        <a:lnTo>
                          <a:pt x="1055" y="1372"/>
                        </a:lnTo>
                        <a:lnTo>
                          <a:pt x="1055" y="1373"/>
                        </a:lnTo>
                        <a:lnTo>
                          <a:pt x="1059" y="1381"/>
                        </a:lnTo>
                        <a:lnTo>
                          <a:pt x="1062" y="1384"/>
                        </a:lnTo>
                        <a:lnTo>
                          <a:pt x="1062" y="1386"/>
                        </a:lnTo>
                        <a:lnTo>
                          <a:pt x="1062" y="1389"/>
                        </a:lnTo>
                        <a:lnTo>
                          <a:pt x="1063" y="1391"/>
                        </a:lnTo>
                        <a:lnTo>
                          <a:pt x="1068" y="1395"/>
                        </a:lnTo>
                        <a:lnTo>
                          <a:pt x="1068" y="1397"/>
                        </a:lnTo>
                        <a:lnTo>
                          <a:pt x="1068" y="1399"/>
                        </a:lnTo>
                        <a:lnTo>
                          <a:pt x="1066" y="1399"/>
                        </a:lnTo>
                        <a:lnTo>
                          <a:pt x="1066" y="1400"/>
                        </a:lnTo>
                        <a:lnTo>
                          <a:pt x="1062" y="1402"/>
                        </a:lnTo>
                        <a:lnTo>
                          <a:pt x="1060" y="1408"/>
                        </a:lnTo>
                        <a:lnTo>
                          <a:pt x="1059" y="1408"/>
                        </a:lnTo>
                        <a:lnTo>
                          <a:pt x="1059" y="1410"/>
                        </a:lnTo>
                        <a:lnTo>
                          <a:pt x="1054" y="1408"/>
                        </a:lnTo>
                        <a:lnTo>
                          <a:pt x="1052" y="1408"/>
                        </a:lnTo>
                        <a:lnTo>
                          <a:pt x="1051" y="1405"/>
                        </a:lnTo>
                        <a:lnTo>
                          <a:pt x="1049" y="1403"/>
                        </a:lnTo>
                        <a:lnTo>
                          <a:pt x="1047" y="1402"/>
                        </a:lnTo>
                        <a:lnTo>
                          <a:pt x="1044" y="1403"/>
                        </a:lnTo>
                        <a:lnTo>
                          <a:pt x="1044" y="1406"/>
                        </a:lnTo>
                        <a:lnTo>
                          <a:pt x="1044" y="1408"/>
                        </a:lnTo>
                        <a:lnTo>
                          <a:pt x="1043" y="1408"/>
                        </a:lnTo>
                        <a:lnTo>
                          <a:pt x="1036" y="1406"/>
                        </a:lnTo>
                        <a:lnTo>
                          <a:pt x="1032" y="1397"/>
                        </a:lnTo>
                        <a:lnTo>
                          <a:pt x="1030" y="1395"/>
                        </a:lnTo>
                        <a:lnTo>
                          <a:pt x="1027" y="1392"/>
                        </a:lnTo>
                        <a:lnTo>
                          <a:pt x="1024" y="1391"/>
                        </a:lnTo>
                        <a:lnTo>
                          <a:pt x="1022" y="1391"/>
                        </a:lnTo>
                        <a:lnTo>
                          <a:pt x="1017" y="1391"/>
                        </a:lnTo>
                        <a:lnTo>
                          <a:pt x="1016" y="1392"/>
                        </a:lnTo>
                        <a:lnTo>
                          <a:pt x="1014" y="1394"/>
                        </a:lnTo>
                        <a:lnTo>
                          <a:pt x="1014" y="1395"/>
                        </a:lnTo>
                        <a:lnTo>
                          <a:pt x="1013" y="1397"/>
                        </a:lnTo>
                        <a:lnTo>
                          <a:pt x="1013" y="1399"/>
                        </a:lnTo>
                        <a:lnTo>
                          <a:pt x="1014" y="1400"/>
                        </a:lnTo>
                        <a:lnTo>
                          <a:pt x="1014" y="1402"/>
                        </a:lnTo>
                        <a:lnTo>
                          <a:pt x="1014" y="1405"/>
                        </a:lnTo>
                        <a:lnTo>
                          <a:pt x="1014" y="1410"/>
                        </a:lnTo>
                        <a:lnTo>
                          <a:pt x="1017" y="1414"/>
                        </a:lnTo>
                        <a:lnTo>
                          <a:pt x="1019" y="1416"/>
                        </a:lnTo>
                        <a:lnTo>
                          <a:pt x="1019" y="1418"/>
                        </a:lnTo>
                        <a:lnTo>
                          <a:pt x="1022" y="1418"/>
                        </a:lnTo>
                        <a:lnTo>
                          <a:pt x="1024" y="1416"/>
                        </a:lnTo>
                        <a:lnTo>
                          <a:pt x="1021" y="1411"/>
                        </a:lnTo>
                        <a:lnTo>
                          <a:pt x="1021" y="1410"/>
                        </a:lnTo>
                        <a:lnTo>
                          <a:pt x="1022" y="1410"/>
                        </a:lnTo>
                        <a:lnTo>
                          <a:pt x="1024" y="1410"/>
                        </a:lnTo>
                        <a:lnTo>
                          <a:pt x="1025" y="1410"/>
                        </a:lnTo>
                        <a:lnTo>
                          <a:pt x="1025" y="1411"/>
                        </a:lnTo>
                        <a:lnTo>
                          <a:pt x="1027" y="1413"/>
                        </a:lnTo>
                        <a:lnTo>
                          <a:pt x="1027" y="1419"/>
                        </a:lnTo>
                        <a:lnTo>
                          <a:pt x="1028" y="1425"/>
                        </a:lnTo>
                        <a:lnTo>
                          <a:pt x="1027" y="1427"/>
                        </a:lnTo>
                        <a:lnTo>
                          <a:pt x="1022" y="1430"/>
                        </a:lnTo>
                        <a:lnTo>
                          <a:pt x="1019" y="1432"/>
                        </a:lnTo>
                        <a:lnTo>
                          <a:pt x="1014" y="1437"/>
                        </a:lnTo>
                        <a:lnTo>
                          <a:pt x="1013" y="1437"/>
                        </a:lnTo>
                        <a:lnTo>
                          <a:pt x="1011" y="1437"/>
                        </a:lnTo>
                        <a:lnTo>
                          <a:pt x="1009" y="1435"/>
                        </a:lnTo>
                        <a:lnTo>
                          <a:pt x="1006" y="1433"/>
                        </a:lnTo>
                        <a:lnTo>
                          <a:pt x="1000" y="1430"/>
                        </a:lnTo>
                        <a:lnTo>
                          <a:pt x="998" y="1429"/>
                        </a:lnTo>
                        <a:lnTo>
                          <a:pt x="995" y="1427"/>
                        </a:lnTo>
                        <a:lnTo>
                          <a:pt x="990" y="1429"/>
                        </a:lnTo>
                        <a:lnTo>
                          <a:pt x="989" y="1429"/>
                        </a:lnTo>
                        <a:lnTo>
                          <a:pt x="984" y="1427"/>
                        </a:lnTo>
                        <a:lnTo>
                          <a:pt x="979" y="1427"/>
                        </a:lnTo>
                        <a:lnTo>
                          <a:pt x="976" y="1429"/>
                        </a:lnTo>
                        <a:lnTo>
                          <a:pt x="971" y="1429"/>
                        </a:lnTo>
                        <a:lnTo>
                          <a:pt x="971" y="1427"/>
                        </a:lnTo>
                        <a:lnTo>
                          <a:pt x="970" y="1427"/>
                        </a:lnTo>
                        <a:lnTo>
                          <a:pt x="968" y="1427"/>
                        </a:lnTo>
                        <a:lnTo>
                          <a:pt x="967" y="1425"/>
                        </a:lnTo>
                        <a:lnTo>
                          <a:pt x="965" y="1427"/>
                        </a:lnTo>
                        <a:lnTo>
                          <a:pt x="962" y="1427"/>
                        </a:lnTo>
                        <a:lnTo>
                          <a:pt x="956" y="1427"/>
                        </a:lnTo>
                        <a:lnTo>
                          <a:pt x="952" y="1422"/>
                        </a:lnTo>
                        <a:lnTo>
                          <a:pt x="949" y="1421"/>
                        </a:lnTo>
                        <a:lnTo>
                          <a:pt x="946" y="1421"/>
                        </a:lnTo>
                        <a:lnTo>
                          <a:pt x="944" y="1421"/>
                        </a:lnTo>
                        <a:lnTo>
                          <a:pt x="943" y="1422"/>
                        </a:lnTo>
                        <a:lnTo>
                          <a:pt x="941" y="1424"/>
                        </a:lnTo>
                        <a:lnTo>
                          <a:pt x="941" y="1425"/>
                        </a:lnTo>
                        <a:lnTo>
                          <a:pt x="938" y="1430"/>
                        </a:lnTo>
                        <a:lnTo>
                          <a:pt x="937" y="1433"/>
                        </a:lnTo>
                        <a:lnTo>
                          <a:pt x="941" y="1441"/>
                        </a:lnTo>
                        <a:lnTo>
                          <a:pt x="946" y="1446"/>
                        </a:lnTo>
                        <a:lnTo>
                          <a:pt x="952" y="1448"/>
                        </a:lnTo>
                        <a:lnTo>
                          <a:pt x="954" y="1449"/>
                        </a:lnTo>
                        <a:lnTo>
                          <a:pt x="954" y="1452"/>
                        </a:lnTo>
                        <a:lnTo>
                          <a:pt x="952" y="1454"/>
                        </a:lnTo>
                        <a:lnTo>
                          <a:pt x="949" y="1459"/>
                        </a:lnTo>
                        <a:lnTo>
                          <a:pt x="951" y="1459"/>
                        </a:lnTo>
                        <a:lnTo>
                          <a:pt x="951" y="1460"/>
                        </a:lnTo>
                        <a:lnTo>
                          <a:pt x="949" y="1462"/>
                        </a:lnTo>
                        <a:lnTo>
                          <a:pt x="952" y="1465"/>
                        </a:lnTo>
                        <a:lnTo>
                          <a:pt x="951" y="1470"/>
                        </a:lnTo>
                        <a:lnTo>
                          <a:pt x="949" y="1471"/>
                        </a:lnTo>
                        <a:lnTo>
                          <a:pt x="952" y="1476"/>
                        </a:lnTo>
                        <a:lnTo>
                          <a:pt x="951" y="1479"/>
                        </a:lnTo>
                        <a:lnTo>
                          <a:pt x="952" y="1481"/>
                        </a:lnTo>
                        <a:lnTo>
                          <a:pt x="954" y="1483"/>
                        </a:lnTo>
                        <a:lnTo>
                          <a:pt x="957" y="1487"/>
                        </a:lnTo>
                        <a:lnTo>
                          <a:pt x="956" y="1487"/>
                        </a:lnTo>
                        <a:lnTo>
                          <a:pt x="954" y="1489"/>
                        </a:lnTo>
                        <a:lnTo>
                          <a:pt x="951" y="1489"/>
                        </a:lnTo>
                        <a:lnTo>
                          <a:pt x="948" y="1487"/>
                        </a:lnTo>
                        <a:lnTo>
                          <a:pt x="946" y="1484"/>
                        </a:lnTo>
                        <a:lnTo>
                          <a:pt x="944" y="1481"/>
                        </a:lnTo>
                        <a:lnTo>
                          <a:pt x="935" y="1481"/>
                        </a:lnTo>
                        <a:lnTo>
                          <a:pt x="930" y="1483"/>
                        </a:lnTo>
                        <a:lnTo>
                          <a:pt x="927" y="1486"/>
                        </a:lnTo>
                        <a:lnTo>
                          <a:pt x="925" y="1486"/>
                        </a:lnTo>
                        <a:lnTo>
                          <a:pt x="918" y="1497"/>
                        </a:lnTo>
                        <a:lnTo>
                          <a:pt x="916" y="1498"/>
                        </a:lnTo>
                        <a:lnTo>
                          <a:pt x="914" y="1498"/>
                        </a:lnTo>
                        <a:lnTo>
                          <a:pt x="897" y="1498"/>
                        </a:lnTo>
                        <a:lnTo>
                          <a:pt x="895" y="1498"/>
                        </a:lnTo>
                        <a:lnTo>
                          <a:pt x="892" y="1500"/>
                        </a:lnTo>
                        <a:lnTo>
                          <a:pt x="891" y="1502"/>
                        </a:lnTo>
                        <a:lnTo>
                          <a:pt x="892" y="1506"/>
                        </a:lnTo>
                        <a:lnTo>
                          <a:pt x="889" y="1509"/>
                        </a:lnTo>
                        <a:lnTo>
                          <a:pt x="891" y="1511"/>
                        </a:lnTo>
                        <a:lnTo>
                          <a:pt x="895" y="1514"/>
                        </a:lnTo>
                        <a:lnTo>
                          <a:pt x="897" y="1514"/>
                        </a:lnTo>
                        <a:lnTo>
                          <a:pt x="900" y="1513"/>
                        </a:lnTo>
                        <a:lnTo>
                          <a:pt x="899" y="1511"/>
                        </a:lnTo>
                        <a:lnTo>
                          <a:pt x="899" y="1509"/>
                        </a:lnTo>
                        <a:lnTo>
                          <a:pt x="899" y="1508"/>
                        </a:lnTo>
                        <a:lnTo>
                          <a:pt x="903" y="1511"/>
                        </a:lnTo>
                        <a:lnTo>
                          <a:pt x="906" y="1514"/>
                        </a:lnTo>
                        <a:lnTo>
                          <a:pt x="908" y="1516"/>
                        </a:lnTo>
                        <a:lnTo>
                          <a:pt x="910" y="1516"/>
                        </a:lnTo>
                        <a:lnTo>
                          <a:pt x="911" y="1517"/>
                        </a:lnTo>
                        <a:lnTo>
                          <a:pt x="910" y="1524"/>
                        </a:lnTo>
                        <a:lnTo>
                          <a:pt x="911" y="1525"/>
                        </a:lnTo>
                        <a:lnTo>
                          <a:pt x="913" y="1527"/>
                        </a:lnTo>
                        <a:lnTo>
                          <a:pt x="911" y="1530"/>
                        </a:lnTo>
                        <a:lnTo>
                          <a:pt x="911" y="1532"/>
                        </a:lnTo>
                        <a:lnTo>
                          <a:pt x="911" y="1533"/>
                        </a:lnTo>
                        <a:lnTo>
                          <a:pt x="914" y="1535"/>
                        </a:lnTo>
                        <a:lnTo>
                          <a:pt x="918" y="1538"/>
                        </a:lnTo>
                        <a:lnTo>
                          <a:pt x="918" y="1540"/>
                        </a:lnTo>
                        <a:lnTo>
                          <a:pt x="916" y="1546"/>
                        </a:lnTo>
                        <a:lnTo>
                          <a:pt x="918" y="1547"/>
                        </a:lnTo>
                        <a:lnTo>
                          <a:pt x="919" y="1549"/>
                        </a:lnTo>
                        <a:lnTo>
                          <a:pt x="919" y="1551"/>
                        </a:lnTo>
                        <a:lnTo>
                          <a:pt x="919" y="1552"/>
                        </a:lnTo>
                        <a:lnTo>
                          <a:pt x="925" y="1560"/>
                        </a:lnTo>
                        <a:lnTo>
                          <a:pt x="929" y="1562"/>
                        </a:lnTo>
                        <a:lnTo>
                          <a:pt x="929" y="1565"/>
                        </a:lnTo>
                        <a:lnTo>
                          <a:pt x="927" y="1566"/>
                        </a:lnTo>
                        <a:lnTo>
                          <a:pt x="925" y="1570"/>
                        </a:lnTo>
                        <a:lnTo>
                          <a:pt x="921" y="1563"/>
                        </a:lnTo>
                        <a:lnTo>
                          <a:pt x="919" y="1562"/>
                        </a:lnTo>
                        <a:lnTo>
                          <a:pt x="914" y="1559"/>
                        </a:lnTo>
                        <a:lnTo>
                          <a:pt x="911" y="1557"/>
                        </a:lnTo>
                        <a:lnTo>
                          <a:pt x="910" y="1555"/>
                        </a:lnTo>
                        <a:lnTo>
                          <a:pt x="903" y="1555"/>
                        </a:lnTo>
                        <a:lnTo>
                          <a:pt x="902" y="1552"/>
                        </a:lnTo>
                        <a:lnTo>
                          <a:pt x="900" y="1552"/>
                        </a:lnTo>
                        <a:lnTo>
                          <a:pt x="899" y="1552"/>
                        </a:lnTo>
                        <a:lnTo>
                          <a:pt x="887" y="1557"/>
                        </a:lnTo>
                        <a:lnTo>
                          <a:pt x="884" y="1557"/>
                        </a:lnTo>
                        <a:lnTo>
                          <a:pt x="880" y="1557"/>
                        </a:lnTo>
                        <a:lnTo>
                          <a:pt x="876" y="1555"/>
                        </a:lnTo>
                        <a:lnTo>
                          <a:pt x="872" y="1549"/>
                        </a:lnTo>
                        <a:lnTo>
                          <a:pt x="868" y="1541"/>
                        </a:lnTo>
                        <a:lnTo>
                          <a:pt x="868" y="1540"/>
                        </a:lnTo>
                        <a:lnTo>
                          <a:pt x="867" y="1538"/>
                        </a:lnTo>
                        <a:lnTo>
                          <a:pt x="867" y="1536"/>
                        </a:lnTo>
                        <a:lnTo>
                          <a:pt x="865" y="1536"/>
                        </a:lnTo>
                        <a:lnTo>
                          <a:pt x="864" y="1535"/>
                        </a:lnTo>
                        <a:lnTo>
                          <a:pt x="857" y="1535"/>
                        </a:lnTo>
                        <a:lnTo>
                          <a:pt x="854" y="1536"/>
                        </a:lnTo>
                        <a:lnTo>
                          <a:pt x="851" y="1538"/>
                        </a:lnTo>
                        <a:lnTo>
                          <a:pt x="848" y="1533"/>
                        </a:lnTo>
                        <a:lnTo>
                          <a:pt x="846" y="1532"/>
                        </a:lnTo>
                        <a:lnTo>
                          <a:pt x="845" y="1532"/>
                        </a:lnTo>
                        <a:lnTo>
                          <a:pt x="845" y="1533"/>
                        </a:lnTo>
                        <a:lnTo>
                          <a:pt x="843" y="1533"/>
                        </a:lnTo>
                        <a:lnTo>
                          <a:pt x="840" y="1538"/>
                        </a:lnTo>
                        <a:lnTo>
                          <a:pt x="840" y="1541"/>
                        </a:lnTo>
                        <a:lnTo>
                          <a:pt x="840" y="1543"/>
                        </a:lnTo>
                        <a:lnTo>
                          <a:pt x="840" y="1544"/>
                        </a:lnTo>
                        <a:lnTo>
                          <a:pt x="840" y="1547"/>
                        </a:lnTo>
                        <a:lnTo>
                          <a:pt x="840" y="1551"/>
                        </a:lnTo>
                        <a:lnTo>
                          <a:pt x="840" y="1552"/>
                        </a:lnTo>
                        <a:lnTo>
                          <a:pt x="837" y="1555"/>
                        </a:lnTo>
                        <a:lnTo>
                          <a:pt x="835" y="1555"/>
                        </a:lnTo>
                        <a:lnTo>
                          <a:pt x="835" y="1557"/>
                        </a:lnTo>
                        <a:lnTo>
                          <a:pt x="826" y="1566"/>
                        </a:lnTo>
                        <a:lnTo>
                          <a:pt x="824" y="1566"/>
                        </a:lnTo>
                        <a:lnTo>
                          <a:pt x="823" y="1568"/>
                        </a:lnTo>
                        <a:lnTo>
                          <a:pt x="810" y="1578"/>
                        </a:lnTo>
                        <a:lnTo>
                          <a:pt x="807" y="1582"/>
                        </a:lnTo>
                        <a:lnTo>
                          <a:pt x="803" y="1590"/>
                        </a:lnTo>
                        <a:lnTo>
                          <a:pt x="797" y="1590"/>
                        </a:lnTo>
                        <a:lnTo>
                          <a:pt x="796" y="1589"/>
                        </a:lnTo>
                        <a:lnTo>
                          <a:pt x="791" y="1590"/>
                        </a:lnTo>
                        <a:lnTo>
                          <a:pt x="789" y="1590"/>
                        </a:lnTo>
                        <a:lnTo>
                          <a:pt x="778" y="1590"/>
                        </a:lnTo>
                        <a:lnTo>
                          <a:pt x="769" y="1590"/>
                        </a:lnTo>
                        <a:lnTo>
                          <a:pt x="764" y="1590"/>
                        </a:lnTo>
                        <a:lnTo>
                          <a:pt x="745" y="1590"/>
                        </a:lnTo>
                        <a:lnTo>
                          <a:pt x="743" y="1590"/>
                        </a:lnTo>
                        <a:lnTo>
                          <a:pt x="735" y="1590"/>
                        </a:lnTo>
                        <a:lnTo>
                          <a:pt x="734" y="1590"/>
                        </a:lnTo>
                        <a:lnTo>
                          <a:pt x="712" y="1590"/>
                        </a:lnTo>
                        <a:lnTo>
                          <a:pt x="708" y="1590"/>
                        </a:lnTo>
                        <a:lnTo>
                          <a:pt x="697" y="1590"/>
                        </a:lnTo>
                        <a:lnTo>
                          <a:pt x="691" y="1590"/>
                        </a:lnTo>
                        <a:lnTo>
                          <a:pt x="683" y="1589"/>
                        </a:lnTo>
                        <a:lnTo>
                          <a:pt x="674" y="1589"/>
                        </a:lnTo>
                        <a:lnTo>
                          <a:pt x="659" y="1590"/>
                        </a:lnTo>
                        <a:lnTo>
                          <a:pt x="653" y="1589"/>
                        </a:lnTo>
                        <a:lnTo>
                          <a:pt x="651" y="1589"/>
                        </a:lnTo>
                        <a:lnTo>
                          <a:pt x="650" y="1589"/>
                        </a:lnTo>
                        <a:lnTo>
                          <a:pt x="647" y="1590"/>
                        </a:lnTo>
                        <a:lnTo>
                          <a:pt x="613" y="1603"/>
                        </a:lnTo>
                        <a:lnTo>
                          <a:pt x="609" y="1606"/>
                        </a:lnTo>
                        <a:lnTo>
                          <a:pt x="605" y="1606"/>
                        </a:lnTo>
                        <a:lnTo>
                          <a:pt x="604" y="1606"/>
                        </a:lnTo>
                        <a:lnTo>
                          <a:pt x="596" y="1609"/>
                        </a:lnTo>
                        <a:lnTo>
                          <a:pt x="582" y="1616"/>
                        </a:lnTo>
                        <a:lnTo>
                          <a:pt x="571" y="1622"/>
                        </a:lnTo>
                        <a:lnTo>
                          <a:pt x="569" y="1622"/>
                        </a:lnTo>
                        <a:lnTo>
                          <a:pt x="564" y="1623"/>
                        </a:lnTo>
                        <a:lnTo>
                          <a:pt x="547" y="1630"/>
                        </a:lnTo>
                        <a:lnTo>
                          <a:pt x="550" y="1620"/>
                        </a:lnTo>
                        <a:lnTo>
                          <a:pt x="550" y="1619"/>
                        </a:lnTo>
                        <a:lnTo>
                          <a:pt x="553" y="1604"/>
                        </a:lnTo>
                        <a:lnTo>
                          <a:pt x="553" y="1600"/>
                        </a:lnTo>
                        <a:lnTo>
                          <a:pt x="552" y="1598"/>
                        </a:lnTo>
                        <a:lnTo>
                          <a:pt x="547" y="1598"/>
                        </a:lnTo>
                        <a:lnTo>
                          <a:pt x="545" y="1598"/>
                        </a:lnTo>
                        <a:lnTo>
                          <a:pt x="544" y="1597"/>
                        </a:lnTo>
                        <a:lnTo>
                          <a:pt x="550" y="1585"/>
                        </a:lnTo>
                        <a:lnTo>
                          <a:pt x="552" y="1584"/>
                        </a:lnTo>
                        <a:lnTo>
                          <a:pt x="552" y="1582"/>
                        </a:lnTo>
                        <a:lnTo>
                          <a:pt x="550" y="1582"/>
                        </a:lnTo>
                        <a:lnTo>
                          <a:pt x="503" y="1573"/>
                        </a:lnTo>
                        <a:lnTo>
                          <a:pt x="504" y="1566"/>
                        </a:lnTo>
                        <a:lnTo>
                          <a:pt x="506" y="1565"/>
                        </a:lnTo>
                        <a:lnTo>
                          <a:pt x="506" y="1563"/>
                        </a:lnTo>
                        <a:lnTo>
                          <a:pt x="507" y="1560"/>
                        </a:lnTo>
                        <a:lnTo>
                          <a:pt x="509" y="1559"/>
                        </a:lnTo>
                        <a:lnTo>
                          <a:pt x="510" y="1557"/>
                        </a:lnTo>
                        <a:lnTo>
                          <a:pt x="510" y="1552"/>
                        </a:lnTo>
                        <a:lnTo>
                          <a:pt x="512" y="1547"/>
                        </a:lnTo>
                        <a:lnTo>
                          <a:pt x="515" y="1540"/>
                        </a:lnTo>
                        <a:lnTo>
                          <a:pt x="517" y="1535"/>
                        </a:lnTo>
                        <a:lnTo>
                          <a:pt x="518" y="1532"/>
                        </a:lnTo>
                        <a:lnTo>
                          <a:pt x="520" y="1528"/>
                        </a:lnTo>
                        <a:lnTo>
                          <a:pt x="518" y="1527"/>
                        </a:lnTo>
                        <a:lnTo>
                          <a:pt x="518" y="1525"/>
                        </a:lnTo>
                        <a:lnTo>
                          <a:pt x="520" y="1524"/>
                        </a:lnTo>
                        <a:lnTo>
                          <a:pt x="522" y="1521"/>
                        </a:lnTo>
                        <a:lnTo>
                          <a:pt x="523" y="1521"/>
                        </a:lnTo>
                        <a:lnTo>
                          <a:pt x="525" y="1521"/>
                        </a:lnTo>
                        <a:lnTo>
                          <a:pt x="526" y="1521"/>
                        </a:lnTo>
                        <a:lnTo>
                          <a:pt x="528" y="1519"/>
                        </a:lnTo>
                        <a:lnTo>
                          <a:pt x="529" y="1519"/>
                        </a:lnTo>
                        <a:lnTo>
                          <a:pt x="531" y="1519"/>
                        </a:lnTo>
                        <a:lnTo>
                          <a:pt x="533" y="1521"/>
                        </a:lnTo>
                        <a:lnTo>
                          <a:pt x="534" y="1522"/>
                        </a:lnTo>
                        <a:lnTo>
                          <a:pt x="534" y="1524"/>
                        </a:lnTo>
                        <a:lnTo>
                          <a:pt x="536" y="1525"/>
                        </a:lnTo>
                        <a:lnTo>
                          <a:pt x="537" y="1525"/>
                        </a:lnTo>
                        <a:lnTo>
                          <a:pt x="539" y="1525"/>
                        </a:lnTo>
                        <a:lnTo>
                          <a:pt x="539" y="1524"/>
                        </a:lnTo>
                        <a:lnTo>
                          <a:pt x="542" y="1524"/>
                        </a:lnTo>
                        <a:lnTo>
                          <a:pt x="544" y="1525"/>
                        </a:lnTo>
                        <a:lnTo>
                          <a:pt x="544" y="1528"/>
                        </a:lnTo>
                        <a:lnTo>
                          <a:pt x="544" y="1530"/>
                        </a:lnTo>
                        <a:lnTo>
                          <a:pt x="545" y="1532"/>
                        </a:lnTo>
                        <a:lnTo>
                          <a:pt x="547" y="1533"/>
                        </a:lnTo>
                        <a:lnTo>
                          <a:pt x="548" y="1536"/>
                        </a:lnTo>
                        <a:lnTo>
                          <a:pt x="550" y="1540"/>
                        </a:lnTo>
                        <a:lnTo>
                          <a:pt x="552" y="1541"/>
                        </a:lnTo>
                        <a:lnTo>
                          <a:pt x="553" y="1543"/>
                        </a:lnTo>
                        <a:lnTo>
                          <a:pt x="555" y="1544"/>
                        </a:lnTo>
                        <a:lnTo>
                          <a:pt x="556" y="1544"/>
                        </a:lnTo>
                        <a:lnTo>
                          <a:pt x="560" y="1544"/>
                        </a:lnTo>
                        <a:lnTo>
                          <a:pt x="561" y="1544"/>
                        </a:lnTo>
                        <a:lnTo>
                          <a:pt x="563" y="1543"/>
                        </a:lnTo>
                        <a:lnTo>
                          <a:pt x="564" y="1543"/>
                        </a:lnTo>
                        <a:lnTo>
                          <a:pt x="566" y="1541"/>
                        </a:lnTo>
                        <a:lnTo>
                          <a:pt x="566" y="1540"/>
                        </a:lnTo>
                        <a:lnTo>
                          <a:pt x="566" y="1536"/>
                        </a:lnTo>
                        <a:lnTo>
                          <a:pt x="564" y="1532"/>
                        </a:lnTo>
                        <a:lnTo>
                          <a:pt x="564" y="1530"/>
                        </a:lnTo>
                        <a:lnTo>
                          <a:pt x="564" y="1528"/>
                        </a:lnTo>
                        <a:lnTo>
                          <a:pt x="564" y="1524"/>
                        </a:lnTo>
                        <a:lnTo>
                          <a:pt x="563" y="1522"/>
                        </a:lnTo>
                        <a:lnTo>
                          <a:pt x="563" y="1521"/>
                        </a:lnTo>
                        <a:lnTo>
                          <a:pt x="563" y="1516"/>
                        </a:lnTo>
                        <a:lnTo>
                          <a:pt x="563" y="1513"/>
                        </a:lnTo>
                        <a:lnTo>
                          <a:pt x="563" y="1509"/>
                        </a:lnTo>
                        <a:lnTo>
                          <a:pt x="563" y="1506"/>
                        </a:lnTo>
                        <a:lnTo>
                          <a:pt x="563" y="1505"/>
                        </a:lnTo>
                        <a:lnTo>
                          <a:pt x="564" y="1502"/>
                        </a:lnTo>
                        <a:lnTo>
                          <a:pt x="566" y="1498"/>
                        </a:lnTo>
                        <a:lnTo>
                          <a:pt x="571" y="1490"/>
                        </a:lnTo>
                        <a:lnTo>
                          <a:pt x="575" y="1483"/>
                        </a:lnTo>
                        <a:lnTo>
                          <a:pt x="579" y="1478"/>
                        </a:lnTo>
                        <a:lnTo>
                          <a:pt x="585" y="1468"/>
                        </a:lnTo>
                        <a:lnTo>
                          <a:pt x="586" y="1465"/>
                        </a:lnTo>
                        <a:lnTo>
                          <a:pt x="586" y="1464"/>
                        </a:lnTo>
                        <a:lnTo>
                          <a:pt x="586" y="1462"/>
                        </a:lnTo>
                        <a:lnTo>
                          <a:pt x="586" y="1460"/>
                        </a:lnTo>
                        <a:lnTo>
                          <a:pt x="588" y="1457"/>
                        </a:lnTo>
                        <a:lnTo>
                          <a:pt x="591" y="1457"/>
                        </a:lnTo>
                        <a:lnTo>
                          <a:pt x="593" y="1457"/>
                        </a:lnTo>
                        <a:lnTo>
                          <a:pt x="594" y="1456"/>
                        </a:lnTo>
                        <a:lnTo>
                          <a:pt x="594" y="1454"/>
                        </a:lnTo>
                        <a:lnTo>
                          <a:pt x="594" y="1452"/>
                        </a:lnTo>
                        <a:lnTo>
                          <a:pt x="593" y="1452"/>
                        </a:lnTo>
                        <a:lnTo>
                          <a:pt x="593" y="1451"/>
                        </a:lnTo>
                        <a:lnTo>
                          <a:pt x="591" y="1449"/>
                        </a:lnTo>
                        <a:lnTo>
                          <a:pt x="590" y="1448"/>
                        </a:lnTo>
                        <a:lnTo>
                          <a:pt x="588" y="1446"/>
                        </a:lnTo>
                        <a:lnTo>
                          <a:pt x="588" y="1444"/>
                        </a:lnTo>
                        <a:lnTo>
                          <a:pt x="588" y="1443"/>
                        </a:lnTo>
                        <a:lnTo>
                          <a:pt x="590" y="1441"/>
                        </a:lnTo>
                        <a:lnTo>
                          <a:pt x="590" y="1440"/>
                        </a:lnTo>
                        <a:lnTo>
                          <a:pt x="591" y="1440"/>
                        </a:lnTo>
                        <a:lnTo>
                          <a:pt x="591" y="1438"/>
                        </a:lnTo>
                        <a:lnTo>
                          <a:pt x="593" y="1437"/>
                        </a:lnTo>
                        <a:lnTo>
                          <a:pt x="593" y="1435"/>
                        </a:lnTo>
                        <a:lnTo>
                          <a:pt x="593" y="1433"/>
                        </a:lnTo>
                        <a:lnTo>
                          <a:pt x="593" y="1432"/>
                        </a:lnTo>
                        <a:lnTo>
                          <a:pt x="591" y="1432"/>
                        </a:lnTo>
                        <a:lnTo>
                          <a:pt x="591" y="1430"/>
                        </a:lnTo>
                        <a:lnTo>
                          <a:pt x="591" y="1429"/>
                        </a:lnTo>
                        <a:lnTo>
                          <a:pt x="590" y="1429"/>
                        </a:lnTo>
                        <a:lnTo>
                          <a:pt x="588" y="1429"/>
                        </a:lnTo>
                        <a:lnTo>
                          <a:pt x="586" y="1429"/>
                        </a:lnTo>
                        <a:lnTo>
                          <a:pt x="586" y="1427"/>
                        </a:lnTo>
                        <a:lnTo>
                          <a:pt x="585" y="1427"/>
                        </a:lnTo>
                        <a:lnTo>
                          <a:pt x="585" y="1424"/>
                        </a:lnTo>
                        <a:lnTo>
                          <a:pt x="585" y="1422"/>
                        </a:lnTo>
                        <a:lnTo>
                          <a:pt x="585" y="1421"/>
                        </a:lnTo>
                        <a:lnTo>
                          <a:pt x="585" y="1419"/>
                        </a:lnTo>
                        <a:lnTo>
                          <a:pt x="583" y="1419"/>
                        </a:lnTo>
                        <a:lnTo>
                          <a:pt x="583" y="1418"/>
                        </a:lnTo>
                        <a:lnTo>
                          <a:pt x="583" y="1416"/>
                        </a:lnTo>
                        <a:lnTo>
                          <a:pt x="582" y="1416"/>
                        </a:lnTo>
                        <a:lnTo>
                          <a:pt x="580" y="1414"/>
                        </a:lnTo>
                        <a:lnTo>
                          <a:pt x="579" y="1413"/>
                        </a:lnTo>
                        <a:lnTo>
                          <a:pt x="579" y="1411"/>
                        </a:lnTo>
                        <a:lnTo>
                          <a:pt x="579" y="1410"/>
                        </a:lnTo>
                        <a:lnTo>
                          <a:pt x="579" y="1408"/>
                        </a:lnTo>
                        <a:lnTo>
                          <a:pt x="579" y="1406"/>
                        </a:lnTo>
                        <a:lnTo>
                          <a:pt x="580" y="1405"/>
                        </a:lnTo>
                        <a:lnTo>
                          <a:pt x="580" y="1403"/>
                        </a:lnTo>
                        <a:lnTo>
                          <a:pt x="579" y="1400"/>
                        </a:lnTo>
                        <a:lnTo>
                          <a:pt x="579" y="1399"/>
                        </a:lnTo>
                        <a:lnTo>
                          <a:pt x="580" y="1397"/>
                        </a:lnTo>
                        <a:lnTo>
                          <a:pt x="580" y="1395"/>
                        </a:lnTo>
                        <a:lnTo>
                          <a:pt x="579" y="1394"/>
                        </a:lnTo>
                        <a:lnTo>
                          <a:pt x="579" y="1392"/>
                        </a:lnTo>
                        <a:lnTo>
                          <a:pt x="577" y="1391"/>
                        </a:lnTo>
                        <a:lnTo>
                          <a:pt x="575" y="1389"/>
                        </a:lnTo>
                        <a:lnTo>
                          <a:pt x="575" y="1387"/>
                        </a:lnTo>
                        <a:lnTo>
                          <a:pt x="577" y="1386"/>
                        </a:lnTo>
                        <a:lnTo>
                          <a:pt x="575" y="1384"/>
                        </a:lnTo>
                        <a:lnTo>
                          <a:pt x="575" y="1383"/>
                        </a:lnTo>
                        <a:lnTo>
                          <a:pt x="575" y="1381"/>
                        </a:lnTo>
                        <a:lnTo>
                          <a:pt x="574" y="1381"/>
                        </a:lnTo>
                        <a:lnTo>
                          <a:pt x="574" y="1380"/>
                        </a:lnTo>
                        <a:lnTo>
                          <a:pt x="572" y="1380"/>
                        </a:lnTo>
                        <a:lnTo>
                          <a:pt x="571" y="1378"/>
                        </a:lnTo>
                        <a:lnTo>
                          <a:pt x="572" y="1376"/>
                        </a:lnTo>
                        <a:lnTo>
                          <a:pt x="574" y="1375"/>
                        </a:lnTo>
                        <a:lnTo>
                          <a:pt x="575" y="1375"/>
                        </a:lnTo>
                        <a:lnTo>
                          <a:pt x="577" y="1375"/>
                        </a:lnTo>
                        <a:lnTo>
                          <a:pt x="579" y="1375"/>
                        </a:lnTo>
                        <a:lnTo>
                          <a:pt x="579" y="1373"/>
                        </a:lnTo>
                        <a:lnTo>
                          <a:pt x="579" y="1372"/>
                        </a:lnTo>
                        <a:lnTo>
                          <a:pt x="580" y="1370"/>
                        </a:lnTo>
                        <a:lnTo>
                          <a:pt x="582" y="1370"/>
                        </a:lnTo>
                        <a:lnTo>
                          <a:pt x="583" y="1370"/>
                        </a:lnTo>
                        <a:lnTo>
                          <a:pt x="583" y="1368"/>
                        </a:lnTo>
                        <a:lnTo>
                          <a:pt x="585" y="1368"/>
                        </a:lnTo>
                        <a:lnTo>
                          <a:pt x="586" y="1368"/>
                        </a:lnTo>
                        <a:lnTo>
                          <a:pt x="588" y="1367"/>
                        </a:lnTo>
                        <a:lnTo>
                          <a:pt x="590" y="1367"/>
                        </a:lnTo>
                        <a:lnTo>
                          <a:pt x="591" y="1367"/>
                        </a:lnTo>
                        <a:lnTo>
                          <a:pt x="593" y="1367"/>
                        </a:lnTo>
                        <a:lnTo>
                          <a:pt x="594" y="1367"/>
                        </a:lnTo>
                        <a:lnTo>
                          <a:pt x="596" y="1367"/>
                        </a:lnTo>
                        <a:lnTo>
                          <a:pt x="599" y="1365"/>
                        </a:lnTo>
                        <a:lnTo>
                          <a:pt x="601" y="1365"/>
                        </a:lnTo>
                        <a:lnTo>
                          <a:pt x="602" y="1364"/>
                        </a:lnTo>
                        <a:lnTo>
                          <a:pt x="604" y="1362"/>
                        </a:lnTo>
                        <a:lnTo>
                          <a:pt x="604" y="1361"/>
                        </a:lnTo>
                        <a:lnTo>
                          <a:pt x="602" y="1359"/>
                        </a:lnTo>
                        <a:lnTo>
                          <a:pt x="602" y="1357"/>
                        </a:lnTo>
                        <a:lnTo>
                          <a:pt x="601" y="1354"/>
                        </a:lnTo>
                        <a:lnTo>
                          <a:pt x="601" y="1351"/>
                        </a:lnTo>
                        <a:lnTo>
                          <a:pt x="599" y="1346"/>
                        </a:lnTo>
                        <a:lnTo>
                          <a:pt x="596" y="1338"/>
                        </a:lnTo>
                        <a:lnTo>
                          <a:pt x="593" y="1330"/>
                        </a:lnTo>
                        <a:lnTo>
                          <a:pt x="590" y="1321"/>
                        </a:lnTo>
                        <a:lnTo>
                          <a:pt x="586" y="1315"/>
                        </a:lnTo>
                        <a:lnTo>
                          <a:pt x="585" y="1310"/>
                        </a:lnTo>
                        <a:lnTo>
                          <a:pt x="582" y="1300"/>
                        </a:lnTo>
                        <a:lnTo>
                          <a:pt x="580" y="1296"/>
                        </a:lnTo>
                        <a:lnTo>
                          <a:pt x="579" y="1294"/>
                        </a:lnTo>
                        <a:lnTo>
                          <a:pt x="577" y="1292"/>
                        </a:lnTo>
                        <a:lnTo>
                          <a:pt x="575" y="1289"/>
                        </a:lnTo>
                        <a:lnTo>
                          <a:pt x="574" y="1288"/>
                        </a:lnTo>
                        <a:lnTo>
                          <a:pt x="572" y="1285"/>
                        </a:lnTo>
                        <a:lnTo>
                          <a:pt x="572" y="1283"/>
                        </a:lnTo>
                        <a:lnTo>
                          <a:pt x="571" y="1281"/>
                        </a:lnTo>
                        <a:lnTo>
                          <a:pt x="571" y="1280"/>
                        </a:lnTo>
                        <a:lnTo>
                          <a:pt x="569" y="1278"/>
                        </a:lnTo>
                        <a:lnTo>
                          <a:pt x="569" y="1277"/>
                        </a:lnTo>
                        <a:lnTo>
                          <a:pt x="569" y="1275"/>
                        </a:lnTo>
                        <a:lnTo>
                          <a:pt x="569" y="1272"/>
                        </a:lnTo>
                        <a:lnTo>
                          <a:pt x="569" y="1270"/>
                        </a:lnTo>
                        <a:lnTo>
                          <a:pt x="569" y="1269"/>
                        </a:lnTo>
                        <a:lnTo>
                          <a:pt x="569" y="1266"/>
                        </a:lnTo>
                        <a:lnTo>
                          <a:pt x="569" y="1262"/>
                        </a:lnTo>
                        <a:lnTo>
                          <a:pt x="569" y="1261"/>
                        </a:lnTo>
                        <a:lnTo>
                          <a:pt x="569" y="1258"/>
                        </a:lnTo>
                        <a:lnTo>
                          <a:pt x="569" y="1256"/>
                        </a:lnTo>
                        <a:lnTo>
                          <a:pt x="567" y="1251"/>
                        </a:lnTo>
                        <a:lnTo>
                          <a:pt x="567" y="1246"/>
                        </a:lnTo>
                        <a:lnTo>
                          <a:pt x="566" y="1242"/>
                        </a:lnTo>
                        <a:lnTo>
                          <a:pt x="566" y="1239"/>
                        </a:lnTo>
                        <a:lnTo>
                          <a:pt x="564" y="1235"/>
                        </a:lnTo>
                        <a:lnTo>
                          <a:pt x="564" y="1231"/>
                        </a:lnTo>
                        <a:lnTo>
                          <a:pt x="563" y="1227"/>
                        </a:lnTo>
                        <a:lnTo>
                          <a:pt x="561" y="1221"/>
                        </a:lnTo>
                        <a:lnTo>
                          <a:pt x="561" y="1216"/>
                        </a:lnTo>
                        <a:lnTo>
                          <a:pt x="560" y="1213"/>
                        </a:lnTo>
                        <a:lnTo>
                          <a:pt x="560" y="1212"/>
                        </a:lnTo>
                        <a:lnTo>
                          <a:pt x="560" y="1208"/>
                        </a:lnTo>
                        <a:lnTo>
                          <a:pt x="558" y="1207"/>
                        </a:lnTo>
                        <a:lnTo>
                          <a:pt x="558" y="1205"/>
                        </a:lnTo>
                        <a:lnTo>
                          <a:pt x="558" y="1202"/>
                        </a:lnTo>
                        <a:lnTo>
                          <a:pt x="560" y="1199"/>
                        </a:lnTo>
                        <a:lnTo>
                          <a:pt x="560" y="1197"/>
                        </a:lnTo>
                        <a:lnTo>
                          <a:pt x="560" y="1196"/>
                        </a:lnTo>
                        <a:lnTo>
                          <a:pt x="560" y="1194"/>
                        </a:lnTo>
                        <a:lnTo>
                          <a:pt x="560" y="1193"/>
                        </a:lnTo>
                        <a:lnTo>
                          <a:pt x="560" y="1191"/>
                        </a:lnTo>
                        <a:lnTo>
                          <a:pt x="558" y="1188"/>
                        </a:lnTo>
                        <a:lnTo>
                          <a:pt x="558" y="1186"/>
                        </a:lnTo>
                        <a:lnTo>
                          <a:pt x="558" y="1185"/>
                        </a:lnTo>
                        <a:lnTo>
                          <a:pt x="558" y="1183"/>
                        </a:lnTo>
                        <a:lnTo>
                          <a:pt x="560" y="1180"/>
                        </a:lnTo>
                        <a:lnTo>
                          <a:pt x="560" y="1178"/>
                        </a:lnTo>
                        <a:lnTo>
                          <a:pt x="560" y="1177"/>
                        </a:lnTo>
                        <a:lnTo>
                          <a:pt x="558" y="1175"/>
                        </a:lnTo>
                        <a:lnTo>
                          <a:pt x="558" y="1172"/>
                        </a:lnTo>
                        <a:lnTo>
                          <a:pt x="558" y="1169"/>
                        </a:lnTo>
                        <a:lnTo>
                          <a:pt x="556" y="1164"/>
                        </a:lnTo>
                        <a:lnTo>
                          <a:pt x="556" y="1163"/>
                        </a:lnTo>
                        <a:lnTo>
                          <a:pt x="555" y="1161"/>
                        </a:lnTo>
                        <a:lnTo>
                          <a:pt x="553" y="1159"/>
                        </a:lnTo>
                        <a:lnTo>
                          <a:pt x="552" y="1161"/>
                        </a:lnTo>
                        <a:lnTo>
                          <a:pt x="550" y="1161"/>
                        </a:lnTo>
                        <a:lnTo>
                          <a:pt x="550" y="1163"/>
                        </a:lnTo>
                        <a:lnTo>
                          <a:pt x="548" y="1164"/>
                        </a:lnTo>
                        <a:lnTo>
                          <a:pt x="547" y="1166"/>
                        </a:lnTo>
                        <a:lnTo>
                          <a:pt x="545" y="1166"/>
                        </a:lnTo>
                        <a:lnTo>
                          <a:pt x="544" y="1166"/>
                        </a:lnTo>
                        <a:lnTo>
                          <a:pt x="542" y="1166"/>
                        </a:lnTo>
                        <a:lnTo>
                          <a:pt x="542" y="1167"/>
                        </a:lnTo>
                        <a:lnTo>
                          <a:pt x="541" y="1167"/>
                        </a:lnTo>
                        <a:lnTo>
                          <a:pt x="539" y="1167"/>
                        </a:lnTo>
                        <a:lnTo>
                          <a:pt x="537" y="1167"/>
                        </a:lnTo>
                        <a:lnTo>
                          <a:pt x="536" y="1169"/>
                        </a:lnTo>
                        <a:lnTo>
                          <a:pt x="534" y="1169"/>
                        </a:lnTo>
                        <a:lnTo>
                          <a:pt x="533" y="1169"/>
                        </a:lnTo>
                        <a:lnTo>
                          <a:pt x="529" y="1169"/>
                        </a:lnTo>
                        <a:lnTo>
                          <a:pt x="525" y="1169"/>
                        </a:lnTo>
                        <a:lnTo>
                          <a:pt x="523" y="1170"/>
                        </a:lnTo>
                        <a:lnTo>
                          <a:pt x="522" y="1170"/>
                        </a:lnTo>
                        <a:lnTo>
                          <a:pt x="518" y="1170"/>
                        </a:lnTo>
                        <a:lnTo>
                          <a:pt x="517" y="1170"/>
                        </a:lnTo>
                        <a:lnTo>
                          <a:pt x="515" y="1170"/>
                        </a:lnTo>
                        <a:lnTo>
                          <a:pt x="514" y="1170"/>
                        </a:lnTo>
                        <a:lnTo>
                          <a:pt x="512" y="1170"/>
                        </a:lnTo>
                        <a:lnTo>
                          <a:pt x="510" y="1170"/>
                        </a:lnTo>
                        <a:lnTo>
                          <a:pt x="507" y="1170"/>
                        </a:lnTo>
                        <a:lnTo>
                          <a:pt x="503" y="1169"/>
                        </a:lnTo>
                        <a:lnTo>
                          <a:pt x="499" y="1167"/>
                        </a:lnTo>
                        <a:lnTo>
                          <a:pt x="496" y="1166"/>
                        </a:lnTo>
                        <a:lnTo>
                          <a:pt x="490" y="1163"/>
                        </a:lnTo>
                        <a:lnTo>
                          <a:pt x="482" y="1159"/>
                        </a:lnTo>
                        <a:lnTo>
                          <a:pt x="476" y="1156"/>
                        </a:lnTo>
                        <a:lnTo>
                          <a:pt x="469" y="1153"/>
                        </a:lnTo>
                        <a:lnTo>
                          <a:pt x="465" y="1150"/>
                        </a:lnTo>
                        <a:lnTo>
                          <a:pt x="460" y="1147"/>
                        </a:lnTo>
                        <a:lnTo>
                          <a:pt x="455" y="1144"/>
                        </a:lnTo>
                        <a:lnTo>
                          <a:pt x="449" y="1140"/>
                        </a:lnTo>
                        <a:lnTo>
                          <a:pt x="442" y="1137"/>
                        </a:lnTo>
                        <a:lnTo>
                          <a:pt x="436" y="1134"/>
                        </a:lnTo>
                        <a:lnTo>
                          <a:pt x="431" y="1131"/>
                        </a:lnTo>
                        <a:lnTo>
                          <a:pt x="426" y="1128"/>
                        </a:lnTo>
                        <a:lnTo>
                          <a:pt x="420" y="1121"/>
                        </a:lnTo>
                        <a:lnTo>
                          <a:pt x="417" y="1120"/>
                        </a:lnTo>
                        <a:lnTo>
                          <a:pt x="415" y="1118"/>
                        </a:lnTo>
                        <a:lnTo>
                          <a:pt x="412" y="1117"/>
                        </a:lnTo>
                        <a:lnTo>
                          <a:pt x="412" y="1115"/>
                        </a:lnTo>
                        <a:lnTo>
                          <a:pt x="409" y="1115"/>
                        </a:lnTo>
                        <a:lnTo>
                          <a:pt x="407" y="1115"/>
                        </a:lnTo>
                        <a:lnTo>
                          <a:pt x="403" y="1115"/>
                        </a:lnTo>
                        <a:lnTo>
                          <a:pt x="393" y="1115"/>
                        </a:lnTo>
                        <a:lnTo>
                          <a:pt x="387" y="1115"/>
                        </a:lnTo>
                        <a:lnTo>
                          <a:pt x="381" y="1115"/>
                        </a:lnTo>
                        <a:lnTo>
                          <a:pt x="374" y="1115"/>
                        </a:lnTo>
                        <a:lnTo>
                          <a:pt x="368" y="1115"/>
                        </a:lnTo>
                        <a:lnTo>
                          <a:pt x="363" y="1115"/>
                        </a:lnTo>
                        <a:lnTo>
                          <a:pt x="362" y="1115"/>
                        </a:lnTo>
                        <a:lnTo>
                          <a:pt x="360" y="1115"/>
                        </a:lnTo>
                        <a:lnTo>
                          <a:pt x="360" y="1113"/>
                        </a:lnTo>
                        <a:lnTo>
                          <a:pt x="358" y="1113"/>
                        </a:lnTo>
                        <a:lnTo>
                          <a:pt x="357" y="1110"/>
                        </a:lnTo>
                        <a:lnTo>
                          <a:pt x="354" y="1107"/>
                        </a:lnTo>
                        <a:lnTo>
                          <a:pt x="352" y="1106"/>
                        </a:lnTo>
                        <a:lnTo>
                          <a:pt x="352" y="1104"/>
                        </a:lnTo>
                        <a:lnTo>
                          <a:pt x="354" y="1104"/>
                        </a:lnTo>
                        <a:lnTo>
                          <a:pt x="352" y="1104"/>
                        </a:lnTo>
                        <a:lnTo>
                          <a:pt x="352" y="1102"/>
                        </a:lnTo>
                        <a:lnTo>
                          <a:pt x="350" y="1101"/>
                        </a:lnTo>
                        <a:lnTo>
                          <a:pt x="349" y="1101"/>
                        </a:lnTo>
                        <a:lnTo>
                          <a:pt x="347" y="1101"/>
                        </a:lnTo>
                        <a:lnTo>
                          <a:pt x="347" y="1099"/>
                        </a:lnTo>
                        <a:lnTo>
                          <a:pt x="344" y="1099"/>
                        </a:lnTo>
                        <a:lnTo>
                          <a:pt x="343" y="1099"/>
                        </a:lnTo>
                        <a:lnTo>
                          <a:pt x="341" y="1101"/>
                        </a:lnTo>
                        <a:lnTo>
                          <a:pt x="341" y="1102"/>
                        </a:lnTo>
                        <a:lnTo>
                          <a:pt x="341" y="1101"/>
                        </a:lnTo>
                        <a:lnTo>
                          <a:pt x="338" y="1101"/>
                        </a:lnTo>
                        <a:lnTo>
                          <a:pt x="338" y="1099"/>
                        </a:lnTo>
                        <a:lnTo>
                          <a:pt x="336" y="1099"/>
                        </a:lnTo>
                        <a:lnTo>
                          <a:pt x="336" y="1098"/>
                        </a:lnTo>
                        <a:lnTo>
                          <a:pt x="335" y="1098"/>
                        </a:lnTo>
                        <a:lnTo>
                          <a:pt x="331" y="1098"/>
                        </a:lnTo>
                        <a:lnTo>
                          <a:pt x="328" y="1099"/>
                        </a:lnTo>
                        <a:lnTo>
                          <a:pt x="327" y="1099"/>
                        </a:lnTo>
                        <a:lnTo>
                          <a:pt x="325" y="1101"/>
                        </a:lnTo>
                        <a:lnTo>
                          <a:pt x="324" y="1101"/>
                        </a:lnTo>
                        <a:lnTo>
                          <a:pt x="322" y="1101"/>
                        </a:lnTo>
                        <a:lnTo>
                          <a:pt x="320" y="1102"/>
                        </a:lnTo>
                        <a:lnTo>
                          <a:pt x="319" y="1102"/>
                        </a:lnTo>
                        <a:lnTo>
                          <a:pt x="317" y="1102"/>
                        </a:lnTo>
                        <a:lnTo>
                          <a:pt x="316" y="1104"/>
                        </a:lnTo>
                        <a:lnTo>
                          <a:pt x="314" y="1104"/>
                        </a:lnTo>
                        <a:lnTo>
                          <a:pt x="312" y="1102"/>
                        </a:lnTo>
                        <a:lnTo>
                          <a:pt x="309" y="1102"/>
                        </a:lnTo>
                        <a:lnTo>
                          <a:pt x="308" y="1102"/>
                        </a:lnTo>
                        <a:lnTo>
                          <a:pt x="305" y="1101"/>
                        </a:lnTo>
                        <a:lnTo>
                          <a:pt x="300" y="1101"/>
                        </a:lnTo>
                        <a:lnTo>
                          <a:pt x="295" y="1099"/>
                        </a:lnTo>
                        <a:lnTo>
                          <a:pt x="290" y="1099"/>
                        </a:lnTo>
                        <a:lnTo>
                          <a:pt x="287" y="1098"/>
                        </a:lnTo>
                        <a:lnTo>
                          <a:pt x="286" y="1096"/>
                        </a:lnTo>
                        <a:lnTo>
                          <a:pt x="284" y="1094"/>
                        </a:lnTo>
                        <a:lnTo>
                          <a:pt x="282" y="1093"/>
                        </a:lnTo>
                        <a:lnTo>
                          <a:pt x="281" y="1091"/>
                        </a:lnTo>
                        <a:lnTo>
                          <a:pt x="279" y="1091"/>
                        </a:lnTo>
                        <a:lnTo>
                          <a:pt x="274" y="1094"/>
                        </a:lnTo>
                        <a:lnTo>
                          <a:pt x="273" y="1098"/>
                        </a:lnTo>
                        <a:lnTo>
                          <a:pt x="271" y="1099"/>
                        </a:lnTo>
                        <a:lnTo>
                          <a:pt x="270" y="1102"/>
                        </a:lnTo>
                        <a:lnTo>
                          <a:pt x="270" y="1104"/>
                        </a:lnTo>
                        <a:lnTo>
                          <a:pt x="270" y="1109"/>
                        </a:lnTo>
                        <a:lnTo>
                          <a:pt x="271" y="1112"/>
                        </a:lnTo>
                        <a:lnTo>
                          <a:pt x="271" y="1115"/>
                        </a:lnTo>
                        <a:lnTo>
                          <a:pt x="270" y="1118"/>
                        </a:lnTo>
                        <a:lnTo>
                          <a:pt x="268" y="1121"/>
                        </a:lnTo>
                        <a:lnTo>
                          <a:pt x="263" y="1123"/>
                        </a:lnTo>
                        <a:lnTo>
                          <a:pt x="259" y="1125"/>
                        </a:lnTo>
                        <a:lnTo>
                          <a:pt x="254" y="1126"/>
                        </a:lnTo>
                        <a:lnTo>
                          <a:pt x="252" y="1126"/>
                        </a:lnTo>
                        <a:lnTo>
                          <a:pt x="251" y="1118"/>
                        </a:lnTo>
                        <a:lnTo>
                          <a:pt x="251" y="1115"/>
                        </a:lnTo>
                        <a:lnTo>
                          <a:pt x="249" y="1109"/>
                        </a:lnTo>
                        <a:lnTo>
                          <a:pt x="249" y="1106"/>
                        </a:lnTo>
                        <a:lnTo>
                          <a:pt x="247" y="1101"/>
                        </a:lnTo>
                        <a:lnTo>
                          <a:pt x="247" y="1098"/>
                        </a:lnTo>
                        <a:lnTo>
                          <a:pt x="246" y="1093"/>
                        </a:lnTo>
                        <a:lnTo>
                          <a:pt x="246" y="1090"/>
                        </a:lnTo>
                        <a:lnTo>
                          <a:pt x="244" y="1083"/>
                        </a:lnTo>
                        <a:lnTo>
                          <a:pt x="243" y="1079"/>
                        </a:lnTo>
                        <a:lnTo>
                          <a:pt x="243" y="1074"/>
                        </a:lnTo>
                        <a:lnTo>
                          <a:pt x="243" y="1071"/>
                        </a:lnTo>
                        <a:lnTo>
                          <a:pt x="241" y="1066"/>
                        </a:lnTo>
                        <a:lnTo>
                          <a:pt x="241" y="1061"/>
                        </a:lnTo>
                        <a:lnTo>
                          <a:pt x="240" y="1061"/>
                        </a:lnTo>
                        <a:lnTo>
                          <a:pt x="238" y="1060"/>
                        </a:lnTo>
                        <a:lnTo>
                          <a:pt x="238" y="1058"/>
                        </a:lnTo>
                        <a:lnTo>
                          <a:pt x="236" y="1058"/>
                        </a:lnTo>
                        <a:lnTo>
                          <a:pt x="236" y="1056"/>
                        </a:lnTo>
                        <a:lnTo>
                          <a:pt x="235" y="1055"/>
                        </a:lnTo>
                        <a:lnTo>
                          <a:pt x="232" y="1052"/>
                        </a:lnTo>
                        <a:lnTo>
                          <a:pt x="230" y="1048"/>
                        </a:lnTo>
                        <a:lnTo>
                          <a:pt x="228" y="1047"/>
                        </a:lnTo>
                        <a:lnTo>
                          <a:pt x="225" y="1045"/>
                        </a:lnTo>
                        <a:lnTo>
                          <a:pt x="224" y="1045"/>
                        </a:lnTo>
                        <a:lnTo>
                          <a:pt x="219" y="1044"/>
                        </a:lnTo>
                        <a:lnTo>
                          <a:pt x="216" y="1044"/>
                        </a:lnTo>
                        <a:lnTo>
                          <a:pt x="214" y="1044"/>
                        </a:lnTo>
                        <a:lnTo>
                          <a:pt x="208" y="1045"/>
                        </a:lnTo>
                        <a:lnTo>
                          <a:pt x="203" y="1047"/>
                        </a:lnTo>
                        <a:lnTo>
                          <a:pt x="200" y="1048"/>
                        </a:lnTo>
                        <a:lnTo>
                          <a:pt x="197" y="1050"/>
                        </a:lnTo>
                        <a:lnTo>
                          <a:pt x="195" y="1050"/>
                        </a:lnTo>
                        <a:lnTo>
                          <a:pt x="194" y="1050"/>
                        </a:lnTo>
                        <a:lnTo>
                          <a:pt x="192" y="1050"/>
                        </a:lnTo>
                        <a:lnTo>
                          <a:pt x="190" y="1050"/>
                        </a:lnTo>
                        <a:lnTo>
                          <a:pt x="187" y="1048"/>
                        </a:lnTo>
                        <a:lnTo>
                          <a:pt x="186" y="1047"/>
                        </a:lnTo>
                        <a:lnTo>
                          <a:pt x="183" y="1047"/>
                        </a:lnTo>
                        <a:lnTo>
                          <a:pt x="181" y="1045"/>
                        </a:lnTo>
                        <a:lnTo>
                          <a:pt x="176" y="1045"/>
                        </a:lnTo>
                        <a:lnTo>
                          <a:pt x="175" y="1044"/>
                        </a:lnTo>
                        <a:lnTo>
                          <a:pt x="175" y="1042"/>
                        </a:lnTo>
                        <a:lnTo>
                          <a:pt x="175" y="1039"/>
                        </a:lnTo>
                        <a:lnTo>
                          <a:pt x="175" y="1037"/>
                        </a:lnTo>
                        <a:lnTo>
                          <a:pt x="175" y="1036"/>
                        </a:lnTo>
                        <a:lnTo>
                          <a:pt x="173" y="1034"/>
                        </a:lnTo>
                        <a:lnTo>
                          <a:pt x="173" y="1031"/>
                        </a:lnTo>
                        <a:lnTo>
                          <a:pt x="173" y="1029"/>
                        </a:lnTo>
                        <a:lnTo>
                          <a:pt x="173" y="1028"/>
                        </a:lnTo>
                        <a:lnTo>
                          <a:pt x="173" y="1026"/>
                        </a:lnTo>
                        <a:lnTo>
                          <a:pt x="173" y="1025"/>
                        </a:lnTo>
                        <a:lnTo>
                          <a:pt x="173" y="1023"/>
                        </a:lnTo>
                        <a:lnTo>
                          <a:pt x="171" y="1022"/>
                        </a:lnTo>
                        <a:lnTo>
                          <a:pt x="170" y="1018"/>
                        </a:lnTo>
                        <a:lnTo>
                          <a:pt x="168" y="1017"/>
                        </a:lnTo>
                        <a:lnTo>
                          <a:pt x="167" y="1017"/>
                        </a:lnTo>
                        <a:lnTo>
                          <a:pt x="165" y="1017"/>
                        </a:lnTo>
                        <a:lnTo>
                          <a:pt x="164" y="1017"/>
                        </a:lnTo>
                        <a:lnTo>
                          <a:pt x="160" y="1015"/>
                        </a:lnTo>
                        <a:lnTo>
                          <a:pt x="156" y="1015"/>
                        </a:lnTo>
                        <a:lnTo>
                          <a:pt x="154" y="1014"/>
                        </a:lnTo>
                        <a:lnTo>
                          <a:pt x="154" y="1012"/>
                        </a:lnTo>
                        <a:lnTo>
                          <a:pt x="152" y="1010"/>
                        </a:lnTo>
                        <a:lnTo>
                          <a:pt x="152" y="1009"/>
                        </a:lnTo>
                        <a:lnTo>
                          <a:pt x="151" y="1007"/>
                        </a:lnTo>
                        <a:lnTo>
                          <a:pt x="152" y="1006"/>
                        </a:lnTo>
                        <a:lnTo>
                          <a:pt x="154" y="1004"/>
                        </a:lnTo>
                        <a:lnTo>
                          <a:pt x="156" y="1003"/>
                        </a:lnTo>
                        <a:lnTo>
                          <a:pt x="156" y="1001"/>
                        </a:lnTo>
                        <a:lnTo>
                          <a:pt x="157" y="999"/>
                        </a:lnTo>
                        <a:lnTo>
                          <a:pt x="157" y="998"/>
                        </a:lnTo>
                        <a:lnTo>
                          <a:pt x="157" y="996"/>
                        </a:lnTo>
                        <a:lnTo>
                          <a:pt x="156" y="995"/>
                        </a:lnTo>
                        <a:lnTo>
                          <a:pt x="156" y="993"/>
                        </a:lnTo>
                        <a:lnTo>
                          <a:pt x="156" y="991"/>
                        </a:lnTo>
                        <a:lnTo>
                          <a:pt x="156" y="990"/>
                        </a:lnTo>
                        <a:lnTo>
                          <a:pt x="157" y="987"/>
                        </a:lnTo>
                        <a:lnTo>
                          <a:pt x="157" y="985"/>
                        </a:lnTo>
                        <a:lnTo>
                          <a:pt x="159" y="984"/>
                        </a:lnTo>
                        <a:lnTo>
                          <a:pt x="160" y="980"/>
                        </a:lnTo>
                        <a:lnTo>
                          <a:pt x="162" y="979"/>
                        </a:lnTo>
                        <a:lnTo>
                          <a:pt x="162" y="977"/>
                        </a:lnTo>
                        <a:lnTo>
                          <a:pt x="162" y="974"/>
                        </a:lnTo>
                        <a:lnTo>
                          <a:pt x="160" y="972"/>
                        </a:lnTo>
                        <a:lnTo>
                          <a:pt x="160" y="971"/>
                        </a:lnTo>
                        <a:lnTo>
                          <a:pt x="162" y="971"/>
                        </a:lnTo>
                        <a:lnTo>
                          <a:pt x="162" y="968"/>
                        </a:lnTo>
                        <a:lnTo>
                          <a:pt x="162" y="966"/>
                        </a:lnTo>
                        <a:lnTo>
                          <a:pt x="162" y="963"/>
                        </a:lnTo>
                        <a:lnTo>
                          <a:pt x="162" y="960"/>
                        </a:lnTo>
                        <a:lnTo>
                          <a:pt x="162" y="958"/>
                        </a:lnTo>
                        <a:lnTo>
                          <a:pt x="162" y="955"/>
                        </a:lnTo>
                        <a:lnTo>
                          <a:pt x="162" y="953"/>
                        </a:lnTo>
                        <a:lnTo>
                          <a:pt x="164" y="950"/>
                        </a:lnTo>
                        <a:lnTo>
                          <a:pt x="164" y="949"/>
                        </a:lnTo>
                        <a:lnTo>
                          <a:pt x="165" y="947"/>
                        </a:lnTo>
                        <a:lnTo>
                          <a:pt x="167" y="946"/>
                        </a:lnTo>
                        <a:lnTo>
                          <a:pt x="167" y="944"/>
                        </a:lnTo>
                        <a:lnTo>
                          <a:pt x="168" y="942"/>
                        </a:lnTo>
                        <a:lnTo>
                          <a:pt x="168" y="941"/>
                        </a:lnTo>
                        <a:lnTo>
                          <a:pt x="168" y="939"/>
                        </a:lnTo>
                        <a:lnTo>
                          <a:pt x="168" y="938"/>
                        </a:lnTo>
                        <a:lnTo>
                          <a:pt x="167" y="936"/>
                        </a:lnTo>
                        <a:lnTo>
                          <a:pt x="165" y="934"/>
                        </a:lnTo>
                        <a:lnTo>
                          <a:pt x="165" y="933"/>
                        </a:lnTo>
                        <a:lnTo>
                          <a:pt x="165" y="931"/>
                        </a:lnTo>
                        <a:lnTo>
                          <a:pt x="164" y="930"/>
                        </a:lnTo>
                        <a:lnTo>
                          <a:pt x="164" y="928"/>
                        </a:lnTo>
                        <a:lnTo>
                          <a:pt x="165" y="928"/>
                        </a:lnTo>
                        <a:lnTo>
                          <a:pt x="165" y="927"/>
                        </a:lnTo>
                        <a:lnTo>
                          <a:pt x="167" y="927"/>
                        </a:lnTo>
                        <a:lnTo>
                          <a:pt x="168" y="925"/>
                        </a:lnTo>
                        <a:lnTo>
                          <a:pt x="170" y="923"/>
                        </a:lnTo>
                        <a:lnTo>
                          <a:pt x="171" y="922"/>
                        </a:lnTo>
                        <a:lnTo>
                          <a:pt x="173" y="920"/>
                        </a:lnTo>
                        <a:lnTo>
                          <a:pt x="175" y="920"/>
                        </a:lnTo>
                        <a:lnTo>
                          <a:pt x="176" y="919"/>
                        </a:lnTo>
                        <a:lnTo>
                          <a:pt x="176" y="920"/>
                        </a:lnTo>
                        <a:lnTo>
                          <a:pt x="178" y="920"/>
                        </a:lnTo>
                        <a:lnTo>
                          <a:pt x="178" y="919"/>
                        </a:lnTo>
                        <a:lnTo>
                          <a:pt x="179" y="919"/>
                        </a:lnTo>
                        <a:lnTo>
                          <a:pt x="181" y="919"/>
                        </a:lnTo>
                        <a:lnTo>
                          <a:pt x="183" y="919"/>
                        </a:lnTo>
                        <a:lnTo>
                          <a:pt x="184" y="919"/>
                        </a:lnTo>
                        <a:lnTo>
                          <a:pt x="186" y="920"/>
                        </a:lnTo>
                        <a:lnTo>
                          <a:pt x="187" y="920"/>
                        </a:lnTo>
                        <a:lnTo>
                          <a:pt x="189" y="920"/>
                        </a:lnTo>
                        <a:lnTo>
                          <a:pt x="190" y="920"/>
                        </a:lnTo>
                        <a:lnTo>
                          <a:pt x="192" y="922"/>
                        </a:lnTo>
                        <a:lnTo>
                          <a:pt x="194" y="922"/>
                        </a:lnTo>
                        <a:lnTo>
                          <a:pt x="194" y="923"/>
                        </a:lnTo>
                        <a:lnTo>
                          <a:pt x="195" y="923"/>
                        </a:lnTo>
                        <a:lnTo>
                          <a:pt x="197" y="923"/>
                        </a:lnTo>
                        <a:lnTo>
                          <a:pt x="198" y="923"/>
                        </a:lnTo>
                        <a:lnTo>
                          <a:pt x="200" y="925"/>
                        </a:lnTo>
                        <a:lnTo>
                          <a:pt x="202" y="925"/>
                        </a:lnTo>
                        <a:lnTo>
                          <a:pt x="205" y="927"/>
                        </a:lnTo>
                        <a:lnTo>
                          <a:pt x="205" y="925"/>
                        </a:lnTo>
                        <a:lnTo>
                          <a:pt x="205" y="923"/>
                        </a:lnTo>
                        <a:lnTo>
                          <a:pt x="206" y="923"/>
                        </a:lnTo>
                        <a:lnTo>
                          <a:pt x="206" y="922"/>
                        </a:lnTo>
                        <a:lnTo>
                          <a:pt x="206" y="920"/>
                        </a:lnTo>
                        <a:lnTo>
                          <a:pt x="206" y="919"/>
                        </a:lnTo>
                        <a:lnTo>
                          <a:pt x="206" y="917"/>
                        </a:lnTo>
                        <a:lnTo>
                          <a:pt x="208" y="915"/>
                        </a:lnTo>
                        <a:lnTo>
                          <a:pt x="208" y="914"/>
                        </a:lnTo>
                        <a:lnTo>
                          <a:pt x="208" y="912"/>
                        </a:lnTo>
                        <a:lnTo>
                          <a:pt x="209" y="911"/>
                        </a:lnTo>
                        <a:lnTo>
                          <a:pt x="211" y="909"/>
                        </a:lnTo>
                        <a:lnTo>
                          <a:pt x="213" y="911"/>
                        </a:lnTo>
                        <a:lnTo>
                          <a:pt x="214" y="911"/>
                        </a:lnTo>
                        <a:lnTo>
                          <a:pt x="216" y="911"/>
                        </a:lnTo>
                        <a:lnTo>
                          <a:pt x="217" y="911"/>
                        </a:lnTo>
                        <a:lnTo>
                          <a:pt x="219" y="911"/>
                        </a:lnTo>
                        <a:lnTo>
                          <a:pt x="221" y="911"/>
                        </a:lnTo>
                        <a:lnTo>
                          <a:pt x="222" y="911"/>
                        </a:lnTo>
                        <a:lnTo>
                          <a:pt x="224" y="911"/>
                        </a:lnTo>
                        <a:lnTo>
                          <a:pt x="225" y="909"/>
                        </a:lnTo>
                        <a:lnTo>
                          <a:pt x="227" y="909"/>
                        </a:lnTo>
                        <a:lnTo>
                          <a:pt x="228" y="909"/>
                        </a:lnTo>
                        <a:lnTo>
                          <a:pt x="228" y="908"/>
                        </a:lnTo>
                        <a:lnTo>
                          <a:pt x="230" y="908"/>
                        </a:lnTo>
                        <a:lnTo>
                          <a:pt x="232" y="908"/>
                        </a:lnTo>
                        <a:lnTo>
                          <a:pt x="233" y="908"/>
                        </a:lnTo>
                        <a:lnTo>
                          <a:pt x="233" y="906"/>
                        </a:lnTo>
                        <a:lnTo>
                          <a:pt x="235" y="906"/>
                        </a:lnTo>
                        <a:lnTo>
                          <a:pt x="235" y="904"/>
                        </a:lnTo>
                        <a:lnTo>
                          <a:pt x="236" y="904"/>
                        </a:lnTo>
                        <a:lnTo>
                          <a:pt x="236" y="903"/>
                        </a:lnTo>
                        <a:lnTo>
                          <a:pt x="238" y="903"/>
                        </a:lnTo>
                        <a:lnTo>
                          <a:pt x="238" y="901"/>
                        </a:lnTo>
                        <a:lnTo>
                          <a:pt x="240" y="901"/>
                        </a:lnTo>
                        <a:lnTo>
                          <a:pt x="240" y="900"/>
                        </a:lnTo>
                        <a:lnTo>
                          <a:pt x="238" y="900"/>
                        </a:lnTo>
                        <a:lnTo>
                          <a:pt x="236" y="896"/>
                        </a:lnTo>
                        <a:lnTo>
                          <a:pt x="236" y="895"/>
                        </a:lnTo>
                        <a:lnTo>
                          <a:pt x="235" y="892"/>
                        </a:lnTo>
                        <a:lnTo>
                          <a:pt x="233" y="890"/>
                        </a:lnTo>
                        <a:lnTo>
                          <a:pt x="233" y="889"/>
                        </a:lnTo>
                        <a:lnTo>
                          <a:pt x="232" y="885"/>
                        </a:lnTo>
                        <a:lnTo>
                          <a:pt x="230" y="884"/>
                        </a:lnTo>
                        <a:lnTo>
                          <a:pt x="230" y="882"/>
                        </a:lnTo>
                        <a:lnTo>
                          <a:pt x="228" y="881"/>
                        </a:lnTo>
                        <a:lnTo>
                          <a:pt x="227" y="877"/>
                        </a:lnTo>
                        <a:lnTo>
                          <a:pt x="225" y="877"/>
                        </a:lnTo>
                        <a:lnTo>
                          <a:pt x="222" y="876"/>
                        </a:lnTo>
                        <a:lnTo>
                          <a:pt x="221" y="876"/>
                        </a:lnTo>
                        <a:lnTo>
                          <a:pt x="217" y="876"/>
                        </a:lnTo>
                        <a:lnTo>
                          <a:pt x="214" y="876"/>
                        </a:lnTo>
                        <a:lnTo>
                          <a:pt x="213" y="873"/>
                        </a:lnTo>
                        <a:lnTo>
                          <a:pt x="213" y="869"/>
                        </a:lnTo>
                        <a:lnTo>
                          <a:pt x="213" y="868"/>
                        </a:lnTo>
                        <a:lnTo>
                          <a:pt x="211" y="863"/>
                        </a:lnTo>
                        <a:lnTo>
                          <a:pt x="211" y="862"/>
                        </a:lnTo>
                        <a:lnTo>
                          <a:pt x="209" y="860"/>
                        </a:lnTo>
                        <a:lnTo>
                          <a:pt x="209" y="858"/>
                        </a:lnTo>
                        <a:lnTo>
                          <a:pt x="209" y="855"/>
                        </a:lnTo>
                        <a:lnTo>
                          <a:pt x="209" y="854"/>
                        </a:lnTo>
                        <a:lnTo>
                          <a:pt x="209" y="850"/>
                        </a:lnTo>
                        <a:lnTo>
                          <a:pt x="208" y="849"/>
                        </a:lnTo>
                        <a:lnTo>
                          <a:pt x="206" y="846"/>
                        </a:lnTo>
                        <a:lnTo>
                          <a:pt x="205" y="844"/>
                        </a:lnTo>
                        <a:lnTo>
                          <a:pt x="202" y="844"/>
                        </a:lnTo>
                        <a:lnTo>
                          <a:pt x="200" y="844"/>
                        </a:lnTo>
                        <a:lnTo>
                          <a:pt x="197" y="844"/>
                        </a:lnTo>
                        <a:lnTo>
                          <a:pt x="194" y="843"/>
                        </a:lnTo>
                        <a:lnTo>
                          <a:pt x="192" y="841"/>
                        </a:lnTo>
                        <a:lnTo>
                          <a:pt x="189" y="839"/>
                        </a:lnTo>
                        <a:lnTo>
                          <a:pt x="187" y="836"/>
                        </a:lnTo>
                        <a:lnTo>
                          <a:pt x="186" y="833"/>
                        </a:lnTo>
                        <a:lnTo>
                          <a:pt x="184" y="830"/>
                        </a:lnTo>
                        <a:lnTo>
                          <a:pt x="184" y="828"/>
                        </a:lnTo>
                        <a:lnTo>
                          <a:pt x="183" y="827"/>
                        </a:lnTo>
                        <a:lnTo>
                          <a:pt x="183" y="825"/>
                        </a:lnTo>
                        <a:lnTo>
                          <a:pt x="181" y="822"/>
                        </a:lnTo>
                        <a:lnTo>
                          <a:pt x="179" y="822"/>
                        </a:lnTo>
                        <a:lnTo>
                          <a:pt x="178" y="819"/>
                        </a:lnTo>
                        <a:lnTo>
                          <a:pt x="176" y="817"/>
                        </a:lnTo>
                        <a:lnTo>
                          <a:pt x="175" y="817"/>
                        </a:lnTo>
                        <a:lnTo>
                          <a:pt x="173" y="816"/>
                        </a:lnTo>
                        <a:lnTo>
                          <a:pt x="171" y="816"/>
                        </a:lnTo>
                        <a:lnTo>
                          <a:pt x="170" y="814"/>
                        </a:lnTo>
                        <a:lnTo>
                          <a:pt x="168" y="814"/>
                        </a:lnTo>
                        <a:lnTo>
                          <a:pt x="165" y="812"/>
                        </a:lnTo>
                        <a:lnTo>
                          <a:pt x="164" y="812"/>
                        </a:lnTo>
                        <a:lnTo>
                          <a:pt x="159" y="811"/>
                        </a:lnTo>
                        <a:lnTo>
                          <a:pt x="156" y="811"/>
                        </a:lnTo>
                        <a:lnTo>
                          <a:pt x="152" y="809"/>
                        </a:lnTo>
                        <a:lnTo>
                          <a:pt x="151" y="808"/>
                        </a:lnTo>
                        <a:lnTo>
                          <a:pt x="148" y="808"/>
                        </a:lnTo>
                        <a:lnTo>
                          <a:pt x="145" y="806"/>
                        </a:lnTo>
                        <a:lnTo>
                          <a:pt x="143" y="805"/>
                        </a:lnTo>
                        <a:lnTo>
                          <a:pt x="141" y="805"/>
                        </a:lnTo>
                        <a:lnTo>
                          <a:pt x="138" y="805"/>
                        </a:lnTo>
                        <a:lnTo>
                          <a:pt x="132" y="803"/>
                        </a:lnTo>
                        <a:lnTo>
                          <a:pt x="126" y="801"/>
                        </a:lnTo>
                        <a:lnTo>
                          <a:pt x="124" y="801"/>
                        </a:lnTo>
                        <a:lnTo>
                          <a:pt x="122" y="801"/>
                        </a:lnTo>
                        <a:lnTo>
                          <a:pt x="122" y="800"/>
                        </a:lnTo>
                        <a:lnTo>
                          <a:pt x="121" y="798"/>
                        </a:lnTo>
                        <a:lnTo>
                          <a:pt x="119" y="798"/>
                        </a:lnTo>
                        <a:lnTo>
                          <a:pt x="118" y="798"/>
                        </a:lnTo>
                        <a:lnTo>
                          <a:pt x="118" y="797"/>
                        </a:lnTo>
                        <a:lnTo>
                          <a:pt x="116" y="797"/>
                        </a:lnTo>
                        <a:lnTo>
                          <a:pt x="114" y="797"/>
                        </a:lnTo>
                        <a:lnTo>
                          <a:pt x="113" y="795"/>
                        </a:lnTo>
                        <a:lnTo>
                          <a:pt x="114" y="793"/>
                        </a:lnTo>
                        <a:lnTo>
                          <a:pt x="114" y="792"/>
                        </a:lnTo>
                        <a:lnTo>
                          <a:pt x="114" y="790"/>
                        </a:lnTo>
                        <a:lnTo>
                          <a:pt x="116" y="789"/>
                        </a:lnTo>
                        <a:lnTo>
                          <a:pt x="116" y="787"/>
                        </a:lnTo>
                        <a:lnTo>
                          <a:pt x="114" y="787"/>
                        </a:lnTo>
                        <a:lnTo>
                          <a:pt x="114" y="786"/>
                        </a:lnTo>
                        <a:lnTo>
                          <a:pt x="113" y="786"/>
                        </a:lnTo>
                        <a:lnTo>
                          <a:pt x="113" y="784"/>
                        </a:lnTo>
                        <a:lnTo>
                          <a:pt x="114" y="784"/>
                        </a:lnTo>
                        <a:lnTo>
                          <a:pt x="114" y="782"/>
                        </a:lnTo>
                        <a:lnTo>
                          <a:pt x="116" y="781"/>
                        </a:lnTo>
                        <a:lnTo>
                          <a:pt x="114" y="781"/>
                        </a:lnTo>
                        <a:lnTo>
                          <a:pt x="114" y="779"/>
                        </a:lnTo>
                        <a:lnTo>
                          <a:pt x="116" y="778"/>
                        </a:lnTo>
                        <a:lnTo>
                          <a:pt x="114" y="776"/>
                        </a:lnTo>
                        <a:lnTo>
                          <a:pt x="116" y="774"/>
                        </a:lnTo>
                        <a:lnTo>
                          <a:pt x="116" y="773"/>
                        </a:lnTo>
                        <a:lnTo>
                          <a:pt x="118" y="773"/>
                        </a:lnTo>
                        <a:lnTo>
                          <a:pt x="119" y="773"/>
                        </a:lnTo>
                        <a:lnTo>
                          <a:pt x="121" y="773"/>
                        </a:lnTo>
                        <a:lnTo>
                          <a:pt x="122" y="771"/>
                        </a:lnTo>
                        <a:lnTo>
                          <a:pt x="122" y="770"/>
                        </a:lnTo>
                        <a:lnTo>
                          <a:pt x="122" y="768"/>
                        </a:lnTo>
                        <a:lnTo>
                          <a:pt x="124" y="768"/>
                        </a:lnTo>
                        <a:lnTo>
                          <a:pt x="124" y="767"/>
                        </a:lnTo>
                        <a:lnTo>
                          <a:pt x="124" y="765"/>
                        </a:lnTo>
                        <a:lnTo>
                          <a:pt x="124" y="763"/>
                        </a:lnTo>
                        <a:lnTo>
                          <a:pt x="124" y="762"/>
                        </a:lnTo>
                        <a:lnTo>
                          <a:pt x="124" y="760"/>
                        </a:lnTo>
                        <a:lnTo>
                          <a:pt x="126" y="757"/>
                        </a:lnTo>
                        <a:lnTo>
                          <a:pt x="127" y="757"/>
                        </a:lnTo>
                        <a:lnTo>
                          <a:pt x="129" y="757"/>
                        </a:lnTo>
                        <a:lnTo>
                          <a:pt x="129" y="755"/>
                        </a:lnTo>
                        <a:lnTo>
                          <a:pt x="129" y="754"/>
                        </a:lnTo>
                        <a:lnTo>
                          <a:pt x="129" y="752"/>
                        </a:lnTo>
                        <a:lnTo>
                          <a:pt x="129" y="751"/>
                        </a:lnTo>
                        <a:lnTo>
                          <a:pt x="132" y="752"/>
                        </a:lnTo>
                        <a:lnTo>
                          <a:pt x="133" y="752"/>
                        </a:lnTo>
                        <a:lnTo>
                          <a:pt x="133" y="751"/>
                        </a:lnTo>
                        <a:lnTo>
                          <a:pt x="135" y="751"/>
                        </a:lnTo>
                        <a:lnTo>
                          <a:pt x="135" y="749"/>
                        </a:lnTo>
                        <a:lnTo>
                          <a:pt x="137" y="749"/>
                        </a:lnTo>
                        <a:lnTo>
                          <a:pt x="137" y="748"/>
                        </a:lnTo>
                        <a:lnTo>
                          <a:pt x="137" y="746"/>
                        </a:lnTo>
                        <a:lnTo>
                          <a:pt x="137" y="744"/>
                        </a:lnTo>
                        <a:lnTo>
                          <a:pt x="138" y="744"/>
                        </a:lnTo>
                        <a:lnTo>
                          <a:pt x="138" y="743"/>
                        </a:lnTo>
                        <a:lnTo>
                          <a:pt x="140" y="743"/>
                        </a:lnTo>
                        <a:lnTo>
                          <a:pt x="141" y="744"/>
                        </a:lnTo>
                        <a:lnTo>
                          <a:pt x="141" y="743"/>
                        </a:lnTo>
                        <a:lnTo>
                          <a:pt x="143" y="743"/>
                        </a:lnTo>
                        <a:lnTo>
                          <a:pt x="143" y="741"/>
                        </a:lnTo>
                        <a:lnTo>
                          <a:pt x="143" y="740"/>
                        </a:lnTo>
                        <a:lnTo>
                          <a:pt x="145" y="740"/>
                        </a:lnTo>
                        <a:lnTo>
                          <a:pt x="145" y="738"/>
                        </a:lnTo>
                        <a:lnTo>
                          <a:pt x="146" y="738"/>
                        </a:lnTo>
                        <a:lnTo>
                          <a:pt x="146" y="736"/>
                        </a:lnTo>
                        <a:lnTo>
                          <a:pt x="146" y="735"/>
                        </a:lnTo>
                        <a:lnTo>
                          <a:pt x="146" y="733"/>
                        </a:lnTo>
                        <a:lnTo>
                          <a:pt x="148" y="733"/>
                        </a:lnTo>
                        <a:lnTo>
                          <a:pt x="149" y="733"/>
                        </a:lnTo>
                        <a:lnTo>
                          <a:pt x="149" y="732"/>
                        </a:lnTo>
                        <a:lnTo>
                          <a:pt x="151" y="732"/>
                        </a:lnTo>
                        <a:lnTo>
                          <a:pt x="151" y="730"/>
                        </a:lnTo>
                        <a:lnTo>
                          <a:pt x="151" y="729"/>
                        </a:lnTo>
                        <a:lnTo>
                          <a:pt x="152" y="729"/>
                        </a:lnTo>
                        <a:lnTo>
                          <a:pt x="152" y="727"/>
                        </a:lnTo>
                        <a:lnTo>
                          <a:pt x="152" y="725"/>
                        </a:lnTo>
                        <a:lnTo>
                          <a:pt x="151" y="725"/>
                        </a:lnTo>
                        <a:lnTo>
                          <a:pt x="149" y="724"/>
                        </a:lnTo>
                        <a:lnTo>
                          <a:pt x="149" y="722"/>
                        </a:lnTo>
                        <a:lnTo>
                          <a:pt x="148" y="722"/>
                        </a:lnTo>
                        <a:lnTo>
                          <a:pt x="146" y="721"/>
                        </a:lnTo>
                        <a:lnTo>
                          <a:pt x="145" y="719"/>
                        </a:lnTo>
                        <a:lnTo>
                          <a:pt x="143" y="717"/>
                        </a:lnTo>
                        <a:lnTo>
                          <a:pt x="141" y="717"/>
                        </a:lnTo>
                        <a:lnTo>
                          <a:pt x="140" y="716"/>
                        </a:lnTo>
                        <a:lnTo>
                          <a:pt x="140" y="714"/>
                        </a:lnTo>
                        <a:lnTo>
                          <a:pt x="138" y="714"/>
                        </a:lnTo>
                        <a:lnTo>
                          <a:pt x="138" y="711"/>
                        </a:lnTo>
                        <a:lnTo>
                          <a:pt x="137" y="711"/>
                        </a:lnTo>
                        <a:lnTo>
                          <a:pt x="135" y="710"/>
                        </a:lnTo>
                        <a:lnTo>
                          <a:pt x="133" y="710"/>
                        </a:lnTo>
                        <a:lnTo>
                          <a:pt x="132" y="708"/>
                        </a:lnTo>
                        <a:lnTo>
                          <a:pt x="130" y="708"/>
                        </a:lnTo>
                        <a:lnTo>
                          <a:pt x="129" y="706"/>
                        </a:lnTo>
                        <a:lnTo>
                          <a:pt x="127" y="705"/>
                        </a:lnTo>
                        <a:lnTo>
                          <a:pt x="126" y="703"/>
                        </a:lnTo>
                        <a:lnTo>
                          <a:pt x="122" y="703"/>
                        </a:lnTo>
                        <a:lnTo>
                          <a:pt x="119" y="703"/>
                        </a:lnTo>
                        <a:lnTo>
                          <a:pt x="116" y="703"/>
                        </a:lnTo>
                        <a:lnTo>
                          <a:pt x="113" y="703"/>
                        </a:lnTo>
                        <a:lnTo>
                          <a:pt x="110" y="703"/>
                        </a:lnTo>
                        <a:lnTo>
                          <a:pt x="107" y="705"/>
                        </a:lnTo>
                        <a:lnTo>
                          <a:pt x="103" y="705"/>
                        </a:lnTo>
                        <a:lnTo>
                          <a:pt x="100" y="705"/>
                        </a:lnTo>
                        <a:lnTo>
                          <a:pt x="97" y="705"/>
                        </a:lnTo>
                        <a:lnTo>
                          <a:pt x="94" y="705"/>
                        </a:lnTo>
                        <a:lnTo>
                          <a:pt x="91" y="705"/>
                        </a:lnTo>
                        <a:lnTo>
                          <a:pt x="89" y="703"/>
                        </a:lnTo>
                        <a:lnTo>
                          <a:pt x="86" y="702"/>
                        </a:lnTo>
                        <a:lnTo>
                          <a:pt x="84" y="700"/>
                        </a:lnTo>
                        <a:lnTo>
                          <a:pt x="83" y="697"/>
                        </a:lnTo>
                        <a:lnTo>
                          <a:pt x="81" y="695"/>
                        </a:lnTo>
                        <a:lnTo>
                          <a:pt x="81" y="694"/>
                        </a:lnTo>
                        <a:lnTo>
                          <a:pt x="80" y="694"/>
                        </a:lnTo>
                        <a:lnTo>
                          <a:pt x="80" y="692"/>
                        </a:lnTo>
                        <a:lnTo>
                          <a:pt x="80" y="690"/>
                        </a:lnTo>
                        <a:lnTo>
                          <a:pt x="78" y="690"/>
                        </a:lnTo>
                        <a:lnTo>
                          <a:pt x="78" y="689"/>
                        </a:lnTo>
                        <a:lnTo>
                          <a:pt x="78" y="687"/>
                        </a:lnTo>
                        <a:lnTo>
                          <a:pt x="80" y="686"/>
                        </a:lnTo>
                        <a:lnTo>
                          <a:pt x="80" y="684"/>
                        </a:lnTo>
                        <a:lnTo>
                          <a:pt x="80" y="683"/>
                        </a:lnTo>
                        <a:lnTo>
                          <a:pt x="80" y="681"/>
                        </a:lnTo>
                        <a:lnTo>
                          <a:pt x="80" y="679"/>
                        </a:lnTo>
                        <a:lnTo>
                          <a:pt x="81" y="678"/>
                        </a:lnTo>
                        <a:lnTo>
                          <a:pt x="81" y="676"/>
                        </a:lnTo>
                        <a:lnTo>
                          <a:pt x="83" y="676"/>
                        </a:lnTo>
                        <a:lnTo>
                          <a:pt x="83" y="675"/>
                        </a:lnTo>
                        <a:lnTo>
                          <a:pt x="83" y="673"/>
                        </a:lnTo>
                        <a:lnTo>
                          <a:pt x="81" y="671"/>
                        </a:lnTo>
                        <a:lnTo>
                          <a:pt x="81" y="670"/>
                        </a:lnTo>
                        <a:lnTo>
                          <a:pt x="81" y="668"/>
                        </a:lnTo>
                        <a:lnTo>
                          <a:pt x="83" y="667"/>
                        </a:lnTo>
                        <a:lnTo>
                          <a:pt x="83" y="665"/>
                        </a:lnTo>
                        <a:lnTo>
                          <a:pt x="83" y="664"/>
                        </a:lnTo>
                        <a:lnTo>
                          <a:pt x="84" y="664"/>
                        </a:lnTo>
                        <a:lnTo>
                          <a:pt x="84" y="662"/>
                        </a:lnTo>
                        <a:lnTo>
                          <a:pt x="84" y="660"/>
                        </a:lnTo>
                        <a:lnTo>
                          <a:pt x="83" y="660"/>
                        </a:lnTo>
                        <a:lnTo>
                          <a:pt x="83" y="659"/>
                        </a:lnTo>
                        <a:lnTo>
                          <a:pt x="84" y="657"/>
                        </a:lnTo>
                        <a:lnTo>
                          <a:pt x="84" y="656"/>
                        </a:lnTo>
                        <a:lnTo>
                          <a:pt x="86" y="654"/>
                        </a:lnTo>
                        <a:lnTo>
                          <a:pt x="86" y="652"/>
                        </a:lnTo>
                        <a:lnTo>
                          <a:pt x="88" y="652"/>
                        </a:lnTo>
                        <a:lnTo>
                          <a:pt x="88" y="651"/>
                        </a:lnTo>
                        <a:lnTo>
                          <a:pt x="89" y="651"/>
                        </a:lnTo>
                        <a:lnTo>
                          <a:pt x="89" y="649"/>
                        </a:lnTo>
                        <a:lnTo>
                          <a:pt x="89" y="648"/>
                        </a:lnTo>
                        <a:lnTo>
                          <a:pt x="88" y="646"/>
                        </a:lnTo>
                        <a:lnTo>
                          <a:pt x="88" y="645"/>
                        </a:lnTo>
                        <a:lnTo>
                          <a:pt x="88" y="643"/>
                        </a:lnTo>
                        <a:lnTo>
                          <a:pt x="88" y="641"/>
                        </a:lnTo>
                        <a:lnTo>
                          <a:pt x="88" y="640"/>
                        </a:lnTo>
                        <a:lnTo>
                          <a:pt x="88" y="638"/>
                        </a:lnTo>
                        <a:lnTo>
                          <a:pt x="88" y="637"/>
                        </a:lnTo>
                        <a:lnTo>
                          <a:pt x="88" y="635"/>
                        </a:lnTo>
                        <a:lnTo>
                          <a:pt x="89" y="633"/>
                        </a:lnTo>
                        <a:lnTo>
                          <a:pt x="91" y="632"/>
                        </a:lnTo>
                        <a:lnTo>
                          <a:pt x="91" y="630"/>
                        </a:lnTo>
                        <a:lnTo>
                          <a:pt x="92" y="629"/>
                        </a:lnTo>
                        <a:lnTo>
                          <a:pt x="94" y="627"/>
                        </a:lnTo>
                        <a:lnTo>
                          <a:pt x="94" y="626"/>
                        </a:lnTo>
                        <a:lnTo>
                          <a:pt x="95" y="624"/>
                        </a:lnTo>
                        <a:lnTo>
                          <a:pt x="95" y="622"/>
                        </a:lnTo>
                        <a:lnTo>
                          <a:pt x="94" y="622"/>
                        </a:lnTo>
                        <a:lnTo>
                          <a:pt x="94" y="621"/>
                        </a:lnTo>
                        <a:lnTo>
                          <a:pt x="94" y="619"/>
                        </a:lnTo>
                        <a:lnTo>
                          <a:pt x="95" y="618"/>
                        </a:lnTo>
                        <a:lnTo>
                          <a:pt x="95" y="616"/>
                        </a:lnTo>
                        <a:lnTo>
                          <a:pt x="97" y="614"/>
                        </a:lnTo>
                        <a:lnTo>
                          <a:pt x="97" y="613"/>
                        </a:lnTo>
                        <a:lnTo>
                          <a:pt x="97" y="611"/>
                        </a:lnTo>
                        <a:lnTo>
                          <a:pt x="99" y="608"/>
                        </a:lnTo>
                        <a:lnTo>
                          <a:pt x="99" y="607"/>
                        </a:lnTo>
                        <a:lnTo>
                          <a:pt x="100" y="603"/>
                        </a:lnTo>
                        <a:lnTo>
                          <a:pt x="100" y="600"/>
                        </a:lnTo>
                        <a:lnTo>
                          <a:pt x="100" y="599"/>
                        </a:lnTo>
                        <a:lnTo>
                          <a:pt x="102" y="595"/>
                        </a:lnTo>
                        <a:lnTo>
                          <a:pt x="100" y="594"/>
                        </a:lnTo>
                        <a:lnTo>
                          <a:pt x="100" y="591"/>
                        </a:lnTo>
                        <a:lnTo>
                          <a:pt x="100" y="589"/>
                        </a:lnTo>
                        <a:lnTo>
                          <a:pt x="102" y="588"/>
                        </a:lnTo>
                        <a:lnTo>
                          <a:pt x="102" y="586"/>
                        </a:lnTo>
                        <a:lnTo>
                          <a:pt x="102" y="583"/>
                        </a:lnTo>
                        <a:lnTo>
                          <a:pt x="102" y="581"/>
                        </a:lnTo>
                        <a:lnTo>
                          <a:pt x="102" y="578"/>
                        </a:lnTo>
                        <a:lnTo>
                          <a:pt x="102" y="576"/>
                        </a:lnTo>
                        <a:lnTo>
                          <a:pt x="102" y="573"/>
                        </a:lnTo>
                        <a:lnTo>
                          <a:pt x="102" y="572"/>
                        </a:lnTo>
                        <a:lnTo>
                          <a:pt x="103" y="569"/>
                        </a:lnTo>
                        <a:lnTo>
                          <a:pt x="103" y="567"/>
                        </a:lnTo>
                        <a:lnTo>
                          <a:pt x="103" y="564"/>
                        </a:lnTo>
                        <a:lnTo>
                          <a:pt x="105" y="561"/>
                        </a:lnTo>
                        <a:lnTo>
                          <a:pt x="105" y="559"/>
                        </a:lnTo>
                        <a:lnTo>
                          <a:pt x="105" y="556"/>
                        </a:lnTo>
                        <a:lnTo>
                          <a:pt x="107" y="554"/>
                        </a:lnTo>
                        <a:lnTo>
                          <a:pt x="107" y="553"/>
                        </a:lnTo>
                        <a:lnTo>
                          <a:pt x="107" y="550"/>
                        </a:lnTo>
                        <a:lnTo>
                          <a:pt x="107" y="546"/>
                        </a:lnTo>
                        <a:lnTo>
                          <a:pt x="107" y="545"/>
                        </a:lnTo>
                        <a:lnTo>
                          <a:pt x="105" y="545"/>
                        </a:lnTo>
                        <a:lnTo>
                          <a:pt x="103" y="543"/>
                        </a:lnTo>
                        <a:lnTo>
                          <a:pt x="102" y="542"/>
                        </a:lnTo>
                        <a:lnTo>
                          <a:pt x="100" y="538"/>
                        </a:lnTo>
                        <a:lnTo>
                          <a:pt x="99" y="537"/>
                        </a:lnTo>
                        <a:lnTo>
                          <a:pt x="97" y="537"/>
                        </a:lnTo>
                        <a:lnTo>
                          <a:pt x="94" y="534"/>
                        </a:lnTo>
                        <a:lnTo>
                          <a:pt x="92" y="532"/>
                        </a:lnTo>
                        <a:lnTo>
                          <a:pt x="91" y="531"/>
                        </a:lnTo>
                        <a:lnTo>
                          <a:pt x="89" y="529"/>
                        </a:lnTo>
                        <a:lnTo>
                          <a:pt x="88" y="527"/>
                        </a:lnTo>
                        <a:lnTo>
                          <a:pt x="88" y="526"/>
                        </a:lnTo>
                        <a:lnTo>
                          <a:pt x="86" y="524"/>
                        </a:lnTo>
                        <a:lnTo>
                          <a:pt x="84" y="523"/>
                        </a:lnTo>
                        <a:lnTo>
                          <a:pt x="84" y="521"/>
                        </a:lnTo>
                        <a:lnTo>
                          <a:pt x="83" y="518"/>
                        </a:lnTo>
                        <a:lnTo>
                          <a:pt x="83" y="515"/>
                        </a:lnTo>
                        <a:lnTo>
                          <a:pt x="83" y="513"/>
                        </a:lnTo>
                        <a:lnTo>
                          <a:pt x="83" y="510"/>
                        </a:lnTo>
                        <a:lnTo>
                          <a:pt x="84" y="508"/>
                        </a:lnTo>
                        <a:lnTo>
                          <a:pt x="86" y="508"/>
                        </a:lnTo>
                        <a:lnTo>
                          <a:pt x="88" y="507"/>
                        </a:lnTo>
                        <a:lnTo>
                          <a:pt x="89" y="507"/>
                        </a:lnTo>
                        <a:lnTo>
                          <a:pt x="91" y="505"/>
                        </a:lnTo>
                        <a:lnTo>
                          <a:pt x="92" y="504"/>
                        </a:lnTo>
                        <a:lnTo>
                          <a:pt x="92" y="502"/>
                        </a:lnTo>
                        <a:lnTo>
                          <a:pt x="92" y="500"/>
                        </a:lnTo>
                        <a:lnTo>
                          <a:pt x="94" y="499"/>
                        </a:lnTo>
                        <a:lnTo>
                          <a:pt x="95" y="497"/>
                        </a:lnTo>
                        <a:lnTo>
                          <a:pt x="95" y="496"/>
                        </a:lnTo>
                        <a:lnTo>
                          <a:pt x="97" y="494"/>
                        </a:lnTo>
                        <a:lnTo>
                          <a:pt x="99" y="492"/>
                        </a:lnTo>
                        <a:lnTo>
                          <a:pt x="99" y="491"/>
                        </a:lnTo>
                        <a:lnTo>
                          <a:pt x="100" y="489"/>
                        </a:lnTo>
                        <a:lnTo>
                          <a:pt x="102" y="488"/>
                        </a:lnTo>
                        <a:lnTo>
                          <a:pt x="102" y="485"/>
                        </a:lnTo>
                        <a:lnTo>
                          <a:pt x="103" y="485"/>
                        </a:lnTo>
                        <a:lnTo>
                          <a:pt x="103" y="483"/>
                        </a:lnTo>
                        <a:lnTo>
                          <a:pt x="105" y="483"/>
                        </a:lnTo>
                        <a:lnTo>
                          <a:pt x="105" y="481"/>
                        </a:lnTo>
                        <a:lnTo>
                          <a:pt x="107" y="480"/>
                        </a:lnTo>
                        <a:lnTo>
                          <a:pt x="107" y="478"/>
                        </a:lnTo>
                        <a:lnTo>
                          <a:pt x="108" y="478"/>
                        </a:lnTo>
                        <a:lnTo>
                          <a:pt x="108" y="477"/>
                        </a:lnTo>
                        <a:lnTo>
                          <a:pt x="108" y="475"/>
                        </a:lnTo>
                        <a:lnTo>
                          <a:pt x="110" y="473"/>
                        </a:lnTo>
                        <a:lnTo>
                          <a:pt x="110" y="472"/>
                        </a:lnTo>
                        <a:lnTo>
                          <a:pt x="108" y="472"/>
                        </a:lnTo>
                        <a:lnTo>
                          <a:pt x="107" y="470"/>
                        </a:lnTo>
                        <a:lnTo>
                          <a:pt x="105" y="469"/>
                        </a:lnTo>
                        <a:lnTo>
                          <a:pt x="105" y="467"/>
                        </a:lnTo>
                        <a:lnTo>
                          <a:pt x="102" y="467"/>
                        </a:lnTo>
                        <a:lnTo>
                          <a:pt x="102" y="466"/>
                        </a:lnTo>
                        <a:lnTo>
                          <a:pt x="100" y="466"/>
                        </a:lnTo>
                        <a:lnTo>
                          <a:pt x="100" y="464"/>
                        </a:lnTo>
                        <a:lnTo>
                          <a:pt x="99" y="464"/>
                        </a:lnTo>
                        <a:lnTo>
                          <a:pt x="99" y="462"/>
                        </a:lnTo>
                        <a:lnTo>
                          <a:pt x="99" y="461"/>
                        </a:lnTo>
                        <a:lnTo>
                          <a:pt x="97" y="461"/>
                        </a:lnTo>
                        <a:lnTo>
                          <a:pt x="97" y="459"/>
                        </a:lnTo>
                        <a:lnTo>
                          <a:pt x="95" y="458"/>
                        </a:lnTo>
                        <a:lnTo>
                          <a:pt x="94" y="458"/>
                        </a:lnTo>
                        <a:lnTo>
                          <a:pt x="92" y="456"/>
                        </a:lnTo>
                        <a:lnTo>
                          <a:pt x="91" y="454"/>
                        </a:lnTo>
                        <a:lnTo>
                          <a:pt x="89" y="454"/>
                        </a:lnTo>
                        <a:lnTo>
                          <a:pt x="86" y="453"/>
                        </a:lnTo>
                        <a:lnTo>
                          <a:pt x="84" y="451"/>
                        </a:lnTo>
                        <a:lnTo>
                          <a:pt x="83" y="451"/>
                        </a:lnTo>
                        <a:lnTo>
                          <a:pt x="81" y="450"/>
                        </a:lnTo>
                        <a:lnTo>
                          <a:pt x="80" y="450"/>
                        </a:lnTo>
                        <a:lnTo>
                          <a:pt x="78" y="450"/>
                        </a:lnTo>
                        <a:lnTo>
                          <a:pt x="75" y="448"/>
                        </a:lnTo>
                        <a:lnTo>
                          <a:pt x="73" y="447"/>
                        </a:lnTo>
                        <a:lnTo>
                          <a:pt x="72" y="447"/>
                        </a:lnTo>
                        <a:lnTo>
                          <a:pt x="70" y="447"/>
                        </a:lnTo>
                        <a:lnTo>
                          <a:pt x="67" y="445"/>
                        </a:lnTo>
                        <a:lnTo>
                          <a:pt x="65" y="445"/>
                        </a:lnTo>
                        <a:lnTo>
                          <a:pt x="64" y="445"/>
                        </a:lnTo>
                        <a:lnTo>
                          <a:pt x="62" y="443"/>
                        </a:lnTo>
                        <a:lnTo>
                          <a:pt x="61" y="443"/>
                        </a:lnTo>
                        <a:lnTo>
                          <a:pt x="59" y="443"/>
                        </a:lnTo>
                        <a:lnTo>
                          <a:pt x="57" y="443"/>
                        </a:lnTo>
                        <a:lnTo>
                          <a:pt x="56" y="442"/>
                        </a:lnTo>
                        <a:lnTo>
                          <a:pt x="54" y="442"/>
                        </a:lnTo>
                        <a:lnTo>
                          <a:pt x="53" y="440"/>
                        </a:lnTo>
                        <a:lnTo>
                          <a:pt x="51" y="440"/>
                        </a:lnTo>
                        <a:lnTo>
                          <a:pt x="49" y="439"/>
                        </a:lnTo>
                        <a:lnTo>
                          <a:pt x="46" y="437"/>
                        </a:lnTo>
                        <a:lnTo>
                          <a:pt x="45" y="437"/>
                        </a:lnTo>
                        <a:lnTo>
                          <a:pt x="43" y="435"/>
                        </a:lnTo>
                        <a:lnTo>
                          <a:pt x="42" y="434"/>
                        </a:lnTo>
                        <a:lnTo>
                          <a:pt x="40" y="432"/>
                        </a:lnTo>
                        <a:lnTo>
                          <a:pt x="38" y="431"/>
                        </a:lnTo>
                        <a:lnTo>
                          <a:pt x="37" y="429"/>
                        </a:lnTo>
                        <a:lnTo>
                          <a:pt x="37" y="428"/>
                        </a:lnTo>
                        <a:lnTo>
                          <a:pt x="35" y="426"/>
                        </a:lnTo>
                        <a:lnTo>
                          <a:pt x="34" y="426"/>
                        </a:lnTo>
                        <a:lnTo>
                          <a:pt x="34" y="424"/>
                        </a:lnTo>
                        <a:lnTo>
                          <a:pt x="32" y="421"/>
                        </a:lnTo>
                        <a:lnTo>
                          <a:pt x="30" y="420"/>
                        </a:lnTo>
                        <a:lnTo>
                          <a:pt x="29" y="418"/>
                        </a:lnTo>
                        <a:lnTo>
                          <a:pt x="27" y="415"/>
                        </a:lnTo>
                        <a:lnTo>
                          <a:pt x="27" y="413"/>
                        </a:lnTo>
                        <a:lnTo>
                          <a:pt x="26" y="412"/>
                        </a:lnTo>
                        <a:lnTo>
                          <a:pt x="24" y="410"/>
                        </a:lnTo>
                        <a:lnTo>
                          <a:pt x="24" y="409"/>
                        </a:lnTo>
                        <a:lnTo>
                          <a:pt x="23" y="407"/>
                        </a:lnTo>
                        <a:lnTo>
                          <a:pt x="23" y="404"/>
                        </a:lnTo>
                        <a:lnTo>
                          <a:pt x="21" y="404"/>
                        </a:lnTo>
                        <a:lnTo>
                          <a:pt x="21" y="402"/>
                        </a:lnTo>
                        <a:lnTo>
                          <a:pt x="21" y="401"/>
                        </a:lnTo>
                        <a:lnTo>
                          <a:pt x="21" y="399"/>
                        </a:lnTo>
                        <a:lnTo>
                          <a:pt x="21" y="397"/>
                        </a:lnTo>
                        <a:lnTo>
                          <a:pt x="23" y="396"/>
                        </a:lnTo>
                        <a:lnTo>
                          <a:pt x="23" y="393"/>
                        </a:lnTo>
                        <a:lnTo>
                          <a:pt x="23" y="391"/>
                        </a:lnTo>
                        <a:lnTo>
                          <a:pt x="23" y="390"/>
                        </a:lnTo>
                        <a:lnTo>
                          <a:pt x="24" y="390"/>
                        </a:lnTo>
                        <a:lnTo>
                          <a:pt x="24" y="388"/>
                        </a:lnTo>
                        <a:lnTo>
                          <a:pt x="24" y="386"/>
                        </a:lnTo>
                        <a:lnTo>
                          <a:pt x="24" y="383"/>
                        </a:lnTo>
                        <a:lnTo>
                          <a:pt x="24" y="382"/>
                        </a:lnTo>
                        <a:lnTo>
                          <a:pt x="24" y="380"/>
                        </a:lnTo>
                        <a:lnTo>
                          <a:pt x="24" y="377"/>
                        </a:lnTo>
                        <a:lnTo>
                          <a:pt x="24" y="375"/>
                        </a:lnTo>
                        <a:lnTo>
                          <a:pt x="23" y="374"/>
                        </a:lnTo>
                        <a:lnTo>
                          <a:pt x="23" y="372"/>
                        </a:lnTo>
                        <a:lnTo>
                          <a:pt x="19" y="369"/>
                        </a:lnTo>
                        <a:lnTo>
                          <a:pt x="13" y="369"/>
                        </a:lnTo>
                        <a:lnTo>
                          <a:pt x="11" y="367"/>
                        </a:lnTo>
                        <a:lnTo>
                          <a:pt x="10" y="367"/>
                        </a:lnTo>
                        <a:lnTo>
                          <a:pt x="7" y="364"/>
                        </a:lnTo>
                        <a:lnTo>
                          <a:pt x="5" y="363"/>
                        </a:lnTo>
                        <a:lnTo>
                          <a:pt x="4" y="361"/>
                        </a:lnTo>
                        <a:lnTo>
                          <a:pt x="4" y="359"/>
                        </a:lnTo>
                        <a:lnTo>
                          <a:pt x="2" y="358"/>
                        </a:lnTo>
                        <a:lnTo>
                          <a:pt x="2" y="356"/>
                        </a:lnTo>
                        <a:lnTo>
                          <a:pt x="0" y="355"/>
                        </a:lnTo>
                        <a:lnTo>
                          <a:pt x="2" y="355"/>
                        </a:lnTo>
                        <a:lnTo>
                          <a:pt x="2" y="353"/>
                        </a:lnTo>
                        <a:lnTo>
                          <a:pt x="2" y="347"/>
                        </a:lnTo>
                        <a:lnTo>
                          <a:pt x="0" y="342"/>
                        </a:lnTo>
                        <a:lnTo>
                          <a:pt x="0" y="340"/>
                        </a:lnTo>
                        <a:lnTo>
                          <a:pt x="2" y="337"/>
                        </a:lnTo>
                        <a:lnTo>
                          <a:pt x="2" y="336"/>
                        </a:lnTo>
                        <a:lnTo>
                          <a:pt x="4" y="331"/>
                        </a:lnTo>
                        <a:lnTo>
                          <a:pt x="5" y="321"/>
                        </a:lnTo>
                        <a:lnTo>
                          <a:pt x="10" y="310"/>
                        </a:lnTo>
                        <a:lnTo>
                          <a:pt x="11" y="302"/>
                        </a:lnTo>
                        <a:lnTo>
                          <a:pt x="11" y="298"/>
                        </a:lnTo>
                        <a:lnTo>
                          <a:pt x="13" y="290"/>
                        </a:lnTo>
                        <a:lnTo>
                          <a:pt x="15" y="285"/>
                        </a:lnTo>
                        <a:lnTo>
                          <a:pt x="16" y="280"/>
                        </a:lnTo>
                        <a:lnTo>
                          <a:pt x="19" y="275"/>
                        </a:lnTo>
                        <a:lnTo>
                          <a:pt x="23" y="272"/>
                        </a:lnTo>
                        <a:lnTo>
                          <a:pt x="26" y="271"/>
                        </a:lnTo>
                        <a:lnTo>
                          <a:pt x="29" y="271"/>
                        </a:lnTo>
                        <a:lnTo>
                          <a:pt x="29" y="269"/>
                        </a:lnTo>
                        <a:lnTo>
                          <a:pt x="32" y="266"/>
                        </a:lnTo>
                        <a:lnTo>
                          <a:pt x="37" y="263"/>
                        </a:lnTo>
                        <a:lnTo>
                          <a:pt x="38" y="260"/>
                        </a:lnTo>
                        <a:lnTo>
                          <a:pt x="38" y="255"/>
                        </a:lnTo>
                        <a:lnTo>
                          <a:pt x="40" y="252"/>
                        </a:lnTo>
                        <a:lnTo>
                          <a:pt x="42" y="250"/>
                        </a:lnTo>
                        <a:lnTo>
                          <a:pt x="48" y="242"/>
                        </a:lnTo>
                        <a:lnTo>
                          <a:pt x="53" y="239"/>
                        </a:lnTo>
                        <a:lnTo>
                          <a:pt x="54" y="236"/>
                        </a:lnTo>
                        <a:lnTo>
                          <a:pt x="54" y="234"/>
                        </a:lnTo>
                        <a:lnTo>
                          <a:pt x="53" y="234"/>
                        </a:lnTo>
                        <a:lnTo>
                          <a:pt x="49" y="233"/>
                        </a:lnTo>
                        <a:lnTo>
                          <a:pt x="48" y="231"/>
                        </a:lnTo>
                        <a:lnTo>
                          <a:pt x="46" y="230"/>
                        </a:lnTo>
                        <a:lnTo>
                          <a:pt x="45" y="226"/>
                        </a:lnTo>
                        <a:lnTo>
                          <a:pt x="45" y="222"/>
                        </a:lnTo>
                        <a:lnTo>
                          <a:pt x="46" y="218"/>
                        </a:lnTo>
                        <a:lnTo>
                          <a:pt x="45" y="215"/>
                        </a:lnTo>
                        <a:lnTo>
                          <a:pt x="45" y="212"/>
                        </a:lnTo>
                        <a:lnTo>
                          <a:pt x="45" y="207"/>
                        </a:lnTo>
                        <a:lnTo>
                          <a:pt x="45" y="206"/>
                        </a:lnTo>
                        <a:lnTo>
                          <a:pt x="43" y="204"/>
                        </a:lnTo>
                        <a:lnTo>
                          <a:pt x="42" y="203"/>
                        </a:lnTo>
                        <a:lnTo>
                          <a:pt x="40" y="201"/>
                        </a:lnTo>
                        <a:lnTo>
                          <a:pt x="38" y="199"/>
                        </a:lnTo>
                        <a:lnTo>
                          <a:pt x="35" y="195"/>
                        </a:lnTo>
                        <a:lnTo>
                          <a:pt x="34" y="190"/>
                        </a:lnTo>
                        <a:lnTo>
                          <a:pt x="30" y="188"/>
                        </a:lnTo>
                        <a:lnTo>
                          <a:pt x="30" y="187"/>
                        </a:lnTo>
                        <a:lnTo>
                          <a:pt x="30" y="185"/>
                        </a:lnTo>
                        <a:lnTo>
                          <a:pt x="32" y="184"/>
                        </a:lnTo>
                        <a:lnTo>
                          <a:pt x="34" y="180"/>
                        </a:lnTo>
                        <a:lnTo>
                          <a:pt x="35" y="179"/>
                        </a:lnTo>
                        <a:lnTo>
                          <a:pt x="38" y="179"/>
                        </a:lnTo>
                        <a:lnTo>
                          <a:pt x="42" y="177"/>
                        </a:lnTo>
                        <a:lnTo>
                          <a:pt x="43" y="176"/>
                        </a:lnTo>
                        <a:lnTo>
                          <a:pt x="45" y="174"/>
                        </a:lnTo>
                        <a:lnTo>
                          <a:pt x="48" y="171"/>
                        </a:lnTo>
                        <a:lnTo>
                          <a:pt x="51" y="169"/>
                        </a:lnTo>
                        <a:lnTo>
                          <a:pt x="53" y="169"/>
                        </a:lnTo>
                        <a:lnTo>
                          <a:pt x="53" y="168"/>
                        </a:lnTo>
                        <a:lnTo>
                          <a:pt x="54" y="166"/>
                        </a:lnTo>
                        <a:lnTo>
                          <a:pt x="54" y="165"/>
                        </a:lnTo>
                        <a:lnTo>
                          <a:pt x="54" y="161"/>
                        </a:lnTo>
                        <a:lnTo>
                          <a:pt x="54" y="158"/>
                        </a:lnTo>
                        <a:lnTo>
                          <a:pt x="54" y="154"/>
                        </a:lnTo>
                        <a:lnTo>
                          <a:pt x="56" y="152"/>
                        </a:lnTo>
                        <a:lnTo>
                          <a:pt x="56" y="150"/>
                        </a:lnTo>
                        <a:lnTo>
                          <a:pt x="56" y="149"/>
                        </a:lnTo>
                        <a:lnTo>
                          <a:pt x="57" y="147"/>
                        </a:lnTo>
                        <a:lnTo>
                          <a:pt x="59" y="146"/>
                        </a:lnTo>
                        <a:lnTo>
                          <a:pt x="59" y="144"/>
                        </a:lnTo>
                        <a:lnTo>
                          <a:pt x="61" y="142"/>
                        </a:lnTo>
                        <a:lnTo>
                          <a:pt x="62" y="141"/>
                        </a:lnTo>
                        <a:lnTo>
                          <a:pt x="64" y="141"/>
                        </a:lnTo>
                        <a:lnTo>
                          <a:pt x="64" y="139"/>
                        </a:lnTo>
                        <a:lnTo>
                          <a:pt x="65" y="138"/>
                        </a:lnTo>
                        <a:lnTo>
                          <a:pt x="65" y="136"/>
                        </a:lnTo>
                        <a:lnTo>
                          <a:pt x="67" y="136"/>
                        </a:lnTo>
                        <a:lnTo>
                          <a:pt x="67" y="134"/>
                        </a:lnTo>
                        <a:lnTo>
                          <a:pt x="69" y="134"/>
                        </a:lnTo>
                        <a:lnTo>
                          <a:pt x="70" y="133"/>
                        </a:lnTo>
                        <a:lnTo>
                          <a:pt x="72" y="131"/>
                        </a:lnTo>
                        <a:lnTo>
                          <a:pt x="73" y="130"/>
                        </a:lnTo>
                        <a:lnTo>
                          <a:pt x="73" y="128"/>
                        </a:lnTo>
                        <a:lnTo>
                          <a:pt x="73" y="127"/>
                        </a:lnTo>
                        <a:lnTo>
                          <a:pt x="73" y="125"/>
                        </a:lnTo>
                        <a:lnTo>
                          <a:pt x="72" y="125"/>
                        </a:lnTo>
                        <a:lnTo>
                          <a:pt x="70" y="123"/>
                        </a:lnTo>
                        <a:lnTo>
                          <a:pt x="70" y="122"/>
                        </a:lnTo>
                        <a:lnTo>
                          <a:pt x="70" y="119"/>
                        </a:lnTo>
                        <a:lnTo>
                          <a:pt x="69" y="117"/>
                        </a:lnTo>
                        <a:lnTo>
                          <a:pt x="69" y="115"/>
                        </a:lnTo>
                        <a:lnTo>
                          <a:pt x="65" y="114"/>
                        </a:lnTo>
                        <a:lnTo>
                          <a:pt x="61" y="114"/>
                        </a:lnTo>
                        <a:lnTo>
                          <a:pt x="54" y="112"/>
                        </a:lnTo>
                        <a:lnTo>
                          <a:pt x="49" y="111"/>
                        </a:lnTo>
                        <a:lnTo>
                          <a:pt x="46" y="109"/>
                        </a:lnTo>
                        <a:lnTo>
                          <a:pt x="45" y="108"/>
                        </a:lnTo>
                        <a:lnTo>
                          <a:pt x="45" y="104"/>
                        </a:lnTo>
                        <a:lnTo>
                          <a:pt x="45" y="101"/>
                        </a:lnTo>
                        <a:lnTo>
                          <a:pt x="46" y="96"/>
                        </a:lnTo>
                        <a:lnTo>
                          <a:pt x="48" y="95"/>
                        </a:lnTo>
                        <a:lnTo>
                          <a:pt x="51" y="93"/>
                        </a:lnTo>
                        <a:lnTo>
                          <a:pt x="53" y="92"/>
                        </a:lnTo>
                        <a:lnTo>
                          <a:pt x="54" y="90"/>
                        </a:lnTo>
                        <a:lnTo>
                          <a:pt x="54" y="87"/>
                        </a:lnTo>
                        <a:lnTo>
                          <a:pt x="54" y="84"/>
                        </a:lnTo>
                        <a:lnTo>
                          <a:pt x="56" y="79"/>
                        </a:lnTo>
                        <a:lnTo>
                          <a:pt x="57" y="76"/>
                        </a:lnTo>
                        <a:lnTo>
                          <a:pt x="59" y="73"/>
                        </a:lnTo>
                        <a:lnTo>
                          <a:pt x="62" y="70"/>
                        </a:lnTo>
                        <a:lnTo>
                          <a:pt x="65" y="68"/>
                        </a:lnTo>
                        <a:lnTo>
                          <a:pt x="69" y="66"/>
                        </a:lnTo>
                        <a:lnTo>
                          <a:pt x="70" y="65"/>
                        </a:lnTo>
                        <a:lnTo>
                          <a:pt x="72" y="66"/>
                        </a:lnTo>
                        <a:lnTo>
                          <a:pt x="75" y="66"/>
                        </a:lnTo>
                        <a:lnTo>
                          <a:pt x="76" y="66"/>
                        </a:lnTo>
                        <a:lnTo>
                          <a:pt x="78" y="66"/>
                        </a:lnTo>
                        <a:lnTo>
                          <a:pt x="80" y="66"/>
                        </a:lnTo>
                        <a:lnTo>
                          <a:pt x="81" y="66"/>
                        </a:lnTo>
                        <a:lnTo>
                          <a:pt x="83" y="68"/>
                        </a:lnTo>
                        <a:lnTo>
                          <a:pt x="92" y="68"/>
                        </a:lnTo>
                        <a:lnTo>
                          <a:pt x="94" y="66"/>
                        </a:lnTo>
                        <a:lnTo>
                          <a:pt x="95" y="66"/>
                        </a:lnTo>
                        <a:lnTo>
                          <a:pt x="95" y="65"/>
                        </a:lnTo>
                        <a:lnTo>
                          <a:pt x="97" y="63"/>
                        </a:lnTo>
                        <a:lnTo>
                          <a:pt x="97" y="62"/>
                        </a:lnTo>
                        <a:lnTo>
                          <a:pt x="99" y="60"/>
                        </a:lnTo>
                        <a:lnTo>
                          <a:pt x="99" y="58"/>
                        </a:lnTo>
                        <a:lnTo>
                          <a:pt x="99" y="57"/>
                        </a:lnTo>
                        <a:lnTo>
                          <a:pt x="99" y="55"/>
                        </a:lnTo>
                        <a:lnTo>
                          <a:pt x="102" y="54"/>
                        </a:lnTo>
                        <a:lnTo>
                          <a:pt x="102" y="52"/>
                        </a:lnTo>
                        <a:lnTo>
                          <a:pt x="103" y="51"/>
                        </a:lnTo>
                        <a:lnTo>
                          <a:pt x="102" y="51"/>
                        </a:lnTo>
                        <a:lnTo>
                          <a:pt x="100" y="47"/>
                        </a:lnTo>
                        <a:lnTo>
                          <a:pt x="100" y="46"/>
                        </a:lnTo>
                        <a:lnTo>
                          <a:pt x="99" y="44"/>
                        </a:lnTo>
                        <a:lnTo>
                          <a:pt x="97" y="43"/>
                        </a:lnTo>
                        <a:lnTo>
                          <a:pt x="100" y="43"/>
                        </a:lnTo>
                        <a:lnTo>
                          <a:pt x="105" y="41"/>
                        </a:lnTo>
                        <a:lnTo>
                          <a:pt x="107" y="39"/>
                        </a:lnTo>
                        <a:lnTo>
                          <a:pt x="108" y="38"/>
                        </a:lnTo>
                        <a:lnTo>
                          <a:pt x="110" y="36"/>
                        </a:lnTo>
                        <a:lnTo>
                          <a:pt x="113" y="35"/>
                        </a:lnTo>
                        <a:lnTo>
                          <a:pt x="114" y="33"/>
                        </a:lnTo>
                        <a:lnTo>
                          <a:pt x="116" y="32"/>
                        </a:lnTo>
                        <a:lnTo>
                          <a:pt x="116" y="28"/>
                        </a:lnTo>
                        <a:lnTo>
                          <a:pt x="116" y="27"/>
                        </a:lnTo>
                        <a:lnTo>
                          <a:pt x="118" y="25"/>
                        </a:lnTo>
                        <a:lnTo>
                          <a:pt x="119" y="22"/>
                        </a:lnTo>
                        <a:lnTo>
                          <a:pt x="121" y="19"/>
                        </a:lnTo>
                        <a:lnTo>
                          <a:pt x="122" y="16"/>
                        </a:lnTo>
                        <a:lnTo>
                          <a:pt x="122" y="11"/>
                        </a:lnTo>
                        <a:lnTo>
                          <a:pt x="124" y="8"/>
                        </a:lnTo>
                        <a:lnTo>
                          <a:pt x="124" y="6"/>
                        </a:lnTo>
                        <a:lnTo>
                          <a:pt x="127" y="3"/>
                        </a:lnTo>
                        <a:lnTo>
                          <a:pt x="129" y="1"/>
                        </a:lnTo>
                        <a:lnTo>
                          <a:pt x="130" y="1"/>
                        </a:lnTo>
                        <a:lnTo>
                          <a:pt x="133" y="1"/>
                        </a:lnTo>
                        <a:lnTo>
                          <a:pt x="138" y="3"/>
                        </a:lnTo>
                        <a:lnTo>
                          <a:pt x="145" y="3"/>
                        </a:lnTo>
                        <a:lnTo>
                          <a:pt x="151" y="3"/>
                        </a:lnTo>
                        <a:lnTo>
                          <a:pt x="156" y="3"/>
                        </a:lnTo>
                        <a:lnTo>
                          <a:pt x="157" y="3"/>
                        </a:lnTo>
                        <a:lnTo>
                          <a:pt x="159" y="3"/>
                        </a:lnTo>
                        <a:lnTo>
                          <a:pt x="160" y="5"/>
                        </a:lnTo>
                        <a:lnTo>
                          <a:pt x="162" y="6"/>
                        </a:lnTo>
                        <a:lnTo>
                          <a:pt x="164" y="6"/>
                        </a:lnTo>
                        <a:lnTo>
                          <a:pt x="167" y="8"/>
                        </a:lnTo>
                        <a:lnTo>
                          <a:pt x="168" y="8"/>
                        </a:lnTo>
                        <a:lnTo>
                          <a:pt x="170" y="9"/>
                        </a:lnTo>
                        <a:lnTo>
                          <a:pt x="171" y="9"/>
                        </a:lnTo>
                        <a:lnTo>
                          <a:pt x="173" y="9"/>
                        </a:lnTo>
                        <a:lnTo>
                          <a:pt x="176" y="9"/>
                        </a:lnTo>
                        <a:lnTo>
                          <a:pt x="178" y="9"/>
                        </a:lnTo>
                        <a:lnTo>
                          <a:pt x="181" y="13"/>
                        </a:lnTo>
                        <a:lnTo>
                          <a:pt x="184" y="17"/>
                        </a:lnTo>
                        <a:lnTo>
                          <a:pt x="187" y="19"/>
                        </a:lnTo>
                        <a:lnTo>
                          <a:pt x="190" y="20"/>
                        </a:lnTo>
                        <a:lnTo>
                          <a:pt x="195" y="22"/>
                        </a:lnTo>
                        <a:lnTo>
                          <a:pt x="197" y="22"/>
                        </a:lnTo>
                        <a:lnTo>
                          <a:pt x="200" y="22"/>
                        </a:lnTo>
                        <a:lnTo>
                          <a:pt x="205" y="20"/>
                        </a:lnTo>
                        <a:lnTo>
                          <a:pt x="211" y="20"/>
                        </a:lnTo>
                        <a:lnTo>
                          <a:pt x="216" y="20"/>
                        </a:lnTo>
                        <a:lnTo>
                          <a:pt x="219" y="22"/>
                        </a:lnTo>
                        <a:lnTo>
                          <a:pt x="221" y="22"/>
                        </a:lnTo>
                        <a:lnTo>
                          <a:pt x="222" y="24"/>
                        </a:lnTo>
                        <a:lnTo>
                          <a:pt x="225" y="24"/>
                        </a:lnTo>
                        <a:lnTo>
                          <a:pt x="225" y="22"/>
                        </a:lnTo>
                        <a:lnTo>
                          <a:pt x="230" y="17"/>
                        </a:lnTo>
                        <a:lnTo>
                          <a:pt x="233" y="14"/>
                        </a:lnTo>
                        <a:lnTo>
                          <a:pt x="235" y="13"/>
                        </a:lnTo>
                        <a:lnTo>
                          <a:pt x="236" y="11"/>
                        </a:lnTo>
                        <a:lnTo>
                          <a:pt x="236" y="8"/>
                        </a:lnTo>
                        <a:lnTo>
                          <a:pt x="238" y="6"/>
                        </a:lnTo>
                        <a:lnTo>
                          <a:pt x="240" y="6"/>
                        </a:lnTo>
                        <a:lnTo>
                          <a:pt x="240" y="5"/>
                        </a:lnTo>
                        <a:lnTo>
                          <a:pt x="241" y="3"/>
                        </a:lnTo>
                        <a:lnTo>
                          <a:pt x="243" y="3"/>
                        </a:lnTo>
                        <a:lnTo>
                          <a:pt x="252" y="1"/>
                        </a:lnTo>
                        <a:lnTo>
                          <a:pt x="263" y="0"/>
                        </a:lnTo>
                        <a:lnTo>
                          <a:pt x="271" y="0"/>
                        </a:lnTo>
                        <a:lnTo>
                          <a:pt x="276" y="0"/>
                        </a:lnTo>
                        <a:lnTo>
                          <a:pt x="278" y="0"/>
                        </a:lnTo>
                        <a:lnTo>
                          <a:pt x="279" y="0"/>
                        </a:lnTo>
                        <a:lnTo>
                          <a:pt x="281" y="1"/>
                        </a:lnTo>
                        <a:lnTo>
                          <a:pt x="282" y="3"/>
                        </a:lnTo>
                        <a:lnTo>
                          <a:pt x="282" y="5"/>
                        </a:lnTo>
                        <a:lnTo>
                          <a:pt x="282" y="6"/>
                        </a:lnTo>
                        <a:lnTo>
                          <a:pt x="282" y="9"/>
                        </a:lnTo>
                        <a:lnTo>
                          <a:pt x="284" y="14"/>
                        </a:lnTo>
                        <a:lnTo>
                          <a:pt x="284" y="19"/>
                        </a:lnTo>
                        <a:lnTo>
                          <a:pt x="284" y="20"/>
                        </a:lnTo>
                        <a:close/>
                      </a:path>
                    </a:pathLst>
                  </a:custGeom>
                  <a:solidFill>
                    <a:srgbClr val="E1E1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58" name="Freeform 57"/>
                  <p:cNvSpPr>
                    <a:spLocks/>
                  </p:cNvSpPr>
                  <p:nvPr/>
                </p:nvSpPr>
                <p:spPr bwMode="auto">
                  <a:xfrm>
                    <a:off x="5073" y="1583"/>
                    <a:ext cx="1446" cy="1570"/>
                  </a:xfrm>
                  <a:custGeom>
                    <a:avLst/>
                    <a:gdLst>
                      <a:gd name="T0" fmla="*/ 4 w 1446"/>
                      <a:gd name="T1" fmla="*/ 35 h 1570"/>
                      <a:gd name="T2" fmla="*/ 71 w 1446"/>
                      <a:gd name="T3" fmla="*/ 124 h 1570"/>
                      <a:gd name="T4" fmla="*/ 114 w 1446"/>
                      <a:gd name="T5" fmla="*/ 162 h 1570"/>
                      <a:gd name="T6" fmla="*/ 231 w 1446"/>
                      <a:gd name="T7" fmla="*/ 241 h 1570"/>
                      <a:gd name="T8" fmla="*/ 264 w 1446"/>
                      <a:gd name="T9" fmla="*/ 276 h 1570"/>
                      <a:gd name="T10" fmla="*/ 286 w 1446"/>
                      <a:gd name="T11" fmla="*/ 306 h 1570"/>
                      <a:gd name="T12" fmla="*/ 312 w 1446"/>
                      <a:gd name="T13" fmla="*/ 317 h 1570"/>
                      <a:gd name="T14" fmla="*/ 324 w 1446"/>
                      <a:gd name="T15" fmla="*/ 351 h 1570"/>
                      <a:gd name="T16" fmla="*/ 342 w 1446"/>
                      <a:gd name="T17" fmla="*/ 339 h 1570"/>
                      <a:gd name="T18" fmla="*/ 364 w 1446"/>
                      <a:gd name="T19" fmla="*/ 339 h 1570"/>
                      <a:gd name="T20" fmla="*/ 378 w 1446"/>
                      <a:gd name="T21" fmla="*/ 336 h 1570"/>
                      <a:gd name="T22" fmla="*/ 389 w 1446"/>
                      <a:gd name="T23" fmla="*/ 344 h 1570"/>
                      <a:gd name="T24" fmla="*/ 416 w 1446"/>
                      <a:gd name="T25" fmla="*/ 341 h 1570"/>
                      <a:gd name="T26" fmla="*/ 440 w 1446"/>
                      <a:gd name="T27" fmla="*/ 346 h 1570"/>
                      <a:gd name="T28" fmla="*/ 443 w 1446"/>
                      <a:gd name="T29" fmla="*/ 320 h 1570"/>
                      <a:gd name="T30" fmla="*/ 459 w 1446"/>
                      <a:gd name="T31" fmla="*/ 330 h 1570"/>
                      <a:gd name="T32" fmla="*/ 478 w 1446"/>
                      <a:gd name="T33" fmla="*/ 330 h 1570"/>
                      <a:gd name="T34" fmla="*/ 483 w 1446"/>
                      <a:gd name="T35" fmla="*/ 309 h 1570"/>
                      <a:gd name="T36" fmla="*/ 505 w 1446"/>
                      <a:gd name="T37" fmla="*/ 313 h 1570"/>
                      <a:gd name="T38" fmla="*/ 518 w 1446"/>
                      <a:gd name="T39" fmla="*/ 297 h 1570"/>
                      <a:gd name="T40" fmla="*/ 541 w 1446"/>
                      <a:gd name="T41" fmla="*/ 286 h 1570"/>
                      <a:gd name="T42" fmla="*/ 571 w 1446"/>
                      <a:gd name="T43" fmla="*/ 282 h 1570"/>
                      <a:gd name="T44" fmla="*/ 749 w 1446"/>
                      <a:gd name="T45" fmla="*/ 412 h 1570"/>
                      <a:gd name="T46" fmla="*/ 847 w 1446"/>
                      <a:gd name="T47" fmla="*/ 493 h 1570"/>
                      <a:gd name="T48" fmla="*/ 1089 w 1446"/>
                      <a:gd name="T49" fmla="*/ 571 h 1570"/>
                      <a:gd name="T50" fmla="*/ 1216 w 1446"/>
                      <a:gd name="T51" fmla="*/ 503 h 1570"/>
                      <a:gd name="T52" fmla="*/ 1294 w 1446"/>
                      <a:gd name="T53" fmla="*/ 544 h 1570"/>
                      <a:gd name="T54" fmla="*/ 1352 w 1446"/>
                      <a:gd name="T55" fmla="*/ 650 h 1570"/>
                      <a:gd name="T56" fmla="*/ 1354 w 1446"/>
                      <a:gd name="T57" fmla="*/ 694 h 1570"/>
                      <a:gd name="T58" fmla="*/ 1297 w 1446"/>
                      <a:gd name="T59" fmla="*/ 693 h 1570"/>
                      <a:gd name="T60" fmla="*/ 1246 w 1446"/>
                      <a:gd name="T61" fmla="*/ 709 h 1570"/>
                      <a:gd name="T62" fmla="*/ 1310 w 1446"/>
                      <a:gd name="T63" fmla="*/ 832 h 1570"/>
                      <a:gd name="T64" fmla="*/ 1425 w 1446"/>
                      <a:gd name="T65" fmla="*/ 987 h 1570"/>
                      <a:gd name="T66" fmla="*/ 1444 w 1446"/>
                      <a:gd name="T67" fmla="*/ 1032 h 1570"/>
                      <a:gd name="T68" fmla="*/ 1422 w 1446"/>
                      <a:gd name="T69" fmla="*/ 1073 h 1570"/>
                      <a:gd name="T70" fmla="*/ 1382 w 1446"/>
                      <a:gd name="T71" fmla="*/ 1120 h 1570"/>
                      <a:gd name="T72" fmla="*/ 1321 w 1446"/>
                      <a:gd name="T73" fmla="*/ 1198 h 1570"/>
                      <a:gd name="T74" fmla="*/ 1211 w 1446"/>
                      <a:gd name="T75" fmla="*/ 1301 h 1570"/>
                      <a:gd name="T76" fmla="*/ 1105 w 1446"/>
                      <a:gd name="T77" fmla="*/ 1298 h 1570"/>
                      <a:gd name="T78" fmla="*/ 1064 w 1446"/>
                      <a:gd name="T79" fmla="*/ 1307 h 1570"/>
                      <a:gd name="T80" fmla="*/ 1029 w 1446"/>
                      <a:gd name="T81" fmla="*/ 1307 h 1570"/>
                      <a:gd name="T82" fmla="*/ 985 w 1446"/>
                      <a:gd name="T83" fmla="*/ 1325 h 1570"/>
                      <a:gd name="T84" fmla="*/ 944 w 1446"/>
                      <a:gd name="T85" fmla="*/ 1310 h 1570"/>
                      <a:gd name="T86" fmla="*/ 918 w 1446"/>
                      <a:gd name="T87" fmla="*/ 1282 h 1570"/>
                      <a:gd name="T88" fmla="*/ 857 w 1446"/>
                      <a:gd name="T89" fmla="*/ 1282 h 1570"/>
                      <a:gd name="T90" fmla="*/ 814 w 1446"/>
                      <a:gd name="T91" fmla="*/ 1309 h 1570"/>
                      <a:gd name="T92" fmla="*/ 796 w 1446"/>
                      <a:gd name="T93" fmla="*/ 1329 h 1570"/>
                      <a:gd name="T94" fmla="*/ 784 w 1446"/>
                      <a:gd name="T95" fmla="*/ 1366 h 1570"/>
                      <a:gd name="T96" fmla="*/ 766 w 1446"/>
                      <a:gd name="T97" fmla="*/ 1383 h 1570"/>
                      <a:gd name="T98" fmla="*/ 736 w 1446"/>
                      <a:gd name="T99" fmla="*/ 1382 h 1570"/>
                      <a:gd name="T100" fmla="*/ 749 w 1446"/>
                      <a:gd name="T101" fmla="*/ 1407 h 1570"/>
                      <a:gd name="T102" fmla="*/ 693 w 1446"/>
                      <a:gd name="T103" fmla="*/ 1407 h 1570"/>
                      <a:gd name="T104" fmla="*/ 668 w 1446"/>
                      <a:gd name="T105" fmla="*/ 1426 h 1570"/>
                      <a:gd name="T106" fmla="*/ 678 w 1446"/>
                      <a:gd name="T107" fmla="*/ 1467 h 1570"/>
                      <a:gd name="T108" fmla="*/ 614 w 1446"/>
                      <a:gd name="T109" fmla="*/ 1486 h 1570"/>
                      <a:gd name="T110" fmla="*/ 633 w 1446"/>
                      <a:gd name="T111" fmla="*/ 1510 h 1570"/>
                      <a:gd name="T112" fmla="*/ 641 w 1446"/>
                      <a:gd name="T113" fmla="*/ 1542 h 1570"/>
                      <a:gd name="T114" fmla="*/ 587 w 1446"/>
                      <a:gd name="T115" fmla="*/ 1516 h 1570"/>
                      <a:gd name="T116" fmla="*/ 559 w 1446"/>
                      <a:gd name="T117" fmla="*/ 1535 h 1570"/>
                      <a:gd name="T118" fmla="*/ 465 w 1446"/>
                      <a:gd name="T119" fmla="*/ 1570 h 1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46" h="1570">
                        <a:moveTo>
                          <a:pt x="6" y="0"/>
                        </a:moveTo>
                        <a:lnTo>
                          <a:pt x="4" y="5"/>
                        </a:lnTo>
                        <a:lnTo>
                          <a:pt x="4" y="8"/>
                        </a:lnTo>
                        <a:lnTo>
                          <a:pt x="3" y="13"/>
                        </a:lnTo>
                        <a:lnTo>
                          <a:pt x="1" y="15"/>
                        </a:lnTo>
                        <a:lnTo>
                          <a:pt x="0" y="16"/>
                        </a:lnTo>
                        <a:lnTo>
                          <a:pt x="0" y="18"/>
                        </a:lnTo>
                        <a:lnTo>
                          <a:pt x="0" y="19"/>
                        </a:lnTo>
                        <a:lnTo>
                          <a:pt x="0" y="21"/>
                        </a:lnTo>
                        <a:lnTo>
                          <a:pt x="0" y="23"/>
                        </a:lnTo>
                        <a:lnTo>
                          <a:pt x="0" y="24"/>
                        </a:lnTo>
                        <a:lnTo>
                          <a:pt x="1" y="26"/>
                        </a:lnTo>
                        <a:lnTo>
                          <a:pt x="1" y="27"/>
                        </a:lnTo>
                        <a:lnTo>
                          <a:pt x="1" y="29"/>
                        </a:lnTo>
                        <a:lnTo>
                          <a:pt x="3" y="32"/>
                        </a:lnTo>
                        <a:lnTo>
                          <a:pt x="3" y="34"/>
                        </a:lnTo>
                        <a:lnTo>
                          <a:pt x="4" y="35"/>
                        </a:lnTo>
                        <a:lnTo>
                          <a:pt x="4" y="37"/>
                        </a:lnTo>
                        <a:lnTo>
                          <a:pt x="6" y="37"/>
                        </a:lnTo>
                        <a:lnTo>
                          <a:pt x="11" y="37"/>
                        </a:lnTo>
                        <a:lnTo>
                          <a:pt x="14" y="37"/>
                        </a:lnTo>
                        <a:lnTo>
                          <a:pt x="19" y="35"/>
                        </a:lnTo>
                        <a:lnTo>
                          <a:pt x="23" y="34"/>
                        </a:lnTo>
                        <a:lnTo>
                          <a:pt x="28" y="32"/>
                        </a:lnTo>
                        <a:lnTo>
                          <a:pt x="30" y="38"/>
                        </a:lnTo>
                        <a:lnTo>
                          <a:pt x="33" y="50"/>
                        </a:lnTo>
                        <a:lnTo>
                          <a:pt x="36" y="57"/>
                        </a:lnTo>
                        <a:lnTo>
                          <a:pt x="39" y="67"/>
                        </a:lnTo>
                        <a:lnTo>
                          <a:pt x="44" y="78"/>
                        </a:lnTo>
                        <a:lnTo>
                          <a:pt x="47" y="86"/>
                        </a:lnTo>
                        <a:lnTo>
                          <a:pt x="50" y="92"/>
                        </a:lnTo>
                        <a:lnTo>
                          <a:pt x="55" y="102"/>
                        </a:lnTo>
                        <a:lnTo>
                          <a:pt x="61" y="110"/>
                        </a:lnTo>
                        <a:lnTo>
                          <a:pt x="71" y="124"/>
                        </a:lnTo>
                        <a:lnTo>
                          <a:pt x="72" y="127"/>
                        </a:lnTo>
                        <a:lnTo>
                          <a:pt x="74" y="129"/>
                        </a:lnTo>
                        <a:lnTo>
                          <a:pt x="80" y="134"/>
                        </a:lnTo>
                        <a:lnTo>
                          <a:pt x="95" y="143"/>
                        </a:lnTo>
                        <a:lnTo>
                          <a:pt x="103" y="148"/>
                        </a:lnTo>
                        <a:lnTo>
                          <a:pt x="104" y="149"/>
                        </a:lnTo>
                        <a:lnTo>
                          <a:pt x="106" y="149"/>
                        </a:lnTo>
                        <a:lnTo>
                          <a:pt x="106" y="151"/>
                        </a:lnTo>
                        <a:lnTo>
                          <a:pt x="106" y="153"/>
                        </a:lnTo>
                        <a:lnTo>
                          <a:pt x="106" y="156"/>
                        </a:lnTo>
                        <a:lnTo>
                          <a:pt x="106" y="157"/>
                        </a:lnTo>
                        <a:lnTo>
                          <a:pt x="106" y="159"/>
                        </a:lnTo>
                        <a:lnTo>
                          <a:pt x="107" y="159"/>
                        </a:lnTo>
                        <a:lnTo>
                          <a:pt x="109" y="159"/>
                        </a:lnTo>
                        <a:lnTo>
                          <a:pt x="110" y="160"/>
                        </a:lnTo>
                        <a:lnTo>
                          <a:pt x="112" y="160"/>
                        </a:lnTo>
                        <a:lnTo>
                          <a:pt x="114" y="162"/>
                        </a:lnTo>
                        <a:lnTo>
                          <a:pt x="115" y="165"/>
                        </a:lnTo>
                        <a:lnTo>
                          <a:pt x="115" y="167"/>
                        </a:lnTo>
                        <a:lnTo>
                          <a:pt x="117" y="168"/>
                        </a:lnTo>
                        <a:lnTo>
                          <a:pt x="117" y="170"/>
                        </a:lnTo>
                        <a:lnTo>
                          <a:pt x="115" y="172"/>
                        </a:lnTo>
                        <a:lnTo>
                          <a:pt x="114" y="173"/>
                        </a:lnTo>
                        <a:lnTo>
                          <a:pt x="115" y="175"/>
                        </a:lnTo>
                        <a:lnTo>
                          <a:pt x="126" y="195"/>
                        </a:lnTo>
                        <a:lnTo>
                          <a:pt x="141" y="195"/>
                        </a:lnTo>
                        <a:lnTo>
                          <a:pt x="169" y="206"/>
                        </a:lnTo>
                        <a:lnTo>
                          <a:pt x="182" y="211"/>
                        </a:lnTo>
                        <a:lnTo>
                          <a:pt x="209" y="221"/>
                        </a:lnTo>
                        <a:lnTo>
                          <a:pt x="225" y="227"/>
                        </a:lnTo>
                        <a:lnTo>
                          <a:pt x="226" y="227"/>
                        </a:lnTo>
                        <a:lnTo>
                          <a:pt x="226" y="229"/>
                        </a:lnTo>
                        <a:lnTo>
                          <a:pt x="228" y="230"/>
                        </a:lnTo>
                        <a:lnTo>
                          <a:pt x="231" y="241"/>
                        </a:lnTo>
                        <a:lnTo>
                          <a:pt x="234" y="255"/>
                        </a:lnTo>
                        <a:lnTo>
                          <a:pt x="237" y="257"/>
                        </a:lnTo>
                        <a:lnTo>
                          <a:pt x="240" y="257"/>
                        </a:lnTo>
                        <a:lnTo>
                          <a:pt x="242" y="257"/>
                        </a:lnTo>
                        <a:lnTo>
                          <a:pt x="248" y="259"/>
                        </a:lnTo>
                        <a:lnTo>
                          <a:pt x="251" y="259"/>
                        </a:lnTo>
                        <a:lnTo>
                          <a:pt x="256" y="260"/>
                        </a:lnTo>
                        <a:lnTo>
                          <a:pt x="259" y="262"/>
                        </a:lnTo>
                        <a:lnTo>
                          <a:pt x="261" y="262"/>
                        </a:lnTo>
                        <a:lnTo>
                          <a:pt x="263" y="263"/>
                        </a:lnTo>
                        <a:lnTo>
                          <a:pt x="264" y="265"/>
                        </a:lnTo>
                        <a:lnTo>
                          <a:pt x="264" y="268"/>
                        </a:lnTo>
                        <a:lnTo>
                          <a:pt x="266" y="270"/>
                        </a:lnTo>
                        <a:lnTo>
                          <a:pt x="267" y="271"/>
                        </a:lnTo>
                        <a:lnTo>
                          <a:pt x="266" y="273"/>
                        </a:lnTo>
                        <a:lnTo>
                          <a:pt x="266" y="274"/>
                        </a:lnTo>
                        <a:lnTo>
                          <a:pt x="264" y="276"/>
                        </a:lnTo>
                        <a:lnTo>
                          <a:pt x="266" y="278"/>
                        </a:lnTo>
                        <a:lnTo>
                          <a:pt x="266" y="279"/>
                        </a:lnTo>
                        <a:lnTo>
                          <a:pt x="266" y="282"/>
                        </a:lnTo>
                        <a:lnTo>
                          <a:pt x="267" y="287"/>
                        </a:lnTo>
                        <a:lnTo>
                          <a:pt x="269" y="290"/>
                        </a:lnTo>
                        <a:lnTo>
                          <a:pt x="270" y="292"/>
                        </a:lnTo>
                        <a:lnTo>
                          <a:pt x="272" y="293"/>
                        </a:lnTo>
                        <a:lnTo>
                          <a:pt x="274" y="295"/>
                        </a:lnTo>
                        <a:lnTo>
                          <a:pt x="275" y="300"/>
                        </a:lnTo>
                        <a:lnTo>
                          <a:pt x="277" y="301"/>
                        </a:lnTo>
                        <a:lnTo>
                          <a:pt x="278" y="301"/>
                        </a:lnTo>
                        <a:lnTo>
                          <a:pt x="278" y="303"/>
                        </a:lnTo>
                        <a:lnTo>
                          <a:pt x="280" y="303"/>
                        </a:lnTo>
                        <a:lnTo>
                          <a:pt x="282" y="303"/>
                        </a:lnTo>
                        <a:lnTo>
                          <a:pt x="283" y="305"/>
                        </a:lnTo>
                        <a:lnTo>
                          <a:pt x="285" y="306"/>
                        </a:lnTo>
                        <a:lnTo>
                          <a:pt x="286" y="306"/>
                        </a:lnTo>
                        <a:lnTo>
                          <a:pt x="288" y="306"/>
                        </a:lnTo>
                        <a:lnTo>
                          <a:pt x="289" y="306"/>
                        </a:lnTo>
                        <a:lnTo>
                          <a:pt x="289" y="308"/>
                        </a:lnTo>
                        <a:lnTo>
                          <a:pt x="291" y="308"/>
                        </a:lnTo>
                        <a:lnTo>
                          <a:pt x="293" y="309"/>
                        </a:lnTo>
                        <a:lnTo>
                          <a:pt x="294" y="309"/>
                        </a:lnTo>
                        <a:lnTo>
                          <a:pt x="296" y="311"/>
                        </a:lnTo>
                        <a:lnTo>
                          <a:pt x="299" y="311"/>
                        </a:lnTo>
                        <a:lnTo>
                          <a:pt x="301" y="313"/>
                        </a:lnTo>
                        <a:lnTo>
                          <a:pt x="302" y="313"/>
                        </a:lnTo>
                        <a:lnTo>
                          <a:pt x="304" y="314"/>
                        </a:lnTo>
                        <a:lnTo>
                          <a:pt x="305" y="314"/>
                        </a:lnTo>
                        <a:lnTo>
                          <a:pt x="307" y="314"/>
                        </a:lnTo>
                        <a:lnTo>
                          <a:pt x="308" y="316"/>
                        </a:lnTo>
                        <a:lnTo>
                          <a:pt x="310" y="316"/>
                        </a:lnTo>
                        <a:lnTo>
                          <a:pt x="312" y="316"/>
                        </a:lnTo>
                        <a:lnTo>
                          <a:pt x="312" y="317"/>
                        </a:lnTo>
                        <a:lnTo>
                          <a:pt x="313" y="317"/>
                        </a:lnTo>
                        <a:lnTo>
                          <a:pt x="315" y="317"/>
                        </a:lnTo>
                        <a:lnTo>
                          <a:pt x="315" y="319"/>
                        </a:lnTo>
                        <a:lnTo>
                          <a:pt x="315" y="322"/>
                        </a:lnTo>
                        <a:lnTo>
                          <a:pt x="316" y="324"/>
                        </a:lnTo>
                        <a:lnTo>
                          <a:pt x="316" y="325"/>
                        </a:lnTo>
                        <a:lnTo>
                          <a:pt x="316" y="327"/>
                        </a:lnTo>
                        <a:lnTo>
                          <a:pt x="316" y="328"/>
                        </a:lnTo>
                        <a:lnTo>
                          <a:pt x="316" y="333"/>
                        </a:lnTo>
                        <a:lnTo>
                          <a:pt x="316" y="335"/>
                        </a:lnTo>
                        <a:lnTo>
                          <a:pt x="316" y="338"/>
                        </a:lnTo>
                        <a:lnTo>
                          <a:pt x="318" y="339"/>
                        </a:lnTo>
                        <a:lnTo>
                          <a:pt x="318" y="341"/>
                        </a:lnTo>
                        <a:lnTo>
                          <a:pt x="320" y="343"/>
                        </a:lnTo>
                        <a:lnTo>
                          <a:pt x="320" y="344"/>
                        </a:lnTo>
                        <a:lnTo>
                          <a:pt x="321" y="347"/>
                        </a:lnTo>
                        <a:lnTo>
                          <a:pt x="324" y="351"/>
                        </a:lnTo>
                        <a:lnTo>
                          <a:pt x="326" y="351"/>
                        </a:lnTo>
                        <a:lnTo>
                          <a:pt x="327" y="351"/>
                        </a:lnTo>
                        <a:lnTo>
                          <a:pt x="327" y="352"/>
                        </a:lnTo>
                        <a:lnTo>
                          <a:pt x="329" y="354"/>
                        </a:lnTo>
                        <a:lnTo>
                          <a:pt x="331" y="354"/>
                        </a:lnTo>
                        <a:lnTo>
                          <a:pt x="332" y="352"/>
                        </a:lnTo>
                        <a:lnTo>
                          <a:pt x="334" y="351"/>
                        </a:lnTo>
                        <a:lnTo>
                          <a:pt x="335" y="349"/>
                        </a:lnTo>
                        <a:lnTo>
                          <a:pt x="337" y="347"/>
                        </a:lnTo>
                        <a:lnTo>
                          <a:pt x="337" y="346"/>
                        </a:lnTo>
                        <a:lnTo>
                          <a:pt x="337" y="344"/>
                        </a:lnTo>
                        <a:lnTo>
                          <a:pt x="339" y="344"/>
                        </a:lnTo>
                        <a:lnTo>
                          <a:pt x="340" y="344"/>
                        </a:lnTo>
                        <a:lnTo>
                          <a:pt x="340" y="343"/>
                        </a:lnTo>
                        <a:lnTo>
                          <a:pt x="340" y="341"/>
                        </a:lnTo>
                        <a:lnTo>
                          <a:pt x="340" y="339"/>
                        </a:lnTo>
                        <a:lnTo>
                          <a:pt x="342" y="339"/>
                        </a:lnTo>
                        <a:lnTo>
                          <a:pt x="343" y="339"/>
                        </a:lnTo>
                        <a:lnTo>
                          <a:pt x="345" y="338"/>
                        </a:lnTo>
                        <a:lnTo>
                          <a:pt x="346" y="338"/>
                        </a:lnTo>
                        <a:lnTo>
                          <a:pt x="350" y="338"/>
                        </a:lnTo>
                        <a:lnTo>
                          <a:pt x="351" y="339"/>
                        </a:lnTo>
                        <a:lnTo>
                          <a:pt x="353" y="338"/>
                        </a:lnTo>
                        <a:lnTo>
                          <a:pt x="354" y="336"/>
                        </a:lnTo>
                        <a:lnTo>
                          <a:pt x="353" y="335"/>
                        </a:lnTo>
                        <a:lnTo>
                          <a:pt x="353" y="333"/>
                        </a:lnTo>
                        <a:lnTo>
                          <a:pt x="354" y="332"/>
                        </a:lnTo>
                        <a:lnTo>
                          <a:pt x="358" y="332"/>
                        </a:lnTo>
                        <a:lnTo>
                          <a:pt x="358" y="333"/>
                        </a:lnTo>
                        <a:lnTo>
                          <a:pt x="359" y="333"/>
                        </a:lnTo>
                        <a:lnTo>
                          <a:pt x="361" y="333"/>
                        </a:lnTo>
                        <a:lnTo>
                          <a:pt x="362" y="335"/>
                        </a:lnTo>
                        <a:lnTo>
                          <a:pt x="362" y="336"/>
                        </a:lnTo>
                        <a:lnTo>
                          <a:pt x="364" y="339"/>
                        </a:lnTo>
                        <a:lnTo>
                          <a:pt x="364" y="341"/>
                        </a:lnTo>
                        <a:lnTo>
                          <a:pt x="366" y="343"/>
                        </a:lnTo>
                        <a:lnTo>
                          <a:pt x="366" y="344"/>
                        </a:lnTo>
                        <a:lnTo>
                          <a:pt x="364" y="346"/>
                        </a:lnTo>
                        <a:lnTo>
                          <a:pt x="366" y="347"/>
                        </a:lnTo>
                        <a:lnTo>
                          <a:pt x="367" y="347"/>
                        </a:lnTo>
                        <a:lnTo>
                          <a:pt x="370" y="347"/>
                        </a:lnTo>
                        <a:lnTo>
                          <a:pt x="372" y="347"/>
                        </a:lnTo>
                        <a:lnTo>
                          <a:pt x="373" y="347"/>
                        </a:lnTo>
                        <a:lnTo>
                          <a:pt x="375" y="347"/>
                        </a:lnTo>
                        <a:lnTo>
                          <a:pt x="377" y="346"/>
                        </a:lnTo>
                        <a:lnTo>
                          <a:pt x="378" y="346"/>
                        </a:lnTo>
                        <a:lnTo>
                          <a:pt x="378" y="344"/>
                        </a:lnTo>
                        <a:lnTo>
                          <a:pt x="378" y="343"/>
                        </a:lnTo>
                        <a:lnTo>
                          <a:pt x="378" y="341"/>
                        </a:lnTo>
                        <a:lnTo>
                          <a:pt x="377" y="339"/>
                        </a:lnTo>
                        <a:lnTo>
                          <a:pt x="378" y="336"/>
                        </a:lnTo>
                        <a:lnTo>
                          <a:pt x="378" y="335"/>
                        </a:lnTo>
                        <a:lnTo>
                          <a:pt x="378" y="333"/>
                        </a:lnTo>
                        <a:lnTo>
                          <a:pt x="380" y="333"/>
                        </a:lnTo>
                        <a:lnTo>
                          <a:pt x="381" y="333"/>
                        </a:lnTo>
                        <a:lnTo>
                          <a:pt x="383" y="333"/>
                        </a:lnTo>
                        <a:lnTo>
                          <a:pt x="385" y="333"/>
                        </a:lnTo>
                        <a:lnTo>
                          <a:pt x="386" y="332"/>
                        </a:lnTo>
                        <a:lnTo>
                          <a:pt x="388" y="332"/>
                        </a:lnTo>
                        <a:lnTo>
                          <a:pt x="388" y="333"/>
                        </a:lnTo>
                        <a:lnTo>
                          <a:pt x="389" y="333"/>
                        </a:lnTo>
                        <a:lnTo>
                          <a:pt x="389" y="335"/>
                        </a:lnTo>
                        <a:lnTo>
                          <a:pt x="388" y="336"/>
                        </a:lnTo>
                        <a:lnTo>
                          <a:pt x="388" y="339"/>
                        </a:lnTo>
                        <a:lnTo>
                          <a:pt x="388" y="341"/>
                        </a:lnTo>
                        <a:lnTo>
                          <a:pt x="388" y="343"/>
                        </a:lnTo>
                        <a:lnTo>
                          <a:pt x="389" y="343"/>
                        </a:lnTo>
                        <a:lnTo>
                          <a:pt x="389" y="344"/>
                        </a:lnTo>
                        <a:lnTo>
                          <a:pt x="391" y="346"/>
                        </a:lnTo>
                        <a:lnTo>
                          <a:pt x="392" y="346"/>
                        </a:lnTo>
                        <a:lnTo>
                          <a:pt x="394" y="346"/>
                        </a:lnTo>
                        <a:lnTo>
                          <a:pt x="396" y="346"/>
                        </a:lnTo>
                        <a:lnTo>
                          <a:pt x="397" y="347"/>
                        </a:lnTo>
                        <a:lnTo>
                          <a:pt x="399" y="347"/>
                        </a:lnTo>
                        <a:lnTo>
                          <a:pt x="400" y="347"/>
                        </a:lnTo>
                        <a:lnTo>
                          <a:pt x="400" y="346"/>
                        </a:lnTo>
                        <a:lnTo>
                          <a:pt x="402" y="346"/>
                        </a:lnTo>
                        <a:lnTo>
                          <a:pt x="404" y="344"/>
                        </a:lnTo>
                        <a:lnTo>
                          <a:pt x="405" y="346"/>
                        </a:lnTo>
                        <a:lnTo>
                          <a:pt x="408" y="344"/>
                        </a:lnTo>
                        <a:lnTo>
                          <a:pt x="410" y="344"/>
                        </a:lnTo>
                        <a:lnTo>
                          <a:pt x="411" y="343"/>
                        </a:lnTo>
                        <a:lnTo>
                          <a:pt x="413" y="341"/>
                        </a:lnTo>
                        <a:lnTo>
                          <a:pt x="415" y="341"/>
                        </a:lnTo>
                        <a:lnTo>
                          <a:pt x="416" y="341"/>
                        </a:lnTo>
                        <a:lnTo>
                          <a:pt x="416" y="339"/>
                        </a:lnTo>
                        <a:lnTo>
                          <a:pt x="418" y="339"/>
                        </a:lnTo>
                        <a:lnTo>
                          <a:pt x="419" y="339"/>
                        </a:lnTo>
                        <a:lnTo>
                          <a:pt x="421" y="341"/>
                        </a:lnTo>
                        <a:lnTo>
                          <a:pt x="423" y="341"/>
                        </a:lnTo>
                        <a:lnTo>
                          <a:pt x="424" y="343"/>
                        </a:lnTo>
                        <a:lnTo>
                          <a:pt x="426" y="343"/>
                        </a:lnTo>
                        <a:lnTo>
                          <a:pt x="427" y="343"/>
                        </a:lnTo>
                        <a:lnTo>
                          <a:pt x="429" y="344"/>
                        </a:lnTo>
                        <a:lnTo>
                          <a:pt x="432" y="346"/>
                        </a:lnTo>
                        <a:lnTo>
                          <a:pt x="434" y="346"/>
                        </a:lnTo>
                        <a:lnTo>
                          <a:pt x="435" y="346"/>
                        </a:lnTo>
                        <a:lnTo>
                          <a:pt x="435" y="347"/>
                        </a:lnTo>
                        <a:lnTo>
                          <a:pt x="437" y="347"/>
                        </a:lnTo>
                        <a:lnTo>
                          <a:pt x="438" y="347"/>
                        </a:lnTo>
                        <a:lnTo>
                          <a:pt x="440" y="347"/>
                        </a:lnTo>
                        <a:lnTo>
                          <a:pt x="440" y="346"/>
                        </a:lnTo>
                        <a:lnTo>
                          <a:pt x="442" y="344"/>
                        </a:lnTo>
                        <a:lnTo>
                          <a:pt x="443" y="343"/>
                        </a:lnTo>
                        <a:lnTo>
                          <a:pt x="443" y="339"/>
                        </a:lnTo>
                        <a:lnTo>
                          <a:pt x="443" y="338"/>
                        </a:lnTo>
                        <a:lnTo>
                          <a:pt x="443" y="335"/>
                        </a:lnTo>
                        <a:lnTo>
                          <a:pt x="442" y="333"/>
                        </a:lnTo>
                        <a:lnTo>
                          <a:pt x="442" y="332"/>
                        </a:lnTo>
                        <a:lnTo>
                          <a:pt x="440" y="330"/>
                        </a:lnTo>
                        <a:lnTo>
                          <a:pt x="438" y="330"/>
                        </a:lnTo>
                        <a:lnTo>
                          <a:pt x="440" y="328"/>
                        </a:lnTo>
                        <a:lnTo>
                          <a:pt x="440" y="327"/>
                        </a:lnTo>
                        <a:lnTo>
                          <a:pt x="440" y="325"/>
                        </a:lnTo>
                        <a:lnTo>
                          <a:pt x="438" y="324"/>
                        </a:lnTo>
                        <a:lnTo>
                          <a:pt x="440" y="322"/>
                        </a:lnTo>
                        <a:lnTo>
                          <a:pt x="440" y="320"/>
                        </a:lnTo>
                        <a:lnTo>
                          <a:pt x="442" y="320"/>
                        </a:lnTo>
                        <a:lnTo>
                          <a:pt x="443" y="320"/>
                        </a:lnTo>
                        <a:lnTo>
                          <a:pt x="445" y="320"/>
                        </a:lnTo>
                        <a:lnTo>
                          <a:pt x="446" y="320"/>
                        </a:lnTo>
                        <a:lnTo>
                          <a:pt x="446" y="319"/>
                        </a:lnTo>
                        <a:lnTo>
                          <a:pt x="448" y="319"/>
                        </a:lnTo>
                        <a:lnTo>
                          <a:pt x="449" y="319"/>
                        </a:lnTo>
                        <a:lnTo>
                          <a:pt x="451" y="319"/>
                        </a:lnTo>
                        <a:lnTo>
                          <a:pt x="451" y="320"/>
                        </a:lnTo>
                        <a:lnTo>
                          <a:pt x="453" y="322"/>
                        </a:lnTo>
                        <a:lnTo>
                          <a:pt x="453" y="324"/>
                        </a:lnTo>
                        <a:lnTo>
                          <a:pt x="454" y="324"/>
                        </a:lnTo>
                        <a:lnTo>
                          <a:pt x="453" y="325"/>
                        </a:lnTo>
                        <a:lnTo>
                          <a:pt x="454" y="327"/>
                        </a:lnTo>
                        <a:lnTo>
                          <a:pt x="454" y="328"/>
                        </a:lnTo>
                        <a:lnTo>
                          <a:pt x="456" y="328"/>
                        </a:lnTo>
                        <a:lnTo>
                          <a:pt x="456" y="330"/>
                        </a:lnTo>
                        <a:lnTo>
                          <a:pt x="457" y="332"/>
                        </a:lnTo>
                        <a:lnTo>
                          <a:pt x="459" y="330"/>
                        </a:lnTo>
                        <a:lnTo>
                          <a:pt x="459" y="332"/>
                        </a:lnTo>
                        <a:lnTo>
                          <a:pt x="459" y="333"/>
                        </a:lnTo>
                        <a:lnTo>
                          <a:pt x="461" y="332"/>
                        </a:lnTo>
                        <a:lnTo>
                          <a:pt x="462" y="333"/>
                        </a:lnTo>
                        <a:lnTo>
                          <a:pt x="464" y="333"/>
                        </a:lnTo>
                        <a:lnTo>
                          <a:pt x="465" y="335"/>
                        </a:lnTo>
                        <a:lnTo>
                          <a:pt x="467" y="335"/>
                        </a:lnTo>
                        <a:lnTo>
                          <a:pt x="467" y="333"/>
                        </a:lnTo>
                        <a:lnTo>
                          <a:pt x="468" y="333"/>
                        </a:lnTo>
                        <a:lnTo>
                          <a:pt x="468" y="332"/>
                        </a:lnTo>
                        <a:lnTo>
                          <a:pt x="470" y="332"/>
                        </a:lnTo>
                        <a:lnTo>
                          <a:pt x="472" y="332"/>
                        </a:lnTo>
                        <a:lnTo>
                          <a:pt x="473" y="332"/>
                        </a:lnTo>
                        <a:lnTo>
                          <a:pt x="473" y="330"/>
                        </a:lnTo>
                        <a:lnTo>
                          <a:pt x="475" y="330"/>
                        </a:lnTo>
                        <a:lnTo>
                          <a:pt x="476" y="330"/>
                        </a:lnTo>
                        <a:lnTo>
                          <a:pt x="478" y="330"/>
                        </a:lnTo>
                        <a:lnTo>
                          <a:pt x="478" y="328"/>
                        </a:lnTo>
                        <a:lnTo>
                          <a:pt x="478" y="327"/>
                        </a:lnTo>
                        <a:lnTo>
                          <a:pt x="480" y="327"/>
                        </a:lnTo>
                        <a:lnTo>
                          <a:pt x="481" y="327"/>
                        </a:lnTo>
                        <a:lnTo>
                          <a:pt x="483" y="327"/>
                        </a:lnTo>
                        <a:lnTo>
                          <a:pt x="483" y="325"/>
                        </a:lnTo>
                        <a:lnTo>
                          <a:pt x="484" y="322"/>
                        </a:lnTo>
                        <a:lnTo>
                          <a:pt x="483" y="320"/>
                        </a:lnTo>
                        <a:lnTo>
                          <a:pt x="481" y="320"/>
                        </a:lnTo>
                        <a:lnTo>
                          <a:pt x="480" y="319"/>
                        </a:lnTo>
                        <a:lnTo>
                          <a:pt x="478" y="317"/>
                        </a:lnTo>
                        <a:lnTo>
                          <a:pt x="478" y="316"/>
                        </a:lnTo>
                        <a:lnTo>
                          <a:pt x="480" y="314"/>
                        </a:lnTo>
                        <a:lnTo>
                          <a:pt x="480" y="313"/>
                        </a:lnTo>
                        <a:lnTo>
                          <a:pt x="481" y="313"/>
                        </a:lnTo>
                        <a:lnTo>
                          <a:pt x="481" y="311"/>
                        </a:lnTo>
                        <a:lnTo>
                          <a:pt x="483" y="309"/>
                        </a:lnTo>
                        <a:lnTo>
                          <a:pt x="484" y="309"/>
                        </a:lnTo>
                        <a:lnTo>
                          <a:pt x="486" y="309"/>
                        </a:lnTo>
                        <a:lnTo>
                          <a:pt x="486" y="308"/>
                        </a:lnTo>
                        <a:lnTo>
                          <a:pt x="487" y="308"/>
                        </a:lnTo>
                        <a:lnTo>
                          <a:pt x="487" y="309"/>
                        </a:lnTo>
                        <a:lnTo>
                          <a:pt x="489" y="309"/>
                        </a:lnTo>
                        <a:lnTo>
                          <a:pt x="491" y="309"/>
                        </a:lnTo>
                        <a:lnTo>
                          <a:pt x="492" y="309"/>
                        </a:lnTo>
                        <a:lnTo>
                          <a:pt x="494" y="311"/>
                        </a:lnTo>
                        <a:lnTo>
                          <a:pt x="494" y="313"/>
                        </a:lnTo>
                        <a:lnTo>
                          <a:pt x="495" y="313"/>
                        </a:lnTo>
                        <a:lnTo>
                          <a:pt x="497" y="314"/>
                        </a:lnTo>
                        <a:lnTo>
                          <a:pt x="499" y="314"/>
                        </a:lnTo>
                        <a:lnTo>
                          <a:pt x="500" y="314"/>
                        </a:lnTo>
                        <a:lnTo>
                          <a:pt x="502" y="314"/>
                        </a:lnTo>
                        <a:lnTo>
                          <a:pt x="503" y="313"/>
                        </a:lnTo>
                        <a:lnTo>
                          <a:pt x="505" y="313"/>
                        </a:lnTo>
                        <a:lnTo>
                          <a:pt x="506" y="311"/>
                        </a:lnTo>
                        <a:lnTo>
                          <a:pt x="508" y="311"/>
                        </a:lnTo>
                        <a:lnTo>
                          <a:pt x="508" y="308"/>
                        </a:lnTo>
                        <a:lnTo>
                          <a:pt x="508" y="306"/>
                        </a:lnTo>
                        <a:lnTo>
                          <a:pt x="508" y="305"/>
                        </a:lnTo>
                        <a:lnTo>
                          <a:pt x="506" y="303"/>
                        </a:lnTo>
                        <a:lnTo>
                          <a:pt x="506" y="301"/>
                        </a:lnTo>
                        <a:lnTo>
                          <a:pt x="508" y="301"/>
                        </a:lnTo>
                        <a:lnTo>
                          <a:pt x="510" y="301"/>
                        </a:lnTo>
                        <a:lnTo>
                          <a:pt x="511" y="303"/>
                        </a:lnTo>
                        <a:lnTo>
                          <a:pt x="513" y="303"/>
                        </a:lnTo>
                        <a:lnTo>
                          <a:pt x="514" y="301"/>
                        </a:lnTo>
                        <a:lnTo>
                          <a:pt x="516" y="301"/>
                        </a:lnTo>
                        <a:lnTo>
                          <a:pt x="518" y="301"/>
                        </a:lnTo>
                        <a:lnTo>
                          <a:pt x="518" y="300"/>
                        </a:lnTo>
                        <a:lnTo>
                          <a:pt x="518" y="298"/>
                        </a:lnTo>
                        <a:lnTo>
                          <a:pt x="518" y="297"/>
                        </a:lnTo>
                        <a:lnTo>
                          <a:pt x="521" y="297"/>
                        </a:lnTo>
                        <a:lnTo>
                          <a:pt x="521" y="295"/>
                        </a:lnTo>
                        <a:lnTo>
                          <a:pt x="522" y="293"/>
                        </a:lnTo>
                        <a:lnTo>
                          <a:pt x="524" y="292"/>
                        </a:lnTo>
                        <a:lnTo>
                          <a:pt x="525" y="292"/>
                        </a:lnTo>
                        <a:lnTo>
                          <a:pt x="527" y="290"/>
                        </a:lnTo>
                        <a:lnTo>
                          <a:pt x="529" y="287"/>
                        </a:lnTo>
                        <a:lnTo>
                          <a:pt x="530" y="287"/>
                        </a:lnTo>
                        <a:lnTo>
                          <a:pt x="532" y="287"/>
                        </a:lnTo>
                        <a:lnTo>
                          <a:pt x="533" y="287"/>
                        </a:lnTo>
                        <a:lnTo>
                          <a:pt x="535" y="286"/>
                        </a:lnTo>
                        <a:lnTo>
                          <a:pt x="535" y="284"/>
                        </a:lnTo>
                        <a:lnTo>
                          <a:pt x="535" y="286"/>
                        </a:lnTo>
                        <a:lnTo>
                          <a:pt x="537" y="286"/>
                        </a:lnTo>
                        <a:lnTo>
                          <a:pt x="538" y="286"/>
                        </a:lnTo>
                        <a:lnTo>
                          <a:pt x="540" y="286"/>
                        </a:lnTo>
                        <a:lnTo>
                          <a:pt x="541" y="286"/>
                        </a:lnTo>
                        <a:lnTo>
                          <a:pt x="545" y="284"/>
                        </a:lnTo>
                        <a:lnTo>
                          <a:pt x="546" y="284"/>
                        </a:lnTo>
                        <a:lnTo>
                          <a:pt x="548" y="286"/>
                        </a:lnTo>
                        <a:lnTo>
                          <a:pt x="549" y="286"/>
                        </a:lnTo>
                        <a:lnTo>
                          <a:pt x="552" y="286"/>
                        </a:lnTo>
                        <a:lnTo>
                          <a:pt x="554" y="284"/>
                        </a:lnTo>
                        <a:lnTo>
                          <a:pt x="556" y="284"/>
                        </a:lnTo>
                        <a:lnTo>
                          <a:pt x="557" y="284"/>
                        </a:lnTo>
                        <a:lnTo>
                          <a:pt x="559" y="284"/>
                        </a:lnTo>
                        <a:lnTo>
                          <a:pt x="560" y="284"/>
                        </a:lnTo>
                        <a:lnTo>
                          <a:pt x="562" y="282"/>
                        </a:lnTo>
                        <a:lnTo>
                          <a:pt x="564" y="284"/>
                        </a:lnTo>
                        <a:lnTo>
                          <a:pt x="565" y="284"/>
                        </a:lnTo>
                        <a:lnTo>
                          <a:pt x="567" y="284"/>
                        </a:lnTo>
                        <a:lnTo>
                          <a:pt x="568" y="284"/>
                        </a:lnTo>
                        <a:lnTo>
                          <a:pt x="570" y="284"/>
                        </a:lnTo>
                        <a:lnTo>
                          <a:pt x="571" y="282"/>
                        </a:lnTo>
                        <a:lnTo>
                          <a:pt x="571" y="284"/>
                        </a:lnTo>
                        <a:lnTo>
                          <a:pt x="573" y="284"/>
                        </a:lnTo>
                        <a:lnTo>
                          <a:pt x="575" y="284"/>
                        </a:lnTo>
                        <a:lnTo>
                          <a:pt x="575" y="295"/>
                        </a:lnTo>
                        <a:lnTo>
                          <a:pt x="575" y="300"/>
                        </a:lnTo>
                        <a:lnTo>
                          <a:pt x="576" y="308"/>
                        </a:lnTo>
                        <a:lnTo>
                          <a:pt x="578" y="336"/>
                        </a:lnTo>
                        <a:lnTo>
                          <a:pt x="652" y="336"/>
                        </a:lnTo>
                        <a:lnTo>
                          <a:pt x="655" y="336"/>
                        </a:lnTo>
                        <a:lnTo>
                          <a:pt x="682" y="357"/>
                        </a:lnTo>
                        <a:lnTo>
                          <a:pt x="687" y="362"/>
                        </a:lnTo>
                        <a:lnTo>
                          <a:pt x="697" y="371"/>
                        </a:lnTo>
                        <a:lnTo>
                          <a:pt x="697" y="370"/>
                        </a:lnTo>
                        <a:lnTo>
                          <a:pt x="704" y="374"/>
                        </a:lnTo>
                        <a:lnTo>
                          <a:pt x="709" y="381"/>
                        </a:lnTo>
                        <a:lnTo>
                          <a:pt x="719" y="389"/>
                        </a:lnTo>
                        <a:lnTo>
                          <a:pt x="749" y="412"/>
                        </a:lnTo>
                        <a:lnTo>
                          <a:pt x="750" y="414"/>
                        </a:lnTo>
                        <a:lnTo>
                          <a:pt x="760" y="422"/>
                        </a:lnTo>
                        <a:lnTo>
                          <a:pt x="766" y="427"/>
                        </a:lnTo>
                        <a:lnTo>
                          <a:pt x="771" y="430"/>
                        </a:lnTo>
                        <a:lnTo>
                          <a:pt x="776" y="434"/>
                        </a:lnTo>
                        <a:lnTo>
                          <a:pt x="776" y="436"/>
                        </a:lnTo>
                        <a:lnTo>
                          <a:pt x="781" y="438"/>
                        </a:lnTo>
                        <a:lnTo>
                          <a:pt x="782" y="439"/>
                        </a:lnTo>
                        <a:lnTo>
                          <a:pt x="790" y="447"/>
                        </a:lnTo>
                        <a:lnTo>
                          <a:pt x="803" y="457"/>
                        </a:lnTo>
                        <a:lnTo>
                          <a:pt x="809" y="463"/>
                        </a:lnTo>
                        <a:lnTo>
                          <a:pt x="819" y="471"/>
                        </a:lnTo>
                        <a:lnTo>
                          <a:pt x="823" y="474"/>
                        </a:lnTo>
                        <a:lnTo>
                          <a:pt x="830" y="480"/>
                        </a:lnTo>
                        <a:lnTo>
                          <a:pt x="833" y="482"/>
                        </a:lnTo>
                        <a:lnTo>
                          <a:pt x="842" y="490"/>
                        </a:lnTo>
                        <a:lnTo>
                          <a:pt x="847" y="493"/>
                        </a:lnTo>
                        <a:lnTo>
                          <a:pt x="934" y="561"/>
                        </a:lnTo>
                        <a:lnTo>
                          <a:pt x="956" y="564"/>
                        </a:lnTo>
                        <a:lnTo>
                          <a:pt x="964" y="564"/>
                        </a:lnTo>
                        <a:lnTo>
                          <a:pt x="990" y="566"/>
                        </a:lnTo>
                        <a:lnTo>
                          <a:pt x="1001" y="568"/>
                        </a:lnTo>
                        <a:lnTo>
                          <a:pt x="1004" y="566"/>
                        </a:lnTo>
                        <a:lnTo>
                          <a:pt x="1012" y="566"/>
                        </a:lnTo>
                        <a:lnTo>
                          <a:pt x="1017" y="568"/>
                        </a:lnTo>
                        <a:lnTo>
                          <a:pt x="1036" y="568"/>
                        </a:lnTo>
                        <a:lnTo>
                          <a:pt x="1039" y="568"/>
                        </a:lnTo>
                        <a:lnTo>
                          <a:pt x="1043" y="568"/>
                        </a:lnTo>
                        <a:lnTo>
                          <a:pt x="1047" y="568"/>
                        </a:lnTo>
                        <a:lnTo>
                          <a:pt x="1058" y="569"/>
                        </a:lnTo>
                        <a:lnTo>
                          <a:pt x="1069" y="569"/>
                        </a:lnTo>
                        <a:lnTo>
                          <a:pt x="1077" y="569"/>
                        </a:lnTo>
                        <a:lnTo>
                          <a:pt x="1086" y="571"/>
                        </a:lnTo>
                        <a:lnTo>
                          <a:pt x="1089" y="571"/>
                        </a:lnTo>
                        <a:lnTo>
                          <a:pt x="1100" y="571"/>
                        </a:lnTo>
                        <a:lnTo>
                          <a:pt x="1108" y="572"/>
                        </a:lnTo>
                        <a:lnTo>
                          <a:pt x="1112" y="572"/>
                        </a:lnTo>
                        <a:lnTo>
                          <a:pt x="1116" y="571"/>
                        </a:lnTo>
                        <a:lnTo>
                          <a:pt x="1118" y="571"/>
                        </a:lnTo>
                        <a:lnTo>
                          <a:pt x="1142" y="533"/>
                        </a:lnTo>
                        <a:lnTo>
                          <a:pt x="1148" y="520"/>
                        </a:lnTo>
                        <a:lnTo>
                          <a:pt x="1150" y="517"/>
                        </a:lnTo>
                        <a:lnTo>
                          <a:pt x="1153" y="518"/>
                        </a:lnTo>
                        <a:lnTo>
                          <a:pt x="1164" y="522"/>
                        </a:lnTo>
                        <a:lnTo>
                          <a:pt x="1172" y="514"/>
                        </a:lnTo>
                        <a:lnTo>
                          <a:pt x="1181" y="498"/>
                        </a:lnTo>
                        <a:lnTo>
                          <a:pt x="1186" y="498"/>
                        </a:lnTo>
                        <a:lnTo>
                          <a:pt x="1199" y="501"/>
                        </a:lnTo>
                        <a:lnTo>
                          <a:pt x="1203" y="503"/>
                        </a:lnTo>
                        <a:lnTo>
                          <a:pt x="1210" y="503"/>
                        </a:lnTo>
                        <a:lnTo>
                          <a:pt x="1216" y="503"/>
                        </a:lnTo>
                        <a:lnTo>
                          <a:pt x="1219" y="503"/>
                        </a:lnTo>
                        <a:lnTo>
                          <a:pt x="1221" y="503"/>
                        </a:lnTo>
                        <a:lnTo>
                          <a:pt x="1234" y="504"/>
                        </a:lnTo>
                        <a:lnTo>
                          <a:pt x="1235" y="504"/>
                        </a:lnTo>
                        <a:lnTo>
                          <a:pt x="1240" y="506"/>
                        </a:lnTo>
                        <a:lnTo>
                          <a:pt x="1246" y="507"/>
                        </a:lnTo>
                        <a:lnTo>
                          <a:pt x="1253" y="504"/>
                        </a:lnTo>
                        <a:lnTo>
                          <a:pt x="1260" y="501"/>
                        </a:lnTo>
                        <a:lnTo>
                          <a:pt x="1260" y="503"/>
                        </a:lnTo>
                        <a:lnTo>
                          <a:pt x="1262" y="506"/>
                        </a:lnTo>
                        <a:lnTo>
                          <a:pt x="1264" y="517"/>
                        </a:lnTo>
                        <a:lnTo>
                          <a:pt x="1265" y="517"/>
                        </a:lnTo>
                        <a:lnTo>
                          <a:pt x="1267" y="517"/>
                        </a:lnTo>
                        <a:lnTo>
                          <a:pt x="1275" y="522"/>
                        </a:lnTo>
                        <a:lnTo>
                          <a:pt x="1295" y="528"/>
                        </a:lnTo>
                        <a:lnTo>
                          <a:pt x="1294" y="533"/>
                        </a:lnTo>
                        <a:lnTo>
                          <a:pt x="1294" y="544"/>
                        </a:lnTo>
                        <a:lnTo>
                          <a:pt x="1289" y="552"/>
                        </a:lnTo>
                        <a:lnTo>
                          <a:pt x="1292" y="553"/>
                        </a:lnTo>
                        <a:lnTo>
                          <a:pt x="1295" y="555"/>
                        </a:lnTo>
                        <a:lnTo>
                          <a:pt x="1303" y="560"/>
                        </a:lnTo>
                        <a:lnTo>
                          <a:pt x="1308" y="561"/>
                        </a:lnTo>
                        <a:lnTo>
                          <a:pt x="1316" y="568"/>
                        </a:lnTo>
                        <a:lnTo>
                          <a:pt x="1318" y="568"/>
                        </a:lnTo>
                        <a:lnTo>
                          <a:pt x="1329" y="585"/>
                        </a:lnTo>
                        <a:lnTo>
                          <a:pt x="1333" y="591"/>
                        </a:lnTo>
                        <a:lnTo>
                          <a:pt x="1335" y="593"/>
                        </a:lnTo>
                        <a:lnTo>
                          <a:pt x="1335" y="596"/>
                        </a:lnTo>
                        <a:lnTo>
                          <a:pt x="1337" y="631"/>
                        </a:lnTo>
                        <a:lnTo>
                          <a:pt x="1348" y="644"/>
                        </a:lnTo>
                        <a:lnTo>
                          <a:pt x="1349" y="645"/>
                        </a:lnTo>
                        <a:lnTo>
                          <a:pt x="1349" y="647"/>
                        </a:lnTo>
                        <a:lnTo>
                          <a:pt x="1352" y="648"/>
                        </a:lnTo>
                        <a:lnTo>
                          <a:pt x="1352" y="650"/>
                        </a:lnTo>
                        <a:lnTo>
                          <a:pt x="1354" y="650"/>
                        </a:lnTo>
                        <a:lnTo>
                          <a:pt x="1357" y="655"/>
                        </a:lnTo>
                        <a:lnTo>
                          <a:pt x="1359" y="656"/>
                        </a:lnTo>
                        <a:lnTo>
                          <a:pt x="1360" y="659"/>
                        </a:lnTo>
                        <a:lnTo>
                          <a:pt x="1362" y="659"/>
                        </a:lnTo>
                        <a:lnTo>
                          <a:pt x="1362" y="663"/>
                        </a:lnTo>
                        <a:lnTo>
                          <a:pt x="1363" y="664"/>
                        </a:lnTo>
                        <a:lnTo>
                          <a:pt x="1362" y="672"/>
                        </a:lnTo>
                        <a:lnTo>
                          <a:pt x="1360" y="678"/>
                        </a:lnTo>
                        <a:lnTo>
                          <a:pt x="1360" y="683"/>
                        </a:lnTo>
                        <a:lnTo>
                          <a:pt x="1365" y="688"/>
                        </a:lnTo>
                        <a:lnTo>
                          <a:pt x="1363" y="690"/>
                        </a:lnTo>
                        <a:lnTo>
                          <a:pt x="1360" y="690"/>
                        </a:lnTo>
                        <a:lnTo>
                          <a:pt x="1357" y="690"/>
                        </a:lnTo>
                        <a:lnTo>
                          <a:pt x="1357" y="691"/>
                        </a:lnTo>
                        <a:lnTo>
                          <a:pt x="1357" y="694"/>
                        </a:lnTo>
                        <a:lnTo>
                          <a:pt x="1354" y="694"/>
                        </a:lnTo>
                        <a:lnTo>
                          <a:pt x="1352" y="696"/>
                        </a:lnTo>
                        <a:lnTo>
                          <a:pt x="1351" y="694"/>
                        </a:lnTo>
                        <a:lnTo>
                          <a:pt x="1349" y="693"/>
                        </a:lnTo>
                        <a:lnTo>
                          <a:pt x="1341" y="690"/>
                        </a:lnTo>
                        <a:lnTo>
                          <a:pt x="1333" y="691"/>
                        </a:lnTo>
                        <a:lnTo>
                          <a:pt x="1330" y="694"/>
                        </a:lnTo>
                        <a:lnTo>
                          <a:pt x="1330" y="696"/>
                        </a:lnTo>
                        <a:lnTo>
                          <a:pt x="1329" y="696"/>
                        </a:lnTo>
                        <a:lnTo>
                          <a:pt x="1321" y="693"/>
                        </a:lnTo>
                        <a:lnTo>
                          <a:pt x="1321" y="691"/>
                        </a:lnTo>
                        <a:lnTo>
                          <a:pt x="1314" y="691"/>
                        </a:lnTo>
                        <a:lnTo>
                          <a:pt x="1313" y="691"/>
                        </a:lnTo>
                        <a:lnTo>
                          <a:pt x="1311" y="693"/>
                        </a:lnTo>
                        <a:lnTo>
                          <a:pt x="1308" y="691"/>
                        </a:lnTo>
                        <a:lnTo>
                          <a:pt x="1303" y="690"/>
                        </a:lnTo>
                        <a:lnTo>
                          <a:pt x="1300" y="691"/>
                        </a:lnTo>
                        <a:lnTo>
                          <a:pt x="1297" y="693"/>
                        </a:lnTo>
                        <a:lnTo>
                          <a:pt x="1292" y="693"/>
                        </a:lnTo>
                        <a:lnTo>
                          <a:pt x="1289" y="694"/>
                        </a:lnTo>
                        <a:lnTo>
                          <a:pt x="1291" y="697"/>
                        </a:lnTo>
                        <a:lnTo>
                          <a:pt x="1284" y="699"/>
                        </a:lnTo>
                        <a:lnTo>
                          <a:pt x="1279" y="704"/>
                        </a:lnTo>
                        <a:lnTo>
                          <a:pt x="1273" y="705"/>
                        </a:lnTo>
                        <a:lnTo>
                          <a:pt x="1268" y="710"/>
                        </a:lnTo>
                        <a:lnTo>
                          <a:pt x="1265" y="713"/>
                        </a:lnTo>
                        <a:lnTo>
                          <a:pt x="1265" y="716"/>
                        </a:lnTo>
                        <a:lnTo>
                          <a:pt x="1264" y="718"/>
                        </a:lnTo>
                        <a:lnTo>
                          <a:pt x="1262" y="718"/>
                        </a:lnTo>
                        <a:lnTo>
                          <a:pt x="1260" y="718"/>
                        </a:lnTo>
                        <a:lnTo>
                          <a:pt x="1254" y="712"/>
                        </a:lnTo>
                        <a:lnTo>
                          <a:pt x="1253" y="709"/>
                        </a:lnTo>
                        <a:lnTo>
                          <a:pt x="1251" y="709"/>
                        </a:lnTo>
                        <a:lnTo>
                          <a:pt x="1249" y="709"/>
                        </a:lnTo>
                        <a:lnTo>
                          <a:pt x="1246" y="709"/>
                        </a:lnTo>
                        <a:lnTo>
                          <a:pt x="1245" y="712"/>
                        </a:lnTo>
                        <a:lnTo>
                          <a:pt x="1243" y="713"/>
                        </a:lnTo>
                        <a:lnTo>
                          <a:pt x="1240" y="716"/>
                        </a:lnTo>
                        <a:lnTo>
                          <a:pt x="1238" y="720"/>
                        </a:lnTo>
                        <a:lnTo>
                          <a:pt x="1240" y="721"/>
                        </a:lnTo>
                        <a:lnTo>
                          <a:pt x="1240" y="723"/>
                        </a:lnTo>
                        <a:lnTo>
                          <a:pt x="1240" y="724"/>
                        </a:lnTo>
                        <a:lnTo>
                          <a:pt x="1235" y="729"/>
                        </a:lnTo>
                        <a:lnTo>
                          <a:pt x="1235" y="732"/>
                        </a:lnTo>
                        <a:lnTo>
                          <a:pt x="1237" y="735"/>
                        </a:lnTo>
                        <a:lnTo>
                          <a:pt x="1238" y="739"/>
                        </a:lnTo>
                        <a:lnTo>
                          <a:pt x="1249" y="751"/>
                        </a:lnTo>
                        <a:lnTo>
                          <a:pt x="1253" y="756"/>
                        </a:lnTo>
                        <a:lnTo>
                          <a:pt x="1272" y="781"/>
                        </a:lnTo>
                        <a:lnTo>
                          <a:pt x="1281" y="794"/>
                        </a:lnTo>
                        <a:lnTo>
                          <a:pt x="1281" y="796"/>
                        </a:lnTo>
                        <a:lnTo>
                          <a:pt x="1310" y="832"/>
                        </a:lnTo>
                        <a:lnTo>
                          <a:pt x="1314" y="840"/>
                        </a:lnTo>
                        <a:lnTo>
                          <a:pt x="1318" y="842"/>
                        </a:lnTo>
                        <a:lnTo>
                          <a:pt x="1329" y="857"/>
                        </a:lnTo>
                        <a:lnTo>
                          <a:pt x="1329" y="859"/>
                        </a:lnTo>
                        <a:lnTo>
                          <a:pt x="1340" y="872"/>
                        </a:lnTo>
                        <a:lnTo>
                          <a:pt x="1348" y="883"/>
                        </a:lnTo>
                        <a:lnTo>
                          <a:pt x="1352" y="891"/>
                        </a:lnTo>
                        <a:lnTo>
                          <a:pt x="1357" y="897"/>
                        </a:lnTo>
                        <a:lnTo>
                          <a:pt x="1379" y="926"/>
                        </a:lnTo>
                        <a:lnTo>
                          <a:pt x="1390" y="940"/>
                        </a:lnTo>
                        <a:lnTo>
                          <a:pt x="1392" y="943"/>
                        </a:lnTo>
                        <a:lnTo>
                          <a:pt x="1409" y="967"/>
                        </a:lnTo>
                        <a:lnTo>
                          <a:pt x="1413" y="970"/>
                        </a:lnTo>
                        <a:lnTo>
                          <a:pt x="1419" y="979"/>
                        </a:lnTo>
                        <a:lnTo>
                          <a:pt x="1422" y="983"/>
                        </a:lnTo>
                        <a:lnTo>
                          <a:pt x="1424" y="987"/>
                        </a:lnTo>
                        <a:lnTo>
                          <a:pt x="1425" y="987"/>
                        </a:lnTo>
                        <a:lnTo>
                          <a:pt x="1425" y="989"/>
                        </a:lnTo>
                        <a:lnTo>
                          <a:pt x="1428" y="990"/>
                        </a:lnTo>
                        <a:lnTo>
                          <a:pt x="1430" y="992"/>
                        </a:lnTo>
                        <a:lnTo>
                          <a:pt x="1432" y="994"/>
                        </a:lnTo>
                        <a:lnTo>
                          <a:pt x="1433" y="997"/>
                        </a:lnTo>
                        <a:lnTo>
                          <a:pt x="1439" y="1006"/>
                        </a:lnTo>
                        <a:lnTo>
                          <a:pt x="1446" y="1013"/>
                        </a:lnTo>
                        <a:lnTo>
                          <a:pt x="1446" y="1014"/>
                        </a:lnTo>
                        <a:lnTo>
                          <a:pt x="1444" y="1016"/>
                        </a:lnTo>
                        <a:lnTo>
                          <a:pt x="1441" y="1016"/>
                        </a:lnTo>
                        <a:lnTo>
                          <a:pt x="1439" y="1017"/>
                        </a:lnTo>
                        <a:lnTo>
                          <a:pt x="1439" y="1021"/>
                        </a:lnTo>
                        <a:lnTo>
                          <a:pt x="1441" y="1024"/>
                        </a:lnTo>
                        <a:lnTo>
                          <a:pt x="1443" y="1025"/>
                        </a:lnTo>
                        <a:lnTo>
                          <a:pt x="1443" y="1028"/>
                        </a:lnTo>
                        <a:lnTo>
                          <a:pt x="1444" y="1028"/>
                        </a:lnTo>
                        <a:lnTo>
                          <a:pt x="1444" y="1032"/>
                        </a:lnTo>
                        <a:lnTo>
                          <a:pt x="1443" y="1033"/>
                        </a:lnTo>
                        <a:lnTo>
                          <a:pt x="1439" y="1035"/>
                        </a:lnTo>
                        <a:lnTo>
                          <a:pt x="1436" y="1036"/>
                        </a:lnTo>
                        <a:lnTo>
                          <a:pt x="1430" y="1041"/>
                        </a:lnTo>
                        <a:lnTo>
                          <a:pt x="1428" y="1044"/>
                        </a:lnTo>
                        <a:lnTo>
                          <a:pt x="1427" y="1047"/>
                        </a:lnTo>
                        <a:lnTo>
                          <a:pt x="1427" y="1052"/>
                        </a:lnTo>
                        <a:lnTo>
                          <a:pt x="1427" y="1054"/>
                        </a:lnTo>
                        <a:lnTo>
                          <a:pt x="1428" y="1055"/>
                        </a:lnTo>
                        <a:lnTo>
                          <a:pt x="1432" y="1057"/>
                        </a:lnTo>
                        <a:lnTo>
                          <a:pt x="1432" y="1059"/>
                        </a:lnTo>
                        <a:lnTo>
                          <a:pt x="1430" y="1060"/>
                        </a:lnTo>
                        <a:lnTo>
                          <a:pt x="1428" y="1062"/>
                        </a:lnTo>
                        <a:lnTo>
                          <a:pt x="1424" y="1063"/>
                        </a:lnTo>
                        <a:lnTo>
                          <a:pt x="1422" y="1067"/>
                        </a:lnTo>
                        <a:lnTo>
                          <a:pt x="1424" y="1071"/>
                        </a:lnTo>
                        <a:lnTo>
                          <a:pt x="1422" y="1073"/>
                        </a:lnTo>
                        <a:lnTo>
                          <a:pt x="1425" y="1076"/>
                        </a:lnTo>
                        <a:lnTo>
                          <a:pt x="1425" y="1078"/>
                        </a:lnTo>
                        <a:lnTo>
                          <a:pt x="1425" y="1079"/>
                        </a:lnTo>
                        <a:lnTo>
                          <a:pt x="1424" y="1079"/>
                        </a:lnTo>
                        <a:lnTo>
                          <a:pt x="1419" y="1081"/>
                        </a:lnTo>
                        <a:lnTo>
                          <a:pt x="1411" y="1081"/>
                        </a:lnTo>
                        <a:lnTo>
                          <a:pt x="1406" y="1084"/>
                        </a:lnTo>
                        <a:lnTo>
                          <a:pt x="1406" y="1086"/>
                        </a:lnTo>
                        <a:lnTo>
                          <a:pt x="1405" y="1092"/>
                        </a:lnTo>
                        <a:lnTo>
                          <a:pt x="1405" y="1093"/>
                        </a:lnTo>
                        <a:lnTo>
                          <a:pt x="1403" y="1095"/>
                        </a:lnTo>
                        <a:lnTo>
                          <a:pt x="1398" y="1098"/>
                        </a:lnTo>
                        <a:lnTo>
                          <a:pt x="1392" y="1101"/>
                        </a:lnTo>
                        <a:lnTo>
                          <a:pt x="1390" y="1106"/>
                        </a:lnTo>
                        <a:lnTo>
                          <a:pt x="1389" y="1108"/>
                        </a:lnTo>
                        <a:lnTo>
                          <a:pt x="1382" y="1114"/>
                        </a:lnTo>
                        <a:lnTo>
                          <a:pt x="1382" y="1120"/>
                        </a:lnTo>
                        <a:lnTo>
                          <a:pt x="1381" y="1124"/>
                        </a:lnTo>
                        <a:lnTo>
                          <a:pt x="1381" y="1128"/>
                        </a:lnTo>
                        <a:lnTo>
                          <a:pt x="1381" y="1131"/>
                        </a:lnTo>
                        <a:lnTo>
                          <a:pt x="1386" y="1138"/>
                        </a:lnTo>
                        <a:lnTo>
                          <a:pt x="1384" y="1144"/>
                        </a:lnTo>
                        <a:lnTo>
                          <a:pt x="1382" y="1146"/>
                        </a:lnTo>
                        <a:lnTo>
                          <a:pt x="1384" y="1147"/>
                        </a:lnTo>
                        <a:lnTo>
                          <a:pt x="1386" y="1147"/>
                        </a:lnTo>
                        <a:lnTo>
                          <a:pt x="1387" y="1149"/>
                        </a:lnTo>
                        <a:lnTo>
                          <a:pt x="1384" y="1152"/>
                        </a:lnTo>
                        <a:lnTo>
                          <a:pt x="1375" y="1158"/>
                        </a:lnTo>
                        <a:lnTo>
                          <a:pt x="1354" y="1168"/>
                        </a:lnTo>
                        <a:lnTo>
                          <a:pt x="1343" y="1181"/>
                        </a:lnTo>
                        <a:lnTo>
                          <a:pt x="1330" y="1192"/>
                        </a:lnTo>
                        <a:lnTo>
                          <a:pt x="1329" y="1193"/>
                        </a:lnTo>
                        <a:lnTo>
                          <a:pt x="1322" y="1198"/>
                        </a:lnTo>
                        <a:lnTo>
                          <a:pt x="1321" y="1198"/>
                        </a:lnTo>
                        <a:lnTo>
                          <a:pt x="1318" y="1198"/>
                        </a:lnTo>
                        <a:lnTo>
                          <a:pt x="1314" y="1198"/>
                        </a:lnTo>
                        <a:lnTo>
                          <a:pt x="1310" y="1200"/>
                        </a:lnTo>
                        <a:lnTo>
                          <a:pt x="1299" y="1212"/>
                        </a:lnTo>
                        <a:lnTo>
                          <a:pt x="1294" y="1217"/>
                        </a:lnTo>
                        <a:lnTo>
                          <a:pt x="1292" y="1217"/>
                        </a:lnTo>
                        <a:lnTo>
                          <a:pt x="1286" y="1226"/>
                        </a:lnTo>
                        <a:lnTo>
                          <a:pt x="1259" y="1252"/>
                        </a:lnTo>
                        <a:lnTo>
                          <a:pt x="1253" y="1260"/>
                        </a:lnTo>
                        <a:lnTo>
                          <a:pt x="1249" y="1263"/>
                        </a:lnTo>
                        <a:lnTo>
                          <a:pt x="1246" y="1266"/>
                        </a:lnTo>
                        <a:lnTo>
                          <a:pt x="1245" y="1266"/>
                        </a:lnTo>
                        <a:lnTo>
                          <a:pt x="1243" y="1268"/>
                        </a:lnTo>
                        <a:lnTo>
                          <a:pt x="1241" y="1269"/>
                        </a:lnTo>
                        <a:lnTo>
                          <a:pt x="1234" y="1279"/>
                        </a:lnTo>
                        <a:lnTo>
                          <a:pt x="1218" y="1295"/>
                        </a:lnTo>
                        <a:lnTo>
                          <a:pt x="1211" y="1301"/>
                        </a:lnTo>
                        <a:lnTo>
                          <a:pt x="1208" y="1304"/>
                        </a:lnTo>
                        <a:lnTo>
                          <a:pt x="1202" y="1307"/>
                        </a:lnTo>
                        <a:lnTo>
                          <a:pt x="1196" y="1307"/>
                        </a:lnTo>
                        <a:lnTo>
                          <a:pt x="1184" y="1309"/>
                        </a:lnTo>
                        <a:lnTo>
                          <a:pt x="1177" y="1309"/>
                        </a:lnTo>
                        <a:lnTo>
                          <a:pt x="1170" y="1309"/>
                        </a:lnTo>
                        <a:lnTo>
                          <a:pt x="1169" y="1309"/>
                        </a:lnTo>
                        <a:lnTo>
                          <a:pt x="1167" y="1309"/>
                        </a:lnTo>
                        <a:lnTo>
                          <a:pt x="1156" y="1306"/>
                        </a:lnTo>
                        <a:lnTo>
                          <a:pt x="1142" y="1303"/>
                        </a:lnTo>
                        <a:lnTo>
                          <a:pt x="1137" y="1299"/>
                        </a:lnTo>
                        <a:lnTo>
                          <a:pt x="1129" y="1298"/>
                        </a:lnTo>
                        <a:lnTo>
                          <a:pt x="1124" y="1298"/>
                        </a:lnTo>
                        <a:lnTo>
                          <a:pt x="1118" y="1293"/>
                        </a:lnTo>
                        <a:lnTo>
                          <a:pt x="1116" y="1293"/>
                        </a:lnTo>
                        <a:lnTo>
                          <a:pt x="1115" y="1293"/>
                        </a:lnTo>
                        <a:lnTo>
                          <a:pt x="1105" y="1298"/>
                        </a:lnTo>
                        <a:lnTo>
                          <a:pt x="1102" y="1298"/>
                        </a:lnTo>
                        <a:lnTo>
                          <a:pt x="1102" y="1296"/>
                        </a:lnTo>
                        <a:lnTo>
                          <a:pt x="1100" y="1295"/>
                        </a:lnTo>
                        <a:lnTo>
                          <a:pt x="1099" y="1295"/>
                        </a:lnTo>
                        <a:lnTo>
                          <a:pt x="1094" y="1298"/>
                        </a:lnTo>
                        <a:lnTo>
                          <a:pt x="1089" y="1301"/>
                        </a:lnTo>
                        <a:lnTo>
                          <a:pt x="1088" y="1301"/>
                        </a:lnTo>
                        <a:lnTo>
                          <a:pt x="1086" y="1301"/>
                        </a:lnTo>
                        <a:lnTo>
                          <a:pt x="1081" y="1299"/>
                        </a:lnTo>
                        <a:lnTo>
                          <a:pt x="1077" y="1299"/>
                        </a:lnTo>
                        <a:lnTo>
                          <a:pt x="1074" y="1299"/>
                        </a:lnTo>
                        <a:lnTo>
                          <a:pt x="1072" y="1301"/>
                        </a:lnTo>
                        <a:lnTo>
                          <a:pt x="1072" y="1303"/>
                        </a:lnTo>
                        <a:lnTo>
                          <a:pt x="1070" y="1306"/>
                        </a:lnTo>
                        <a:lnTo>
                          <a:pt x="1069" y="1306"/>
                        </a:lnTo>
                        <a:lnTo>
                          <a:pt x="1066" y="1306"/>
                        </a:lnTo>
                        <a:lnTo>
                          <a:pt x="1064" y="1307"/>
                        </a:lnTo>
                        <a:lnTo>
                          <a:pt x="1062" y="1307"/>
                        </a:lnTo>
                        <a:lnTo>
                          <a:pt x="1061" y="1307"/>
                        </a:lnTo>
                        <a:lnTo>
                          <a:pt x="1059" y="1307"/>
                        </a:lnTo>
                        <a:lnTo>
                          <a:pt x="1058" y="1309"/>
                        </a:lnTo>
                        <a:lnTo>
                          <a:pt x="1056" y="1309"/>
                        </a:lnTo>
                        <a:lnTo>
                          <a:pt x="1055" y="1309"/>
                        </a:lnTo>
                        <a:lnTo>
                          <a:pt x="1051" y="1309"/>
                        </a:lnTo>
                        <a:lnTo>
                          <a:pt x="1050" y="1307"/>
                        </a:lnTo>
                        <a:lnTo>
                          <a:pt x="1047" y="1307"/>
                        </a:lnTo>
                        <a:lnTo>
                          <a:pt x="1047" y="1309"/>
                        </a:lnTo>
                        <a:lnTo>
                          <a:pt x="1045" y="1310"/>
                        </a:lnTo>
                        <a:lnTo>
                          <a:pt x="1043" y="1310"/>
                        </a:lnTo>
                        <a:lnTo>
                          <a:pt x="1040" y="1309"/>
                        </a:lnTo>
                        <a:lnTo>
                          <a:pt x="1036" y="1310"/>
                        </a:lnTo>
                        <a:lnTo>
                          <a:pt x="1034" y="1310"/>
                        </a:lnTo>
                        <a:lnTo>
                          <a:pt x="1032" y="1307"/>
                        </a:lnTo>
                        <a:lnTo>
                          <a:pt x="1029" y="1307"/>
                        </a:lnTo>
                        <a:lnTo>
                          <a:pt x="1026" y="1307"/>
                        </a:lnTo>
                        <a:lnTo>
                          <a:pt x="1024" y="1307"/>
                        </a:lnTo>
                        <a:lnTo>
                          <a:pt x="1021" y="1303"/>
                        </a:lnTo>
                        <a:lnTo>
                          <a:pt x="1020" y="1304"/>
                        </a:lnTo>
                        <a:lnTo>
                          <a:pt x="1017" y="1309"/>
                        </a:lnTo>
                        <a:lnTo>
                          <a:pt x="1015" y="1312"/>
                        </a:lnTo>
                        <a:lnTo>
                          <a:pt x="1013" y="1315"/>
                        </a:lnTo>
                        <a:lnTo>
                          <a:pt x="1012" y="1317"/>
                        </a:lnTo>
                        <a:lnTo>
                          <a:pt x="1010" y="1317"/>
                        </a:lnTo>
                        <a:lnTo>
                          <a:pt x="1007" y="1315"/>
                        </a:lnTo>
                        <a:lnTo>
                          <a:pt x="1004" y="1312"/>
                        </a:lnTo>
                        <a:lnTo>
                          <a:pt x="1002" y="1312"/>
                        </a:lnTo>
                        <a:lnTo>
                          <a:pt x="1001" y="1312"/>
                        </a:lnTo>
                        <a:lnTo>
                          <a:pt x="993" y="1322"/>
                        </a:lnTo>
                        <a:lnTo>
                          <a:pt x="990" y="1323"/>
                        </a:lnTo>
                        <a:lnTo>
                          <a:pt x="988" y="1323"/>
                        </a:lnTo>
                        <a:lnTo>
                          <a:pt x="985" y="1325"/>
                        </a:lnTo>
                        <a:lnTo>
                          <a:pt x="980" y="1323"/>
                        </a:lnTo>
                        <a:lnTo>
                          <a:pt x="975" y="1320"/>
                        </a:lnTo>
                        <a:lnTo>
                          <a:pt x="974" y="1320"/>
                        </a:lnTo>
                        <a:lnTo>
                          <a:pt x="972" y="1320"/>
                        </a:lnTo>
                        <a:lnTo>
                          <a:pt x="967" y="1326"/>
                        </a:lnTo>
                        <a:lnTo>
                          <a:pt x="966" y="1326"/>
                        </a:lnTo>
                        <a:lnTo>
                          <a:pt x="964" y="1326"/>
                        </a:lnTo>
                        <a:lnTo>
                          <a:pt x="963" y="1328"/>
                        </a:lnTo>
                        <a:lnTo>
                          <a:pt x="961" y="1326"/>
                        </a:lnTo>
                        <a:lnTo>
                          <a:pt x="958" y="1325"/>
                        </a:lnTo>
                        <a:lnTo>
                          <a:pt x="953" y="1325"/>
                        </a:lnTo>
                        <a:lnTo>
                          <a:pt x="950" y="1325"/>
                        </a:lnTo>
                        <a:lnTo>
                          <a:pt x="945" y="1323"/>
                        </a:lnTo>
                        <a:lnTo>
                          <a:pt x="944" y="1322"/>
                        </a:lnTo>
                        <a:lnTo>
                          <a:pt x="944" y="1320"/>
                        </a:lnTo>
                        <a:lnTo>
                          <a:pt x="944" y="1317"/>
                        </a:lnTo>
                        <a:lnTo>
                          <a:pt x="944" y="1310"/>
                        </a:lnTo>
                        <a:lnTo>
                          <a:pt x="944" y="1309"/>
                        </a:lnTo>
                        <a:lnTo>
                          <a:pt x="942" y="1307"/>
                        </a:lnTo>
                        <a:lnTo>
                          <a:pt x="939" y="1304"/>
                        </a:lnTo>
                        <a:lnTo>
                          <a:pt x="934" y="1303"/>
                        </a:lnTo>
                        <a:lnTo>
                          <a:pt x="937" y="1298"/>
                        </a:lnTo>
                        <a:lnTo>
                          <a:pt x="936" y="1295"/>
                        </a:lnTo>
                        <a:lnTo>
                          <a:pt x="934" y="1295"/>
                        </a:lnTo>
                        <a:lnTo>
                          <a:pt x="933" y="1295"/>
                        </a:lnTo>
                        <a:lnTo>
                          <a:pt x="931" y="1293"/>
                        </a:lnTo>
                        <a:lnTo>
                          <a:pt x="929" y="1293"/>
                        </a:lnTo>
                        <a:lnTo>
                          <a:pt x="929" y="1290"/>
                        </a:lnTo>
                        <a:lnTo>
                          <a:pt x="929" y="1287"/>
                        </a:lnTo>
                        <a:lnTo>
                          <a:pt x="925" y="1284"/>
                        </a:lnTo>
                        <a:lnTo>
                          <a:pt x="923" y="1279"/>
                        </a:lnTo>
                        <a:lnTo>
                          <a:pt x="922" y="1277"/>
                        </a:lnTo>
                        <a:lnTo>
                          <a:pt x="918" y="1277"/>
                        </a:lnTo>
                        <a:lnTo>
                          <a:pt x="918" y="1282"/>
                        </a:lnTo>
                        <a:lnTo>
                          <a:pt x="917" y="1284"/>
                        </a:lnTo>
                        <a:lnTo>
                          <a:pt x="914" y="1290"/>
                        </a:lnTo>
                        <a:lnTo>
                          <a:pt x="910" y="1291"/>
                        </a:lnTo>
                        <a:lnTo>
                          <a:pt x="907" y="1293"/>
                        </a:lnTo>
                        <a:lnTo>
                          <a:pt x="902" y="1291"/>
                        </a:lnTo>
                        <a:lnTo>
                          <a:pt x="899" y="1288"/>
                        </a:lnTo>
                        <a:lnTo>
                          <a:pt x="896" y="1287"/>
                        </a:lnTo>
                        <a:lnTo>
                          <a:pt x="893" y="1287"/>
                        </a:lnTo>
                        <a:lnTo>
                          <a:pt x="888" y="1280"/>
                        </a:lnTo>
                        <a:lnTo>
                          <a:pt x="885" y="1280"/>
                        </a:lnTo>
                        <a:lnTo>
                          <a:pt x="876" y="1288"/>
                        </a:lnTo>
                        <a:lnTo>
                          <a:pt x="872" y="1288"/>
                        </a:lnTo>
                        <a:lnTo>
                          <a:pt x="868" y="1280"/>
                        </a:lnTo>
                        <a:lnTo>
                          <a:pt x="863" y="1282"/>
                        </a:lnTo>
                        <a:lnTo>
                          <a:pt x="861" y="1282"/>
                        </a:lnTo>
                        <a:lnTo>
                          <a:pt x="858" y="1284"/>
                        </a:lnTo>
                        <a:lnTo>
                          <a:pt x="857" y="1282"/>
                        </a:lnTo>
                        <a:lnTo>
                          <a:pt x="855" y="1282"/>
                        </a:lnTo>
                        <a:lnTo>
                          <a:pt x="853" y="1277"/>
                        </a:lnTo>
                        <a:lnTo>
                          <a:pt x="852" y="1276"/>
                        </a:lnTo>
                        <a:lnTo>
                          <a:pt x="850" y="1276"/>
                        </a:lnTo>
                        <a:lnTo>
                          <a:pt x="847" y="1277"/>
                        </a:lnTo>
                        <a:lnTo>
                          <a:pt x="845" y="1280"/>
                        </a:lnTo>
                        <a:lnTo>
                          <a:pt x="842" y="1280"/>
                        </a:lnTo>
                        <a:lnTo>
                          <a:pt x="841" y="1285"/>
                        </a:lnTo>
                        <a:lnTo>
                          <a:pt x="839" y="1287"/>
                        </a:lnTo>
                        <a:lnTo>
                          <a:pt x="838" y="1290"/>
                        </a:lnTo>
                        <a:lnTo>
                          <a:pt x="834" y="1290"/>
                        </a:lnTo>
                        <a:lnTo>
                          <a:pt x="831" y="1288"/>
                        </a:lnTo>
                        <a:lnTo>
                          <a:pt x="828" y="1288"/>
                        </a:lnTo>
                        <a:lnTo>
                          <a:pt x="826" y="1290"/>
                        </a:lnTo>
                        <a:lnTo>
                          <a:pt x="817" y="1295"/>
                        </a:lnTo>
                        <a:lnTo>
                          <a:pt x="814" y="1307"/>
                        </a:lnTo>
                        <a:lnTo>
                          <a:pt x="814" y="1309"/>
                        </a:lnTo>
                        <a:lnTo>
                          <a:pt x="815" y="1312"/>
                        </a:lnTo>
                        <a:lnTo>
                          <a:pt x="815" y="1314"/>
                        </a:lnTo>
                        <a:lnTo>
                          <a:pt x="815" y="1315"/>
                        </a:lnTo>
                        <a:lnTo>
                          <a:pt x="817" y="1315"/>
                        </a:lnTo>
                        <a:lnTo>
                          <a:pt x="817" y="1317"/>
                        </a:lnTo>
                        <a:lnTo>
                          <a:pt x="820" y="1317"/>
                        </a:lnTo>
                        <a:lnTo>
                          <a:pt x="820" y="1320"/>
                        </a:lnTo>
                        <a:lnTo>
                          <a:pt x="819" y="1322"/>
                        </a:lnTo>
                        <a:lnTo>
                          <a:pt x="811" y="1323"/>
                        </a:lnTo>
                        <a:lnTo>
                          <a:pt x="809" y="1328"/>
                        </a:lnTo>
                        <a:lnTo>
                          <a:pt x="803" y="1331"/>
                        </a:lnTo>
                        <a:lnTo>
                          <a:pt x="801" y="1331"/>
                        </a:lnTo>
                        <a:lnTo>
                          <a:pt x="801" y="1329"/>
                        </a:lnTo>
                        <a:lnTo>
                          <a:pt x="800" y="1328"/>
                        </a:lnTo>
                        <a:lnTo>
                          <a:pt x="798" y="1328"/>
                        </a:lnTo>
                        <a:lnTo>
                          <a:pt x="796" y="1328"/>
                        </a:lnTo>
                        <a:lnTo>
                          <a:pt x="796" y="1329"/>
                        </a:lnTo>
                        <a:lnTo>
                          <a:pt x="796" y="1331"/>
                        </a:lnTo>
                        <a:lnTo>
                          <a:pt x="796" y="1333"/>
                        </a:lnTo>
                        <a:lnTo>
                          <a:pt x="792" y="1339"/>
                        </a:lnTo>
                        <a:lnTo>
                          <a:pt x="792" y="1341"/>
                        </a:lnTo>
                        <a:lnTo>
                          <a:pt x="792" y="1342"/>
                        </a:lnTo>
                        <a:lnTo>
                          <a:pt x="790" y="1344"/>
                        </a:lnTo>
                        <a:lnTo>
                          <a:pt x="787" y="1345"/>
                        </a:lnTo>
                        <a:lnTo>
                          <a:pt x="779" y="1344"/>
                        </a:lnTo>
                        <a:lnTo>
                          <a:pt x="777" y="1344"/>
                        </a:lnTo>
                        <a:lnTo>
                          <a:pt x="776" y="1347"/>
                        </a:lnTo>
                        <a:lnTo>
                          <a:pt x="776" y="1348"/>
                        </a:lnTo>
                        <a:lnTo>
                          <a:pt x="777" y="1350"/>
                        </a:lnTo>
                        <a:lnTo>
                          <a:pt x="777" y="1352"/>
                        </a:lnTo>
                        <a:lnTo>
                          <a:pt x="777" y="1353"/>
                        </a:lnTo>
                        <a:lnTo>
                          <a:pt x="781" y="1361"/>
                        </a:lnTo>
                        <a:lnTo>
                          <a:pt x="784" y="1364"/>
                        </a:lnTo>
                        <a:lnTo>
                          <a:pt x="784" y="1366"/>
                        </a:lnTo>
                        <a:lnTo>
                          <a:pt x="784" y="1369"/>
                        </a:lnTo>
                        <a:lnTo>
                          <a:pt x="785" y="1371"/>
                        </a:lnTo>
                        <a:lnTo>
                          <a:pt x="790" y="1375"/>
                        </a:lnTo>
                        <a:lnTo>
                          <a:pt x="790" y="1377"/>
                        </a:lnTo>
                        <a:lnTo>
                          <a:pt x="790" y="1379"/>
                        </a:lnTo>
                        <a:lnTo>
                          <a:pt x="788" y="1379"/>
                        </a:lnTo>
                        <a:lnTo>
                          <a:pt x="788" y="1380"/>
                        </a:lnTo>
                        <a:lnTo>
                          <a:pt x="784" y="1382"/>
                        </a:lnTo>
                        <a:lnTo>
                          <a:pt x="782" y="1388"/>
                        </a:lnTo>
                        <a:lnTo>
                          <a:pt x="781" y="1388"/>
                        </a:lnTo>
                        <a:lnTo>
                          <a:pt x="781" y="1390"/>
                        </a:lnTo>
                        <a:lnTo>
                          <a:pt x="776" y="1388"/>
                        </a:lnTo>
                        <a:lnTo>
                          <a:pt x="774" y="1388"/>
                        </a:lnTo>
                        <a:lnTo>
                          <a:pt x="773" y="1385"/>
                        </a:lnTo>
                        <a:lnTo>
                          <a:pt x="771" y="1383"/>
                        </a:lnTo>
                        <a:lnTo>
                          <a:pt x="769" y="1382"/>
                        </a:lnTo>
                        <a:lnTo>
                          <a:pt x="766" y="1383"/>
                        </a:lnTo>
                        <a:lnTo>
                          <a:pt x="766" y="1386"/>
                        </a:lnTo>
                        <a:lnTo>
                          <a:pt x="766" y="1388"/>
                        </a:lnTo>
                        <a:lnTo>
                          <a:pt x="765" y="1388"/>
                        </a:lnTo>
                        <a:lnTo>
                          <a:pt x="758" y="1386"/>
                        </a:lnTo>
                        <a:lnTo>
                          <a:pt x="754" y="1377"/>
                        </a:lnTo>
                        <a:lnTo>
                          <a:pt x="752" y="1375"/>
                        </a:lnTo>
                        <a:lnTo>
                          <a:pt x="749" y="1372"/>
                        </a:lnTo>
                        <a:lnTo>
                          <a:pt x="746" y="1371"/>
                        </a:lnTo>
                        <a:lnTo>
                          <a:pt x="744" y="1371"/>
                        </a:lnTo>
                        <a:lnTo>
                          <a:pt x="739" y="1371"/>
                        </a:lnTo>
                        <a:lnTo>
                          <a:pt x="738" y="1372"/>
                        </a:lnTo>
                        <a:lnTo>
                          <a:pt x="736" y="1374"/>
                        </a:lnTo>
                        <a:lnTo>
                          <a:pt x="736" y="1375"/>
                        </a:lnTo>
                        <a:lnTo>
                          <a:pt x="735" y="1377"/>
                        </a:lnTo>
                        <a:lnTo>
                          <a:pt x="735" y="1379"/>
                        </a:lnTo>
                        <a:lnTo>
                          <a:pt x="736" y="1380"/>
                        </a:lnTo>
                        <a:lnTo>
                          <a:pt x="736" y="1382"/>
                        </a:lnTo>
                        <a:lnTo>
                          <a:pt x="736" y="1385"/>
                        </a:lnTo>
                        <a:lnTo>
                          <a:pt x="736" y="1390"/>
                        </a:lnTo>
                        <a:lnTo>
                          <a:pt x="739" y="1394"/>
                        </a:lnTo>
                        <a:lnTo>
                          <a:pt x="741" y="1396"/>
                        </a:lnTo>
                        <a:lnTo>
                          <a:pt x="741" y="1398"/>
                        </a:lnTo>
                        <a:lnTo>
                          <a:pt x="744" y="1398"/>
                        </a:lnTo>
                        <a:lnTo>
                          <a:pt x="746" y="1396"/>
                        </a:lnTo>
                        <a:lnTo>
                          <a:pt x="743" y="1391"/>
                        </a:lnTo>
                        <a:lnTo>
                          <a:pt x="743" y="1390"/>
                        </a:lnTo>
                        <a:lnTo>
                          <a:pt x="744" y="1390"/>
                        </a:lnTo>
                        <a:lnTo>
                          <a:pt x="746" y="1390"/>
                        </a:lnTo>
                        <a:lnTo>
                          <a:pt x="747" y="1390"/>
                        </a:lnTo>
                        <a:lnTo>
                          <a:pt x="747" y="1391"/>
                        </a:lnTo>
                        <a:lnTo>
                          <a:pt x="749" y="1393"/>
                        </a:lnTo>
                        <a:lnTo>
                          <a:pt x="749" y="1399"/>
                        </a:lnTo>
                        <a:lnTo>
                          <a:pt x="750" y="1405"/>
                        </a:lnTo>
                        <a:lnTo>
                          <a:pt x="749" y="1407"/>
                        </a:lnTo>
                        <a:lnTo>
                          <a:pt x="744" y="1410"/>
                        </a:lnTo>
                        <a:lnTo>
                          <a:pt x="741" y="1412"/>
                        </a:lnTo>
                        <a:lnTo>
                          <a:pt x="736" y="1417"/>
                        </a:lnTo>
                        <a:lnTo>
                          <a:pt x="735" y="1417"/>
                        </a:lnTo>
                        <a:lnTo>
                          <a:pt x="733" y="1417"/>
                        </a:lnTo>
                        <a:lnTo>
                          <a:pt x="731" y="1415"/>
                        </a:lnTo>
                        <a:lnTo>
                          <a:pt x="728" y="1413"/>
                        </a:lnTo>
                        <a:lnTo>
                          <a:pt x="722" y="1410"/>
                        </a:lnTo>
                        <a:lnTo>
                          <a:pt x="720" y="1409"/>
                        </a:lnTo>
                        <a:lnTo>
                          <a:pt x="717" y="1407"/>
                        </a:lnTo>
                        <a:lnTo>
                          <a:pt x="712" y="1409"/>
                        </a:lnTo>
                        <a:lnTo>
                          <a:pt x="711" y="1409"/>
                        </a:lnTo>
                        <a:lnTo>
                          <a:pt x="706" y="1407"/>
                        </a:lnTo>
                        <a:lnTo>
                          <a:pt x="701" y="1407"/>
                        </a:lnTo>
                        <a:lnTo>
                          <a:pt x="698" y="1409"/>
                        </a:lnTo>
                        <a:lnTo>
                          <a:pt x="693" y="1409"/>
                        </a:lnTo>
                        <a:lnTo>
                          <a:pt x="693" y="1407"/>
                        </a:lnTo>
                        <a:lnTo>
                          <a:pt x="692" y="1407"/>
                        </a:lnTo>
                        <a:lnTo>
                          <a:pt x="690" y="1407"/>
                        </a:lnTo>
                        <a:lnTo>
                          <a:pt x="689" y="1405"/>
                        </a:lnTo>
                        <a:lnTo>
                          <a:pt x="687" y="1407"/>
                        </a:lnTo>
                        <a:lnTo>
                          <a:pt x="684" y="1407"/>
                        </a:lnTo>
                        <a:lnTo>
                          <a:pt x="678" y="1407"/>
                        </a:lnTo>
                        <a:lnTo>
                          <a:pt x="674" y="1402"/>
                        </a:lnTo>
                        <a:lnTo>
                          <a:pt x="671" y="1401"/>
                        </a:lnTo>
                        <a:lnTo>
                          <a:pt x="668" y="1401"/>
                        </a:lnTo>
                        <a:lnTo>
                          <a:pt x="666" y="1401"/>
                        </a:lnTo>
                        <a:lnTo>
                          <a:pt x="665" y="1402"/>
                        </a:lnTo>
                        <a:lnTo>
                          <a:pt x="663" y="1404"/>
                        </a:lnTo>
                        <a:lnTo>
                          <a:pt x="663" y="1405"/>
                        </a:lnTo>
                        <a:lnTo>
                          <a:pt x="660" y="1410"/>
                        </a:lnTo>
                        <a:lnTo>
                          <a:pt x="659" y="1413"/>
                        </a:lnTo>
                        <a:lnTo>
                          <a:pt x="663" y="1421"/>
                        </a:lnTo>
                        <a:lnTo>
                          <a:pt x="668" y="1426"/>
                        </a:lnTo>
                        <a:lnTo>
                          <a:pt x="674" y="1428"/>
                        </a:lnTo>
                        <a:lnTo>
                          <a:pt x="676" y="1429"/>
                        </a:lnTo>
                        <a:lnTo>
                          <a:pt x="676" y="1432"/>
                        </a:lnTo>
                        <a:lnTo>
                          <a:pt x="674" y="1434"/>
                        </a:lnTo>
                        <a:lnTo>
                          <a:pt x="671" y="1439"/>
                        </a:lnTo>
                        <a:lnTo>
                          <a:pt x="673" y="1439"/>
                        </a:lnTo>
                        <a:lnTo>
                          <a:pt x="673" y="1440"/>
                        </a:lnTo>
                        <a:lnTo>
                          <a:pt x="671" y="1442"/>
                        </a:lnTo>
                        <a:lnTo>
                          <a:pt x="674" y="1445"/>
                        </a:lnTo>
                        <a:lnTo>
                          <a:pt x="673" y="1450"/>
                        </a:lnTo>
                        <a:lnTo>
                          <a:pt x="671" y="1451"/>
                        </a:lnTo>
                        <a:lnTo>
                          <a:pt x="674" y="1456"/>
                        </a:lnTo>
                        <a:lnTo>
                          <a:pt x="673" y="1459"/>
                        </a:lnTo>
                        <a:lnTo>
                          <a:pt x="674" y="1461"/>
                        </a:lnTo>
                        <a:lnTo>
                          <a:pt x="676" y="1463"/>
                        </a:lnTo>
                        <a:lnTo>
                          <a:pt x="679" y="1467"/>
                        </a:lnTo>
                        <a:lnTo>
                          <a:pt x="678" y="1467"/>
                        </a:lnTo>
                        <a:lnTo>
                          <a:pt x="676" y="1469"/>
                        </a:lnTo>
                        <a:lnTo>
                          <a:pt x="673" y="1469"/>
                        </a:lnTo>
                        <a:lnTo>
                          <a:pt x="670" y="1467"/>
                        </a:lnTo>
                        <a:lnTo>
                          <a:pt x="668" y="1464"/>
                        </a:lnTo>
                        <a:lnTo>
                          <a:pt x="666" y="1461"/>
                        </a:lnTo>
                        <a:lnTo>
                          <a:pt x="657" y="1461"/>
                        </a:lnTo>
                        <a:lnTo>
                          <a:pt x="652" y="1463"/>
                        </a:lnTo>
                        <a:lnTo>
                          <a:pt x="649" y="1466"/>
                        </a:lnTo>
                        <a:lnTo>
                          <a:pt x="647" y="1466"/>
                        </a:lnTo>
                        <a:lnTo>
                          <a:pt x="640" y="1477"/>
                        </a:lnTo>
                        <a:lnTo>
                          <a:pt x="638" y="1478"/>
                        </a:lnTo>
                        <a:lnTo>
                          <a:pt x="636" y="1478"/>
                        </a:lnTo>
                        <a:lnTo>
                          <a:pt x="619" y="1478"/>
                        </a:lnTo>
                        <a:lnTo>
                          <a:pt x="617" y="1478"/>
                        </a:lnTo>
                        <a:lnTo>
                          <a:pt x="614" y="1480"/>
                        </a:lnTo>
                        <a:lnTo>
                          <a:pt x="613" y="1482"/>
                        </a:lnTo>
                        <a:lnTo>
                          <a:pt x="614" y="1486"/>
                        </a:lnTo>
                        <a:lnTo>
                          <a:pt x="611" y="1489"/>
                        </a:lnTo>
                        <a:lnTo>
                          <a:pt x="613" y="1491"/>
                        </a:lnTo>
                        <a:lnTo>
                          <a:pt x="617" y="1494"/>
                        </a:lnTo>
                        <a:lnTo>
                          <a:pt x="619" y="1494"/>
                        </a:lnTo>
                        <a:lnTo>
                          <a:pt x="622" y="1493"/>
                        </a:lnTo>
                        <a:lnTo>
                          <a:pt x="621" y="1491"/>
                        </a:lnTo>
                        <a:lnTo>
                          <a:pt x="621" y="1489"/>
                        </a:lnTo>
                        <a:lnTo>
                          <a:pt x="621" y="1488"/>
                        </a:lnTo>
                        <a:lnTo>
                          <a:pt x="625" y="1491"/>
                        </a:lnTo>
                        <a:lnTo>
                          <a:pt x="628" y="1494"/>
                        </a:lnTo>
                        <a:lnTo>
                          <a:pt x="630" y="1496"/>
                        </a:lnTo>
                        <a:lnTo>
                          <a:pt x="632" y="1496"/>
                        </a:lnTo>
                        <a:lnTo>
                          <a:pt x="633" y="1497"/>
                        </a:lnTo>
                        <a:lnTo>
                          <a:pt x="632" y="1504"/>
                        </a:lnTo>
                        <a:lnTo>
                          <a:pt x="633" y="1505"/>
                        </a:lnTo>
                        <a:lnTo>
                          <a:pt x="635" y="1507"/>
                        </a:lnTo>
                        <a:lnTo>
                          <a:pt x="633" y="1510"/>
                        </a:lnTo>
                        <a:lnTo>
                          <a:pt x="633" y="1512"/>
                        </a:lnTo>
                        <a:lnTo>
                          <a:pt x="633" y="1513"/>
                        </a:lnTo>
                        <a:lnTo>
                          <a:pt x="636" y="1515"/>
                        </a:lnTo>
                        <a:lnTo>
                          <a:pt x="640" y="1518"/>
                        </a:lnTo>
                        <a:lnTo>
                          <a:pt x="640" y="1520"/>
                        </a:lnTo>
                        <a:lnTo>
                          <a:pt x="638" y="1526"/>
                        </a:lnTo>
                        <a:lnTo>
                          <a:pt x="640" y="1527"/>
                        </a:lnTo>
                        <a:lnTo>
                          <a:pt x="641" y="1529"/>
                        </a:lnTo>
                        <a:lnTo>
                          <a:pt x="641" y="1531"/>
                        </a:lnTo>
                        <a:lnTo>
                          <a:pt x="641" y="1532"/>
                        </a:lnTo>
                        <a:lnTo>
                          <a:pt x="647" y="1540"/>
                        </a:lnTo>
                        <a:lnTo>
                          <a:pt x="651" y="1542"/>
                        </a:lnTo>
                        <a:lnTo>
                          <a:pt x="651" y="1545"/>
                        </a:lnTo>
                        <a:lnTo>
                          <a:pt x="649" y="1546"/>
                        </a:lnTo>
                        <a:lnTo>
                          <a:pt x="647" y="1550"/>
                        </a:lnTo>
                        <a:lnTo>
                          <a:pt x="643" y="1543"/>
                        </a:lnTo>
                        <a:lnTo>
                          <a:pt x="641" y="1542"/>
                        </a:lnTo>
                        <a:lnTo>
                          <a:pt x="636" y="1539"/>
                        </a:lnTo>
                        <a:lnTo>
                          <a:pt x="633" y="1537"/>
                        </a:lnTo>
                        <a:lnTo>
                          <a:pt x="632" y="1535"/>
                        </a:lnTo>
                        <a:lnTo>
                          <a:pt x="625" y="1535"/>
                        </a:lnTo>
                        <a:lnTo>
                          <a:pt x="624" y="1532"/>
                        </a:lnTo>
                        <a:lnTo>
                          <a:pt x="622" y="1532"/>
                        </a:lnTo>
                        <a:lnTo>
                          <a:pt x="621" y="1532"/>
                        </a:lnTo>
                        <a:lnTo>
                          <a:pt x="609" y="1537"/>
                        </a:lnTo>
                        <a:lnTo>
                          <a:pt x="606" y="1537"/>
                        </a:lnTo>
                        <a:lnTo>
                          <a:pt x="602" y="1537"/>
                        </a:lnTo>
                        <a:lnTo>
                          <a:pt x="598" y="1535"/>
                        </a:lnTo>
                        <a:lnTo>
                          <a:pt x="594" y="1529"/>
                        </a:lnTo>
                        <a:lnTo>
                          <a:pt x="590" y="1521"/>
                        </a:lnTo>
                        <a:lnTo>
                          <a:pt x="590" y="1520"/>
                        </a:lnTo>
                        <a:lnTo>
                          <a:pt x="589" y="1518"/>
                        </a:lnTo>
                        <a:lnTo>
                          <a:pt x="589" y="1516"/>
                        </a:lnTo>
                        <a:lnTo>
                          <a:pt x="587" y="1516"/>
                        </a:lnTo>
                        <a:lnTo>
                          <a:pt x="586" y="1515"/>
                        </a:lnTo>
                        <a:lnTo>
                          <a:pt x="579" y="1515"/>
                        </a:lnTo>
                        <a:lnTo>
                          <a:pt x="576" y="1516"/>
                        </a:lnTo>
                        <a:lnTo>
                          <a:pt x="573" y="1518"/>
                        </a:lnTo>
                        <a:lnTo>
                          <a:pt x="570" y="1513"/>
                        </a:lnTo>
                        <a:lnTo>
                          <a:pt x="568" y="1512"/>
                        </a:lnTo>
                        <a:lnTo>
                          <a:pt x="567" y="1512"/>
                        </a:lnTo>
                        <a:lnTo>
                          <a:pt x="567" y="1513"/>
                        </a:lnTo>
                        <a:lnTo>
                          <a:pt x="565" y="1513"/>
                        </a:lnTo>
                        <a:lnTo>
                          <a:pt x="562" y="1518"/>
                        </a:lnTo>
                        <a:lnTo>
                          <a:pt x="562" y="1521"/>
                        </a:lnTo>
                        <a:lnTo>
                          <a:pt x="562" y="1523"/>
                        </a:lnTo>
                        <a:lnTo>
                          <a:pt x="562" y="1524"/>
                        </a:lnTo>
                        <a:lnTo>
                          <a:pt x="562" y="1527"/>
                        </a:lnTo>
                        <a:lnTo>
                          <a:pt x="562" y="1531"/>
                        </a:lnTo>
                        <a:lnTo>
                          <a:pt x="562" y="1532"/>
                        </a:lnTo>
                        <a:lnTo>
                          <a:pt x="559" y="1535"/>
                        </a:lnTo>
                        <a:lnTo>
                          <a:pt x="557" y="1535"/>
                        </a:lnTo>
                        <a:lnTo>
                          <a:pt x="557" y="1537"/>
                        </a:lnTo>
                        <a:lnTo>
                          <a:pt x="548" y="1546"/>
                        </a:lnTo>
                        <a:lnTo>
                          <a:pt x="546" y="1546"/>
                        </a:lnTo>
                        <a:lnTo>
                          <a:pt x="545" y="1548"/>
                        </a:lnTo>
                        <a:lnTo>
                          <a:pt x="532" y="1558"/>
                        </a:lnTo>
                        <a:lnTo>
                          <a:pt x="529" y="1562"/>
                        </a:lnTo>
                        <a:lnTo>
                          <a:pt x="525" y="1570"/>
                        </a:lnTo>
                        <a:lnTo>
                          <a:pt x="519" y="1570"/>
                        </a:lnTo>
                        <a:lnTo>
                          <a:pt x="518" y="1569"/>
                        </a:lnTo>
                        <a:lnTo>
                          <a:pt x="513" y="1570"/>
                        </a:lnTo>
                        <a:lnTo>
                          <a:pt x="511" y="1570"/>
                        </a:lnTo>
                        <a:lnTo>
                          <a:pt x="500" y="1570"/>
                        </a:lnTo>
                        <a:lnTo>
                          <a:pt x="491" y="1570"/>
                        </a:lnTo>
                        <a:lnTo>
                          <a:pt x="486" y="1570"/>
                        </a:lnTo>
                        <a:lnTo>
                          <a:pt x="467" y="1570"/>
                        </a:lnTo>
                        <a:lnTo>
                          <a:pt x="465" y="1570"/>
                        </a:lnTo>
                        <a:lnTo>
                          <a:pt x="457" y="1570"/>
                        </a:lnTo>
                        <a:lnTo>
                          <a:pt x="456" y="1570"/>
                        </a:lnTo>
                        <a:lnTo>
                          <a:pt x="434" y="1570"/>
                        </a:lnTo>
                        <a:lnTo>
                          <a:pt x="430" y="1570"/>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59" name="Freeform 58"/>
                  <p:cNvSpPr>
                    <a:spLocks/>
                  </p:cNvSpPr>
                  <p:nvPr/>
                </p:nvSpPr>
                <p:spPr bwMode="auto">
                  <a:xfrm>
                    <a:off x="4795" y="1705"/>
                    <a:ext cx="708" cy="1488"/>
                  </a:xfrm>
                  <a:custGeom>
                    <a:avLst/>
                    <a:gdLst>
                      <a:gd name="T0" fmla="*/ 571 w 708"/>
                      <a:gd name="T1" fmla="*/ 1480 h 1488"/>
                      <a:gd name="T2" fmla="*/ 504 w 708"/>
                      <a:gd name="T3" fmla="*/ 1424 h 1488"/>
                      <a:gd name="T4" fmla="*/ 525 w 708"/>
                      <a:gd name="T5" fmla="*/ 1379 h 1488"/>
                      <a:gd name="T6" fmla="*/ 547 w 708"/>
                      <a:gd name="T7" fmla="*/ 1391 h 1488"/>
                      <a:gd name="T8" fmla="*/ 564 w 708"/>
                      <a:gd name="T9" fmla="*/ 1382 h 1488"/>
                      <a:gd name="T10" fmla="*/ 586 w 708"/>
                      <a:gd name="T11" fmla="*/ 1318 h 1488"/>
                      <a:gd name="T12" fmla="*/ 591 w 708"/>
                      <a:gd name="T13" fmla="*/ 1296 h 1488"/>
                      <a:gd name="T14" fmla="*/ 583 w 708"/>
                      <a:gd name="T15" fmla="*/ 1277 h 1488"/>
                      <a:gd name="T16" fmla="*/ 579 w 708"/>
                      <a:gd name="T17" fmla="*/ 1250 h 1488"/>
                      <a:gd name="T18" fmla="*/ 579 w 708"/>
                      <a:gd name="T19" fmla="*/ 1231 h 1488"/>
                      <a:gd name="T20" fmla="*/ 604 w 708"/>
                      <a:gd name="T21" fmla="*/ 1220 h 1488"/>
                      <a:gd name="T22" fmla="*/ 574 w 708"/>
                      <a:gd name="T23" fmla="*/ 1146 h 1488"/>
                      <a:gd name="T24" fmla="*/ 567 w 708"/>
                      <a:gd name="T25" fmla="*/ 1104 h 1488"/>
                      <a:gd name="T26" fmla="*/ 560 w 708"/>
                      <a:gd name="T27" fmla="*/ 1052 h 1488"/>
                      <a:gd name="T28" fmla="*/ 552 w 708"/>
                      <a:gd name="T29" fmla="*/ 1019 h 1488"/>
                      <a:gd name="T30" fmla="*/ 523 w 708"/>
                      <a:gd name="T31" fmla="*/ 1028 h 1488"/>
                      <a:gd name="T32" fmla="*/ 460 w 708"/>
                      <a:gd name="T33" fmla="*/ 1005 h 1488"/>
                      <a:gd name="T34" fmla="*/ 381 w 708"/>
                      <a:gd name="T35" fmla="*/ 973 h 1488"/>
                      <a:gd name="T36" fmla="*/ 347 w 708"/>
                      <a:gd name="T37" fmla="*/ 959 h 1488"/>
                      <a:gd name="T38" fmla="*/ 322 w 708"/>
                      <a:gd name="T39" fmla="*/ 959 h 1488"/>
                      <a:gd name="T40" fmla="*/ 281 w 708"/>
                      <a:gd name="T41" fmla="*/ 949 h 1488"/>
                      <a:gd name="T42" fmla="*/ 251 w 708"/>
                      <a:gd name="T43" fmla="*/ 973 h 1488"/>
                      <a:gd name="T44" fmla="*/ 236 w 708"/>
                      <a:gd name="T45" fmla="*/ 914 h 1488"/>
                      <a:gd name="T46" fmla="*/ 190 w 708"/>
                      <a:gd name="T47" fmla="*/ 908 h 1488"/>
                      <a:gd name="T48" fmla="*/ 173 w 708"/>
                      <a:gd name="T49" fmla="*/ 881 h 1488"/>
                      <a:gd name="T50" fmla="*/ 156 w 708"/>
                      <a:gd name="T51" fmla="*/ 859 h 1488"/>
                      <a:gd name="T52" fmla="*/ 162 w 708"/>
                      <a:gd name="T53" fmla="*/ 829 h 1488"/>
                      <a:gd name="T54" fmla="*/ 167 w 708"/>
                      <a:gd name="T55" fmla="*/ 794 h 1488"/>
                      <a:gd name="T56" fmla="*/ 178 w 708"/>
                      <a:gd name="T57" fmla="*/ 777 h 1488"/>
                      <a:gd name="T58" fmla="*/ 205 w 708"/>
                      <a:gd name="T59" fmla="*/ 785 h 1488"/>
                      <a:gd name="T60" fmla="*/ 219 w 708"/>
                      <a:gd name="T61" fmla="*/ 769 h 1488"/>
                      <a:gd name="T62" fmla="*/ 238 w 708"/>
                      <a:gd name="T63" fmla="*/ 759 h 1488"/>
                      <a:gd name="T64" fmla="*/ 217 w 708"/>
                      <a:gd name="T65" fmla="*/ 734 h 1488"/>
                      <a:gd name="T66" fmla="*/ 197 w 708"/>
                      <a:gd name="T67" fmla="*/ 702 h 1488"/>
                      <a:gd name="T68" fmla="*/ 170 w 708"/>
                      <a:gd name="T69" fmla="*/ 672 h 1488"/>
                      <a:gd name="T70" fmla="*/ 122 w 708"/>
                      <a:gd name="T71" fmla="*/ 658 h 1488"/>
                      <a:gd name="T72" fmla="*/ 114 w 708"/>
                      <a:gd name="T73" fmla="*/ 642 h 1488"/>
                      <a:gd name="T74" fmla="*/ 124 w 708"/>
                      <a:gd name="T75" fmla="*/ 623 h 1488"/>
                      <a:gd name="T76" fmla="*/ 137 w 708"/>
                      <a:gd name="T77" fmla="*/ 606 h 1488"/>
                      <a:gd name="T78" fmla="*/ 148 w 708"/>
                      <a:gd name="T79" fmla="*/ 591 h 1488"/>
                      <a:gd name="T80" fmla="*/ 140 w 708"/>
                      <a:gd name="T81" fmla="*/ 574 h 1488"/>
                      <a:gd name="T82" fmla="*/ 107 w 708"/>
                      <a:gd name="T83" fmla="*/ 563 h 1488"/>
                      <a:gd name="T84" fmla="*/ 78 w 708"/>
                      <a:gd name="T85" fmla="*/ 545 h 1488"/>
                      <a:gd name="T86" fmla="*/ 84 w 708"/>
                      <a:gd name="T87" fmla="*/ 522 h 1488"/>
                      <a:gd name="T88" fmla="*/ 88 w 708"/>
                      <a:gd name="T89" fmla="*/ 499 h 1488"/>
                      <a:gd name="T90" fmla="*/ 95 w 708"/>
                      <a:gd name="T91" fmla="*/ 474 h 1488"/>
                      <a:gd name="T92" fmla="*/ 102 w 708"/>
                      <a:gd name="T93" fmla="*/ 436 h 1488"/>
                      <a:gd name="T94" fmla="*/ 102 w 708"/>
                      <a:gd name="T95" fmla="*/ 400 h 1488"/>
                      <a:gd name="T96" fmla="*/ 84 w 708"/>
                      <a:gd name="T97" fmla="*/ 366 h 1488"/>
                      <a:gd name="T98" fmla="*/ 103 w 708"/>
                      <a:gd name="T99" fmla="*/ 343 h 1488"/>
                      <a:gd name="T100" fmla="*/ 100 w 708"/>
                      <a:gd name="T101" fmla="*/ 324 h 1488"/>
                      <a:gd name="T102" fmla="*/ 78 w 708"/>
                      <a:gd name="T103" fmla="*/ 308 h 1488"/>
                      <a:gd name="T104" fmla="*/ 46 w 708"/>
                      <a:gd name="T105" fmla="*/ 295 h 1488"/>
                      <a:gd name="T106" fmla="*/ 24 w 708"/>
                      <a:gd name="T107" fmla="*/ 268 h 1488"/>
                      <a:gd name="T108" fmla="*/ 24 w 708"/>
                      <a:gd name="T109" fmla="*/ 240 h 1488"/>
                      <a:gd name="T110" fmla="*/ 2 w 708"/>
                      <a:gd name="T111" fmla="*/ 213 h 1488"/>
                      <a:gd name="T112" fmla="*/ 26 w 708"/>
                      <a:gd name="T113" fmla="*/ 129 h 1488"/>
                      <a:gd name="T114" fmla="*/ 45 w 708"/>
                      <a:gd name="T115" fmla="*/ 84 h 1488"/>
                      <a:gd name="T116" fmla="*/ 34 w 708"/>
                      <a:gd name="T117" fmla="*/ 38 h 1488"/>
                      <a:gd name="T118" fmla="*/ 56 w 708"/>
                      <a:gd name="T119" fmla="*/ 7 h 1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8" h="1488">
                        <a:moveTo>
                          <a:pt x="708" y="1448"/>
                        </a:moveTo>
                        <a:lnTo>
                          <a:pt x="697" y="1448"/>
                        </a:lnTo>
                        <a:lnTo>
                          <a:pt x="691" y="1448"/>
                        </a:lnTo>
                        <a:lnTo>
                          <a:pt x="683" y="1447"/>
                        </a:lnTo>
                        <a:lnTo>
                          <a:pt x="674" y="1447"/>
                        </a:lnTo>
                        <a:lnTo>
                          <a:pt x="659" y="1448"/>
                        </a:lnTo>
                        <a:lnTo>
                          <a:pt x="653" y="1447"/>
                        </a:lnTo>
                        <a:lnTo>
                          <a:pt x="651" y="1447"/>
                        </a:lnTo>
                        <a:lnTo>
                          <a:pt x="650" y="1447"/>
                        </a:lnTo>
                        <a:lnTo>
                          <a:pt x="647" y="1448"/>
                        </a:lnTo>
                        <a:lnTo>
                          <a:pt x="613" y="1461"/>
                        </a:lnTo>
                        <a:lnTo>
                          <a:pt x="609" y="1464"/>
                        </a:lnTo>
                        <a:lnTo>
                          <a:pt x="605" y="1464"/>
                        </a:lnTo>
                        <a:lnTo>
                          <a:pt x="604" y="1464"/>
                        </a:lnTo>
                        <a:lnTo>
                          <a:pt x="596" y="1467"/>
                        </a:lnTo>
                        <a:lnTo>
                          <a:pt x="582" y="1474"/>
                        </a:lnTo>
                        <a:lnTo>
                          <a:pt x="571" y="1480"/>
                        </a:lnTo>
                        <a:lnTo>
                          <a:pt x="569" y="1480"/>
                        </a:lnTo>
                        <a:lnTo>
                          <a:pt x="564" y="1481"/>
                        </a:lnTo>
                        <a:lnTo>
                          <a:pt x="547" y="1488"/>
                        </a:lnTo>
                        <a:lnTo>
                          <a:pt x="550" y="1478"/>
                        </a:lnTo>
                        <a:lnTo>
                          <a:pt x="550" y="1477"/>
                        </a:lnTo>
                        <a:lnTo>
                          <a:pt x="553" y="1462"/>
                        </a:lnTo>
                        <a:lnTo>
                          <a:pt x="553" y="1458"/>
                        </a:lnTo>
                        <a:lnTo>
                          <a:pt x="552" y="1456"/>
                        </a:lnTo>
                        <a:lnTo>
                          <a:pt x="547" y="1456"/>
                        </a:lnTo>
                        <a:lnTo>
                          <a:pt x="545" y="1456"/>
                        </a:lnTo>
                        <a:lnTo>
                          <a:pt x="544" y="1455"/>
                        </a:lnTo>
                        <a:lnTo>
                          <a:pt x="550" y="1443"/>
                        </a:lnTo>
                        <a:lnTo>
                          <a:pt x="552" y="1442"/>
                        </a:lnTo>
                        <a:lnTo>
                          <a:pt x="552" y="1440"/>
                        </a:lnTo>
                        <a:lnTo>
                          <a:pt x="550" y="1440"/>
                        </a:lnTo>
                        <a:lnTo>
                          <a:pt x="503" y="1431"/>
                        </a:lnTo>
                        <a:lnTo>
                          <a:pt x="504" y="1424"/>
                        </a:lnTo>
                        <a:lnTo>
                          <a:pt x="506" y="1423"/>
                        </a:lnTo>
                        <a:lnTo>
                          <a:pt x="506" y="1421"/>
                        </a:lnTo>
                        <a:lnTo>
                          <a:pt x="507" y="1418"/>
                        </a:lnTo>
                        <a:lnTo>
                          <a:pt x="509" y="1417"/>
                        </a:lnTo>
                        <a:lnTo>
                          <a:pt x="510" y="1415"/>
                        </a:lnTo>
                        <a:lnTo>
                          <a:pt x="510" y="1410"/>
                        </a:lnTo>
                        <a:lnTo>
                          <a:pt x="512" y="1405"/>
                        </a:lnTo>
                        <a:lnTo>
                          <a:pt x="515" y="1398"/>
                        </a:lnTo>
                        <a:lnTo>
                          <a:pt x="517" y="1393"/>
                        </a:lnTo>
                        <a:lnTo>
                          <a:pt x="518" y="1390"/>
                        </a:lnTo>
                        <a:lnTo>
                          <a:pt x="520" y="1386"/>
                        </a:lnTo>
                        <a:lnTo>
                          <a:pt x="518" y="1385"/>
                        </a:lnTo>
                        <a:lnTo>
                          <a:pt x="518" y="1383"/>
                        </a:lnTo>
                        <a:lnTo>
                          <a:pt x="520" y="1382"/>
                        </a:lnTo>
                        <a:lnTo>
                          <a:pt x="522" y="1379"/>
                        </a:lnTo>
                        <a:lnTo>
                          <a:pt x="523" y="1379"/>
                        </a:lnTo>
                        <a:lnTo>
                          <a:pt x="525" y="1379"/>
                        </a:lnTo>
                        <a:lnTo>
                          <a:pt x="526" y="1379"/>
                        </a:lnTo>
                        <a:lnTo>
                          <a:pt x="528" y="1377"/>
                        </a:lnTo>
                        <a:lnTo>
                          <a:pt x="529" y="1377"/>
                        </a:lnTo>
                        <a:lnTo>
                          <a:pt x="531" y="1377"/>
                        </a:lnTo>
                        <a:lnTo>
                          <a:pt x="533" y="1379"/>
                        </a:lnTo>
                        <a:lnTo>
                          <a:pt x="534" y="1380"/>
                        </a:lnTo>
                        <a:lnTo>
                          <a:pt x="534" y="1382"/>
                        </a:lnTo>
                        <a:lnTo>
                          <a:pt x="536" y="1383"/>
                        </a:lnTo>
                        <a:lnTo>
                          <a:pt x="537" y="1383"/>
                        </a:lnTo>
                        <a:lnTo>
                          <a:pt x="539" y="1383"/>
                        </a:lnTo>
                        <a:lnTo>
                          <a:pt x="539" y="1382"/>
                        </a:lnTo>
                        <a:lnTo>
                          <a:pt x="542" y="1382"/>
                        </a:lnTo>
                        <a:lnTo>
                          <a:pt x="544" y="1383"/>
                        </a:lnTo>
                        <a:lnTo>
                          <a:pt x="544" y="1386"/>
                        </a:lnTo>
                        <a:lnTo>
                          <a:pt x="544" y="1388"/>
                        </a:lnTo>
                        <a:lnTo>
                          <a:pt x="545" y="1390"/>
                        </a:lnTo>
                        <a:lnTo>
                          <a:pt x="547" y="1391"/>
                        </a:lnTo>
                        <a:lnTo>
                          <a:pt x="548" y="1394"/>
                        </a:lnTo>
                        <a:lnTo>
                          <a:pt x="550" y="1398"/>
                        </a:lnTo>
                        <a:lnTo>
                          <a:pt x="552" y="1399"/>
                        </a:lnTo>
                        <a:lnTo>
                          <a:pt x="553" y="1401"/>
                        </a:lnTo>
                        <a:lnTo>
                          <a:pt x="555" y="1402"/>
                        </a:lnTo>
                        <a:lnTo>
                          <a:pt x="556" y="1402"/>
                        </a:lnTo>
                        <a:lnTo>
                          <a:pt x="560" y="1402"/>
                        </a:lnTo>
                        <a:lnTo>
                          <a:pt x="561" y="1402"/>
                        </a:lnTo>
                        <a:lnTo>
                          <a:pt x="563" y="1401"/>
                        </a:lnTo>
                        <a:lnTo>
                          <a:pt x="564" y="1401"/>
                        </a:lnTo>
                        <a:lnTo>
                          <a:pt x="566" y="1399"/>
                        </a:lnTo>
                        <a:lnTo>
                          <a:pt x="566" y="1398"/>
                        </a:lnTo>
                        <a:lnTo>
                          <a:pt x="566" y="1394"/>
                        </a:lnTo>
                        <a:lnTo>
                          <a:pt x="564" y="1390"/>
                        </a:lnTo>
                        <a:lnTo>
                          <a:pt x="564" y="1388"/>
                        </a:lnTo>
                        <a:lnTo>
                          <a:pt x="564" y="1386"/>
                        </a:lnTo>
                        <a:lnTo>
                          <a:pt x="564" y="1382"/>
                        </a:lnTo>
                        <a:lnTo>
                          <a:pt x="563" y="1380"/>
                        </a:lnTo>
                        <a:lnTo>
                          <a:pt x="563" y="1379"/>
                        </a:lnTo>
                        <a:lnTo>
                          <a:pt x="563" y="1374"/>
                        </a:lnTo>
                        <a:lnTo>
                          <a:pt x="563" y="1371"/>
                        </a:lnTo>
                        <a:lnTo>
                          <a:pt x="563" y="1367"/>
                        </a:lnTo>
                        <a:lnTo>
                          <a:pt x="563" y="1364"/>
                        </a:lnTo>
                        <a:lnTo>
                          <a:pt x="563" y="1363"/>
                        </a:lnTo>
                        <a:lnTo>
                          <a:pt x="564" y="1360"/>
                        </a:lnTo>
                        <a:lnTo>
                          <a:pt x="566" y="1356"/>
                        </a:lnTo>
                        <a:lnTo>
                          <a:pt x="571" y="1348"/>
                        </a:lnTo>
                        <a:lnTo>
                          <a:pt x="575" y="1341"/>
                        </a:lnTo>
                        <a:lnTo>
                          <a:pt x="579" y="1336"/>
                        </a:lnTo>
                        <a:lnTo>
                          <a:pt x="585" y="1326"/>
                        </a:lnTo>
                        <a:lnTo>
                          <a:pt x="586" y="1323"/>
                        </a:lnTo>
                        <a:lnTo>
                          <a:pt x="586" y="1322"/>
                        </a:lnTo>
                        <a:lnTo>
                          <a:pt x="586" y="1320"/>
                        </a:lnTo>
                        <a:lnTo>
                          <a:pt x="586" y="1318"/>
                        </a:lnTo>
                        <a:lnTo>
                          <a:pt x="588" y="1315"/>
                        </a:lnTo>
                        <a:lnTo>
                          <a:pt x="591" y="1315"/>
                        </a:lnTo>
                        <a:lnTo>
                          <a:pt x="593" y="1315"/>
                        </a:lnTo>
                        <a:lnTo>
                          <a:pt x="594" y="1314"/>
                        </a:lnTo>
                        <a:lnTo>
                          <a:pt x="594" y="1312"/>
                        </a:lnTo>
                        <a:lnTo>
                          <a:pt x="594" y="1310"/>
                        </a:lnTo>
                        <a:lnTo>
                          <a:pt x="593" y="1310"/>
                        </a:lnTo>
                        <a:lnTo>
                          <a:pt x="593" y="1309"/>
                        </a:lnTo>
                        <a:lnTo>
                          <a:pt x="591" y="1307"/>
                        </a:lnTo>
                        <a:lnTo>
                          <a:pt x="590" y="1306"/>
                        </a:lnTo>
                        <a:lnTo>
                          <a:pt x="588" y="1304"/>
                        </a:lnTo>
                        <a:lnTo>
                          <a:pt x="588" y="1302"/>
                        </a:lnTo>
                        <a:lnTo>
                          <a:pt x="588" y="1301"/>
                        </a:lnTo>
                        <a:lnTo>
                          <a:pt x="590" y="1299"/>
                        </a:lnTo>
                        <a:lnTo>
                          <a:pt x="590" y="1298"/>
                        </a:lnTo>
                        <a:lnTo>
                          <a:pt x="591" y="1298"/>
                        </a:lnTo>
                        <a:lnTo>
                          <a:pt x="591" y="1296"/>
                        </a:lnTo>
                        <a:lnTo>
                          <a:pt x="593" y="1295"/>
                        </a:lnTo>
                        <a:lnTo>
                          <a:pt x="593" y="1293"/>
                        </a:lnTo>
                        <a:lnTo>
                          <a:pt x="593" y="1291"/>
                        </a:lnTo>
                        <a:lnTo>
                          <a:pt x="593" y="1290"/>
                        </a:lnTo>
                        <a:lnTo>
                          <a:pt x="591" y="1290"/>
                        </a:lnTo>
                        <a:lnTo>
                          <a:pt x="591" y="1288"/>
                        </a:lnTo>
                        <a:lnTo>
                          <a:pt x="591" y="1287"/>
                        </a:lnTo>
                        <a:lnTo>
                          <a:pt x="590" y="1287"/>
                        </a:lnTo>
                        <a:lnTo>
                          <a:pt x="588" y="1287"/>
                        </a:lnTo>
                        <a:lnTo>
                          <a:pt x="586" y="1287"/>
                        </a:lnTo>
                        <a:lnTo>
                          <a:pt x="586" y="1285"/>
                        </a:lnTo>
                        <a:lnTo>
                          <a:pt x="585" y="1285"/>
                        </a:lnTo>
                        <a:lnTo>
                          <a:pt x="585" y="1282"/>
                        </a:lnTo>
                        <a:lnTo>
                          <a:pt x="585" y="1280"/>
                        </a:lnTo>
                        <a:lnTo>
                          <a:pt x="585" y="1279"/>
                        </a:lnTo>
                        <a:lnTo>
                          <a:pt x="585" y="1277"/>
                        </a:lnTo>
                        <a:lnTo>
                          <a:pt x="583" y="1277"/>
                        </a:lnTo>
                        <a:lnTo>
                          <a:pt x="583" y="1276"/>
                        </a:lnTo>
                        <a:lnTo>
                          <a:pt x="583" y="1274"/>
                        </a:lnTo>
                        <a:lnTo>
                          <a:pt x="582" y="1274"/>
                        </a:lnTo>
                        <a:lnTo>
                          <a:pt x="580" y="1272"/>
                        </a:lnTo>
                        <a:lnTo>
                          <a:pt x="579" y="1271"/>
                        </a:lnTo>
                        <a:lnTo>
                          <a:pt x="579" y="1269"/>
                        </a:lnTo>
                        <a:lnTo>
                          <a:pt x="579" y="1268"/>
                        </a:lnTo>
                        <a:lnTo>
                          <a:pt x="579" y="1266"/>
                        </a:lnTo>
                        <a:lnTo>
                          <a:pt x="579" y="1264"/>
                        </a:lnTo>
                        <a:lnTo>
                          <a:pt x="580" y="1263"/>
                        </a:lnTo>
                        <a:lnTo>
                          <a:pt x="580" y="1261"/>
                        </a:lnTo>
                        <a:lnTo>
                          <a:pt x="579" y="1258"/>
                        </a:lnTo>
                        <a:lnTo>
                          <a:pt x="579" y="1257"/>
                        </a:lnTo>
                        <a:lnTo>
                          <a:pt x="580" y="1255"/>
                        </a:lnTo>
                        <a:lnTo>
                          <a:pt x="580" y="1253"/>
                        </a:lnTo>
                        <a:lnTo>
                          <a:pt x="579" y="1252"/>
                        </a:lnTo>
                        <a:lnTo>
                          <a:pt x="579" y="1250"/>
                        </a:lnTo>
                        <a:lnTo>
                          <a:pt x="577" y="1249"/>
                        </a:lnTo>
                        <a:lnTo>
                          <a:pt x="575" y="1247"/>
                        </a:lnTo>
                        <a:lnTo>
                          <a:pt x="575" y="1245"/>
                        </a:lnTo>
                        <a:lnTo>
                          <a:pt x="577" y="1244"/>
                        </a:lnTo>
                        <a:lnTo>
                          <a:pt x="575" y="1242"/>
                        </a:lnTo>
                        <a:lnTo>
                          <a:pt x="575" y="1241"/>
                        </a:lnTo>
                        <a:lnTo>
                          <a:pt x="575" y="1239"/>
                        </a:lnTo>
                        <a:lnTo>
                          <a:pt x="574" y="1239"/>
                        </a:lnTo>
                        <a:lnTo>
                          <a:pt x="574" y="1238"/>
                        </a:lnTo>
                        <a:lnTo>
                          <a:pt x="572" y="1238"/>
                        </a:lnTo>
                        <a:lnTo>
                          <a:pt x="571" y="1236"/>
                        </a:lnTo>
                        <a:lnTo>
                          <a:pt x="572" y="1234"/>
                        </a:lnTo>
                        <a:lnTo>
                          <a:pt x="574" y="1233"/>
                        </a:lnTo>
                        <a:lnTo>
                          <a:pt x="575" y="1233"/>
                        </a:lnTo>
                        <a:lnTo>
                          <a:pt x="577" y="1233"/>
                        </a:lnTo>
                        <a:lnTo>
                          <a:pt x="579" y="1233"/>
                        </a:lnTo>
                        <a:lnTo>
                          <a:pt x="579" y="1231"/>
                        </a:lnTo>
                        <a:lnTo>
                          <a:pt x="579" y="1230"/>
                        </a:lnTo>
                        <a:lnTo>
                          <a:pt x="580" y="1228"/>
                        </a:lnTo>
                        <a:lnTo>
                          <a:pt x="582" y="1228"/>
                        </a:lnTo>
                        <a:lnTo>
                          <a:pt x="583" y="1228"/>
                        </a:lnTo>
                        <a:lnTo>
                          <a:pt x="583" y="1226"/>
                        </a:lnTo>
                        <a:lnTo>
                          <a:pt x="585" y="1226"/>
                        </a:lnTo>
                        <a:lnTo>
                          <a:pt x="586" y="1226"/>
                        </a:lnTo>
                        <a:lnTo>
                          <a:pt x="588" y="1225"/>
                        </a:lnTo>
                        <a:lnTo>
                          <a:pt x="590" y="1225"/>
                        </a:lnTo>
                        <a:lnTo>
                          <a:pt x="591" y="1225"/>
                        </a:lnTo>
                        <a:lnTo>
                          <a:pt x="593" y="1225"/>
                        </a:lnTo>
                        <a:lnTo>
                          <a:pt x="594" y="1225"/>
                        </a:lnTo>
                        <a:lnTo>
                          <a:pt x="596" y="1225"/>
                        </a:lnTo>
                        <a:lnTo>
                          <a:pt x="599" y="1223"/>
                        </a:lnTo>
                        <a:lnTo>
                          <a:pt x="601" y="1223"/>
                        </a:lnTo>
                        <a:lnTo>
                          <a:pt x="602" y="1222"/>
                        </a:lnTo>
                        <a:lnTo>
                          <a:pt x="604" y="1220"/>
                        </a:lnTo>
                        <a:lnTo>
                          <a:pt x="604" y="1219"/>
                        </a:lnTo>
                        <a:lnTo>
                          <a:pt x="602" y="1217"/>
                        </a:lnTo>
                        <a:lnTo>
                          <a:pt x="602" y="1215"/>
                        </a:lnTo>
                        <a:lnTo>
                          <a:pt x="601" y="1212"/>
                        </a:lnTo>
                        <a:lnTo>
                          <a:pt x="601" y="1209"/>
                        </a:lnTo>
                        <a:lnTo>
                          <a:pt x="599" y="1204"/>
                        </a:lnTo>
                        <a:lnTo>
                          <a:pt x="596" y="1196"/>
                        </a:lnTo>
                        <a:lnTo>
                          <a:pt x="593" y="1188"/>
                        </a:lnTo>
                        <a:lnTo>
                          <a:pt x="590" y="1179"/>
                        </a:lnTo>
                        <a:lnTo>
                          <a:pt x="586" y="1173"/>
                        </a:lnTo>
                        <a:lnTo>
                          <a:pt x="585" y="1168"/>
                        </a:lnTo>
                        <a:lnTo>
                          <a:pt x="582" y="1158"/>
                        </a:lnTo>
                        <a:lnTo>
                          <a:pt x="580" y="1154"/>
                        </a:lnTo>
                        <a:lnTo>
                          <a:pt x="579" y="1152"/>
                        </a:lnTo>
                        <a:lnTo>
                          <a:pt x="577" y="1150"/>
                        </a:lnTo>
                        <a:lnTo>
                          <a:pt x="575" y="1147"/>
                        </a:lnTo>
                        <a:lnTo>
                          <a:pt x="574" y="1146"/>
                        </a:lnTo>
                        <a:lnTo>
                          <a:pt x="572" y="1143"/>
                        </a:lnTo>
                        <a:lnTo>
                          <a:pt x="572" y="1141"/>
                        </a:lnTo>
                        <a:lnTo>
                          <a:pt x="571" y="1139"/>
                        </a:lnTo>
                        <a:lnTo>
                          <a:pt x="571" y="1138"/>
                        </a:lnTo>
                        <a:lnTo>
                          <a:pt x="569" y="1136"/>
                        </a:lnTo>
                        <a:lnTo>
                          <a:pt x="569" y="1135"/>
                        </a:lnTo>
                        <a:lnTo>
                          <a:pt x="569" y="1133"/>
                        </a:lnTo>
                        <a:lnTo>
                          <a:pt x="569" y="1130"/>
                        </a:lnTo>
                        <a:lnTo>
                          <a:pt x="569" y="1128"/>
                        </a:lnTo>
                        <a:lnTo>
                          <a:pt x="569" y="1127"/>
                        </a:lnTo>
                        <a:lnTo>
                          <a:pt x="569" y="1124"/>
                        </a:lnTo>
                        <a:lnTo>
                          <a:pt x="569" y="1120"/>
                        </a:lnTo>
                        <a:lnTo>
                          <a:pt x="569" y="1119"/>
                        </a:lnTo>
                        <a:lnTo>
                          <a:pt x="569" y="1116"/>
                        </a:lnTo>
                        <a:lnTo>
                          <a:pt x="569" y="1114"/>
                        </a:lnTo>
                        <a:lnTo>
                          <a:pt x="567" y="1109"/>
                        </a:lnTo>
                        <a:lnTo>
                          <a:pt x="567" y="1104"/>
                        </a:lnTo>
                        <a:lnTo>
                          <a:pt x="566" y="1100"/>
                        </a:lnTo>
                        <a:lnTo>
                          <a:pt x="566" y="1097"/>
                        </a:lnTo>
                        <a:lnTo>
                          <a:pt x="564" y="1093"/>
                        </a:lnTo>
                        <a:lnTo>
                          <a:pt x="564" y="1089"/>
                        </a:lnTo>
                        <a:lnTo>
                          <a:pt x="563" y="1085"/>
                        </a:lnTo>
                        <a:lnTo>
                          <a:pt x="561" y="1079"/>
                        </a:lnTo>
                        <a:lnTo>
                          <a:pt x="561" y="1074"/>
                        </a:lnTo>
                        <a:lnTo>
                          <a:pt x="560" y="1071"/>
                        </a:lnTo>
                        <a:lnTo>
                          <a:pt x="560" y="1070"/>
                        </a:lnTo>
                        <a:lnTo>
                          <a:pt x="560" y="1066"/>
                        </a:lnTo>
                        <a:lnTo>
                          <a:pt x="558" y="1065"/>
                        </a:lnTo>
                        <a:lnTo>
                          <a:pt x="558" y="1063"/>
                        </a:lnTo>
                        <a:lnTo>
                          <a:pt x="558" y="1060"/>
                        </a:lnTo>
                        <a:lnTo>
                          <a:pt x="560" y="1057"/>
                        </a:lnTo>
                        <a:lnTo>
                          <a:pt x="560" y="1055"/>
                        </a:lnTo>
                        <a:lnTo>
                          <a:pt x="560" y="1054"/>
                        </a:lnTo>
                        <a:lnTo>
                          <a:pt x="560" y="1052"/>
                        </a:lnTo>
                        <a:lnTo>
                          <a:pt x="560" y="1051"/>
                        </a:lnTo>
                        <a:lnTo>
                          <a:pt x="560" y="1049"/>
                        </a:lnTo>
                        <a:lnTo>
                          <a:pt x="558" y="1046"/>
                        </a:lnTo>
                        <a:lnTo>
                          <a:pt x="558" y="1044"/>
                        </a:lnTo>
                        <a:lnTo>
                          <a:pt x="558" y="1043"/>
                        </a:lnTo>
                        <a:lnTo>
                          <a:pt x="558" y="1041"/>
                        </a:lnTo>
                        <a:lnTo>
                          <a:pt x="560" y="1038"/>
                        </a:lnTo>
                        <a:lnTo>
                          <a:pt x="560" y="1036"/>
                        </a:lnTo>
                        <a:lnTo>
                          <a:pt x="560" y="1035"/>
                        </a:lnTo>
                        <a:lnTo>
                          <a:pt x="558" y="1033"/>
                        </a:lnTo>
                        <a:lnTo>
                          <a:pt x="558" y="1030"/>
                        </a:lnTo>
                        <a:lnTo>
                          <a:pt x="558" y="1027"/>
                        </a:lnTo>
                        <a:lnTo>
                          <a:pt x="556" y="1022"/>
                        </a:lnTo>
                        <a:lnTo>
                          <a:pt x="556" y="1021"/>
                        </a:lnTo>
                        <a:lnTo>
                          <a:pt x="555" y="1019"/>
                        </a:lnTo>
                        <a:lnTo>
                          <a:pt x="553" y="1017"/>
                        </a:lnTo>
                        <a:lnTo>
                          <a:pt x="552" y="1019"/>
                        </a:lnTo>
                        <a:lnTo>
                          <a:pt x="550" y="1019"/>
                        </a:lnTo>
                        <a:lnTo>
                          <a:pt x="550" y="1021"/>
                        </a:lnTo>
                        <a:lnTo>
                          <a:pt x="548" y="1022"/>
                        </a:lnTo>
                        <a:lnTo>
                          <a:pt x="547" y="1024"/>
                        </a:lnTo>
                        <a:lnTo>
                          <a:pt x="545" y="1024"/>
                        </a:lnTo>
                        <a:lnTo>
                          <a:pt x="544" y="1024"/>
                        </a:lnTo>
                        <a:lnTo>
                          <a:pt x="542" y="1024"/>
                        </a:lnTo>
                        <a:lnTo>
                          <a:pt x="542" y="1025"/>
                        </a:lnTo>
                        <a:lnTo>
                          <a:pt x="541" y="1025"/>
                        </a:lnTo>
                        <a:lnTo>
                          <a:pt x="539" y="1025"/>
                        </a:lnTo>
                        <a:lnTo>
                          <a:pt x="537" y="1025"/>
                        </a:lnTo>
                        <a:lnTo>
                          <a:pt x="536" y="1027"/>
                        </a:lnTo>
                        <a:lnTo>
                          <a:pt x="534" y="1027"/>
                        </a:lnTo>
                        <a:lnTo>
                          <a:pt x="533" y="1027"/>
                        </a:lnTo>
                        <a:lnTo>
                          <a:pt x="529" y="1027"/>
                        </a:lnTo>
                        <a:lnTo>
                          <a:pt x="525" y="1027"/>
                        </a:lnTo>
                        <a:lnTo>
                          <a:pt x="523" y="1028"/>
                        </a:lnTo>
                        <a:lnTo>
                          <a:pt x="522" y="1028"/>
                        </a:lnTo>
                        <a:lnTo>
                          <a:pt x="518" y="1028"/>
                        </a:lnTo>
                        <a:lnTo>
                          <a:pt x="517" y="1028"/>
                        </a:lnTo>
                        <a:lnTo>
                          <a:pt x="515" y="1028"/>
                        </a:lnTo>
                        <a:lnTo>
                          <a:pt x="514" y="1028"/>
                        </a:lnTo>
                        <a:lnTo>
                          <a:pt x="512" y="1028"/>
                        </a:lnTo>
                        <a:lnTo>
                          <a:pt x="510" y="1028"/>
                        </a:lnTo>
                        <a:lnTo>
                          <a:pt x="507" y="1028"/>
                        </a:lnTo>
                        <a:lnTo>
                          <a:pt x="503" y="1027"/>
                        </a:lnTo>
                        <a:lnTo>
                          <a:pt x="499" y="1025"/>
                        </a:lnTo>
                        <a:lnTo>
                          <a:pt x="496" y="1024"/>
                        </a:lnTo>
                        <a:lnTo>
                          <a:pt x="490" y="1021"/>
                        </a:lnTo>
                        <a:lnTo>
                          <a:pt x="482" y="1017"/>
                        </a:lnTo>
                        <a:lnTo>
                          <a:pt x="476" y="1014"/>
                        </a:lnTo>
                        <a:lnTo>
                          <a:pt x="469" y="1011"/>
                        </a:lnTo>
                        <a:lnTo>
                          <a:pt x="465" y="1008"/>
                        </a:lnTo>
                        <a:lnTo>
                          <a:pt x="460" y="1005"/>
                        </a:lnTo>
                        <a:lnTo>
                          <a:pt x="455" y="1002"/>
                        </a:lnTo>
                        <a:lnTo>
                          <a:pt x="449" y="998"/>
                        </a:lnTo>
                        <a:lnTo>
                          <a:pt x="442" y="995"/>
                        </a:lnTo>
                        <a:lnTo>
                          <a:pt x="436" y="992"/>
                        </a:lnTo>
                        <a:lnTo>
                          <a:pt x="431" y="989"/>
                        </a:lnTo>
                        <a:lnTo>
                          <a:pt x="426" y="986"/>
                        </a:lnTo>
                        <a:lnTo>
                          <a:pt x="420" y="979"/>
                        </a:lnTo>
                        <a:lnTo>
                          <a:pt x="417" y="978"/>
                        </a:lnTo>
                        <a:lnTo>
                          <a:pt x="415" y="976"/>
                        </a:lnTo>
                        <a:lnTo>
                          <a:pt x="412" y="975"/>
                        </a:lnTo>
                        <a:lnTo>
                          <a:pt x="412" y="973"/>
                        </a:lnTo>
                        <a:lnTo>
                          <a:pt x="409" y="973"/>
                        </a:lnTo>
                        <a:lnTo>
                          <a:pt x="407" y="973"/>
                        </a:lnTo>
                        <a:lnTo>
                          <a:pt x="403" y="973"/>
                        </a:lnTo>
                        <a:lnTo>
                          <a:pt x="393" y="973"/>
                        </a:lnTo>
                        <a:lnTo>
                          <a:pt x="387" y="973"/>
                        </a:lnTo>
                        <a:lnTo>
                          <a:pt x="381" y="973"/>
                        </a:lnTo>
                        <a:lnTo>
                          <a:pt x="374" y="973"/>
                        </a:lnTo>
                        <a:lnTo>
                          <a:pt x="368" y="973"/>
                        </a:lnTo>
                        <a:lnTo>
                          <a:pt x="363" y="973"/>
                        </a:lnTo>
                        <a:lnTo>
                          <a:pt x="362" y="973"/>
                        </a:lnTo>
                        <a:lnTo>
                          <a:pt x="360" y="973"/>
                        </a:lnTo>
                        <a:lnTo>
                          <a:pt x="360" y="971"/>
                        </a:lnTo>
                        <a:lnTo>
                          <a:pt x="358" y="971"/>
                        </a:lnTo>
                        <a:lnTo>
                          <a:pt x="357" y="968"/>
                        </a:lnTo>
                        <a:lnTo>
                          <a:pt x="354" y="965"/>
                        </a:lnTo>
                        <a:lnTo>
                          <a:pt x="352" y="964"/>
                        </a:lnTo>
                        <a:lnTo>
                          <a:pt x="352" y="962"/>
                        </a:lnTo>
                        <a:lnTo>
                          <a:pt x="354" y="962"/>
                        </a:lnTo>
                        <a:lnTo>
                          <a:pt x="352" y="962"/>
                        </a:lnTo>
                        <a:lnTo>
                          <a:pt x="352" y="960"/>
                        </a:lnTo>
                        <a:lnTo>
                          <a:pt x="350" y="959"/>
                        </a:lnTo>
                        <a:lnTo>
                          <a:pt x="349" y="959"/>
                        </a:lnTo>
                        <a:lnTo>
                          <a:pt x="347" y="959"/>
                        </a:lnTo>
                        <a:lnTo>
                          <a:pt x="347" y="957"/>
                        </a:lnTo>
                        <a:lnTo>
                          <a:pt x="344" y="957"/>
                        </a:lnTo>
                        <a:lnTo>
                          <a:pt x="343" y="957"/>
                        </a:lnTo>
                        <a:lnTo>
                          <a:pt x="341" y="959"/>
                        </a:lnTo>
                        <a:lnTo>
                          <a:pt x="341" y="960"/>
                        </a:lnTo>
                        <a:lnTo>
                          <a:pt x="341" y="959"/>
                        </a:lnTo>
                        <a:lnTo>
                          <a:pt x="338" y="959"/>
                        </a:lnTo>
                        <a:lnTo>
                          <a:pt x="338" y="957"/>
                        </a:lnTo>
                        <a:lnTo>
                          <a:pt x="336" y="957"/>
                        </a:lnTo>
                        <a:lnTo>
                          <a:pt x="336" y="956"/>
                        </a:lnTo>
                        <a:lnTo>
                          <a:pt x="335" y="956"/>
                        </a:lnTo>
                        <a:lnTo>
                          <a:pt x="331" y="956"/>
                        </a:lnTo>
                        <a:lnTo>
                          <a:pt x="328" y="957"/>
                        </a:lnTo>
                        <a:lnTo>
                          <a:pt x="327" y="957"/>
                        </a:lnTo>
                        <a:lnTo>
                          <a:pt x="325" y="959"/>
                        </a:lnTo>
                        <a:lnTo>
                          <a:pt x="324" y="959"/>
                        </a:lnTo>
                        <a:lnTo>
                          <a:pt x="322" y="959"/>
                        </a:lnTo>
                        <a:lnTo>
                          <a:pt x="320" y="960"/>
                        </a:lnTo>
                        <a:lnTo>
                          <a:pt x="319" y="960"/>
                        </a:lnTo>
                        <a:lnTo>
                          <a:pt x="317" y="960"/>
                        </a:lnTo>
                        <a:lnTo>
                          <a:pt x="316" y="962"/>
                        </a:lnTo>
                        <a:lnTo>
                          <a:pt x="314" y="962"/>
                        </a:lnTo>
                        <a:lnTo>
                          <a:pt x="312" y="960"/>
                        </a:lnTo>
                        <a:lnTo>
                          <a:pt x="309" y="960"/>
                        </a:lnTo>
                        <a:lnTo>
                          <a:pt x="308" y="960"/>
                        </a:lnTo>
                        <a:lnTo>
                          <a:pt x="305" y="959"/>
                        </a:lnTo>
                        <a:lnTo>
                          <a:pt x="300" y="959"/>
                        </a:lnTo>
                        <a:lnTo>
                          <a:pt x="295" y="957"/>
                        </a:lnTo>
                        <a:lnTo>
                          <a:pt x="290" y="957"/>
                        </a:lnTo>
                        <a:lnTo>
                          <a:pt x="287" y="956"/>
                        </a:lnTo>
                        <a:lnTo>
                          <a:pt x="286" y="954"/>
                        </a:lnTo>
                        <a:lnTo>
                          <a:pt x="284" y="952"/>
                        </a:lnTo>
                        <a:lnTo>
                          <a:pt x="282" y="951"/>
                        </a:lnTo>
                        <a:lnTo>
                          <a:pt x="281" y="949"/>
                        </a:lnTo>
                        <a:lnTo>
                          <a:pt x="279" y="949"/>
                        </a:lnTo>
                        <a:lnTo>
                          <a:pt x="274" y="952"/>
                        </a:lnTo>
                        <a:lnTo>
                          <a:pt x="273" y="956"/>
                        </a:lnTo>
                        <a:lnTo>
                          <a:pt x="271" y="957"/>
                        </a:lnTo>
                        <a:lnTo>
                          <a:pt x="270" y="960"/>
                        </a:lnTo>
                        <a:lnTo>
                          <a:pt x="270" y="962"/>
                        </a:lnTo>
                        <a:lnTo>
                          <a:pt x="270" y="967"/>
                        </a:lnTo>
                        <a:lnTo>
                          <a:pt x="271" y="970"/>
                        </a:lnTo>
                        <a:lnTo>
                          <a:pt x="271" y="973"/>
                        </a:lnTo>
                        <a:lnTo>
                          <a:pt x="270" y="976"/>
                        </a:lnTo>
                        <a:lnTo>
                          <a:pt x="268" y="979"/>
                        </a:lnTo>
                        <a:lnTo>
                          <a:pt x="263" y="981"/>
                        </a:lnTo>
                        <a:lnTo>
                          <a:pt x="259" y="983"/>
                        </a:lnTo>
                        <a:lnTo>
                          <a:pt x="254" y="984"/>
                        </a:lnTo>
                        <a:lnTo>
                          <a:pt x="252" y="984"/>
                        </a:lnTo>
                        <a:lnTo>
                          <a:pt x="251" y="976"/>
                        </a:lnTo>
                        <a:lnTo>
                          <a:pt x="251" y="973"/>
                        </a:lnTo>
                        <a:lnTo>
                          <a:pt x="249" y="967"/>
                        </a:lnTo>
                        <a:lnTo>
                          <a:pt x="249" y="964"/>
                        </a:lnTo>
                        <a:lnTo>
                          <a:pt x="247" y="959"/>
                        </a:lnTo>
                        <a:lnTo>
                          <a:pt x="247" y="956"/>
                        </a:lnTo>
                        <a:lnTo>
                          <a:pt x="246" y="951"/>
                        </a:lnTo>
                        <a:lnTo>
                          <a:pt x="246" y="948"/>
                        </a:lnTo>
                        <a:lnTo>
                          <a:pt x="244" y="941"/>
                        </a:lnTo>
                        <a:lnTo>
                          <a:pt x="243" y="937"/>
                        </a:lnTo>
                        <a:lnTo>
                          <a:pt x="243" y="932"/>
                        </a:lnTo>
                        <a:lnTo>
                          <a:pt x="243" y="929"/>
                        </a:lnTo>
                        <a:lnTo>
                          <a:pt x="241" y="924"/>
                        </a:lnTo>
                        <a:lnTo>
                          <a:pt x="241" y="919"/>
                        </a:lnTo>
                        <a:lnTo>
                          <a:pt x="240" y="919"/>
                        </a:lnTo>
                        <a:lnTo>
                          <a:pt x="238" y="918"/>
                        </a:lnTo>
                        <a:lnTo>
                          <a:pt x="238" y="916"/>
                        </a:lnTo>
                        <a:lnTo>
                          <a:pt x="236" y="916"/>
                        </a:lnTo>
                        <a:lnTo>
                          <a:pt x="236" y="914"/>
                        </a:lnTo>
                        <a:lnTo>
                          <a:pt x="235" y="913"/>
                        </a:lnTo>
                        <a:lnTo>
                          <a:pt x="232" y="910"/>
                        </a:lnTo>
                        <a:lnTo>
                          <a:pt x="230" y="906"/>
                        </a:lnTo>
                        <a:lnTo>
                          <a:pt x="228" y="905"/>
                        </a:lnTo>
                        <a:lnTo>
                          <a:pt x="225" y="903"/>
                        </a:lnTo>
                        <a:lnTo>
                          <a:pt x="224" y="903"/>
                        </a:lnTo>
                        <a:lnTo>
                          <a:pt x="219" y="902"/>
                        </a:lnTo>
                        <a:lnTo>
                          <a:pt x="216" y="902"/>
                        </a:lnTo>
                        <a:lnTo>
                          <a:pt x="214" y="902"/>
                        </a:lnTo>
                        <a:lnTo>
                          <a:pt x="208" y="903"/>
                        </a:lnTo>
                        <a:lnTo>
                          <a:pt x="203" y="905"/>
                        </a:lnTo>
                        <a:lnTo>
                          <a:pt x="200" y="906"/>
                        </a:lnTo>
                        <a:lnTo>
                          <a:pt x="197" y="908"/>
                        </a:lnTo>
                        <a:lnTo>
                          <a:pt x="195" y="908"/>
                        </a:lnTo>
                        <a:lnTo>
                          <a:pt x="194" y="908"/>
                        </a:lnTo>
                        <a:lnTo>
                          <a:pt x="192" y="908"/>
                        </a:lnTo>
                        <a:lnTo>
                          <a:pt x="190" y="908"/>
                        </a:lnTo>
                        <a:lnTo>
                          <a:pt x="187" y="906"/>
                        </a:lnTo>
                        <a:lnTo>
                          <a:pt x="186" y="905"/>
                        </a:lnTo>
                        <a:lnTo>
                          <a:pt x="183" y="905"/>
                        </a:lnTo>
                        <a:lnTo>
                          <a:pt x="181" y="903"/>
                        </a:lnTo>
                        <a:lnTo>
                          <a:pt x="176" y="903"/>
                        </a:lnTo>
                        <a:lnTo>
                          <a:pt x="175" y="902"/>
                        </a:lnTo>
                        <a:lnTo>
                          <a:pt x="175" y="900"/>
                        </a:lnTo>
                        <a:lnTo>
                          <a:pt x="175" y="897"/>
                        </a:lnTo>
                        <a:lnTo>
                          <a:pt x="175" y="895"/>
                        </a:lnTo>
                        <a:lnTo>
                          <a:pt x="175" y="894"/>
                        </a:lnTo>
                        <a:lnTo>
                          <a:pt x="173" y="892"/>
                        </a:lnTo>
                        <a:lnTo>
                          <a:pt x="173" y="889"/>
                        </a:lnTo>
                        <a:lnTo>
                          <a:pt x="173" y="887"/>
                        </a:lnTo>
                        <a:lnTo>
                          <a:pt x="173" y="886"/>
                        </a:lnTo>
                        <a:lnTo>
                          <a:pt x="173" y="884"/>
                        </a:lnTo>
                        <a:lnTo>
                          <a:pt x="173" y="883"/>
                        </a:lnTo>
                        <a:lnTo>
                          <a:pt x="173" y="881"/>
                        </a:lnTo>
                        <a:lnTo>
                          <a:pt x="171" y="880"/>
                        </a:lnTo>
                        <a:lnTo>
                          <a:pt x="170" y="876"/>
                        </a:lnTo>
                        <a:lnTo>
                          <a:pt x="168" y="875"/>
                        </a:lnTo>
                        <a:lnTo>
                          <a:pt x="167" y="875"/>
                        </a:lnTo>
                        <a:lnTo>
                          <a:pt x="165" y="875"/>
                        </a:lnTo>
                        <a:lnTo>
                          <a:pt x="164" y="875"/>
                        </a:lnTo>
                        <a:lnTo>
                          <a:pt x="160" y="873"/>
                        </a:lnTo>
                        <a:lnTo>
                          <a:pt x="156" y="873"/>
                        </a:lnTo>
                        <a:lnTo>
                          <a:pt x="154" y="872"/>
                        </a:lnTo>
                        <a:lnTo>
                          <a:pt x="154" y="870"/>
                        </a:lnTo>
                        <a:lnTo>
                          <a:pt x="152" y="868"/>
                        </a:lnTo>
                        <a:lnTo>
                          <a:pt x="152" y="867"/>
                        </a:lnTo>
                        <a:lnTo>
                          <a:pt x="151" y="865"/>
                        </a:lnTo>
                        <a:lnTo>
                          <a:pt x="152" y="864"/>
                        </a:lnTo>
                        <a:lnTo>
                          <a:pt x="154" y="862"/>
                        </a:lnTo>
                        <a:lnTo>
                          <a:pt x="156" y="861"/>
                        </a:lnTo>
                        <a:lnTo>
                          <a:pt x="156" y="859"/>
                        </a:lnTo>
                        <a:lnTo>
                          <a:pt x="157" y="857"/>
                        </a:lnTo>
                        <a:lnTo>
                          <a:pt x="157" y="856"/>
                        </a:lnTo>
                        <a:lnTo>
                          <a:pt x="157" y="854"/>
                        </a:lnTo>
                        <a:lnTo>
                          <a:pt x="156" y="853"/>
                        </a:lnTo>
                        <a:lnTo>
                          <a:pt x="156" y="851"/>
                        </a:lnTo>
                        <a:lnTo>
                          <a:pt x="156" y="849"/>
                        </a:lnTo>
                        <a:lnTo>
                          <a:pt x="156" y="848"/>
                        </a:lnTo>
                        <a:lnTo>
                          <a:pt x="157" y="845"/>
                        </a:lnTo>
                        <a:lnTo>
                          <a:pt x="157" y="843"/>
                        </a:lnTo>
                        <a:lnTo>
                          <a:pt x="159" y="842"/>
                        </a:lnTo>
                        <a:lnTo>
                          <a:pt x="160" y="838"/>
                        </a:lnTo>
                        <a:lnTo>
                          <a:pt x="162" y="837"/>
                        </a:lnTo>
                        <a:lnTo>
                          <a:pt x="162" y="835"/>
                        </a:lnTo>
                        <a:lnTo>
                          <a:pt x="162" y="832"/>
                        </a:lnTo>
                        <a:lnTo>
                          <a:pt x="160" y="830"/>
                        </a:lnTo>
                        <a:lnTo>
                          <a:pt x="160" y="829"/>
                        </a:lnTo>
                        <a:lnTo>
                          <a:pt x="162" y="829"/>
                        </a:lnTo>
                        <a:lnTo>
                          <a:pt x="162" y="826"/>
                        </a:lnTo>
                        <a:lnTo>
                          <a:pt x="162" y="824"/>
                        </a:lnTo>
                        <a:lnTo>
                          <a:pt x="162" y="821"/>
                        </a:lnTo>
                        <a:lnTo>
                          <a:pt x="162" y="818"/>
                        </a:lnTo>
                        <a:lnTo>
                          <a:pt x="162" y="816"/>
                        </a:lnTo>
                        <a:lnTo>
                          <a:pt x="162" y="813"/>
                        </a:lnTo>
                        <a:lnTo>
                          <a:pt x="162" y="811"/>
                        </a:lnTo>
                        <a:lnTo>
                          <a:pt x="164" y="808"/>
                        </a:lnTo>
                        <a:lnTo>
                          <a:pt x="164" y="807"/>
                        </a:lnTo>
                        <a:lnTo>
                          <a:pt x="165" y="805"/>
                        </a:lnTo>
                        <a:lnTo>
                          <a:pt x="167" y="804"/>
                        </a:lnTo>
                        <a:lnTo>
                          <a:pt x="167" y="802"/>
                        </a:lnTo>
                        <a:lnTo>
                          <a:pt x="168" y="800"/>
                        </a:lnTo>
                        <a:lnTo>
                          <a:pt x="168" y="799"/>
                        </a:lnTo>
                        <a:lnTo>
                          <a:pt x="168" y="797"/>
                        </a:lnTo>
                        <a:lnTo>
                          <a:pt x="168" y="796"/>
                        </a:lnTo>
                        <a:lnTo>
                          <a:pt x="167" y="794"/>
                        </a:lnTo>
                        <a:lnTo>
                          <a:pt x="165" y="792"/>
                        </a:lnTo>
                        <a:lnTo>
                          <a:pt x="165" y="791"/>
                        </a:lnTo>
                        <a:lnTo>
                          <a:pt x="165" y="789"/>
                        </a:lnTo>
                        <a:lnTo>
                          <a:pt x="164" y="788"/>
                        </a:lnTo>
                        <a:lnTo>
                          <a:pt x="164" y="786"/>
                        </a:lnTo>
                        <a:lnTo>
                          <a:pt x="165" y="786"/>
                        </a:lnTo>
                        <a:lnTo>
                          <a:pt x="165" y="785"/>
                        </a:lnTo>
                        <a:lnTo>
                          <a:pt x="167" y="785"/>
                        </a:lnTo>
                        <a:lnTo>
                          <a:pt x="168" y="783"/>
                        </a:lnTo>
                        <a:lnTo>
                          <a:pt x="170" y="781"/>
                        </a:lnTo>
                        <a:lnTo>
                          <a:pt x="171" y="780"/>
                        </a:lnTo>
                        <a:lnTo>
                          <a:pt x="173" y="778"/>
                        </a:lnTo>
                        <a:lnTo>
                          <a:pt x="175" y="778"/>
                        </a:lnTo>
                        <a:lnTo>
                          <a:pt x="176" y="777"/>
                        </a:lnTo>
                        <a:lnTo>
                          <a:pt x="176" y="778"/>
                        </a:lnTo>
                        <a:lnTo>
                          <a:pt x="178" y="778"/>
                        </a:lnTo>
                        <a:lnTo>
                          <a:pt x="178" y="777"/>
                        </a:lnTo>
                        <a:lnTo>
                          <a:pt x="179" y="777"/>
                        </a:lnTo>
                        <a:lnTo>
                          <a:pt x="181" y="777"/>
                        </a:lnTo>
                        <a:lnTo>
                          <a:pt x="183" y="777"/>
                        </a:lnTo>
                        <a:lnTo>
                          <a:pt x="184" y="777"/>
                        </a:lnTo>
                        <a:lnTo>
                          <a:pt x="186" y="778"/>
                        </a:lnTo>
                        <a:lnTo>
                          <a:pt x="187" y="778"/>
                        </a:lnTo>
                        <a:lnTo>
                          <a:pt x="189" y="778"/>
                        </a:lnTo>
                        <a:lnTo>
                          <a:pt x="190" y="778"/>
                        </a:lnTo>
                        <a:lnTo>
                          <a:pt x="192" y="780"/>
                        </a:lnTo>
                        <a:lnTo>
                          <a:pt x="194" y="780"/>
                        </a:lnTo>
                        <a:lnTo>
                          <a:pt x="194" y="781"/>
                        </a:lnTo>
                        <a:lnTo>
                          <a:pt x="195" y="781"/>
                        </a:lnTo>
                        <a:lnTo>
                          <a:pt x="197" y="781"/>
                        </a:lnTo>
                        <a:lnTo>
                          <a:pt x="198" y="781"/>
                        </a:lnTo>
                        <a:lnTo>
                          <a:pt x="200" y="783"/>
                        </a:lnTo>
                        <a:lnTo>
                          <a:pt x="202" y="783"/>
                        </a:lnTo>
                        <a:lnTo>
                          <a:pt x="205" y="785"/>
                        </a:lnTo>
                        <a:lnTo>
                          <a:pt x="205" y="783"/>
                        </a:lnTo>
                        <a:lnTo>
                          <a:pt x="205" y="781"/>
                        </a:lnTo>
                        <a:lnTo>
                          <a:pt x="206" y="781"/>
                        </a:lnTo>
                        <a:lnTo>
                          <a:pt x="206" y="780"/>
                        </a:lnTo>
                        <a:lnTo>
                          <a:pt x="206" y="778"/>
                        </a:lnTo>
                        <a:lnTo>
                          <a:pt x="206" y="777"/>
                        </a:lnTo>
                        <a:lnTo>
                          <a:pt x="206" y="775"/>
                        </a:lnTo>
                        <a:lnTo>
                          <a:pt x="208" y="773"/>
                        </a:lnTo>
                        <a:lnTo>
                          <a:pt x="208" y="772"/>
                        </a:lnTo>
                        <a:lnTo>
                          <a:pt x="208" y="770"/>
                        </a:lnTo>
                        <a:lnTo>
                          <a:pt x="209" y="769"/>
                        </a:lnTo>
                        <a:lnTo>
                          <a:pt x="211" y="767"/>
                        </a:lnTo>
                        <a:lnTo>
                          <a:pt x="213" y="769"/>
                        </a:lnTo>
                        <a:lnTo>
                          <a:pt x="214" y="769"/>
                        </a:lnTo>
                        <a:lnTo>
                          <a:pt x="216" y="769"/>
                        </a:lnTo>
                        <a:lnTo>
                          <a:pt x="217" y="769"/>
                        </a:lnTo>
                        <a:lnTo>
                          <a:pt x="219" y="769"/>
                        </a:lnTo>
                        <a:lnTo>
                          <a:pt x="221" y="769"/>
                        </a:lnTo>
                        <a:lnTo>
                          <a:pt x="222" y="769"/>
                        </a:lnTo>
                        <a:lnTo>
                          <a:pt x="224" y="769"/>
                        </a:lnTo>
                        <a:lnTo>
                          <a:pt x="225" y="767"/>
                        </a:lnTo>
                        <a:lnTo>
                          <a:pt x="227" y="767"/>
                        </a:lnTo>
                        <a:lnTo>
                          <a:pt x="228" y="767"/>
                        </a:lnTo>
                        <a:lnTo>
                          <a:pt x="228" y="766"/>
                        </a:lnTo>
                        <a:lnTo>
                          <a:pt x="230" y="766"/>
                        </a:lnTo>
                        <a:lnTo>
                          <a:pt x="232" y="766"/>
                        </a:lnTo>
                        <a:lnTo>
                          <a:pt x="233" y="766"/>
                        </a:lnTo>
                        <a:lnTo>
                          <a:pt x="233" y="764"/>
                        </a:lnTo>
                        <a:lnTo>
                          <a:pt x="235" y="764"/>
                        </a:lnTo>
                        <a:lnTo>
                          <a:pt x="235" y="762"/>
                        </a:lnTo>
                        <a:lnTo>
                          <a:pt x="236" y="762"/>
                        </a:lnTo>
                        <a:lnTo>
                          <a:pt x="236" y="761"/>
                        </a:lnTo>
                        <a:lnTo>
                          <a:pt x="238" y="761"/>
                        </a:lnTo>
                        <a:lnTo>
                          <a:pt x="238" y="759"/>
                        </a:lnTo>
                        <a:lnTo>
                          <a:pt x="240" y="759"/>
                        </a:lnTo>
                        <a:lnTo>
                          <a:pt x="240" y="758"/>
                        </a:lnTo>
                        <a:lnTo>
                          <a:pt x="238" y="758"/>
                        </a:lnTo>
                        <a:lnTo>
                          <a:pt x="236" y="754"/>
                        </a:lnTo>
                        <a:lnTo>
                          <a:pt x="236" y="753"/>
                        </a:lnTo>
                        <a:lnTo>
                          <a:pt x="235" y="750"/>
                        </a:lnTo>
                        <a:lnTo>
                          <a:pt x="233" y="748"/>
                        </a:lnTo>
                        <a:lnTo>
                          <a:pt x="233" y="747"/>
                        </a:lnTo>
                        <a:lnTo>
                          <a:pt x="232" y="743"/>
                        </a:lnTo>
                        <a:lnTo>
                          <a:pt x="230" y="742"/>
                        </a:lnTo>
                        <a:lnTo>
                          <a:pt x="230" y="740"/>
                        </a:lnTo>
                        <a:lnTo>
                          <a:pt x="228" y="739"/>
                        </a:lnTo>
                        <a:lnTo>
                          <a:pt x="227" y="735"/>
                        </a:lnTo>
                        <a:lnTo>
                          <a:pt x="225" y="735"/>
                        </a:lnTo>
                        <a:lnTo>
                          <a:pt x="222" y="734"/>
                        </a:lnTo>
                        <a:lnTo>
                          <a:pt x="221" y="734"/>
                        </a:lnTo>
                        <a:lnTo>
                          <a:pt x="217" y="734"/>
                        </a:lnTo>
                        <a:lnTo>
                          <a:pt x="214" y="734"/>
                        </a:lnTo>
                        <a:lnTo>
                          <a:pt x="213" y="731"/>
                        </a:lnTo>
                        <a:lnTo>
                          <a:pt x="213" y="727"/>
                        </a:lnTo>
                        <a:lnTo>
                          <a:pt x="213" y="726"/>
                        </a:lnTo>
                        <a:lnTo>
                          <a:pt x="211" y="721"/>
                        </a:lnTo>
                        <a:lnTo>
                          <a:pt x="211" y="720"/>
                        </a:lnTo>
                        <a:lnTo>
                          <a:pt x="209" y="718"/>
                        </a:lnTo>
                        <a:lnTo>
                          <a:pt x="209" y="716"/>
                        </a:lnTo>
                        <a:lnTo>
                          <a:pt x="209" y="713"/>
                        </a:lnTo>
                        <a:lnTo>
                          <a:pt x="209" y="712"/>
                        </a:lnTo>
                        <a:lnTo>
                          <a:pt x="209" y="708"/>
                        </a:lnTo>
                        <a:lnTo>
                          <a:pt x="208" y="707"/>
                        </a:lnTo>
                        <a:lnTo>
                          <a:pt x="206" y="704"/>
                        </a:lnTo>
                        <a:lnTo>
                          <a:pt x="205" y="702"/>
                        </a:lnTo>
                        <a:lnTo>
                          <a:pt x="202" y="702"/>
                        </a:lnTo>
                        <a:lnTo>
                          <a:pt x="200" y="702"/>
                        </a:lnTo>
                        <a:lnTo>
                          <a:pt x="197" y="702"/>
                        </a:lnTo>
                        <a:lnTo>
                          <a:pt x="194" y="701"/>
                        </a:lnTo>
                        <a:lnTo>
                          <a:pt x="192" y="699"/>
                        </a:lnTo>
                        <a:lnTo>
                          <a:pt x="189" y="697"/>
                        </a:lnTo>
                        <a:lnTo>
                          <a:pt x="187" y="694"/>
                        </a:lnTo>
                        <a:lnTo>
                          <a:pt x="186" y="691"/>
                        </a:lnTo>
                        <a:lnTo>
                          <a:pt x="184" y="688"/>
                        </a:lnTo>
                        <a:lnTo>
                          <a:pt x="184" y="686"/>
                        </a:lnTo>
                        <a:lnTo>
                          <a:pt x="183" y="685"/>
                        </a:lnTo>
                        <a:lnTo>
                          <a:pt x="183" y="683"/>
                        </a:lnTo>
                        <a:lnTo>
                          <a:pt x="181" y="680"/>
                        </a:lnTo>
                        <a:lnTo>
                          <a:pt x="179" y="680"/>
                        </a:lnTo>
                        <a:lnTo>
                          <a:pt x="178" y="677"/>
                        </a:lnTo>
                        <a:lnTo>
                          <a:pt x="176" y="675"/>
                        </a:lnTo>
                        <a:lnTo>
                          <a:pt x="175" y="675"/>
                        </a:lnTo>
                        <a:lnTo>
                          <a:pt x="173" y="674"/>
                        </a:lnTo>
                        <a:lnTo>
                          <a:pt x="171" y="674"/>
                        </a:lnTo>
                        <a:lnTo>
                          <a:pt x="170" y="672"/>
                        </a:lnTo>
                        <a:lnTo>
                          <a:pt x="168" y="672"/>
                        </a:lnTo>
                        <a:lnTo>
                          <a:pt x="165" y="670"/>
                        </a:lnTo>
                        <a:lnTo>
                          <a:pt x="164" y="670"/>
                        </a:lnTo>
                        <a:lnTo>
                          <a:pt x="159" y="669"/>
                        </a:lnTo>
                        <a:lnTo>
                          <a:pt x="156" y="669"/>
                        </a:lnTo>
                        <a:lnTo>
                          <a:pt x="152" y="667"/>
                        </a:lnTo>
                        <a:lnTo>
                          <a:pt x="151" y="666"/>
                        </a:lnTo>
                        <a:lnTo>
                          <a:pt x="148" y="666"/>
                        </a:lnTo>
                        <a:lnTo>
                          <a:pt x="145" y="664"/>
                        </a:lnTo>
                        <a:lnTo>
                          <a:pt x="143" y="663"/>
                        </a:lnTo>
                        <a:lnTo>
                          <a:pt x="141" y="663"/>
                        </a:lnTo>
                        <a:lnTo>
                          <a:pt x="138" y="663"/>
                        </a:lnTo>
                        <a:lnTo>
                          <a:pt x="132" y="661"/>
                        </a:lnTo>
                        <a:lnTo>
                          <a:pt x="126" y="659"/>
                        </a:lnTo>
                        <a:lnTo>
                          <a:pt x="124" y="659"/>
                        </a:lnTo>
                        <a:lnTo>
                          <a:pt x="122" y="659"/>
                        </a:lnTo>
                        <a:lnTo>
                          <a:pt x="122" y="658"/>
                        </a:lnTo>
                        <a:lnTo>
                          <a:pt x="121" y="656"/>
                        </a:lnTo>
                        <a:lnTo>
                          <a:pt x="119" y="656"/>
                        </a:lnTo>
                        <a:lnTo>
                          <a:pt x="118" y="656"/>
                        </a:lnTo>
                        <a:lnTo>
                          <a:pt x="118" y="655"/>
                        </a:lnTo>
                        <a:lnTo>
                          <a:pt x="116" y="655"/>
                        </a:lnTo>
                        <a:lnTo>
                          <a:pt x="114" y="655"/>
                        </a:lnTo>
                        <a:lnTo>
                          <a:pt x="113" y="653"/>
                        </a:lnTo>
                        <a:lnTo>
                          <a:pt x="114" y="651"/>
                        </a:lnTo>
                        <a:lnTo>
                          <a:pt x="114" y="650"/>
                        </a:lnTo>
                        <a:lnTo>
                          <a:pt x="114" y="648"/>
                        </a:lnTo>
                        <a:lnTo>
                          <a:pt x="116" y="647"/>
                        </a:lnTo>
                        <a:lnTo>
                          <a:pt x="116" y="645"/>
                        </a:lnTo>
                        <a:lnTo>
                          <a:pt x="114" y="645"/>
                        </a:lnTo>
                        <a:lnTo>
                          <a:pt x="114" y="644"/>
                        </a:lnTo>
                        <a:lnTo>
                          <a:pt x="113" y="644"/>
                        </a:lnTo>
                        <a:lnTo>
                          <a:pt x="113" y="642"/>
                        </a:lnTo>
                        <a:lnTo>
                          <a:pt x="114" y="642"/>
                        </a:lnTo>
                        <a:lnTo>
                          <a:pt x="114" y="640"/>
                        </a:lnTo>
                        <a:lnTo>
                          <a:pt x="116" y="639"/>
                        </a:lnTo>
                        <a:lnTo>
                          <a:pt x="114" y="639"/>
                        </a:lnTo>
                        <a:lnTo>
                          <a:pt x="114" y="637"/>
                        </a:lnTo>
                        <a:lnTo>
                          <a:pt x="116" y="636"/>
                        </a:lnTo>
                        <a:lnTo>
                          <a:pt x="114" y="634"/>
                        </a:lnTo>
                        <a:lnTo>
                          <a:pt x="116" y="632"/>
                        </a:lnTo>
                        <a:lnTo>
                          <a:pt x="116" y="631"/>
                        </a:lnTo>
                        <a:lnTo>
                          <a:pt x="118" y="631"/>
                        </a:lnTo>
                        <a:lnTo>
                          <a:pt x="119" y="631"/>
                        </a:lnTo>
                        <a:lnTo>
                          <a:pt x="121" y="631"/>
                        </a:lnTo>
                        <a:lnTo>
                          <a:pt x="122" y="629"/>
                        </a:lnTo>
                        <a:lnTo>
                          <a:pt x="122" y="628"/>
                        </a:lnTo>
                        <a:lnTo>
                          <a:pt x="122" y="626"/>
                        </a:lnTo>
                        <a:lnTo>
                          <a:pt x="124" y="626"/>
                        </a:lnTo>
                        <a:lnTo>
                          <a:pt x="124" y="625"/>
                        </a:lnTo>
                        <a:lnTo>
                          <a:pt x="124" y="623"/>
                        </a:lnTo>
                        <a:lnTo>
                          <a:pt x="124" y="621"/>
                        </a:lnTo>
                        <a:lnTo>
                          <a:pt x="124" y="620"/>
                        </a:lnTo>
                        <a:lnTo>
                          <a:pt x="124" y="618"/>
                        </a:lnTo>
                        <a:lnTo>
                          <a:pt x="126" y="615"/>
                        </a:lnTo>
                        <a:lnTo>
                          <a:pt x="127" y="615"/>
                        </a:lnTo>
                        <a:lnTo>
                          <a:pt x="129" y="615"/>
                        </a:lnTo>
                        <a:lnTo>
                          <a:pt x="129" y="613"/>
                        </a:lnTo>
                        <a:lnTo>
                          <a:pt x="129" y="612"/>
                        </a:lnTo>
                        <a:lnTo>
                          <a:pt x="129" y="610"/>
                        </a:lnTo>
                        <a:lnTo>
                          <a:pt x="129" y="609"/>
                        </a:lnTo>
                        <a:lnTo>
                          <a:pt x="132" y="610"/>
                        </a:lnTo>
                        <a:lnTo>
                          <a:pt x="133" y="610"/>
                        </a:lnTo>
                        <a:lnTo>
                          <a:pt x="133" y="609"/>
                        </a:lnTo>
                        <a:lnTo>
                          <a:pt x="135" y="609"/>
                        </a:lnTo>
                        <a:lnTo>
                          <a:pt x="135" y="607"/>
                        </a:lnTo>
                        <a:lnTo>
                          <a:pt x="137" y="607"/>
                        </a:lnTo>
                        <a:lnTo>
                          <a:pt x="137" y="606"/>
                        </a:lnTo>
                        <a:lnTo>
                          <a:pt x="137" y="604"/>
                        </a:lnTo>
                        <a:lnTo>
                          <a:pt x="137" y="602"/>
                        </a:lnTo>
                        <a:lnTo>
                          <a:pt x="138" y="602"/>
                        </a:lnTo>
                        <a:lnTo>
                          <a:pt x="138" y="601"/>
                        </a:lnTo>
                        <a:lnTo>
                          <a:pt x="140" y="601"/>
                        </a:lnTo>
                        <a:lnTo>
                          <a:pt x="141" y="602"/>
                        </a:lnTo>
                        <a:lnTo>
                          <a:pt x="141" y="601"/>
                        </a:lnTo>
                        <a:lnTo>
                          <a:pt x="143" y="601"/>
                        </a:lnTo>
                        <a:lnTo>
                          <a:pt x="143" y="599"/>
                        </a:lnTo>
                        <a:lnTo>
                          <a:pt x="143" y="598"/>
                        </a:lnTo>
                        <a:lnTo>
                          <a:pt x="145" y="598"/>
                        </a:lnTo>
                        <a:lnTo>
                          <a:pt x="145" y="596"/>
                        </a:lnTo>
                        <a:lnTo>
                          <a:pt x="146" y="596"/>
                        </a:lnTo>
                        <a:lnTo>
                          <a:pt x="146" y="594"/>
                        </a:lnTo>
                        <a:lnTo>
                          <a:pt x="146" y="593"/>
                        </a:lnTo>
                        <a:lnTo>
                          <a:pt x="146" y="591"/>
                        </a:lnTo>
                        <a:lnTo>
                          <a:pt x="148" y="591"/>
                        </a:lnTo>
                        <a:lnTo>
                          <a:pt x="149" y="591"/>
                        </a:lnTo>
                        <a:lnTo>
                          <a:pt x="149" y="590"/>
                        </a:lnTo>
                        <a:lnTo>
                          <a:pt x="151" y="590"/>
                        </a:lnTo>
                        <a:lnTo>
                          <a:pt x="151" y="588"/>
                        </a:lnTo>
                        <a:lnTo>
                          <a:pt x="151" y="587"/>
                        </a:lnTo>
                        <a:lnTo>
                          <a:pt x="152" y="587"/>
                        </a:lnTo>
                        <a:lnTo>
                          <a:pt x="152" y="585"/>
                        </a:lnTo>
                        <a:lnTo>
                          <a:pt x="152" y="583"/>
                        </a:lnTo>
                        <a:lnTo>
                          <a:pt x="151" y="583"/>
                        </a:lnTo>
                        <a:lnTo>
                          <a:pt x="149" y="582"/>
                        </a:lnTo>
                        <a:lnTo>
                          <a:pt x="149" y="580"/>
                        </a:lnTo>
                        <a:lnTo>
                          <a:pt x="148" y="580"/>
                        </a:lnTo>
                        <a:lnTo>
                          <a:pt x="146" y="579"/>
                        </a:lnTo>
                        <a:lnTo>
                          <a:pt x="145" y="577"/>
                        </a:lnTo>
                        <a:lnTo>
                          <a:pt x="143" y="575"/>
                        </a:lnTo>
                        <a:lnTo>
                          <a:pt x="141" y="575"/>
                        </a:lnTo>
                        <a:lnTo>
                          <a:pt x="140" y="574"/>
                        </a:lnTo>
                        <a:lnTo>
                          <a:pt x="140" y="572"/>
                        </a:lnTo>
                        <a:lnTo>
                          <a:pt x="138" y="572"/>
                        </a:lnTo>
                        <a:lnTo>
                          <a:pt x="138" y="569"/>
                        </a:lnTo>
                        <a:lnTo>
                          <a:pt x="137" y="569"/>
                        </a:lnTo>
                        <a:lnTo>
                          <a:pt x="135" y="568"/>
                        </a:lnTo>
                        <a:lnTo>
                          <a:pt x="133" y="568"/>
                        </a:lnTo>
                        <a:lnTo>
                          <a:pt x="132" y="566"/>
                        </a:lnTo>
                        <a:lnTo>
                          <a:pt x="130" y="566"/>
                        </a:lnTo>
                        <a:lnTo>
                          <a:pt x="129" y="564"/>
                        </a:lnTo>
                        <a:lnTo>
                          <a:pt x="127" y="563"/>
                        </a:lnTo>
                        <a:lnTo>
                          <a:pt x="126" y="561"/>
                        </a:lnTo>
                        <a:lnTo>
                          <a:pt x="122" y="561"/>
                        </a:lnTo>
                        <a:lnTo>
                          <a:pt x="119" y="561"/>
                        </a:lnTo>
                        <a:lnTo>
                          <a:pt x="116" y="561"/>
                        </a:lnTo>
                        <a:lnTo>
                          <a:pt x="113" y="561"/>
                        </a:lnTo>
                        <a:lnTo>
                          <a:pt x="110" y="561"/>
                        </a:lnTo>
                        <a:lnTo>
                          <a:pt x="107" y="563"/>
                        </a:lnTo>
                        <a:lnTo>
                          <a:pt x="103" y="563"/>
                        </a:lnTo>
                        <a:lnTo>
                          <a:pt x="100" y="563"/>
                        </a:lnTo>
                        <a:lnTo>
                          <a:pt x="97" y="563"/>
                        </a:lnTo>
                        <a:lnTo>
                          <a:pt x="94" y="563"/>
                        </a:lnTo>
                        <a:lnTo>
                          <a:pt x="91" y="563"/>
                        </a:lnTo>
                        <a:lnTo>
                          <a:pt x="89" y="561"/>
                        </a:lnTo>
                        <a:lnTo>
                          <a:pt x="86" y="560"/>
                        </a:lnTo>
                        <a:lnTo>
                          <a:pt x="84" y="558"/>
                        </a:lnTo>
                        <a:lnTo>
                          <a:pt x="83" y="555"/>
                        </a:lnTo>
                        <a:lnTo>
                          <a:pt x="81" y="553"/>
                        </a:lnTo>
                        <a:lnTo>
                          <a:pt x="81" y="552"/>
                        </a:lnTo>
                        <a:lnTo>
                          <a:pt x="80" y="552"/>
                        </a:lnTo>
                        <a:lnTo>
                          <a:pt x="80" y="550"/>
                        </a:lnTo>
                        <a:lnTo>
                          <a:pt x="80" y="548"/>
                        </a:lnTo>
                        <a:lnTo>
                          <a:pt x="78" y="548"/>
                        </a:lnTo>
                        <a:lnTo>
                          <a:pt x="78" y="547"/>
                        </a:lnTo>
                        <a:lnTo>
                          <a:pt x="78" y="545"/>
                        </a:lnTo>
                        <a:lnTo>
                          <a:pt x="80" y="544"/>
                        </a:lnTo>
                        <a:lnTo>
                          <a:pt x="80" y="542"/>
                        </a:lnTo>
                        <a:lnTo>
                          <a:pt x="80" y="541"/>
                        </a:lnTo>
                        <a:lnTo>
                          <a:pt x="80" y="539"/>
                        </a:lnTo>
                        <a:lnTo>
                          <a:pt x="80" y="537"/>
                        </a:lnTo>
                        <a:lnTo>
                          <a:pt x="81" y="536"/>
                        </a:lnTo>
                        <a:lnTo>
                          <a:pt x="81" y="534"/>
                        </a:lnTo>
                        <a:lnTo>
                          <a:pt x="83" y="534"/>
                        </a:lnTo>
                        <a:lnTo>
                          <a:pt x="83" y="533"/>
                        </a:lnTo>
                        <a:lnTo>
                          <a:pt x="83" y="531"/>
                        </a:lnTo>
                        <a:lnTo>
                          <a:pt x="81" y="529"/>
                        </a:lnTo>
                        <a:lnTo>
                          <a:pt x="81" y="528"/>
                        </a:lnTo>
                        <a:lnTo>
                          <a:pt x="81" y="526"/>
                        </a:lnTo>
                        <a:lnTo>
                          <a:pt x="83" y="525"/>
                        </a:lnTo>
                        <a:lnTo>
                          <a:pt x="83" y="523"/>
                        </a:lnTo>
                        <a:lnTo>
                          <a:pt x="83" y="522"/>
                        </a:lnTo>
                        <a:lnTo>
                          <a:pt x="84" y="522"/>
                        </a:lnTo>
                        <a:lnTo>
                          <a:pt x="84" y="520"/>
                        </a:lnTo>
                        <a:lnTo>
                          <a:pt x="84" y="518"/>
                        </a:lnTo>
                        <a:lnTo>
                          <a:pt x="83" y="518"/>
                        </a:lnTo>
                        <a:lnTo>
                          <a:pt x="83" y="517"/>
                        </a:lnTo>
                        <a:lnTo>
                          <a:pt x="84" y="515"/>
                        </a:lnTo>
                        <a:lnTo>
                          <a:pt x="84" y="514"/>
                        </a:lnTo>
                        <a:lnTo>
                          <a:pt x="86" y="512"/>
                        </a:lnTo>
                        <a:lnTo>
                          <a:pt x="86" y="510"/>
                        </a:lnTo>
                        <a:lnTo>
                          <a:pt x="88" y="510"/>
                        </a:lnTo>
                        <a:lnTo>
                          <a:pt x="88" y="509"/>
                        </a:lnTo>
                        <a:lnTo>
                          <a:pt x="89" y="509"/>
                        </a:lnTo>
                        <a:lnTo>
                          <a:pt x="89" y="507"/>
                        </a:lnTo>
                        <a:lnTo>
                          <a:pt x="89" y="506"/>
                        </a:lnTo>
                        <a:lnTo>
                          <a:pt x="88" y="504"/>
                        </a:lnTo>
                        <a:lnTo>
                          <a:pt x="88" y="503"/>
                        </a:lnTo>
                        <a:lnTo>
                          <a:pt x="88" y="501"/>
                        </a:lnTo>
                        <a:lnTo>
                          <a:pt x="88" y="499"/>
                        </a:lnTo>
                        <a:lnTo>
                          <a:pt x="88" y="498"/>
                        </a:lnTo>
                        <a:lnTo>
                          <a:pt x="88" y="496"/>
                        </a:lnTo>
                        <a:lnTo>
                          <a:pt x="88" y="495"/>
                        </a:lnTo>
                        <a:lnTo>
                          <a:pt x="88" y="493"/>
                        </a:lnTo>
                        <a:lnTo>
                          <a:pt x="89" y="491"/>
                        </a:lnTo>
                        <a:lnTo>
                          <a:pt x="91" y="490"/>
                        </a:lnTo>
                        <a:lnTo>
                          <a:pt x="91" y="488"/>
                        </a:lnTo>
                        <a:lnTo>
                          <a:pt x="92" y="487"/>
                        </a:lnTo>
                        <a:lnTo>
                          <a:pt x="94" y="485"/>
                        </a:lnTo>
                        <a:lnTo>
                          <a:pt x="94" y="484"/>
                        </a:lnTo>
                        <a:lnTo>
                          <a:pt x="95" y="482"/>
                        </a:lnTo>
                        <a:lnTo>
                          <a:pt x="95" y="480"/>
                        </a:lnTo>
                        <a:lnTo>
                          <a:pt x="94" y="480"/>
                        </a:lnTo>
                        <a:lnTo>
                          <a:pt x="94" y="479"/>
                        </a:lnTo>
                        <a:lnTo>
                          <a:pt x="94" y="477"/>
                        </a:lnTo>
                        <a:lnTo>
                          <a:pt x="95" y="476"/>
                        </a:lnTo>
                        <a:lnTo>
                          <a:pt x="95" y="474"/>
                        </a:lnTo>
                        <a:lnTo>
                          <a:pt x="97" y="472"/>
                        </a:lnTo>
                        <a:lnTo>
                          <a:pt x="97" y="471"/>
                        </a:lnTo>
                        <a:lnTo>
                          <a:pt x="97" y="469"/>
                        </a:lnTo>
                        <a:lnTo>
                          <a:pt x="99" y="466"/>
                        </a:lnTo>
                        <a:lnTo>
                          <a:pt x="99" y="465"/>
                        </a:lnTo>
                        <a:lnTo>
                          <a:pt x="100" y="461"/>
                        </a:lnTo>
                        <a:lnTo>
                          <a:pt x="100" y="458"/>
                        </a:lnTo>
                        <a:lnTo>
                          <a:pt x="100" y="457"/>
                        </a:lnTo>
                        <a:lnTo>
                          <a:pt x="102" y="453"/>
                        </a:lnTo>
                        <a:lnTo>
                          <a:pt x="100" y="452"/>
                        </a:lnTo>
                        <a:lnTo>
                          <a:pt x="100" y="449"/>
                        </a:lnTo>
                        <a:lnTo>
                          <a:pt x="100" y="447"/>
                        </a:lnTo>
                        <a:lnTo>
                          <a:pt x="102" y="446"/>
                        </a:lnTo>
                        <a:lnTo>
                          <a:pt x="102" y="444"/>
                        </a:lnTo>
                        <a:lnTo>
                          <a:pt x="102" y="441"/>
                        </a:lnTo>
                        <a:lnTo>
                          <a:pt x="102" y="439"/>
                        </a:lnTo>
                        <a:lnTo>
                          <a:pt x="102" y="436"/>
                        </a:lnTo>
                        <a:lnTo>
                          <a:pt x="102" y="434"/>
                        </a:lnTo>
                        <a:lnTo>
                          <a:pt x="102" y="431"/>
                        </a:lnTo>
                        <a:lnTo>
                          <a:pt x="102" y="430"/>
                        </a:lnTo>
                        <a:lnTo>
                          <a:pt x="103" y="427"/>
                        </a:lnTo>
                        <a:lnTo>
                          <a:pt x="103" y="425"/>
                        </a:lnTo>
                        <a:lnTo>
                          <a:pt x="103" y="422"/>
                        </a:lnTo>
                        <a:lnTo>
                          <a:pt x="105" y="419"/>
                        </a:lnTo>
                        <a:lnTo>
                          <a:pt x="105" y="417"/>
                        </a:lnTo>
                        <a:lnTo>
                          <a:pt x="105" y="414"/>
                        </a:lnTo>
                        <a:lnTo>
                          <a:pt x="107" y="412"/>
                        </a:lnTo>
                        <a:lnTo>
                          <a:pt x="107" y="411"/>
                        </a:lnTo>
                        <a:lnTo>
                          <a:pt x="107" y="408"/>
                        </a:lnTo>
                        <a:lnTo>
                          <a:pt x="107" y="404"/>
                        </a:lnTo>
                        <a:lnTo>
                          <a:pt x="107" y="403"/>
                        </a:lnTo>
                        <a:lnTo>
                          <a:pt x="105" y="403"/>
                        </a:lnTo>
                        <a:lnTo>
                          <a:pt x="103" y="401"/>
                        </a:lnTo>
                        <a:lnTo>
                          <a:pt x="102" y="400"/>
                        </a:lnTo>
                        <a:lnTo>
                          <a:pt x="100" y="396"/>
                        </a:lnTo>
                        <a:lnTo>
                          <a:pt x="99" y="395"/>
                        </a:lnTo>
                        <a:lnTo>
                          <a:pt x="97" y="395"/>
                        </a:lnTo>
                        <a:lnTo>
                          <a:pt x="94" y="392"/>
                        </a:lnTo>
                        <a:lnTo>
                          <a:pt x="92" y="390"/>
                        </a:lnTo>
                        <a:lnTo>
                          <a:pt x="91" y="389"/>
                        </a:lnTo>
                        <a:lnTo>
                          <a:pt x="89" y="387"/>
                        </a:lnTo>
                        <a:lnTo>
                          <a:pt x="88" y="385"/>
                        </a:lnTo>
                        <a:lnTo>
                          <a:pt x="88" y="384"/>
                        </a:lnTo>
                        <a:lnTo>
                          <a:pt x="86" y="382"/>
                        </a:lnTo>
                        <a:lnTo>
                          <a:pt x="84" y="381"/>
                        </a:lnTo>
                        <a:lnTo>
                          <a:pt x="84" y="379"/>
                        </a:lnTo>
                        <a:lnTo>
                          <a:pt x="83" y="376"/>
                        </a:lnTo>
                        <a:lnTo>
                          <a:pt x="83" y="373"/>
                        </a:lnTo>
                        <a:lnTo>
                          <a:pt x="83" y="371"/>
                        </a:lnTo>
                        <a:lnTo>
                          <a:pt x="83" y="368"/>
                        </a:lnTo>
                        <a:lnTo>
                          <a:pt x="84" y="366"/>
                        </a:lnTo>
                        <a:lnTo>
                          <a:pt x="86" y="366"/>
                        </a:lnTo>
                        <a:lnTo>
                          <a:pt x="88" y="365"/>
                        </a:lnTo>
                        <a:lnTo>
                          <a:pt x="89" y="365"/>
                        </a:lnTo>
                        <a:lnTo>
                          <a:pt x="91" y="363"/>
                        </a:lnTo>
                        <a:lnTo>
                          <a:pt x="92" y="362"/>
                        </a:lnTo>
                        <a:lnTo>
                          <a:pt x="92" y="360"/>
                        </a:lnTo>
                        <a:lnTo>
                          <a:pt x="92" y="358"/>
                        </a:lnTo>
                        <a:lnTo>
                          <a:pt x="94" y="357"/>
                        </a:lnTo>
                        <a:lnTo>
                          <a:pt x="95" y="355"/>
                        </a:lnTo>
                        <a:lnTo>
                          <a:pt x="95" y="354"/>
                        </a:lnTo>
                        <a:lnTo>
                          <a:pt x="97" y="352"/>
                        </a:lnTo>
                        <a:lnTo>
                          <a:pt x="99" y="350"/>
                        </a:lnTo>
                        <a:lnTo>
                          <a:pt x="99" y="349"/>
                        </a:lnTo>
                        <a:lnTo>
                          <a:pt x="100" y="347"/>
                        </a:lnTo>
                        <a:lnTo>
                          <a:pt x="102" y="346"/>
                        </a:lnTo>
                        <a:lnTo>
                          <a:pt x="102" y="343"/>
                        </a:lnTo>
                        <a:lnTo>
                          <a:pt x="103" y="343"/>
                        </a:lnTo>
                        <a:lnTo>
                          <a:pt x="103" y="341"/>
                        </a:lnTo>
                        <a:lnTo>
                          <a:pt x="105" y="341"/>
                        </a:lnTo>
                        <a:lnTo>
                          <a:pt x="105" y="339"/>
                        </a:lnTo>
                        <a:lnTo>
                          <a:pt x="107" y="338"/>
                        </a:lnTo>
                        <a:lnTo>
                          <a:pt x="107" y="336"/>
                        </a:lnTo>
                        <a:lnTo>
                          <a:pt x="108" y="336"/>
                        </a:lnTo>
                        <a:lnTo>
                          <a:pt x="108" y="335"/>
                        </a:lnTo>
                        <a:lnTo>
                          <a:pt x="108" y="333"/>
                        </a:lnTo>
                        <a:lnTo>
                          <a:pt x="110" y="331"/>
                        </a:lnTo>
                        <a:lnTo>
                          <a:pt x="110" y="330"/>
                        </a:lnTo>
                        <a:lnTo>
                          <a:pt x="108" y="330"/>
                        </a:lnTo>
                        <a:lnTo>
                          <a:pt x="107" y="328"/>
                        </a:lnTo>
                        <a:lnTo>
                          <a:pt x="105" y="327"/>
                        </a:lnTo>
                        <a:lnTo>
                          <a:pt x="105" y="325"/>
                        </a:lnTo>
                        <a:lnTo>
                          <a:pt x="102" y="325"/>
                        </a:lnTo>
                        <a:lnTo>
                          <a:pt x="102" y="324"/>
                        </a:lnTo>
                        <a:lnTo>
                          <a:pt x="100" y="324"/>
                        </a:lnTo>
                        <a:lnTo>
                          <a:pt x="100" y="322"/>
                        </a:lnTo>
                        <a:lnTo>
                          <a:pt x="99" y="322"/>
                        </a:lnTo>
                        <a:lnTo>
                          <a:pt x="99" y="320"/>
                        </a:lnTo>
                        <a:lnTo>
                          <a:pt x="99" y="319"/>
                        </a:lnTo>
                        <a:lnTo>
                          <a:pt x="97" y="319"/>
                        </a:lnTo>
                        <a:lnTo>
                          <a:pt x="97" y="317"/>
                        </a:lnTo>
                        <a:lnTo>
                          <a:pt x="95" y="316"/>
                        </a:lnTo>
                        <a:lnTo>
                          <a:pt x="94" y="316"/>
                        </a:lnTo>
                        <a:lnTo>
                          <a:pt x="92" y="314"/>
                        </a:lnTo>
                        <a:lnTo>
                          <a:pt x="91" y="312"/>
                        </a:lnTo>
                        <a:lnTo>
                          <a:pt x="89" y="312"/>
                        </a:lnTo>
                        <a:lnTo>
                          <a:pt x="86" y="311"/>
                        </a:lnTo>
                        <a:lnTo>
                          <a:pt x="84" y="309"/>
                        </a:lnTo>
                        <a:lnTo>
                          <a:pt x="83" y="309"/>
                        </a:lnTo>
                        <a:lnTo>
                          <a:pt x="81" y="308"/>
                        </a:lnTo>
                        <a:lnTo>
                          <a:pt x="80" y="308"/>
                        </a:lnTo>
                        <a:lnTo>
                          <a:pt x="78" y="308"/>
                        </a:lnTo>
                        <a:lnTo>
                          <a:pt x="75" y="306"/>
                        </a:lnTo>
                        <a:lnTo>
                          <a:pt x="73" y="305"/>
                        </a:lnTo>
                        <a:lnTo>
                          <a:pt x="72" y="305"/>
                        </a:lnTo>
                        <a:lnTo>
                          <a:pt x="70" y="305"/>
                        </a:lnTo>
                        <a:lnTo>
                          <a:pt x="67" y="303"/>
                        </a:lnTo>
                        <a:lnTo>
                          <a:pt x="65" y="303"/>
                        </a:lnTo>
                        <a:lnTo>
                          <a:pt x="64" y="303"/>
                        </a:lnTo>
                        <a:lnTo>
                          <a:pt x="62" y="301"/>
                        </a:lnTo>
                        <a:lnTo>
                          <a:pt x="61" y="301"/>
                        </a:lnTo>
                        <a:lnTo>
                          <a:pt x="59" y="301"/>
                        </a:lnTo>
                        <a:lnTo>
                          <a:pt x="57" y="301"/>
                        </a:lnTo>
                        <a:lnTo>
                          <a:pt x="56" y="300"/>
                        </a:lnTo>
                        <a:lnTo>
                          <a:pt x="54" y="300"/>
                        </a:lnTo>
                        <a:lnTo>
                          <a:pt x="53" y="298"/>
                        </a:lnTo>
                        <a:lnTo>
                          <a:pt x="51" y="298"/>
                        </a:lnTo>
                        <a:lnTo>
                          <a:pt x="49" y="297"/>
                        </a:lnTo>
                        <a:lnTo>
                          <a:pt x="46" y="295"/>
                        </a:lnTo>
                        <a:lnTo>
                          <a:pt x="45" y="295"/>
                        </a:lnTo>
                        <a:lnTo>
                          <a:pt x="43" y="293"/>
                        </a:lnTo>
                        <a:lnTo>
                          <a:pt x="42" y="292"/>
                        </a:lnTo>
                        <a:lnTo>
                          <a:pt x="40" y="290"/>
                        </a:lnTo>
                        <a:lnTo>
                          <a:pt x="38" y="289"/>
                        </a:lnTo>
                        <a:lnTo>
                          <a:pt x="37" y="287"/>
                        </a:lnTo>
                        <a:lnTo>
                          <a:pt x="37" y="286"/>
                        </a:lnTo>
                        <a:lnTo>
                          <a:pt x="35" y="284"/>
                        </a:lnTo>
                        <a:lnTo>
                          <a:pt x="34" y="284"/>
                        </a:lnTo>
                        <a:lnTo>
                          <a:pt x="34" y="282"/>
                        </a:lnTo>
                        <a:lnTo>
                          <a:pt x="32" y="279"/>
                        </a:lnTo>
                        <a:lnTo>
                          <a:pt x="30" y="278"/>
                        </a:lnTo>
                        <a:lnTo>
                          <a:pt x="29" y="276"/>
                        </a:lnTo>
                        <a:lnTo>
                          <a:pt x="27" y="273"/>
                        </a:lnTo>
                        <a:lnTo>
                          <a:pt x="27" y="271"/>
                        </a:lnTo>
                        <a:lnTo>
                          <a:pt x="26" y="270"/>
                        </a:lnTo>
                        <a:lnTo>
                          <a:pt x="24" y="268"/>
                        </a:lnTo>
                        <a:lnTo>
                          <a:pt x="24" y="267"/>
                        </a:lnTo>
                        <a:lnTo>
                          <a:pt x="23" y="265"/>
                        </a:lnTo>
                        <a:lnTo>
                          <a:pt x="23" y="262"/>
                        </a:lnTo>
                        <a:lnTo>
                          <a:pt x="21" y="262"/>
                        </a:lnTo>
                        <a:lnTo>
                          <a:pt x="21" y="260"/>
                        </a:lnTo>
                        <a:lnTo>
                          <a:pt x="21" y="259"/>
                        </a:lnTo>
                        <a:lnTo>
                          <a:pt x="21" y="257"/>
                        </a:lnTo>
                        <a:lnTo>
                          <a:pt x="21" y="255"/>
                        </a:lnTo>
                        <a:lnTo>
                          <a:pt x="23" y="254"/>
                        </a:lnTo>
                        <a:lnTo>
                          <a:pt x="23" y="251"/>
                        </a:lnTo>
                        <a:lnTo>
                          <a:pt x="23" y="249"/>
                        </a:lnTo>
                        <a:lnTo>
                          <a:pt x="23" y="248"/>
                        </a:lnTo>
                        <a:lnTo>
                          <a:pt x="24" y="248"/>
                        </a:lnTo>
                        <a:lnTo>
                          <a:pt x="24" y="246"/>
                        </a:lnTo>
                        <a:lnTo>
                          <a:pt x="24" y="244"/>
                        </a:lnTo>
                        <a:lnTo>
                          <a:pt x="24" y="241"/>
                        </a:lnTo>
                        <a:lnTo>
                          <a:pt x="24" y="240"/>
                        </a:lnTo>
                        <a:lnTo>
                          <a:pt x="24" y="238"/>
                        </a:lnTo>
                        <a:lnTo>
                          <a:pt x="24" y="235"/>
                        </a:lnTo>
                        <a:lnTo>
                          <a:pt x="24" y="233"/>
                        </a:lnTo>
                        <a:lnTo>
                          <a:pt x="23" y="232"/>
                        </a:lnTo>
                        <a:lnTo>
                          <a:pt x="23" y="230"/>
                        </a:lnTo>
                        <a:lnTo>
                          <a:pt x="19" y="227"/>
                        </a:lnTo>
                        <a:lnTo>
                          <a:pt x="13" y="227"/>
                        </a:lnTo>
                        <a:lnTo>
                          <a:pt x="11" y="225"/>
                        </a:lnTo>
                        <a:lnTo>
                          <a:pt x="10" y="225"/>
                        </a:lnTo>
                        <a:lnTo>
                          <a:pt x="7" y="222"/>
                        </a:lnTo>
                        <a:lnTo>
                          <a:pt x="5" y="221"/>
                        </a:lnTo>
                        <a:lnTo>
                          <a:pt x="4" y="219"/>
                        </a:lnTo>
                        <a:lnTo>
                          <a:pt x="4" y="217"/>
                        </a:lnTo>
                        <a:lnTo>
                          <a:pt x="2" y="216"/>
                        </a:lnTo>
                        <a:lnTo>
                          <a:pt x="2" y="214"/>
                        </a:lnTo>
                        <a:lnTo>
                          <a:pt x="0" y="213"/>
                        </a:lnTo>
                        <a:lnTo>
                          <a:pt x="2" y="213"/>
                        </a:lnTo>
                        <a:lnTo>
                          <a:pt x="2" y="211"/>
                        </a:lnTo>
                        <a:lnTo>
                          <a:pt x="2" y="205"/>
                        </a:lnTo>
                        <a:lnTo>
                          <a:pt x="0" y="200"/>
                        </a:lnTo>
                        <a:lnTo>
                          <a:pt x="0" y="198"/>
                        </a:lnTo>
                        <a:lnTo>
                          <a:pt x="2" y="195"/>
                        </a:lnTo>
                        <a:lnTo>
                          <a:pt x="2" y="194"/>
                        </a:lnTo>
                        <a:lnTo>
                          <a:pt x="4" y="189"/>
                        </a:lnTo>
                        <a:lnTo>
                          <a:pt x="5" y="179"/>
                        </a:lnTo>
                        <a:lnTo>
                          <a:pt x="10" y="168"/>
                        </a:lnTo>
                        <a:lnTo>
                          <a:pt x="11" y="160"/>
                        </a:lnTo>
                        <a:lnTo>
                          <a:pt x="11" y="156"/>
                        </a:lnTo>
                        <a:lnTo>
                          <a:pt x="13" y="148"/>
                        </a:lnTo>
                        <a:lnTo>
                          <a:pt x="15" y="143"/>
                        </a:lnTo>
                        <a:lnTo>
                          <a:pt x="16" y="138"/>
                        </a:lnTo>
                        <a:lnTo>
                          <a:pt x="19" y="133"/>
                        </a:lnTo>
                        <a:lnTo>
                          <a:pt x="23" y="130"/>
                        </a:lnTo>
                        <a:lnTo>
                          <a:pt x="26" y="129"/>
                        </a:lnTo>
                        <a:lnTo>
                          <a:pt x="29" y="129"/>
                        </a:lnTo>
                        <a:lnTo>
                          <a:pt x="29" y="127"/>
                        </a:lnTo>
                        <a:lnTo>
                          <a:pt x="32" y="124"/>
                        </a:lnTo>
                        <a:lnTo>
                          <a:pt x="37" y="121"/>
                        </a:lnTo>
                        <a:lnTo>
                          <a:pt x="38" y="118"/>
                        </a:lnTo>
                        <a:lnTo>
                          <a:pt x="38" y="113"/>
                        </a:lnTo>
                        <a:lnTo>
                          <a:pt x="40" y="110"/>
                        </a:lnTo>
                        <a:lnTo>
                          <a:pt x="42" y="108"/>
                        </a:lnTo>
                        <a:lnTo>
                          <a:pt x="48" y="100"/>
                        </a:lnTo>
                        <a:lnTo>
                          <a:pt x="53" y="97"/>
                        </a:lnTo>
                        <a:lnTo>
                          <a:pt x="54" y="94"/>
                        </a:lnTo>
                        <a:lnTo>
                          <a:pt x="54" y="92"/>
                        </a:lnTo>
                        <a:lnTo>
                          <a:pt x="53" y="92"/>
                        </a:lnTo>
                        <a:lnTo>
                          <a:pt x="49" y="91"/>
                        </a:lnTo>
                        <a:lnTo>
                          <a:pt x="48" y="89"/>
                        </a:lnTo>
                        <a:lnTo>
                          <a:pt x="46" y="88"/>
                        </a:lnTo>
                        <a:lnTo>
                          <a:pt x="45" y="84"/>
                        </a:lnTo>
                        <a:lnTo>
                          <a:pt x="45" y="80"/>
                        </a:lnTo>
                        <a:lnTo>
                          <a:pt x="46" y="76"/>
                        </a:lnTo>
                        <a:lnTo>
                          <a:pt x="45" y="73"/>
                        </a:lnTo>
                        <a:lnTo>
                          <a:pt x="45" y="70"/>
                        </a:lnTo>
                        <a:lnTo>
                          <a:pt x="45" y="65"/>
                        </a:lnTo>
                        <a:lnTo>
                          <a:pt x="45" y="64"/>
                        </a:lnTo>
                        <a:lnTo>
                          <a:pt x="43" y="62"/>
                        </a:lnTo>
                        <a:lnTo>
                          <a:pt x="42" y="61"/>
                        </a:lnTo>
                        <a:lnTo>
                          <a:pt x="40" y="59"/>
                        </a:lnTo>
                        <a:lnTo>
                          <a:pt x="38" y="57"/>
                        </a:lnTo>
                        <a:lnTo>
                          <a:pt x="35" y="53"/>
                        </a:lnTo>
                        <a:lnTo>
                          <a:pt x="34" y="48"/>
                        </a:lnTo>
                        <a:lnTo>
                          <a:pt x="30" y="46"/>
                        </a:lnTo>
                        <a:lnTo>
                          <a:pt x="30" y="45"/>
                        </a:lnTo>
                        <a:lnTo>
                          <a:pt x="30" y="43"/>
                        </a:lnTo>
                        <a:lnTo>
                          <a:pt x="32" y="42"/>
                        </a:lnTo>
                        <a:lnTo>
                          <a:pt x="34" y="38"/>
                        </a:lnTo>
                        <a:lnTo>
                          <a:pt x="35" y="37"/>
                        </a:lnTo>
                        <a:lnTo>
                          <a:pt x="38" y="37"/>
                        </a:lnTo>
                        <a:lnTo>
                          <a:pt x="42" y="35"/>
                        </a:lnTo>
                        <a:lnTo>
                          <a:pt x="43" y="34"/>
                        </a:lnTo>
                        <a:lnTo>
                          <a:pt x="45" y="32"/>
                        </a:lnTo>
                        <a:lnTo>
                          <a:pt x="48" y="29"/>
                        </a:lnTo>
                        <a:lnTo>
                          <a:pt x="51" y="27"/>
                        </a:lnTo>
                        <a:lnTo>
                          <a:pt x="53" y="27"/>
                        </a:lnTo>
                        <a:lnTo>
                          <a:pt x="53" y="26"/>
                        </a:lnTo>
                        <a:lnTo>
                          <a:pt x="54" y="24"/>
                        </a:lnTo>
                        <a:lnTo>
                          <a:pt x="54" y="23"/>
                        </a:lnTo>
                        <a:lnTo>
                          <a:pt x="54" y="19"/>
                        </a:lnTo>
                        <a:lnTo>
                          <a:pt x="54" y="16"/>
                        </a:lnTo>
                        <a:lnTo>
                          <a:pt x="54" y="12"/>
                        </a:lnTo>
                        <a:lnTo>
                          <a:pt x="56" y="10"/>
                        </a:lnTo>
                        <a:lnTo>
                          <a:pt x="56" y="8"/>
                        </a:lnTo>
                        <a:lnTo>
                          <a:pt x="56" y="7"/>
                        </a:lnTo>
                        <a:lnTo>
                          <a:pt x="57" y="5"/>
                        </a:lnTo>
                        <a:lnTo>
                          <a:pt x="59" y="4"/>
                        </a:lnTo>
                        <a:lnTo>
                          <a:pt x="59" y="2"/>
                        </a:lnTo>
                        <a:lnTo>
                          <a:pt x="61" y="0"/>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60" name="Freeform 59"/>
                  <p:cNvSpPr>
                    <a:spLocks/>
                  </p:cNvSpPr>
                  <p:nvPr/>
                </p:nvSpPr>
                <p:spPr bwMode="auto">
                  <a:xfrm>
                    <a:off x="4840" y="1563"/>
                    <a:ext cx="239" cy="142"/>
                  </a:xfrm>
                  <a:custGeom>
                    <a:avLst/>
                    <a:gdLst>
                      <a:gd name="T0" fmla="*/ 19 w 239"/>
                      <a:gd name="T1" fmla="*/ 141 h 142"/>
                      <a:gd name="T2" fmla="*/ 20 w 239"/>
                      <a:gd name="T3" fmla="*/ 136 h 142"/>
                      <a:gd name="T4" fmla="*/ 24 w 239"/>
                      <a:gd name="T5" fmla="*/ 134 h 142"/>
                      <a:gd name="T6" fmla="*/ 28 w 239"/>
                      <a:gd name="T7" fmla="*/ 130 h 142"/>
                      <a:gd name="T8" fmla="*/ 28 w 239"/>
                      <a:gd name="T9" fmla="*/ 125 h 142"/>
                      <a:gd name="T10" fmla="*/ 25 w 239"/>
                      <a:gd name="T11" fmla="*/ 122 h 142"/>
                      <a:gd name="T12" fmla="*/ 24 w 239"/>
                      <a:gd name="T13" fmla="*/ 115 h 142"/>
                      <a:gd name="T14" fmla="*/ 9 w 239"/>
                      <a:gd name="T15" fmla="*/ 112 h 142"/>
                      <a:gd name="T16" fmla="*/ 0 w 239"/>
                      <a:gd name="T17" fmla="*/ 108 h 142"/>
                      <a:gd name="T18" fmla="*/ 1 w 239"/>
                      <a:gd name="T19" fmla="*/ 96 h 142"/>
                      <a:gd name="T20" fmla="*/ 8 w 239"/>
                      <a:gd name="T21" fmla="*/ 92 h 142"/>
                      <a:gd name="T22" fmla="*/ 9 w 239"/>
                      <a:gd name="T23" fmla="*/ 84 h 142"/>
                      <a:gd name="T24" fmla="*/ 14 w 239"/>
                      <a:gd name="T25" fmla="*/ 73 h 142"/>
                      <a:gd name="T26" fmla="*/ 24 w 239"/>
                      <a:gd name="T27" fmla="*/ 66 h 142"/>
                      <a:gd name="T28" fmla="*/ 30 w 239"/>
                      <a:gd name="T29" fmla="*/ 66 h 142"/>
                      <a:gd name="T30" fmla="*/ 35 w 239"/>
                      <a:gd name="T31" fmla="*/ 66 h 142"/>
                      <a:gd name="T32" fmla="*/ 47 w 239"/>
                      <a:gd name="T33" fmla="*/ 68 h 142"/>
                      <a:gd name="T34" fmla="*/ 50 w 239"/>
                      <a:gd name="T35" fmla="*/ 65 h 142"/>
                      <a:gd name="T36" fmla="*/ 54 w 239"/>
                      <a:gd name="T37" fmla="*/ 60 h 142"/>
                      <a:gd name="T38" fmla="*/ 54 w 239"/>
                      <a:gd name="T39" fmla="*/ 55 h 142"/>
                      <a:gd name="T40" fmla="*/ 58 w 239"/>
                      <a:gd name="T41" fmla="*/ 51 h 142"/>
                      <a:gd name="T42" fmla="*/ 55 w 239"/>
                      <a:gd name="T43" fmla="*/ 46 h 142"/>
                      <a:gd name="T44" fmla="*/ 55 w 239"/>
                      <a:gd name="T45" fmla="*/ 43 h 142"/>
                      <a:gd name="T46" fmla="*/ 63 w 239"/>
                      <a:gd name="T47" fmla="*/ 38 h 142"/>
                      <a:gd name="T48" fmla="*/ 69 w 239"/>
                      <a:gd name="T49" fmla="*/ 33 h 142"/>
                      <a:gd name="T50" fmla="*/ 71 w 239"/>
                      <a:gd name="T51" fmla="*/ 27 h 142"/>
                      <a:gd name="T52" fmla="*/ 76 w 239"/>
                      <a:gd name="T53" fmla="*/ 19 h 142"/>
                      <a:gd name="T54" fmla="*/ 79 w 239"/>
                      <a:gd name="T55" fmla="*/ 8 h 142"/>
                      <a:gd name="T56" fmla="*/ 84 w 239"/>
                      <a:gd name="T57" fmla="*/ 1 h 142"/>
                      <a:gd name="T58" fmla="*/ 93 w 239"/>
                      <a:gd name="T59" fmla="*/ 3 h 142"/>
                      <a:gd name="T60" fmla="*/ 111 w 239"/>
                      <a:gd name="T61" fmla="*/ 3 h 142"/>
                      <a:gd name="T62" fmla="*/ 115 w 239"/>
                      <a:gd name="T63" fmla="*/ 5 h 142"/>
                      <a:gd name="T64" fmla="*/ 122 w 239"/>
                      <a:gd name="T65" fmla="*/ 8 h 142"/>
                      <a:gd name="T66" fmla="*/ 126 w 239"/>
                      <a:gd name="T67" fmla="*/ 9 h 142"/>
                      <a:gd name="T68" fmla="*/ 133 w 239"/>
                      <a:gd name="T69" fmla="*/ 9 h 142"/>
                      <a:gd name="T70" fmla="*/ 142 w 239"/>
                      <a:gd name="T71" fmla="*/ 19 h 142"/>
                      <a:gd name="T72" fmla="*/ 152 w 239"/>
                      <a:gd name="T73" fmla="*/ 22 h 142"/>
                      <a:gd name="T74" fmla="*/ 166 w 239"/>
                      <a:gd name="T75" fmla="*/ 20 h 142"/>
                      <a:gd name="T76" fmla="*/ 176 w 239"/>
                      <a:gd name="T77" fmla="*/ 22 h 142"/>
                      <a:gd name="T78" fmla="*/ 180 w 239"/>
                      <a:gd name="T79" fmla="*/ 22 h 142"/>
                      <a:gd name="T80" fmla="*/ 190 w 239"/>
                      <a:gd name="T81" fmla="*/ 13 h 142"/>
                      <a:gd name="T82" fmla="*/ 193 w 239"/>
                      <a:gd name="T83" fmla="*/ 6 h 142"/>
                      <a:gd name="T84" fmla="*/ 196 w 239"/>
                      <a:gd name="T85" fmla="*/ 3 h 142"/>
                      <a:gd name="T86" fmla="*/ 218 w 239"/>
                      <a:gd name="T87" fmla="*/ 0 h 142"/>
                      <a:gd name="T88" fmla="*/ 233 w 239"/>
                      <a:gd name="T89" fmla="*/ 0 h 142"/>
                      <a:gd name="T90" fmla="*/ 237 w 239"/>
                      <a:gd name="T91" fmla="*/ 3 h 142"/>
                      <a:gd name="T92" fmla="*/ 237 w 239"/>
                      <a:gd name="T93" fmla="*/ 9 h 142"/>
                      <a:gd name="T94" fmla="*/ 239 w 239"/>
                      <a:gd name="T95" fmla="*/ 2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9" h="142">
                        <a:moveTo>
                          <a:pt x="16" y="142"/>
                        </a:moveTo>
                        <a:lnTo>
                          <a:pt x="17" y="141"/>
                        </a:lnTo>
                        <a:lnTo>
                          <a:pt x="19" y="141"/>
                        </a:lnTo>
                        <a:lnTo>
                          <a:pt x="19" y="139"/>
                        </a:lnTo>
                        <a:lnTo>
                          <a:pt x="20" y="138"/>
                        </a:lnTo>
                        <a:lnTo>
                          <a:pt x="20" y="136"/>
                        </a:lnTo>
                        <a:lnTo>
                          <a:pt x="22" y="136"/>
                        </a:lnTo>
                        <a:lnTo>
                          <a:pt x="22" y="134"/>
                        </a:lnTo>
                        <a:lnTo>
                          <a:pt x="24" y="134"/>
                        </a:lnTo>
                        <a:lnTo>
                          <a:pt x="25" y="133"/>
                        </a:lnTo>
                        <a:lnTo>
                          <a:pt x="27" y="131"/>
                        </a:lnTo>
                        <a:lnTo>
                          <a:pt x="28" y="130"/>
                        </a:lnTo>
                        <a:lnTo>
                          <a:pt x="28" y="128"/>
                        </a:lnTo>
                        <a:lnTo>
                          <a:pt x="28" y="127"/>
                        </a:lnTo>
                        <a:lnTo>
                          <a:pt x="28" y="125"/>
                        </a:lnTo>
                        <a:lnTo>
                          <a:pt x="27" y="125"/>
                        </a:lnTo>
                        <a:lnTo>
                          <a:pt x="25" y="123"/>
                        </a:lnTo>
                        <a:lnTo>
                          <a:pt x="25" y="122"/>
                        </a:lnTo>
                        <a:lnTo>
                          <a:pt x="25" y="119"/>
                        </a:lnTo>
                        <a:lnTo>
                          <a:pt x="24" y="117"/>
                        </a:lnTo>
                        <a:lnTo>
                          <a:pt x="24" y="115"/>
                        </a:lnTo>
                        <a:lnTo>
                          <a:pt x="20" y="114"/>
                        </a:lnTo>
                        <a:lnTo>
                          <a:pt x="16" y="114"/>
                        </a:lnTo>
                        <a:lnTo>
                          <a:pt x="9" y="112"/>
                        </a:lnTo>
                        <a:lnTo>
                          <a:pt x="4" y="111"/>
                        </a:lnTo>
                        <a:lnTo>
                          <a:pt x="1" y="109"/>
                        </a:lnTo>
                        <a:lnTo>
                          <a:pt x="0" y="108"/>
                        </a:lnTo>
                        <a:lnTo>
                          <a:pt x="0" y="104"/>
                        </a:lnTo>
                        <a:lnTo>
                          <a:pt x="0" y="101"/>
                        </a:lnTo>
                        <a:lnTo>
                          <a:pt x="1" y="96"/>
                        </a:lnTo>
                        <a:lnTo>
                          <a:pt x="3" y="95"/>
                        </a:lnTo>
                        <a:lnTo>
                          <a:pt x="6" y="93"/>
                        </a:lnTo>
                        <a:lnTo>
                          <a:pt x="8" y="92"/>
                        </a:lnTo>
                        <a:lnTo>
                          <a:pt x="9" y="90"/>
                        </a:lnTo>
                        <a:lnTo>
                          <a:pt x="9" y="87"/>
                        </a:lnTo>
                        <a:lnTo>
                          <a:pt x="9" y="84"/>
                        </a:lnTo>
                        <a:lnTo>
                          <a:pt x="11" y="79"/>
                        </a:lnTo>
                        <a:lnTo>
                          <a:pt x="12" y="76"/>
                        </a:lnTo>
                        <a:lnTo>
                          <a:pt x="14" y="73"/>
                        </a:lnTo>
                        <a:lnTo>
                          <a:pt x="17" y="70"/>
                        </a:lnTo>
                        <a:lnTo>
                          <a:pt x="20" y="68"/>
                        </a:lnTo>
                        <a:lnTo>
                          <a:pt x="24" y="66"/>
                        </a:lnTo>
                        <a:lnTo>
                          <a:pt x="25" y="65"/>
                        </a:lnTo>
                        <a:lnTo>
                          <a:pt x="27" y="66"/>
                        </a:lnTo>
                        <a:lnTo>
                          <a:pt x="30" y="66"/>
                        </a:lnTo>
                        <a:lnTo>
                          <a:pt x="31" y="66"/>
                        </a:lnTo>
                        <a:lnTo>
                          <a:pt x="33" y="66"/>
                        </a:lnTo>
                        <a:lnTo>
                          <a:pt x="35" y="66"/>
                        </a:lnTo>
                        <a:lnTo>
                          <a:pt x="36" y="66"/>
                        </a:lnTo>
                        <a:lnTo>
                          <a:pt x="38" y="68"/>
                        </a:lnTo>
                        <a:lnTo>
                          <a:pt x="47" y="68"/>
                        </a:lnTo>
                        <a:lnTo>
                          <a:pt x="49" y="66"/>
                        </a:lnTo>
                        <a:lnTo>
                          <a:pt x="50" y="66"/>
                        </a:lnTo>
                        <a:lnTo>
                          <a:pt x="50" y="65"/>
                        </a:lnTo>
                        <a:lnTo>
                          <a:pt x="52" y="63"/>
                        </a:lnTo>
                        <a:lnTo>
                          <a:pt x="52" y="62"/>
                        </a:lnTo>
                        <a:lnTo>
                          <a:pt x="54" y="60"/>
                        </a:lnTo>
                        <a:lnTo>
                          <a:pt x="54" y="58"/>
                        </a:lnTo>
                        <a:lnTo>
                          <a:pt x="54" y="57"/>
                        </a:lnTo>
                        <a:lnTo>
                          <a:pt x="54" y="55"/>
                        </a:lnTo>
                        <a:lnTo>
                          <a:pt x="57" y="54"/>
                        </a:lnTo>
                        <a:lnTo>
                          <a:pt x="57" y="52"/>
                        </a:lnTo>
                        <a:lnTo>
                          <a:pt x="58" y="51"/>
                        </a:lnTo>
                        <a:lnTo>
                          <a:pt x="57" y="51"/>
                        </a:lnTo>
                        <a:lnTo>
                          <a:pt x="55" y="47"/>
                        </a:lnTo>
                        <a:lnTo>
                          <a:pt x="55" y="46"/>
                        </a:lnTo>
                        <a:lnTo>
                          <a:pt x="54" y="44"/>
                        </a:lnTo>
                        <a:lnTo>
                          <a:pt x="52" y="43"/>
                        </a:lnTo>
                        <a:lnTo>
                          <a:pt x="55" y="43"/>
                        </a:lnTo>
                        <a:lnTo>
                          <a:pt x="60" y="41"/>
                        </a:lnTo>
                        <a:lnTo>
                          <a:pt x="62" y="39"/>
                        </a:lnTo>
                        <a:lnTo>
                          <a:pt x="63" y="38"/>
                        </a:lnTo>
                        <a:lnTo>
                          <a:pt x="65" y="36"/>
                        </a:lnTo>
                        <a:lnTo>
                          <a:pt x="68" y="35"/>
                        </a:lnTo>
                        <a:lnTo>
                          <a:pt x="69" y="33"/>
                        </a:lnTo>
                        <a:lnTo>
                          <a:pt x="71" y="32"/>
                        </a:lnTo>
                        <a:lnTo>
                          <a:pt x="71" y="28"/>
                        </a:lnTo>
                        <a:lnTo>
                          <a:pt x="71" y="27"/>
                        </a:lnTo>
                        <a:lnTo>
                          <a:pt x="73" y="25"/>
                        </a:lnTo>
                        <a:lnTo>
                          <a:pt x="74" y="22"/>
                        </a:lnTo>
                        <a:lnTo>
                          <a:pt x="76" y="19"/>
                        </a:lnTo>
                        <a:lnTo>
                          <a:pt x="77" y="16"/>
                        </a:lnTo>
                        <a:lnTo>
                          <a:pt x="77" y="11"/>
                        </a:lnTo>
                        <a:lnTo>
                          <a:pt x="79" y="8"/>
                        </a:lnTo>
                        <a:lnTo>
                          <a:pt x="79" y="6"/>
                        </a:lnTo>
                        <a:lnTo>
                          <a:pt x="82" y="3"/>
                        </a:lnTo>
                        <a:lnTo>
                          <a:pt x="84" y="1"/>
                        </a:lnTo>
                        <a:lnTo>
                          <a:pt x="85" y="1"/>
                        </a:lnTo>
                        <a:lnTo>
                          <a:pt x="88" y="1"/>
                        </a:lnTo>
                        <a:lnTo>
                          <a:pt x="93" y="3"/>
                        </a:lnTo>
                        <a:lnTo>
                          <a:pt x="100" y="3"/>
                        </a:lnTo>
                        <a:lnTo>
                          <a:pt x="106" y="3"/>
                        </a:lnTo>
                        <a:lnTo>
                          <a:pt x="111" y="3"/>
                        </a:lnTo>
                        <a:lnTo>
                          <a:pt x="112" y="3"/>
                        </a:lnTo>
                        <a:lnTo>
                          <a:pt x="114" y="3"/>
                        </a:lnTo>
                        <a:lnTo>
                          <a:pt x="115" y="5"/>
                        </a:lnTo>
                        <a:lnTo>
                          <a:pt x="117" y="6"/>
                        </a:lnTo>
                        <a:lnTo>
                          <a:pt x="119" y="6"/>
                        </a:lnTo>
                        <a:lnTo>
                          <a:pt x="122" y="8"/>
                        </a:lnTo>
                        <a:lnTo>
                          <a:pt x="123" y="8"/>
                        </a:lnTo>
                        <a:lnTo>
                          <a:pt x="125" y="9"/>
                        </a:lnTo>
                        <a:lnTo>
                          <a:pt x="126" y="9"/>
                        </a:lnTo>
                        <a:lnTo>
                          <a:pt x="128" y="9"/>
                        </a:lnTo>
                        <a:lnTo>
                          <a:pt x="131" y="9"/>
                        </a:lnTo>
                        <a:lnTo>
                          <a:pt x="133" y="9"/>
                        </a:lnTo>
                        <a:lnTo>
                          <a:pt x="136" y="13"/>
                        </a:lnTo>
                        <a:lnTo>
                          <a:pt x="139" y="17"/>
                        </a:lnTo>
                        <a:lnTo>
                          <a:pt x="142" y="19"/>
                        </a:lnTo>
                        <a:lnTo>
                          <a:pt x="145" y="20"/>
                        </a:lnTo>
                        <a:lnTo>
                          <a:pt x="150" y="22"/>
                        </a:lnTo>
                        <a:lnTo>
                          <a:pt x="152" y="22"/>
                        </a:lnTo>
                        <a:lnTo>
                          <a:pt x="155" y="22"/>
                        </a:lnTo>
                        <a:lnTo>
                          <a:pt x="160" y="20"/>
                        </a:lnTo>
                        <a:lnTo>
                          <a:pt x="166" y="20"/>
                        </a:lnTo>
                        <a:lnTo>
                          <a:pt x="171" y="20"/>
                        </a:lnTo>
                        <a:lnTo>
                          <a:pt x="174" y="22"/>
                        </a:lnTo>
                        <a:lnTo>
                          <a:pt x="176" y="22"/>
                        </a:lnTo>
                        <a:lnTo>
                          <a:pt x="177" y="24"/>
                        </a:lnTo>
                        <a:lnTo>
                          <a:pt x="180" y="24"/>
                        </a:lnTo>
                        <a:lnTo>
                          <a:pt x="180" y="22"/>
                        </a:lnTo>
                        <a:lnTo>
                          <a:pt x="185" y="17"/>
                        </a:lnTo>
                        <a:lnTo>
                          <a:pt x="188" y="14"/>
                        </a:lnTo>
                        <a:lnTo>
                          <a:pt x="190" y="13"/>
                        </a:lnTo>
                        <a:lnTo>
                          <a:pt x="191" y="11"/>
                        </a:lnTo>
                        <a:lnTo>
                          <a:pt x="191" y="8"/>
                        </a:lnTo>
                        <a:lnTo>
                          <a:pt x="193" y="6"/>
                        </a:lnTo>
                        <a:lnTo>
                          <a:pt x="195" y="6"/>
                        </a:lnTo>
                        <a:lnTo>
                          <a:pt x="195" y="5"/>
                        </a:lnTo>
                        <a:lnTo>
                          <a:pt x="196" y="3"/>
                        </a:lnTo>
                        <a:lnTo>
                          <a:pt x="198" y="3"/>
                        </a:lnTo>
                        <a:lnTo>
                          <a:pt x="207" y="1"/>
                        </a:lnTo>
                        <a:lnTo>
                          <a:pt x="218" y="0"/>
                        </a:lnTo>
                        <a:lnTo>
                          <a:pt x="226" y="0"/>
                        </a:lnTo>
                        <a:lnTo>
                          <a:pt x="231" y="0"/>
                        </a:lnTo>
                        <a:lnTo>
                          <a:pt x="233" y="0"/>
                        </a:lnTo>
                        <a:lnTo>
                          <a:pt x="234" y="0"/>
                        </a:lnTo>
                        <a:lnTo>
                          <a:pt x="236" y="1"/>
                        </a:lnTo>
                        <a:lnTo>
                          <a:pt x="237" y="3"/>
                        </a:lnTo>
                        <a:lnTo>
                          <a:pt x="237" y="5"/>
                        </a:lnTo>
                        <a:lnTo>
                          <a:pt x="237" y="6"/>
                        </a:lnTo>
                        <a:lnTo>
                          <a:pt x="237" y="9"/>
                        </a:lnTo>
                        <a:lnTo>
                          <a:pt x="239" y="14"/>
                        </a:lnTo>
                        <a:lnTo>
                          <a:pt x="239" y="19"/>
                        </a:lnTo>
                        <a:lnTo>
                          <a:pt x="239" y="20"/>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61" name="Freeform 60"/>
                  <p:cNvSpPr>
                    <a:spLocks/>
                  </p:cNvSpPr>
                  <p:nvPr/>
                </p:nvSpPr>
                <p:spPr bwMode="auto">
                  <a:xfrm>
                    <a:off x="1649" y="2469"/>
                    <a:ext cx="1643" cy="885"/>
                  </a:xfrm>
                  <a:custGeom>
                    <a:avLst/>
                    <a:gdLst>
                      <a:gd name="T0" fmla="*/ 655 w 1643"/>
                      <a:gd name="T1" fmla="*/ 81 h 885"/>
                      <a:gd name="T2" fmla="*/ 628 w 1643"/>
                      <a:gd name="T3" fmla="*/ 187 h 885"/>
                      <a:gd name="T4" fmla="*/ 683 w 1643"/>
                      <a:gd name="T5" fmla="*/ 219 h 885"/>
                      <a:gd name="T6" fmla="*/ 745 w 1643"/>
                      <a:gd name="T7" fmla="*/ 203 h 885"/>
                      <a:gd name="T8" fmla="*/ 785 w 1643"/>
                      <a:gd name="T9" fmla="*/ 109 h 885"/>
                      <a:gd name="T10" fmla="*/ 937 w 1643"/>
                      <a:gd name="T11" fmla="*/ 120 h 885"/>
                      <a:gd name="T12" fmla="*/ 979 w 1643"/>
                      <a:gd name="T13" fmla="*/ 150 h 885"/>
                      <a:gd name="T14" fmla="*/ 1014 w 1643"/>
                      <a:gd name="T15" fmla="*/ 200 h 885"/>
                      <a:gd name="T16" fmla="*/ 1079 w 1643"/>
                      <a:gd name="T17" fmla="*/ 230 h 885"/>
                      <a:gd name="T18" fmla="*/ 1141 w 1643"/>
                      <a:gd name="T19" fmla="*/ 207 h 885"/>
                      <a:gd name="T20" fmla="*/ 1203 w 1643"/>
                      <a:gd name="T21" fmla="*/ 220 h 885"/>
                      <a:gd name="T22" fmla="*/ 1253 w 1643"/>
                      <a:gd name="T23" fmla="*/ 234 h 885"/>
                      <a:gd name="T24" fmla="*/ 1312 w 1643"/>
                      <a:gd name="T25" fmla="*/ 252 h 885"/>
                      <a:gd name="T26" fmla="*/ 1284 w 1643"/>
                      <a:gd name="T27" fmla="*/ 306 h 885"/>
                      <a:gd name="T28" fmla="*/ 1344 w 1643"/>
                      <a:gd name="T29" fmla="*/ 337 h 885"/>
                      <a:gd name="T30" fmla="*/ 1364 w 1643"/>
                      <a:gd name="T31" fmla="*/ 382 h 885"/>
                      <a:gd name="T32" fmla="*/ 1425 w 1643"/>
                      <a:gd name="T33" fmla="*/ 371 h 885"/>
                      <a:gd name="T34" fmla="*/ 1478 w 1643"/>
                      <a:gd name="T35" fmla="*/ 347 h 885"/>
                      <a:gd name="T36" fmla="*/ 1520 w 1643"/>
                      <a:gd name="T37" fmla="*/ 325 h 885"/>
                      <a:gd name="T38" fmla="*/ 1556 w 1643"/>
                      <a:gd name="T39" fmla="*/ 345 h 885"/>
                      <a:gd name="T40" fmla="*/ 1607 w 1643"/>
                      <a:gd name="T41" fmla="*/ 350 h 885"/>
                      <a:gd name="T42" fmla="*/ 1629 w 1643"/>
                      <a:gd name="T43" fmla="*/ 391 h 885"/>
                      <a:gd name="T44" fmla="*/ 1637 w 1643"/>
                      <a:gd name="T45" fmla="*/ 494 h 885"/>
                      <a:gd name="T46" fmla="*/ 1532 w 1643"/>
                      <a:gd name="T47" fmla="*/ 459 h 885"/>
                      <a:gd name="T48" fmla="*/ 1466 w 1643"/>
                      <a:gd name="T49" fmla="*/ 472 h 885"/>
                      <a:gd name="T50" fmla="*/ 1406 w 1643"/>
                      <a:gd name="T51" fmla="*/ 467 h 885"/>
                      <a:gd name="T52" fmla="*/ 1360 w 1643"/>
                      <a:gd name="T53" fmla="*/ 527 h 885"/>
                      <a:gd name="T54" fmla="*/ 1336 w 1643"/>
                      <a:gd name="T55" fmla="*/ 550 h 885"/>
                      <a:gd name="T56" fmla="*/ 1276 w 1643"/>
                      <a:gd name="T57" fmla="*/ 570 h 885"/>
                      <a:gd name="T58" fmla="*/ 1230 w 1643"/>
                      <a:gd name="T59" fmla="*/ 602 h 885"/>
                      <a:gd name="T60" fmla="*/ 1198 w 1643"/>
                      <a:gd name="T61" fmla="*/ 630 h 885"/>
                      <a:gd name="T62" fmla="*/ 1173 w 1643"/>
                      <a:gd name="T63" fmla="*/ 660 h 885"/>
                      <a:gd name="T64" fmla="*/ 1160 w 1643"/>
                      <a:gd name="T65" fmla="*/ 706 h 885"/>
                      <a:gd name="T66" fmla="*/ 1141 w 1643"/>
                      <a:gd name="T67" fmla="*/ 749 h 885"/>
                      <a:gd name="T68" fmla="*/ 1095 w 1643"/>
                      <a:gd name="T69" fmla="*/ 763 h 885"/>
                      <a:gd name="T70" fmla="*/ 1059 w 1643"/>
                      <a:gd name="T71" fmla="*/ 775 h 885"/>
                      <a:gd name="T72" fmla="*/ 1017 w 1643"/>
                      <a:gd name="T73" fmla="*/ 841 h 885"/>
                      <a:gd name="T74" fmla="*/ 984 w 1643"/>
                      <a:gd name="T75" fmla="*/ 871 h 885"/>
                      <a:gd name="T76" fmla="*/ 932 w 1643"/>
                      <a:gd name="T77" fmla="*/ 858 h 885"/>
                      <a:gd name="T78" fmla="*/ 886 w 1643"/>
                      <a:gd name="T79" fmla="*/ 830 h 885"/>
                      <a:gd name="T80" fmla="*/ 840 w 1643"/>
                      <a:gd name="T81" fmla="*/ 832 h 885"/>
                      <a:gd name="T82" fmla="*/ 775 w 1643"/>
                      <a:gd name="T83" fmla="*/ 862 h 885"/>
                      <a:gd name="T84" fmla="*/ 726 w 1643"/>
                      <a:gd name="T85" fmla="*/ 841 h 885"/>
                      <a:gd name="T86" fmla="*/ 674 w 1643"/>
                      <a:gd name="T87" fmla="*/ 819 h 885"/>
                      <a:gd name="T88" fmla="*/ 640 w 1643"/>
                      <a:gd name="T89" fmla="*/ 760 h 885"/>
                      <a:gd name="T90" fmla="*/ 582 w 1643"/>
                      <a:gd name="T91" fmla="*/ 768 h 885"/>
                      <a:gd name="T92" fmla="*/ 525 w 1643"/>
                      <a:gd name="T93" fmla="*/ 813 h 885"/>
                      <a:gd name="T94" fmla="*/ 468 w 1643"/>
                      <a:gd name="T95" fmla="*/ 790 h 885"/>
                      <a:gd name="T96" fmla="*/ 416 w 1643"/>
                      <a:gd name="T97" fmla="*/ 756 h 885"/>
                      <a:gd name="T98" fmla="*/ 351 w 1643"/>
                      <a:gd name="T99" fmla="*/ 757 h 885"/>
                      <a:gd name="T100" fmla="*/ 305 w 1643"/>
                      <a:gd name="T101" fmla="*/ 784 h 885"/>
                      <a:gd name="T102" fmla="*/ 233 w 1643"/>
                      <a:gd name="T103" fmla="*/ 794 h 885"/>
                      <a:gd name="T104" fmla="*/ 173 w 1643"/>
                      <a:gd name="T105" fmla="*/ 789 h 885"/>
                      <a:gd name="T106" fmla="*/ 143 w 1643"/>
                      <a:gd name="T107" fmla="*/ 740 h 885"/>
                      <a:gd name="T108" fmla="*/ 69 w 1643"/>
                      <a:gd name="T109" fmla="*/ 689 h 885"/>
                      <a:gd name="T110" fmla="*/ 108 w 1643"/>
                      <a:gd name="T111" fmla="*/ 558 h 885"/>
                      <a:gd name="T112" fmla="*/ 181 w 1643"/>
                      <a:gd name="T113" fmla="*/ 356 h 885"/>
                      <a:gd name="T114" fmla="*/ 135 w 1643"/>
                      <a:gd name="T115" fmla="*/ 212 h 885"/>
                      <a:gd name="T116" fmla="*/ 75 w 1643"/>
                      <a:gd name="T117" fmla="*/ 166 h 885"/>
                      <a:gd name="T118" fmla="*/ 170 w 1643"/>
                      <a:gd name="T119" fmla="*/ 138 h 885"/>
                      <a:gd name="T120" fmla="*/ 270 w 1643"/>
                      <a:gd name="T121" fmla="*/ 79 h 885"/>
                      <a:gd name="T122" fmla="*/ 455 w 1643"/>
                      <a:gd name="T123" fmla="*/ 62 h 885"/>
                      <a:gd name="T124" fmla="*/ 599 w 1643"/>
                      <a:gd name="T125" fmla="*/ 14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43" h="885">
                        <a:moveTo>
                          <a:pt x="625" y="6"/>
                        </a:moveTo>
                        <a:lnTo>
                          <a:pt x="628" y="9"/>
                        </a:lnTo>
                        <a:lnTo>
                          <a:pt x="628" y="8"/>
                        </a:lnTo>
                        <a:lnTo>
                          <a:pt x="629" y="8"/>
                        </a:lnTo>
                        <a:lnTo>
                          <a:pt x="631" y="9"/>
                        </a:lnTo>
                        <a:lnTo>
                          <a:pt x="633" y="11"/>
                        </a:lnTo>
                        <a:lnTo>
                          <a:pt x="634" y="13"/>
                        </a:lnTo>
                        <a:lnTo>
                          <a:pt x="636" y="17"/>
                        </a:lnTo>
                        <a:lnTo>
                          <a:pt x="637" y="17"/>
                        </a:lnTo>
                        <a:lnTo>
                          <a:pt x="639" y="21"/>
                        </a:lnTo>
                        <a:lnTo>
                          <a:pt x="639" y="22"/>
                        </a:lnTo>
                        <a:lnTo>
                          <a:pt x="639" y="24"/>
                        </a:lnTo>
                        <a:lnTo>
                          <a:pt x="639" y="25"/>
                        </a:lnTo>
                        <a:lnTo>
                          <a:pt x="637" y="28"/>
                        </a:lnTo>
                        <a:lnTo>
                          <a:pt x="637" y="33"/>
                        </a:lnTo>
                        <a:lnTo>
                          <a:pt x="636" y="36"/>
                        </a:lnTo>
                        <a:lnTo>
                          <a:pt x="634" y="38"/>
                        </a:lnTo>
                        <a:lnTo>
                          <a:pt x="631" y="40"/>
                        </a:lnTo>
                        <a:lnTo>
                          <a:pt x="631" y="41"/>
                        </a:lnTo>
                        <a:lnTo>
                          <a:pt x="629" y="43"/>
                        </a:lnTo>
                        <a:lnTo>
                          <a:pt x="629" y="46"/>
                        </a:lnTo>
                        <a:lnTo>
                          <a:pt x="631" y="49"/>
                        </a:lnTo>
                        <a:lnTo>
                          <a:pt x="629" y="52"/>
                        </a:lnTo>
                        <a:lnTo>
                          <a:pt x="629" y="54"/>
                        </a:lnTo>
                        <a:lnTo>
                          <a:pt x="628" y="55"/>
                        </a:lnTo>
                        <a:lnTo>
                          <a:pt x="628" y="60"/>
                        </a:lnTo>
                        <a:lnTo>
                          <a:pt x="628" y="62"/>
                        </a:lnTo>
                        <a:lnTo>
                          <a:pt x="629" y="63"/>
                        </a:lnTo>
                        <a:lnTo>
                          <a:pt x="631" y="63"/>
                        </a:lnTo>
                        <a:lnTo>
                          <a:pt x="636" y="65"/>
                        </a:lnTo>
                        <a:lnTo>
                          <a:pt x="637" y="65"/>
                        </a:lnTo>
                        <a:lnTo>
                          <a:pt x="639" y="63"/>
                        </a:lnTo>
                        <a:lnTo>
                          <a:pt x="640" y="63"/>
                        </a:lnTo>
                        <a:lnTo>
                          <a:pt x="642" y="63"/>
                        </a:lnTo>
                        <a:lnTo>
                          <a:pt x="644" y="63"/>
                        </a:lnTo>
                        <a:lnTo>
                          <a:pt x="647" y="63"/>
                        </a:lnTo>
                        <a:lnTo>
                          <a:pt x="648" y="65"/>
                        </a:lnTo>
                        <a:lnTo>
                          <a:pt x="652" y="65"/>
                        </a:lnTo>
                        <a:lnTo>
                          <a:pt x="653" y="65"/>
                        </a:lnTo>
                        <a:lnTo>
                          <a:pt x="656" y="65"/>
                        </a:lnTo>
                        <a:lnTo>
                          <a:pt x="659" y="65"/>
                        </a:lnTo>
                        <a:lnTo>
                          <a:pt x="659" y="68"/>
                        </a:lnTo>
                        <a:lnTo>
                          <a:pt x="659" y="70"/>
                        </a:lnTo>
                        <a:lnTo>
                          <a:pt x="659" y="71"/>
                        </a:lnTo>
                        <a:lnTo>
                          <a:pt x="658" y="73"/>
                        </a:lnTo>
                        <a:lnTo>
                          <a:pt x="656" y="76"/>
                        </a:lnTo>
                        <a:lnTo>
                          <a:pt x="656" y="78"/>
                        </a:lnTo>
                        <a:lnTo>
                          <a:pt x="655" y="79"/>
                        </a:lnTo>
                        <a:lnTo>
                          <a:pt x="655" y="81"/>
                        </a:lnTo>
                        <a:lnTo>
                          <a:pt x="653" y="82"/>
                        </a:lnTo>
                        <a:lnTo>
                          <a:pt x="652" y="82"/>
                        </a:lnTo>
                        <a:lnTo>
                          <a:pt x="648" y="84"/>
                        </a:lnTo>
                        <a:lnTo>
                          <a:pt x="647" y="84"/>
                        </a:lnTo>
                        <a:lnTo>
                          <a:pt x="645" y="84"/>
                        </a:lnTo>
                        <a:lnTo>
                          <a:pt x="645" y="85"/>
                        </a:lnTo>
                        <a:lnTo>
                          <a:pt x="647" y="87"/>
                        </a:lnTo>
                        <a:lnTo>
                          <a:pt x="647" y="89"/>
                        </a:lnTo>
                        <a:lnTo>
                          <a:pt x="650" y="89"/>
                        </a:lnTo>
                        <a:lnTo>
                          <a:pt x="650" y="92"/>
                        </a:lnTo>
                        <a:lnTo>
                          <a:pt x="650" y="95"/>
                        </a:lnTo>
                        <a:lnTo>
                          <a:pt x="650" y="97"/>
                        </a:lnTo>
                        <a:lnTo>
                          <a:pt x="650" y="100"/>
                        </a:lnTo>
                        <a:lnTo>
                          <a:pt x="648" y="101"/>
                        </a:lnTo>
                        <a:lnTo>
                          <a:pt x="647" y="103"/>
                        </a:lnTo>
                        <a:lnTo>
                          <a:pt x="645" y="106"/>
                        </a:lnTo>
                        <a:lnTo>
                          <a:pt x="645" y="108"/>
                        </a:lnTo>
                        <a:lnTo>
                          <a:pt x="645" y="109"/>
                        </a:lnTo>
                        <a:lnTo>
                          <a:pt x="647" y="109"/>
                        </a:lnTo>
                        <a:lnTo>
                          <a:pt x="650" y="111"/>
                        </a:lnTo>
                        <a:lnTo>
                          <a:pt x="652" y="111"/>
                        </a:lnTo>
                        <a:lnTo>
                          <a:pt x="652" y="112"/>
                        </a:lnTo>
                        <a:lnTo>
                          <a:pt x="652" y="116"/>
                        </a:lnTo>
                        <a:lnTo>
                          <a:pt x="650" y="117"/>
                        </a:lnTo>
                        <a:lnTo>
                          <a:pt x="648" y="119"/>
                        </a:lnTo>
                        <a:lnTo>
                          <a:pt x="648" y="120"/>
                        </a:lnTo>
                        <a:lnTo>
                          <a:pt x="647" y="122"/>
                        </a:lnTo>
                        <a:lnTo>
                          <a:pt x="647" y="125"/>
                        </a:lnTo>
                        <a:lnTo>
                          <a:pt x="647" y="131"/>
                        </a:lnTo>
                        <a:lnTo>
                          <a:pt x="647" y="136"/>
                        </a:lnTo>
                        <a:lnTo>
                          <a:pt x="647" y="141"/>
                        </a:lnTo>
                        <a:lnTo>
                          <a:pt x="645" y="144"/>
                        </a:lnTo>
                        <a:lnTo>
                          <a:pt x="645" y="149"/>
                        </a:lnTo>
                        <a:lnTo>
                          <a:pt x="645" y="152"/>
                        </a:lnTo>
                        <a:lnTo>
                          <a:pt x="645" y="157"/>
                        </a:lnTo>
                        <a:lnTo>
                          <a:pt x="645" y="160"/>
                        </a:lnTo>
                        <a:lnTo>
                          <a:pt x="644" y="163"/>
                        </a:lnTo>
                        <a:lnTo>
                          <a:pt x="642" y="166"/>
                        </a:lnTo>
                        <a:lnTo>
                          <a:pt x="642" y="169"/>
                        </a:lnTo>
                        <a:lnTo>
                          <a:pt x="642" y="173"/>
                        </a:lnTo>
                        <a:lnTo>
                          <a:pt x="640" y="176"/>
                        </a:lnTo>
                        <a:lnTo>
                          <a:pt x="640" y="177"/>
                        </a:lnTo>
                        <a:lnTo>
                          <a:pt x="640" y="179"/>
                        </a:lnTo>
                        <a:lnTo>
                          <a:pt x="639" y="179"/>
                        </a:lnTo>
                        <a:lnTo>
                          <a:pt x="637" y="179"/>
                        </a:lnTo>
                        <a:lnTo>
                          <a:pt x="636" y="181"/>
                        </a:lnTo>
                        <a:lnTo>
                          <a:pt x="634" y="181"/>
                        </a:lnTo>
                        <a:lnTo>
                          <a:pt x="633" y="182"/>
                        </a:lnTo>
                        <a:lnTo>
                          <a:pt x="628" y="187"/>
                        </a:lnTo>
                        <a:lnTo>
                          <a:pt x="626" y="188"/>
                        </a:lnTo>
                        <a:lnTo>
                          <a:pt x="625" y="188"/>
                        </a:lnTo>
                        <a:lnTo>
                          <a:pt x="623" y="190"/>
                        </a:lnTo>
                        <a:lnTo>
                          <a:pt x="620" y="192"/>
                        </a:lnTo>
                        <a:lnTo>
                          <a:pt x="621" y="193"/>
                        </a:lnTo>
                        <a:lnTo>
                          <a:pt x="620" y="195"/>
                        </a:lnTo>
                        <a:lnTo>
                          <a:pt x="621" y="198"/>
                        </a:lnTo>
                        <a:lnTo>
                          <a:pt x="621" y="201"/>
                        </a:lnTo>
                        <a:lnTo>
                          <a:pt x="621" y="203"/>
                        </a:lnTo>
                        <a:lnTo>
                          <a:pt x="621" y="204"/>
                        </a:lnTo>
                        <a:lnTo>
                          <a:pt x="621" y="207"/>
                        </a:lnTo>
                        <a:lnTo>
                          <a:pt x="623" y="209"/>
                        </a:lnTo>
                        <a:lnTo>
                          <a:pt x="623" y="212"/>
                        </a:lnTo>
                        <a:lnTo>
                          <a:pt x="625" y="215"/>
                        </a:lnTo>
                        <a:lnTo>
                          <a:pt x="625" y="219"/>
                        </a:lnTo>
                        <a:lnTo>
                          <a:pt x="625" y="220"/>
                        </a:lnTo>
                        <a:lnTo>
                          <a:pt x="625" y="223"/>
                        </a:lnTo>
                        <a:lnTo>
                          <a:pt x="626" y="225"/>
                        </a:lnTo>
                        <a:lnTo>
                          <a:pt x="628" y="228"/>
                        </a:lnTo>
                        <a:lnTo>
                          <a:pt x="629" y="228"/>
                        </a:lnTo>
                        <a:lnTo>
                          <a:pt x="634" y="231"/>
                        </a:lnTo>
                        <a:lnTo>
                          <a:pt x="636" y="234"/>
                        </a:lnTo>
                        <a:lnTo>
                          <a:pt x="637" y="234"/>
                        </a:lnTo>
                        <a:lnTo>
                          <a:pt x="640" y="238"/>
                        </a:lnTo>
                        <a:lnTo>
                          <a:pt x="642" y="239"/>
                        </a:lnTo>
                        <a:lnTo>
                          <a:pt x="645" y="241"/>
                        </a:lnTo>
                        <a:lnTo>
                          <a:pt x="647" y="241"/>
                        </a:lnTo>
                        <a:lnTo>
                          <a:pt x="648" y="244"/>
                        </a:lnTo>
                        <a:lnTo>
                          <a:pt x="650" y="245"/>
                        </a:lnTo>
                        <a:lnTo>
                          <a:pt x="652" y="245"/>
                        </a:lnTo>
                        <a:lnTo>
                          <a:pt x="653" y="244"/>
                        </a:lnTo>
                        <a:lnTo>
                          <a:pt x="653" y="242"/>
                        </a:lnTo>
                        <a:lnTo>
                          <a:pt x="655" y="241"/>
                        </a:lnTo>
                        <a:lnTo>
                          <a:pt x="655" y="239"/>
                        </a:lnTo>
                        <a:lnTo>
                          <a:pt x="656" y="236"/>
                        </a:lnTo>
                        <a:lnTo>
                          <a:pt x="659" y="233"/>
                        </a:lnTo>
                        <a:lnTo>
                          <a:pt x="661" y="231"/>
                        </a:lnTo>
                        <a:lnTo>
                          <a:pt x="663" y="230"/>
                        </a:lnTo>
                        <a:lnTo>
                          <a:pt x="664" y="230"/>
                        </a:lnTo>
                        <a:lnTo>
                          <a:pt x="666" y="226"/>
                        </a:lnTo>
                        <a:lnTo>
                          <a:pt x="667" y="223"/>
                        </a:lnTo>
                        <a:lnTo>
                          <a:pt x="669" y="220"/>
                        </a:lnTo>
                        <a:lnTo>
                          <a:pt x="671" y="219"/>
                        </a:lnTo>
                        <a:lnTo>
                          <a:pt x="672" y="217"/>
                        </a:lnTo>
                        <a:lnTo>
                          <a:pt x="675" y="217"/>
                        </a:lnTo>
                        <a:lnTo>
                          <a:pt x="678" y="217"/>
                        </a:lnTo>
                        <a:lnTo>
                          <a:pt x="680" y="217"/>
                        </a:lnTo>
                        <a:lnTo>
                          <a:pt x="682" y="217"/>
                        </a:lnTo>
                        <a:lnTo>
                          <a:pt x="683" y="219"/>
                        </a:lnTo>
                        <a:lnTo>
                          <a:pt x="683" y="220"/>
                        </a:lnTo>
                        <a:lnTo>
                          <a:pt x="685" y="220"/>
                        </a:lnTo>
                        <a:lnTo>
                          <a:pt x="688" y="220"/>
                        </a:lnTo>
                        <a:lnTo>
                          <a:pt x="690" y="219"/>
                        </a:lnTo>
                        <a:lnTo>
                          <a:pt x="691" y="219"/>
                        </a:lnTo>
                        <a:lnTo>
                          <a:pt x="693" y="220"/>
                        </a:lnTo>
                        <a:lnTo>
                          <a:pt x="694" y="222"/>
                        </a:lnTo>
                        <a:lnTo>
                          <a:pt x="696" y="222"/>
                        </a:lnTo>
                        <a:lnTo>
                          <a:pt x="697" y="222"/>
                        </a:lnTo>
                        <a:lnTo>
                          <a:pt x="699" y="222"/>
                        </a:lnTo>
                        <a:lnTo>
                          <a:pt x="701" y="222"/>
                        </a:lnTo>
                        <a:lnTo>
                          <a:pt x="702" y="222"/>
                        </a:lnTo>
                        <a:lnTo>
                          <a:pt x="702" y="223"/>
                        </a:lnTo>
                        <a:lnTo>
                          <a:pt x="702" y="225"/>
                        </a:lnTo>
                        <a:lnTo>
                          <a:pt x="705" y="226"/>
                        </a:lnTo>
                        <a:lnTo>
                          <a:pt x="707" y="230"/>
                        </a:lnTo>
                        <a:lnTo>
                          <a:pt x="707" y="233"/>
                        </a:lnTo>
                        <a:lnTo>
                          <a:pt x="709" y="234"/>
                        </a:lnTo>
                        <a:lnTo>
                          <a:pt x="709" y="236"/>
                        </a:lnTo>
                        <a:lnTo>
                          <a:pt x="710" y="236"/>
                        </a:lnTo>
                        <a:lnTo>
                          <a:pt x="712" y="236"/>
                        </a:lnTo>
                        <a:lnTo>
                          <a:pt x="713" y="236"/>
                        </a:lnTo>
                        <a:lnTo>
                          <a:pt x="715" y="234"/>
                        </a:lnTo>
                        <a:lnTo>
                          <a:pt x="716" y="234"/>
                        </a:lnTo>
                        <a:lnTo>
                          <a:pt x="718" y="233"/>
                        </a:lnTo>
                        <a:lnTo>
                          <a:pt x="718" y="231"/>
                        </a:lnTo>
                        <a:lnTo>
                          <a:pt x="720" y="231"/>
                        </a:lnTo>
                        <a:lnTo>
                          <a:pt x="721" y="233"/>
                        </a:lnTo>
                        <a:lnTo>
                          <a:pt x="723" y="233"/>
                        </a:lnTo>
                        <a:lnTo>
                          <a:pt x="724" y="231"/>
                        </a:lnTo>
                        <a:lnTo>
                          <a:pt x="724" y="230"/>
                        </a:lnTo>
                        <a:lnTo>
                          <a:pt x="728" y="228"/>
                        </a:lnTo>
                        <a:lnTo>
                          <a:pt x="729" y="226"/>
                        </a:lnTo>
                        <a:lnTo>
                          <a:pt x="731" y="226"/>
                        </a:lnTo>
                        <a:lnTo>
                          <a:pt x="731" y="225"/>
                        </a:lnTo>
                        <a:lnTo>
                          <a:pt x="732" y="225"/>
                        </a:lnTo>
                        <a:lnTo>
                          <a:pt x="734" y="225"/>
                        </a:lnTo>
                        <a:lnTo>
                          <a:pt x="735" y="223"/>
                        </a:lnTo>
                        <a:lnTo>
                          <a:pt x="739" y="223"/>
                        </a:lnTo>
                        <a:lnTo>
                          <a:pt x="740" y="222"/>
                        </a:lnTo>
                        <a:lnTo>
                          <a:pt x="742" y="220"/>
                        </a:lnTo>
                        <a:lnTo>
                          <a:pt x="742" y="219"/>
                        </a:lnTo>
                        <a:lnTo>
                          <a:pt x="743" y="217"/>
                        </a:lnTo>
                        <a:lnTo>
                          <a:pt x="745" y="214"/>
                        </a:lnTo>
                        <a:lnTo>
                          <a:pt x="745" y="212"/>
                        </a:lnTo>
                        <a:lnTo>
                          <a:pt x="743" y="209"/>
                        </a:lnTo>
                        <a:lnTo>
                          <a:pt x="743" y="207"/>
                        </a:lnTo>
                        <a:lnTo>
                          <a:pt x="745" y="206"/>
                        </a:lnTo>
                        <a:lnTo>
                          <a:pt x="745" y="203"/>
                        </a:lnTo>
                        <a:lnTo>
                          <a:pt x="747" y="203"/>
                        </a:lnTo>
                        <a:lnTo>
                          <a:pt x="748" y="203"/>
                        </a:lnTo>
                        <a:lnTo>
                          <a:pt x="750" y="203"/>
                        </a:lnTo>
                        <a:lnTo>
                          <a:pt x="750" y="200"/>
                        </a:lnTo>
                        <a:lnTo>
                          <a:pt x="750" y="198"/>
                        </a:lnTo>
                        <a:lnTo>
                          <a:pt x="751" y="198"/>
                        </a:lnTo>
                        <a:lnTo>
                          <a:pt x="753" y="196"/>
                        </a:lnTo>
                        <a:lnTo>
                          <a:pt x="751" y="196"/>
                        </a:lnTo>
                        <a:lnTo>
                          <a:pt x="753" y="196"/>
                        </a:lnTo>
                        <a:lnTo>
                          <a:pt x="754" y="195"/>
                        </a:lnTo>
                        <a:lnTo>
                          <a:pt x="754" y="193"/>
                        </a:lnTo>
                        <a:lnTo>
                          <a:pt x="756" y="192"/>
                        </a:lnTo>
                        <a:lnTo>
                          <a:pt x="756" y="190"/>
                        </a:lnTo>
                        <a:lnTo>
                          <a:pt x="758" y="190"/>
                        </a:lnTo>
                        <a:lnTo>
                          <a:pt x="758" y="188"/>
                        </a:lnTo>
                        <a:lnTo>
                          <a:pt x="758" y="187"/>
                        </a:lnTo>
                        <a:lnTo>
                          <a:pt x="758" y="185"/>
                        </a:lnTo>
                        <a:lnTo>
                          <a:pt x="759" y="185"/>
                        </a:lnTo>
                        <a:lnTo>
                          <a:pt x="761" y="185"/>
                        </a:lnTo>
                        <a:lnTo>
                          <a:pt x="761" y="184"/>
                        </a:lnTo>
                        <a:lnTo>
                          <a:pt x="761" y="182"/>
                        </a:lnTo>
                        <a:lnTo>
                          <a:pt x="759" y="181"/>
                        </a:lnTo>
                        <a:lnTo>
                          <a:pt x="759" y="179"/>
                        </a:lnTo>
                        <a:lnTo>
                          <a:pt x="759" y="176"/>
                        </a:lnTo>
                        <a:lnTo>
                          <a:pt x="761" y="171"/>
                        </a:lnTo>
                        <a:lnTo>
                          <a:pt x="761" y="168"/>
                        </a:lnTo>
                        <a:lnTo>
                          <a:pt x="761" y="165"/>
                        </a:lnTo>
                        <a:lnTo>
                          <a:pt x="761" y="163"/>
                        </a:lnTo>
                        <a:lnTo>
                          <a:pt x="761" y="161"/>
                        </a:lnTo>
                        <a:lnTo>
                          <a:pt x="762" y="160"/>
                        </a:lnTo>
                        <a:lnTo>
                          <a:pt x="764" y="158"/>
                        </a:lnTo>
                        <a:lnTo>
                          <a:pt x="766" y="157"/>
                        </a:lnTo>
                        <a:lnTo>
                          <a:pt x="767" y="155"/>
                        </a:lnTo>
                        <a:lnTo>
                          <a:pt x="767" y="152"/>
                        </a:lnTo>
                        <a:lnTo>
                          <a:pt x="770" y="147"/>
                        </a:lnTo>
                        <a:lnTo>
                          <a:pt x="770" y="144"/>
                        </a:lnTo>
                        <a:lnTo>
                          <a:pt x="772" y="141"/>
                        </a:lnTo>
                        <a:lnTo>
                          <a:pt x="772" y="138"/>
                        </a:lnTo>
                        <a:lnTo>
                          <a:pt x="772" y="133"/>
                        </a:lnTo>
                        <a:lnTo>
                          <a:pt x="774" y="128"/>
                        </a:lnTo>
                        <a:lnTo>
                          <a:pt x="774" y="123"/>
                        </a:lnTo>
                        <a:lnTo>
                          <a:pt x="775" y="122"/>
                        </a:lnTo>
                        <a:lnTo>
                          <a:pt x="775" y="119"/>
                        </a:lnTo>
                        <a:lnTo>
                          <a:pt x="775" y="116"/>
                        </a:lnTo>
                        <a:lnTo>
                          <a:pt x="777" y="112"/>
                        </a:lnTo>
                        <a:lnTo>
                          <a:pt x="777" y="111"/>
                        </a:lnTo>
                        <a:lnTo>
                          <a:pt x="777" y="109"/>
                        </a:lnTo>
                        <a:lnTo>
                          <a:pt x="778" y="109"/>
                        </a:lnTo>
                        <a:lnTo>
                          <a:pt x="785" y="109"/>
                        </a:lnTo>
                        <a:lnTo>
                          <a:pt x="791" y="108"/>
                        </a:lnTo>
                        <a:lnTo>
                          <a:pt x="799" y="106"/>
                        </a:lnTo>
                        <a:lnTo>
                          <a:pt x="810" y="106"/>
                        </a:lnTo>
                        <a:lnTo>
                          <a:pt x="819" y="106"/>
                        </a:lnTo>
                        <a:lnTo>
                          <a:pt x="829" y="104"/>
                        </a:lnTo>
                        <a:lnTo>
                          <a:pt x="838" y="103"/>
                        </a:lnTo>
                        <a:lnTo>
                          <a:pt x="845" y="103"/>
                        </a:lnTo>
                        <a:lnTo>
                          <a:pt x="851" y="103"/>
                        </a:lnTo>
                        <a:lnTo>
                          <a:pt x="853" y="103"/>
                        </a:lnTo>
                        <a:lnTo>
                          <a:pt x="853" y="101"/>
                        </a:lnTo>
                        <a:lnTo>
                          <a:pt x="854" y="101"/>
                        </a:lnTo>
                        <a:lnTo>
                          <a:pt x="857" y="98"/>
                        </a:lnTo>
                        <a:lnTo>
                          <a:pt x="859" y="95"/>
                        </a:lnTo>
                        <a:lnTo>
                          <a:pt x="865" y="92"/>
                        </a:lnTo>
                        <a:lnTo>
                          <a:pt x="867" y="90"/>
                        </a:lnTo>
                        <a:lnTo>
                          <a:pt x="873" y="90"/>
                        </a:lnTo>
                        <a:lnTo>
                          <a:pt x="880" y="90"/>
                        </a:lnTo>
                        <a:lnTo>
                          <a:pt x="884" y="90"/>
                        </a:lnTo>
                        <a:lnTo>
                          <a:pt x="889" y="90"/>
                        </a:lnTo>
                        <a:lnTo>
                          <a:pt x="892" y="92"/>
                        </a:lnTo>
                        <a:lnTo>
                          <a:pt x="899" y="93"/>
                        </a:lnTo>
                        <a:lnTo>
                          <a:pt x="907" y="95"/>
                        </a:lnTo>
                        <a:lnTo>
                          <a:pt x="908" y="97"/>
                        </a:lnTo>
                        <a:lnTo>
                          <a:pt x="911" y="97"/>
                        </a:lnTo>
                        <a:lnTo>
                          <a:pt x="913" y="98"/>
                        </a:lnTo>
                        <a:lnTo>
                          <a:pt x="916" y="100"/>
                        </a:lnTo>
                        <a:lnTo>
                          <a:pt x="919" y="100"/>
                        </a:lnTo>
                        <a:lnTo>
                          <a:pt x="922" y="103"/>
                        </a:lnTo>
                        <a:lnTo>
                          <a:pt x="926" y="103"/>
                        </a:lnTo>
                        <a:lnTo>
                          <a:pt x="927" y="103"/>
                        </a:lnTo>
                        <a:lnTo>
                          <a:pt x="929" y="103"/>
                        </a:lnTo>
                        <a:lnTo>
                          <a:pt x="930" y="103"/>
                        </a:lnTo>
                        <a:lnTo>
                          <a:pt x="932" y="103"/>
                        </a:lnTo>
                        <a:lnTo>
                          <a:pt x="933" y="103"/>
                        </a:lnTo>
                        <a:lnTo>
                          <a:pt x="935" y="103"/>
                        </a:lnTo>
                        <a:lnTo>
                          <a:pt x="937" y="103"/>
                        </a:lnTo>
                        <a:lnTo>
                          <a:pt x="938" y="103"/>
                        </a:lnTo>
                        <a:lnTo>
                          <a:pt x="938" y="104"/>
                        </a:lnTo>
                        <a:lnTo>
                          <a:pt x="937" y="106"/>
                        </a:lnTo>
                        <a:lnTo>
                          <a:pt x="937" y="108"/>
                        </a:lnTo>
                        <a:lnTo>
                          <a:pt x="937" y="109"/>
                        </a:lnTo>
                        <a:lnTo>
                          <a:pt x="935" y="111"/>
                        </a:lnTo>
                        <a:lnTo>
                          <a:pt x="935" y="112"/>
                        </a:lnTo>
                        <a:lnTo>
                          <a:pt x="935" y="114"/>
                        </a:lnTo>
                        <a:lnTo>
                          <a:pt x="935" y="116"/>
                        </a:lnTo>
                        <a:lnTo>
                          <a:pt x="935" y="117"/>
                        </a:lnTo>
                        <a:lnTo>
                          <a:pt x="935" y="119"/>
                        </a:lnTo>
                        <a:lnTo>
                          <a:pt x="937" y="119"/>
                        </a:lnTo>
                        <a:lnTo>
                          <a:pt x="937" y="120"/>
                        </a:lnTo>
                        <a:lnTo>
                          <a:pt x="938" y="120"/>
                        </a:lnTo>
                        <a:lnTo>
                          <a:pt x="938" y="122"/>
                        </a:lnTo>
                        <a:lnTo>
                          <a:pt x="940" y="122"/>
                        </a:lnTo>
                        <a:lnTo>
                          <a:pt x="940" y="123"/>
                        </a:lnTo>
                        <a:lnTo>
                          <a:pt x="941" y="123"/>
                        </a:lnTo>
                        <a:lnTo>
                          <a:pt x="941" y="125"/>
                        </a:lnTo>
                        <a:lnTo>
                          <a:pt x="941" y="127"/>
                        </a:lnTo>
                        <a:lnTo>
                          <a:pt x="941" y="128"/>
                        </a:lnTo>
                        <a:lnTo>
                          <a:pt x="943" y="128"/>
                        </a:lnTo>
                        <a:lnTo>
                          <a:pt x="943" y="130"/>
                        </a:lnTo>
                        <a:lnTo>
                          <a:pt x="943" y="131"/>
                        </a:lnTo>
                        <a:lnTo>
                          <a:pt x="943" y="133"/>
                        </a:lnTo>
                        <a:lnTo>
                          <a:pt x="943" y="135"/>
                        </a:lnTo>
                        <a:lnTo>
                          <a:pt x="945" y="135"/>
                        </a:lnTo>
                        <a:lnTo>
                          <a:pt x="945" y="136"/>
                        </a:lnTo>
                        <a:lnTo>
                          <a:pt x="946" y="138"/>
                        </a:lnTo>
                        <a:lnTo>
                          <a:pt x="948" y="138"/>
                        </a:lnTo>
                        <a:lnTo>
                          <a:pt x="949" y="139"/>
                        </a:lnTo>
                        <a:lnTo>
                          <a:pt x="949" y="141"/>
                        </a:lnTo>
                        <a:lnTo>
                          <a:pt x="949" y="142"/>
                        </a:lnTo>
                        <a:lnTo>
                          <a:pt x="949" y="144"/>
                        </a:lnTo>
                        <a:lnTo>
                          <a:pt x="951" y="146"/>
                        </a:lnTo>
                        <a:lnTo>
                          <a:pt x="951" y="147"/>
                        </a:lnTo>
                        <a:lnTo>
                          <a:pt x="951" y="149"/>
                        </a:lnTo>
                        <a:lnTo>
                          <a:pt x="953" y="150"/>
                        </a:lnTo>
                        <a:lnTo>
                          <a:pt x="954" y="150"/>
                        </a:lnTo>
                        <a:lnTo>
                          <a:pt x="956" y="150"/>
                        </a:lnTo>
                        <a:lnTo>
                          <a:pt x="957" y="150"/>
                        </a:lnTo>
                        <a:lnTo>
                          <a:pt x="957" y="149"/>
                        </a:lnTo>
                        <a:lnTo>
                          <a:pt x="959" y="149"/>
                        </a:lnTo>
                        <a:lnTo>
                          <a:pt x="959" y="147"/>
                        </a:lnTo>
                        <a:lnTo>
                          <a:pt x="960" y="147"/>
                        </a:lnTo>
                        <a:lnTo>
                          <a:pt x="962" y="146"/>
                        </a:lnTo>
                        <a:lnTo>
                          <a:pt x="964" y="146"/>
                        </a:lnTo>
                        <a:lnTo>
                          <a:pt x="964" y="144"/>
                        </a:lnTo>
                        <a:lnTo>
                          <a:pt x="965" y="144"/>
                        </a:lnTo>
                        <a:lnTo>
                          <a:pt x="967" y="144"/>
                        </a:lnTo>
                        <a:lnTo>
                          <a:pt x="968" y="144"/>
                        </a:lnTo>
                        <a:lnTo>
                          <a:pt x="970" y="144"/>
                        </a:lnTo>
                        <a:lnTo>
                          <a:pt x="972" y="144"/>
                        </a:lnTo>
                        <a:lnTo>
                          <a:pt x="973" y="144"/>
                        </a:lnTo>
                        <a:lnTo>
                          <a:pt x="973" y="146"/>
                        </a:lnTo>
                        <a:lnTo>
                          <a:pt x="975" y="146"/>
                        </a:lnTo>
                        <a:lnTo>
                          <a:pt x="976" y="146"/>
                        </a:lnTo>
                        <a:lnTo>
                          <a:pt x="978" y="146"/>
                        </a:lnTo>
                        <a:lnTo>
                          <a:pt x="978" y="147"/>
                        </a:lnTo>
                        <a:lnTo>
                          <a:pt x="978" y="149"/>
                        </a:lnTo>
                        <a:lnTo>
                          <a:pt x="979" y="149"/>
                        </a:lnTo>
                        <a:lnTo>
                          <a:pt x="979" y="150"/>
                        </a:lnTo>
                        <a:lnTo>
                          <a:pt x="979" y="152"/>
                        </a:lnTo>
                        <a:lnTo>
                          <a:pt x="979" y="154"/>
                        </a:lnTo>
                        <a:lnTo>
                          <a:pt x="979" y="155"/>
                        </a:lnTo>
                        <a:lnTo>
                          <a:pt x="979" y="157"/>
                        </a:lnTo>
                        <a:lnTo>
                          <a:pt x="978" y="157"/>
                        </a:lnTo>
                        <a:lnTo>
                          <a:pt x="978" y="158"/>
                        </a:lnTo>
                        <a:lnTo>
                          <a:pt x="978" y="160"/>
                        </a:lnTo>
                        <a:lnTo>
                          <a:pt x="976" y="161"/>
                        </a:lnTo>
                        <a:lnTo>
                          <a:pt x="975" y="163"/>
                        </a:lnTo>
                        <a:lnTo>
                          <a:pt x="975" y="165"/>
                        </a:lnTo>
                        <a:lnTo>
                          <a:pt x="976" y="165"/>
                        </a:lnTo>
                        <a:lnTo>
                          <a:pt x="976" y="166"/>
                        </a:lnTo>
                        <a:lnTo>
                          <a:pt x="978" y="166"/>
                        </a:lnTo>
                        <a:lnTo>
                          <a:pt x="979" y="166"/>
                        </a:lnTo>
                        <a:lnTo>
                          <a:pt x="981" y="166"/>
                        </a:lnTo>
                        <a:lnTo>
                          <a:pt x="981" y="168"/>
                        </a:lnTo>
                        <a:lnTo>
                          <a:pt x="983" y="168"/>
                        </a:lnTo>
                        <a:lnTo>
                          <a:pt x="984" y="169"/>
                        </a:lnTo>
                        <a:lnTo>
                          <a:pt x="986" y="169"/>
                        </a:lnTo>
                        <a:lnTo>
                          <a:pt x="987" y="169"/>
                        </a:lnTo>
                        <a:lnTo>
                          <a:pt x="989" y="169"/>
                        </a:lnTo>
                        <a:lnTo>
                          <a:pt x="991" y="169"/>
                        </a:lnTo>
                        <a:lnTo>
                          <a:pt x="992" y="169"/>
                        </a:lnTo>
                        <a:lnTo>
                          <a:pt x="994" y="169"/>
                        </a:lnTo>
                        <a:lnTo>
                          <a:pt x="995" y="171"/>
                        </a:lnTo>
                        <a:lnTo>
                          <a:pt x="997" y="171"/>
                        </a:lnTo>
                        <a:lnTo>
                          <a:pt x="998" y="171"/>
                        </a:lnTo>
                        <a:lnTo>
                          <a:pt x="1000" y="173"/>
                        </a:lnTo>
                        <a:lnTo>
                          <a:pt x="1002" y="173"/>
                        </a:lnTo>
                        <a:lnTo>
                          <a:pt x="1003" y="173"/>
                        </a:lnTo>
                        <a:lnTo>
                          <a:pt x="1003" y="174"/>
                        </a:lnTo>
                        <a:lnTo>
                          <a:pt x="1005" y="174"/>
                        </a:lnTo>
                        <a:lnTo>
                          <a:pt x="1005" y="176"/>
                        </a:lnTo>
                        <a:lnTo>
                          <a:pt x="1005" y="177"/>
                        </a:lnTo>
                        <a:lnTo>
                          <a:pt x="1005" y="179"/>
                        </a:lnTo>
                        <a:lnTo>
                          <a:pt x="1006" y="181"/>
                        </a:lnTo>
                        <a:lnTo>
                          <a:pt x="1006" y="182"/>
                        </a:lnTo>
                        <a:lnTo>
                          <a:pt x="1006" y="184"/>
                        </a:lnTo>
                        <a:lnTo>
                          <a:pt x="1006" y="185"/>
                        </a:lnTo>
                        <a:lnTo>
                          <a:pt x="1006" y="187"/>
                        </a:lnTo>
                        <a:lnTo>
                          <a:pt x="1005" y="188"/>
                        </a:lnTo>
                        <a:lnTo>
                          <a:pt x="1005" y="190"/>
                        </a:lnTo>
                        <a:lnTo>
                          <a:pt x="1006" y="192"/>
                        </a:lnTo>
                        <a:lnTo>
                          <a:pt x="1008" y="193"/>
                        </a:lnTo>
                        <a:lnTo>
                          <a:pt x="1010" y="195"/>
                        </a:lnTo>
                        <a:lnTo>
                          <a:pt x="1010" y="196"/>
                        </a:lnTo>
                        <a:lnTo>
                          <a:pt x="1011" y="198"/>
                        </a:lnTo>
                        <a:lnTo>
                          <a:pt x="1013" y="200"/>
                        </a:lnTo>
                        <a:lnTo>
                          <a:pt x="1014" y="200"/>
                        </a:lnTo>
                        <a:lnTo>
                          <a:pt x="1016" y="201"/>
                        </a:lnTo>
                        <a:lnTo>
                          <a:pt x="1017" y="201"/>
                        </a:lnTo>
                        <a:lnTo>
                          <a:pt x="1017" y="203"/>
                        </a:lnTo>
                        <a:lnTo>
                          <a:pt x="1019" y="203"/>
                        </a:lnTo>
                        <a:lnTo>
                          <a:pt x="1019" y="204"/>
                        </a:lnTo>
                        <a:lnTo>
                          <a:pt x="1019" y="206"/>
                        </a:lnTo>
                        <a:lnTo>
                          <a:pt x="1019" y="207"/>
                        </a:lnTo>
                        <a:lnTo>
                          <a:pt x="1019" y="209"/>
                        </a:lnTo>
                        <a:lnTo>
                          <a:pt x="1019" y="211"/>
                        </a:lnTo>
                        <a:lnTo>
                          <a:pt x="1021" y="211"/>
                        </a:lnTo>
                        <a:lnTo>
                          <a:pt x="1019" y="212"/>
                        </a:lnTo>
                        <a:lnTo>
                          <a:pt x="1019" y="214"/>
                        </a:lnTo>
                        <a:lnTo>
                          <a:pt x="1019" y="215"/>
                        </a:lnTo>
                        <a:lnTo>
                          <a:pt x="1017" y="217"/>
                        </a:lnTo>
                        <a:lnTo>
                          <a:pt x="1036" y="220"/>
                        </a:lnTo>
                        <a:lnTo>
                          <a:pt x="1038" y="220"/>
                        </a:lnTo>
                        <a:lnTo>
                          <a:pt x="1038" y="222"/>
                        </a:lnTo>
                        <a:lnTo>
                          <a:pt x="1040" y="222"/>
                        </a:lnTo>
                        <a:lnTo>
                          <a:pt x="1041" y="222"/>
                        </a:lnTo>
                        <a:lnTo>
                          <a:pt x="1043" y="222"/>
                        </a:lnTo>
                        <a:lnTo>
                          <a:pt x="1044" y="222"/>
                        </a:lnTo>
                        <a:lnTo>
                          <a:pt x="1046" y="222"/>
                        </a:lnTo>
                        <a:lnTo>
                          <a:pt x="1048" y="222"/>
                        </a:lnTo>
                        <a:lnTo>
                          <a:pt x="1048" y="223"/>
                        </a:lnTo>
                        <a:lnTo>
                          <a:pt x="1049" y="223"/>
                        </a:lnTo>
                        <a:lnTo>
                          <a:pt x="1051" y="225"/>
                        </a:lnTo>
                        <a:lnTo>
                          <a:pt x="1052" y="225"/>
                        </a:lnTo>
                        <a:lnTo>
                          <a:pt x="1054" y="225"/>
                        </a:lnTo>
                        <a:lnTo>
                          <a:pt x="1054" y="226"/>
                        </a:lnTo>
                        <a:lnTo>
                          <a:pt x="1054" y="228"/>
                        </a:lnTo>
                        <a:lnTo>
                          <a:pt x="1055" y="228"/>
                        </a:lnTo>
                        <a:lnTo>
                          <a:pt x="1055" y="230"/>
                        </a:lnTo>
                        <a:lnTo>
                          <a:pt x="1057" y="230"/>
                        </a:lnTo>
                        <a:lnTo>
                          <a:pt x="1059" y="230"/>
                        </a:lnTo>
                        <a:lnTo>
                          <a:pt x="1060" y="230"/>
                        </a:lnTo>
                        <a:lnTo>
                          <a:pt x="1060" y="231"/>
                        </a:lnTo>
                        <a:lnTo>
                          <a:pt x="1062" y="231"/>
                        </a:lnTo>
                        <a:lnTo>
                          <a:pt x="1063" y="231"/>
                        </a:lnTo>
                        <a:lnTo>
                          <a:pt x="1065" y="231"/>
                        </a:lnTo>
                        <a:lnTo>
                          <a:pt x="1067" y="231"/>
                        </a:lnTo>
                        <a:lnTo>
                          <a:pt x="1068" y="231"/>
                        </a:lnTo>
                        <a:lnTo>
                          <a:pt x="1068" y="230"/>
                        </a:lnTo>
                        <a:lnTo>
                          <a:pt x="1070" y="230"/>
                        </a:lnTo>
                        <a:lnTo>
                          <a:pt x="1071" y="230"/>
                        </a:lnTo>
                        <a:lnTo>
                          <a:pt x="1073" y="230"/>
                        </a:lnTo>
                        <a:lnTo>
                          <a:pt x="1074" y="230"/>
                        </a:lnTo>
                        <a:lnTo>
                          <a:pt x="1076" y="228"/>
                        </a:lnTo>
                        <a:lnTo>
                          <a:pt x="1078" y="230"/>
                        </a:lnTo>
                        <a:lnTo>
                          <a:pt x="1079" y="230"/>
                        </a:lnTo>
                        <a:lnTo>
                          <a:pt x="1081" y="230"/>
                        </a:lnTo>
                        <a:lnTo>
                          <a:pt x="1081" y="231"/>
                        </a:lnTo>
                        <a:lnTo>
                          <a:pt x="1082" y="231"/>
                        </a:lnTo>
                        <a:lnTo>
                          <a:pt x="1084" y="231"/>
                        </a:lnTo>
                        <a:lnTo>
                          <a:pt x="1086" y="231"/>
                        </a:lnTo>
                        <a:lnTo>
                          <a:pt x="1087" y="233"/>
                        </a:lnTo>
                        <a:lnTo>
                          <a:pt x="1089" y="234"/>
                        </a:lnTo>
                        <a:lnTo>
                          <a:pt x="1090" y="234"/>
                        </a:lnTo>
                        <a:lnTo>
                          <a:pt x="1092" y="234"/>
                        </a:lnTo>
                        <a:lnTo>
                          <a:pt x="1092" y="233"/>
                        </a:lnTo>
                        <a:lnTo>
                          <a:pt x="1093" y="231"/>
                        </a:lnTo>
                        <a:lnTo>
                          <a:pt x="1095" y="231"/>
                        </a:lnTo>
                        <a:lnTo>
                          <a:pt x="1097" y="230"/>
                        </a:lnTo>
                        <a:lnTo>
                          <a:pt x="1098" y="228"/>
                        </a:lnTo>
                        <a:lnTo>
                          <a:pt x="1100" y="226"/>
                        </a:lnTo>
                        <a:lnTo>
                          <a:pt x="1100" y="225"/>
                        </a:lnTo>
                        <a:lnTo>
                          <a:pt x="1101" y="223"/>
                        </a:lnTo>
                        <a:lnTo>
                          <a:pt x="1103" y="222"/>
                        </a:lnTo>
                        <a:lnTo>
                          <a:pt x="1105" y="222"/>
                        </a:lnTo>
                        <a:lnTo>
                          <a:pt x="1105" y="220"/>
                        </a:lnTo>
                        <a:lnTo>
                          <a:pt x="1106" y="220"/>
                        </a:lnTo>
                        <a:lnTo>
                          <a:pt x="1106" y="219"/>
                        </a:lnTo>
                        <a:lnTo>
                          <a:pt x="1108" y="217"/>
                        </a:lnTo>
                        <a:lnTo>
                          <a:pt x="1109" y="217"/>
                        </a:lnTo>
                        <a:lnTo>
                          <a:pt x="1109" y="215"/>
                        </a:lnTo>
                        <a:lnTo>
                          <a:pt x="1111" y="215"/>
                        </a:lnTo>
                        <a:lnTo>
                          <a:pt x="1112" y="214"/>
                        </a:lnTo>
                        <a:lnTo>
                          <a:pt x="1114" y="212"/>
                        </a:lnTo>
                        <a:lnTo>
                          <a:pt x="1114" y="211"/>
                        </a:lnTo>
                        <a:lnTo>
                          <a:pt x="1116" y="209"/>
                        </a:lnTo>
                        <a:lnTo>
                          <a:pt x="1116" y="207"/>
                        </a:lnTo>
                        <a:lnTo>
                          <a:pt x="1117" y="206"/>
                        </a:lnTo>
                        <a:lnTo>
                          <a:pt x="1119" y="204"/>
                        </a:lnTo>
                        <a:lnTo>
                          <a:pt x="1119" y="203"/>
                        </a:lnTo>
                        <a:lnTo>
                          <a:pt x="1120" y="201"/>
                        </a:lnTo>
                        <a:lnTo>
                          <a:pt x="1122" y="201"/>
                        </a:lnTo>
                        <a:lnTo>
                          <a:pt x="1124" y="201"/>
                        </a:lnTo>
                        <a:lnTo>
                          <a:pt x="1125" y="203"/>
                        </a:lnTo>
                        <a:lnTo>
                          <a:pt x="1127" y="203"/>
                        </a:lnTo>
                        <a:lnTo>
                          <a:pt x="1128" y="204"/>
                        </a:lnTo>
                        <a:lnTo>
                          <a:pt x="1130" y="204"/>
                        </a:lnTo>
                        <a:lnTo>
                          <a:pt x="1131" y="204"/>
                        </a:lnTo>
                        <a:lnTo>
                          <a:pt x="1133" y="206"/>
                        </a:lnTo>
                        <a:lnTo>
                          <a:pt x="1135" y="206"/>
                        </a:lnTo>
                        <a:lnTo>
                          <a:pt x="1136" y="206"/>
                        </a:lnTo>
                        <a:lnTo>
                          <a:pt x="1136" y="207"/>
                        </a:lnTo>
                        <a:lnTo>
                          <a:pt x="1138" y="207"/>
                        </a:lnTo>
                        <a:lnTo>
                          <a:pt x="1139" y="207"/>
                        </a:lnTo>
                        <a:lnTo>
                          <a:pt x="1141" y="207"/>
                        </a:lnTo>
                        <a:lnTo>
                          <a:pt x="1143" y="207"/>
                        </a:lnTo>
                        <a:lnTo>
                          <a:pt x="1144" y="207"/>
                        </a:lnTo>
                        <a:lnTo>
                          <a:pt x="1144" y="209"/>
                        </a:lnTo>
                        <a:lnTo>
                          <a:pt x="1146" y="209"/>
                        </a:lnTo>
                        <a:lnTo>
                          <a:pt x="1147" y="209"/>
                        </a:lnTo>
                        <a:lnTo>
                          <a:pt x="1149" y="209"/>
                        </a:lnTo>
                        <a:lnTo>
                          <a:pt x="1151" y="209"/>
                        </a:lnTo>
                        <a:lnTo>
                          <a:pt x="1152" y="209"/>
                        </a:lnTo>
                        <a:lnTo>
                          <a:pt x="1154" y="209"/>
                        </a:lnTo>
                        <a:lnTo>
                          <a:pt x="1155" y="209"/>
                        </a:lnTo>
                        <a:lnTo>
                          <a:pt x="1157" y="209"/>
                        </a:lnTo>
                        <a:lnTo>
                          <a:pt x="1158" y="211"/>
                        </a:lnTo>
                        <a:lnTo>
                          <a:pt x="1160" y="211"/>
                        </a:lnTo>
                        <a:lnTo>
                          <a:pt x="1162" y="209"/>
                        </a:lnTo>
                        <a:lnTo>
                          <a:pt x="1163" y="211"/>
                        </a:lnTo>
                        <a:lnTo>
                          <a:pt x="1165" y="209"/>
                        </a:lnTo>
                        <a:lnTo>
                          <a:pt x="1166" y="209"/>
                        </a:lnTo>
                        <a:lnTo>
                          <a:pt x="1168" y="209"/>
                        </a:lnTo>
                        <a:lnTo>
                          <a:pt x="1170" y="209"/>
                        </a:lnTo>
                        <a:lnTo>
                          <a:pt x="1171" y="209"/>
                        </a:lnTo>
                        <a:lnTo>
                          <a:pt x="1173" y="209"/>
                        </a:lnTo>
                        <a:lnTo>
                          <a:pt x="1174" y="209"/>
                        </a:lnTo>
                        <a:lnTo>
                          <a:pt x="1176" y="209"/>
                        </a:lnTo>
                        <a:lnTo>
                          <a:pt x="1177" y="209"/>
                        </a:lnTo>
                        <a:lnTo>
                          <a:pt x="1179" y="207"/>
                        </a:lnTo>
                        <a:lnTo>
                          <a:pt x="1181" y="207"/>
                        </a:lnTo>
                        <a:lnTo>
                          <a:pt x="1181" y="206"/>
                        </a:lnTo>
                        <a:lnTo>
                          <a:pt x="1182" y="206"/>
                        </a:lnTo>
                        <a:lnTo>
                          <a:pt x="1184" y="206"/>
                        </a:lnTo>
                        <a:lnTo>
                          <a:pt x="1185" y="206"/>
                        </a:lnTo>
                        <a:lnTo>
                          <a:pt x="1185" y="207"/>
                        </a:lnTo>
                        <a:lnTo>
                          <a:pt x="1187" y="206"/>
                        </a:lnTo>
                        <a:lnTo>
                          <a:pt x="1189" y="206"/>
                        </a:lnTo>
                        <a:lnTo>
                          <a:pt x="1190" y="206"/>
                        </a:lnTo>
                        <a:lnTo>
                          <a:pt x="1190" y="207"/>
                        </a:lnTo>
                        <a:lnTo>
                          <a:pt x="1192" y="207"/>
                        </a:lnTo>
                        <a:lnTo>
                          <a:pt x="1192" y="209"/>
                        </a:lnTo>
                        <a:lnTo>
                          <a:pt x="1192" y="211"/>
                        </a:lnTo>
                        <a:lnTo>
                          <a:pt x="1193" y="212"/>
                        </a:lnTo>
                        <a:lnTo>
                          <a:pt x="1195" y="214"/>
                        </a:lnTo>
                        <a:lnTo>
                          <a:pt x="1196" y="214"/>
                        </a:lnTo>
                        <a:lnTo>
                          <a:pt x="1198" y="214"/>
                        </a:lnTo>
                        <a:lnTo>
                          <a:pt x="1198" y="215"/>
                        </a:lnTo>
                        <a:lnTo>
                          <a:pt x="1198" y="217"/>
                        </a:lnTo>
                        <a:lnTo>
                          <a:pt x="1200" y="217"/>
                        </a:lnTo>
                        <a:lnTo>
                          <a:pt x="1201" y="217"/>
                        </a:lnTo>
                        <a:lnTo>
                          <a:pt x="1201" y="219"/>
                        </a:lnTo>
                        <a:lnTo>
                          <a:pt x="1203" y="219"/>
                        </a:lnTo>
                        <a:lnTo>
                          <a:pt x="1203" y="220"/>
                        </a:lnTo>
                        <a:lnTo>
                          <a:pt x="1203" y="222"/>
                        </a:lnTo>
                        <a:lnTo>
                          <a:pt x="1204" y="220"/>
                        </a:lnTo>
                        <a:lnTo>
                          <a:pt x="1206" y="220"/>
                        </a:lnTo>
                        <a:lnTo>
                          <a:pt x="1208" y="220"/>
                        </a:lnTo>
                        <a:lnTo>
                          <a:pt x="1208" y="222"/>
                        </a:lnTo>
                        <a:lnTo>
                          <a:pt x="1209" y="222"/>
                        </a:lnTo>
                        <a:lnTo>
                          <a:pt x="1209" y="223"/>
                        </a:lnTo>
                        <a:lnTo>
                          <a:pt x="1208" y="223"/>
                        </a:lnTo>
                        <a:lnTo>
                          <a:pt x="1209" y="225"/>
                        </a:lnTo>
                        <a:lnTo>
                          <a:pt x="1209" y="223"/>
                        </a:lnTo>
                        <a:lnTo>
                          <a:pt x="1211" y="223"/>
                        </a:lnTo>
                        <a:lnTo>
                          <a:pt x="1212" y="225"/>
                        </a:lnTo>
                        <a:lnTo>
                          <a:pt x="1212" y="226"/>
                        </a:lnTo>
                        <a:lnTo>
                          <a:pt x="1214" y="228"/>
                        </a:lnTo>
                        <a:lnTo>
                          <a:pt x="1215" y="228"/>
                        </a:lnTo>
                        <a:lnTo>
                          <a:pt x="1217" y="228"/>
                        </a:lnTo>
                        <a:lnTo>
                          <a:pt x="1217" y="230"/>
                        </a:lnTo>
                        <a:lnTo>
                          <a:pt x="1219" y="230"/>
                        </a:lnTo>
                        <a:lnTo>
                          <a:pt x="1220" y="230"/>
                        </a:lnTo>
                        <a:lnTo>
                          <a:pt x="1220" y="228"/>
                        </a:lnTo>
                        <a:lnTo>
                          <a:pt x="1222" y="228"/>
                        </a:lnTo>
                        <a:lnTo>
                          <a:pt x="1223" y="228"/>
                        </a:lnTo>
                        <a:lnTo>
                          <a:pt x="1225" y="228"/>
                        </a:lnTo>
                        <a:lnTo>
                          <a:pt x="1223" y="230"/>
                        </a:lnTo>
                        <a:lnTo>
                          <a:pt x="1223" y="231"/>
                        </a:lnTo>
                        <a:lnTo>
                          <a:pt x="1225" y="231"/>
                        </a:lnTo>
                        <a:lnTo>
                          <a:pt x="1227" y="231"/>
                        </a:lnTo>
                        <a:lnTo>
                          <a:pt x="1227" y="230"/>
                        </a:lnTo>
                        <a:lnTo>
                          <a:pt x="1228" y="230"/>
                        </a:lnTo>
                        <a:lnTo>
                          <a:pt x="1230" y="231"/>
                        </a:lnTo>
                        <a:lnTo>
                          <a:pt x="1231" y="231"/>
                        </a:lnTo>
                        <a:lnTo>
                          <a:pt x="1233" y="231"/>
                        </a:lnTo>
                        <a:lnTo>
                          <a:pt x="1234" y="231"/>
                        </a:lnTo>
                        <a:lnTo>
                          <a:pt x="1236" y="231"/>
                        </a:lnTo>
                        <a:lnTo>
                          <a:pt x="1236" y="233"/>
                        </a:lnTo>
                        <a:lnTo>
                          <a:pt x="1234" y="234"/>
                        </a:lnTo>
                        <a:lnTo>
                          <a:pt x="1236" y="234"/>
                        </a:lnTo>
                        <a:lnTo>
                          <a:pt x="1238" y="236"/>
                        </a:lnTo>
                        <a:lnTo>
                          <a:pt x="1239" y="236"/>
                        </a:lnTo>
                        <a:lnTo>
                          <a:pt x="1241" y="236"/>
                        </a:lnTo>
                        <a:lnTo>
                          <a:pt x="1242" y="234"/>
                        </a:lnTo>
                        <a:lnTo>
                          <a:pt x="1244" y="234"/>
                        </a:lnTo>
                        <a:lnTo>
                          <a:pt x="1244" y="233"/>
                        </a:lnTo>
                        <a:lnTo>
                          <a:pt x="1246" y="233"/>
                        </a:lnTo>
                        <a:lnTo>
                          <a:pt x="1247" y="233"/>
                        </a:lnTo>
                        <a:lnTo>
                          <a:pt x="1249" y="233"/>
                        </a:lnTo>
                        <a:lnTo>
                          <a:pt x="1250" y="233"/>
                        </a:lnTo>
                        <a:lnTo>
                          <a:pt x="1252" y="234"/>
                        </a:lnTo>
                        <a:lnTo>
                          <a:pt x="1253" y="234"/>
                        </a:lnTo>
                        <a:lnTo>
                          <a:pt x="1255" y="236"/>
                        </a:lnTo>
                        <a:lnTo>
                          <a:pt x="1257" y="236"/>
                        </a:lnTo>
                        <a:lnTo>
                          <a:pt x="1258" y="236"/>
                        </a:lnTo>
                        <a:lnTo>
                          <a:pt x="1260" y="236"/>
                        </a:lnTo>
                        <a:lnTo>
                          <a:pt x="1261" y="238"/>
                        </a:lnTo>
                        <a:lnTo>
                          <a:pt x="1261" y="236"/>
                        </a:lnTo>
                        <a:lnTo>
                          <a:pt x="1263" y="238"/>
                        </a:lnTo>
                        <a:lnTo>
                          <a:pt x="1265" y="238"/>
                        </a:lnTo>
                        <a:lnTo>
                          <a:pt x="1263" y="238"/>
                        </a:lnTo>
                        <a:lnTo>
                          <a:pt x="1261" y="239"/>
                        </a:lnTo>
                        <a:lnTo>
                          <a:pt x="1263" y="239"/>
                        </a:lnTo>
                        <a:lnTo>
                          <a:pt x="1263" y="241"/>
                        </a:lnTo>
                        <a:lnTo>
                          <a:pt x="1265" y="241"/>
                        </a:lnTo>
                        <a:lnTo>
                          <a:pt x="1266" y="241"/>
                        </a:lnTo>
                        <a:lnTo>
                          <a:pt x="1266" y="239"/>
                        </a:lnTo>
                        <a:lnTo>
                          <a:pt x="1268" y="239"/>
                        </a:lnTo>
                        <a:lnTo>
                          <a:pt x="1268" y="241"/>
                        </a:lnTo>
                        <a:lnTo>
                          <a:pt x="1269" y="241"/>
                        </a:lnTo>
                        <a:lnTo>
                          <a:pt x="1271" y="241"/>
                        </a:lnTo>
                        <a:lnTo>
                          <a:pt x="1272" y="242"/>
                        </a:lnTo>
                        <a:lnTo>
                          <a:pt x="1274" y="242"/>
                        </a:lnTo>
                        <a:lnTo>
                          <a:pt x="1276" y="242"/>
                        </a:lnTo>
                        <a:lnTo>
                          <a:pt x="1276" y="244"/>
                        </a:lnTo>
                        <a:lnTo>
                          <a:pt x="1277" y="244"/>
                        </a:lnTo>
                        <a:lnTo>
                          <a:pt x="1279" y="244"/>
                        </a:lnTo>
                        <a:lnTo>
                          <a:pt x="1280" y="245"/>
                        </a:lnTo>
                        <a:lnTo>
                          <a:pt x="1282" y="245"/>
                        </a:lnTo>
                        <a:lnTo>
                          <a:pt x="1284" y="245"/>
                        </a:lnTo>
                        <a:lnTo>
                          <a:pt x="1284" y="247"/>
                        </a:lnTo>
                        <a:lnTo>
                          <a:pt x="1285" y="245"/>
                        </a:lnTo>
                        <a:lnTo>
                          <a:pt x="1287" y="244"/>
                        </a:lnTo>
                        <a:lnTo>
                          <a:pt x="1288" y="244"/>
                        </a:lnTo>
                        <a:lnTo>
                          <a:pt x="1290" y="245"/>
                        </a:lnTo>
                        <a:lnTo>
                          <a:pt x="1291" y="245"/>
                        </a:lnTo>
                        <a:lnTo>
                          <a:pt x="1293" y="245"/>
                        </a:lnTo>
                        <a:lnTo>
                          <a:pt x="1293" y="247"/>
                        </a:lnTo>
                        <a:lnTo>
                          <a:pt x="1295" y="249"/>
                        </a:lnTo>
                        <a:lnTo>
                          <a:pt x="1296" y="250"/>
                        </a:lnTo>
                        <a:lnTo>
                          <a:pt x="1298" y="252"/>
                        </a:lnTo>
                        <a:lnTo>
                          <a:pt x="1299" y="253"/>
                        </a:lnTo>
                        <a:lnTo>
                          <a:pt x="1301" y="253"/>
                        </a:lnTo>
                        <a:lnTo>
                          <a:pt x="1303" y="253"/>
                        </a:lnTo>
                        <a:lnTo>
                          <a:pt x="1304" y="253"/>
                        </a:lnTo>
                        <a:lnTo>
                          <a:pt x="1306" y="253"/>
                        </a:lnTo>
                        <a:lnTo>
                          <a:pt x="1307" y="253"/>
                        </a:lnTo>
                        <a:lnTo>
                          <a:pt x="1309" y="253"/>
                        </a:lnTo>
                        <a:lnTo>
                          <a:pt x="1309" y="252"/>
                        </a:lnTo>
                        <a:lnTo>
                          <a:pt x="1310" y="252"/>
                        </a:lnTo>
                        <a:lnTo>
                          <a:pt x="1312" y="252"/>
                        </a:lnTo>
                        <a:lnTo>
                          <a:pt x="1314" y="252"/>
                        </a:lnTo>
                        <a:lnTo>
                          <a:pt x="1314" y="253"/>
                        </a:lnTo>
                        <a:lnTo>
                          <a:pt x="1315" y="253"/>
                        </a:lnTo>
                        <a:lnTo>
                          <a:pt x="1314" y="255"/>
                        </a:lnTo>
                        <a:lnTo>
                          <a:pt x="1314" y="257"/>
                        </a:lnTo>
                        <a:lnTo>
                          <a:pt x="1312" y="258"/>
                        </a:lnTo>
                        <a:lnTo>
                          <a:pt x="1312" y="260"/>
                        </a:lnTo>
                        <a:lnTo>
                          <a:pt x="1310" y="260"/>
                        </a:lnTo>
                        <a:lnTo>
                          <a:pt x="1310" y="261"/>
                        </a:lnTo>
                        <a:lnTo>
                          <a:pt x="1309" y="261"/>
                        </a:lnTo>
                        <a:lnTo>
                          <a:pt x="1309" y="263"/>
                        </a:lnTo>
                        <a:lnTo>
                          <a:pt x="1307" y="264"/>
                        </a:lnTo>
                        <a:lnTo>
                          <a:pt x="1306" y="264"/>
                        </a:lnTo>
                        <a:lnTo>
                          <a:pt x="1306" y="266"/>
                        </a:lnTo>
                        <a:lnTo>
                          <a:pt x="1304" y="266"/>
                        </a:lnTo>
                        <a:lnTo>
                          <a:pt x="1303" y="268"/>
                        </a:lnTo>
                        <a:lnTo>
                          <a:pt x="1303" y="269"/>
                        </a:lnTo>
                        <a:lnTo>
                          <a:pt x="1301" y="271"/>
                        </a:lnTo>
                        <a:lnTo>
                          <a:pt x="1299" y="271"/>
                        </a:lnTo>
                        <a:lnTo>
                          <a:pt x="1299" y="272"/>
                        </a:lnTo>
                        <a:lnTo>
                          <a:pt x="1299" y="274"/>
                        </a:lnTo>
                        <a:lnTo>
                          <a:pt x="1298" y="274"/>
                        </a:lnTo>
                        <a:lnTo>
                          <a:pt x="1298" y="276"/>
                        </a:lnTo>
                        <a:lnTo>
                          <a:pt x="1296" y="277"/>
                        </a:lnTo>
                        <a:lnTo>
                          <a:pt x="1296" y="279"/>
                        </a:lnTo>
                        <a:lnTo>
                          <a:pt x="1296" y="280"/>
                        </a:lnTo>
                        <a:lnTo>
                          <a:pt x="1296" y="282"/>
                        </a:lnTo>
                        <a:lnTo>
                          <a:pt x="1296" y="283"/>
                        </a:lnTo>
                        <a:lnTo>
                          <a:pt x="1296" y="285"/>
                        </a:lnTo>
                        <a:lnTo>
                          <a:pt x="1296" y="287"/>
                        </a:lnTo>
                        <a:lnTo>
                          <a:pt x="1296" y="288"/>
                        </a:lnTo>
                        <a:lnTo>
                          <a:pt x="1295" y="290"/>
                        </a:lnTo>
                        <a:lnTo>
                          <a:pt x="1293" y="291"/>
                        </a:lnTo>
                        <a:lnTo>
                          <a:pt x="1291" y="291"/>
                        </a:lnTo>
                        <a:lnTo>
                          <a:pt x="1291" y="293"/>
                        </a:lnTo>
                        <a:lnTo>
                          <a:pt x="1290" y="295"/>
                        </a:lnTo>
                        <a:lnTo>
                          <a:pt x="1290" y="296"/>
                        </a:lnTo>
                        <a:lnTo>
                          <a:pt x="1288" y="298"/>
                        </a:lnTo>
                        <a:lnTo>
                          <a:pt x="1287" y="298"/>
                        </a:lnTo>
                        <a:lnTo>
                          <a:pt x="1285" y="298"/>
                        </a:lnTo>
                        <a:lnTo>
                          <a:pt x="1284" y="298"/>
                        </a:lnTo>
                        <a:lnTo>
                          <a:pt x="1282" y="298"/>
                        </a:lnTo>
                        <a:lnTo>
                          <a:pt x="1280" y="298"/>
                        </a:lnTo>
                        <a:lnTo>
                          <a:pt x="1280" y="299"/>
                        </a:lnTo>
                        <a:lnTo>
                          <a:pt x="1280" y="301"/>
                        </a:lnTo>
                        <a:lnTo>
                          <a:pt x="1282" y="302"/>
                        </a:lnTo>
                        <a:lnTo>
                          <a:pt x="1282" y="304"/>
                        </a:lnTo>
                        <a:lnTo>
                          <a:pt x="1284" y="304"/>
                        </a:lnTo>
                        <a:lnTo>
                          <a:pt x="1284" y="306"/>
                        </a:lnTo>
                        <a:lnTo>
                          <a:pt x="1285" y="307"/>
                        </a:lnTo>
                        <a:lnTo>
                          <a:pt x="1285" y="309"/>
                        </a:lnTo>
                        <a:lnTo>
                          <a:pt x="1287" y="309"/>
                        </a:lnTo>
                        <a:lnTo>
                          <a:pt x="1287" y="310"/>
                        </a:lnTo>
                        <a:lnTo>
                          <a:pt x="1288" y="312"/>
                        </a:lnTo>
                        <a:lnTo>
                          <a:pt x="1290" y="312"/>
                        </a:lnTo>
                        <a:lnTo>
                          <a:pt x="1291" y="314"/>
                        </a:lnTo>
                        <a:lnTo>
                          <a:pt x="1293" y="314"/>
                        </a:lnTo>
                        <a:lnTo>
                          <a:pt x="1293" y="315"/>
                        </a:lnTo>
                        <a:lnTo>
                          <a:pt x="1295" y="315"/>
                        </a:lnTo>
                        <a:lnTo>
                          <a:pt x="1296" y="317"/>
                        </a:lnTo>
                        <a:lnTo>
                          <a:pt x="1296" y="318"/>
                        </a:lnTo>
                        <a:lnTo>
                          <a:pt x="1298" y="318"/>
                        </a:lnTo>
                        <a:lnTo>
                          <a:pt x="1299" y="320"/>
                        </a:lnTo>
                        <a:lnTo>
                          <a:pt x="1301" y="320"/>
                        </a:lnTo>
                        <a:lnTo>
                          <a:pt x="1301" y="321"/>
                        </a:lnTo>
                        <a:lnTo>
                          <a:pt x="1303" y="321"/>
                        </a:lnTo>
                        <a:lnTo>
                          <a:pt x="1304" y="323"/>
                        </a:lnTo>
                        <a:lnTo>
                          <a:pt x="1304" y="325"/>
                        </a:lnTo>
                        <a:lnTo>
                          <a:pt x="1303" y="326"/>
                        </a:lnTo>
                        <a:lnTo>
                          <a:pt x="1303" y="328"/>
                        </a:lnTo>
                        <a:lnTo>
                          <a:pt x="1303" y="329"/>
                        </a:lnTo>
                        <a:lnTo>
                          <a:pt x="1304" y="329"/>
                        </a:lnTo>
                        <a:lnTo>
                          <a:pt x="1306" y="331"/>
                        </a:lnTo>
                        <a:lnTo>
                          <a:pt x="1307" y="331"/>
                        </a:lnTo>
                        <a:lnTo>
                          <a:pt x="1309" y="331"/>
                        </a:lnTo>
                        <a:lnTo>
                          <a:pt x="1310" y="333"/>
                        </a:lnTo>
                        <a:lnTo>
                          <a:pt x="1312" y="333"/>
                        </a:lnTo>
                        <a:lnTo>
                          <a:pt x="1314" y="333"/>
                        </a:lnTo>
                        <a:lnTo>
                          <a:pt x="1315" y="334"/>
                        </a:lnTo>
                        <a:lnTo>
                          <a:pt x="1318" y="334"/>
                        </a:lnTo>
                        <a:lnTo>
                          <a:pt x="1320" y="334"/>
                        </a:lnTo>
                        <a:lnTo>
                          <a:pt x="1322" y="334"/>
                        </a:lnTo>
                        <a:lnTo>
                          <a:pt x="1323" y="334"/>
                        </a:lnTo>
                        <a:lnTo>
                          <a:pt x="1325" y="334"/>
                        </a:lnTo>
                        <a:lnTo>
                          <a:pt x="1326" y="334"/>
                        </a:lnTo>
                        <a:lnTo>
                          <a:pt x="1328" y="334"/>
                        </a:lnTo>
                        <a:lnTo>
                          <a:pt x="1330" y="334"/>
                        </a:lnTo>
                        <a:lnTo>
                          <a:pt x="1331" y="334"/>
                        </a:lnTo>
                        <a:lnTo>
                          <a:pt x="1333" y="334"/>
                        </a:lnTo>
                        <a:lnTo>
                          <a:pt x="1334" y="334"/>
                        </a:lnTo>
                        <a:lnTo>
                          <a:pt x="1336" y="334"/>
                        </a:lnTo>
                        <a:lnTo>
                          <a:pt x="1337" y="333"/>
                        </a:lnTo>
                        <a:lnTo>
                          <a:pt x="1337" y="334"/>
                        </a:lnTo>
                        <a:lnTo>
                          <a:pt x="1339" y="336"/>
                        </a:lnTo>
                        <a:lnTo>
                          <a:pt x="1341" y="336"/>
                        </a:lnTo>
                        <a:lnTo>
                          <a:pt x="1341" y="337"/>
                        </a:lnTo>
                        <a:lnTo>
                          <a:pt x="1342" y="336"/>
                        </a:lnTo>
                        <a:lnTo>
                          <a:pt x="1344" y="337"/>
                        </a:lnTo>
                        <a:lnTo>
                          <a:pt x="1345" y="337"/>
                        </a:lnTo>
                        <a:lnTo>
                          <a:pt x="1347" y="337"/>
                        </a:lnTo>
                        <a:lnTo>
                          <a:pt x="1349" y="336"/>
                        </a:lnTo>
                        <a:lnTo>
                          <a:pt x="1350" y="336"/>
                        </a:lnTo>
                        <a:lnTo>
                          <a:pt x="1352" y="336"/>
                        </a:lnTo>
                        <a:lnTo>
                          <a:pt x="1353" y="336"/>
                        </a:lnTo>
                        <a:lnTo>
                          <a:pt x="1355" y="336"/>
                        </a:lnTo>
                        <a:lnTo>
                          <a:pt x="1356" y="336"/>
                        </a:lnTo>
                        <a:lnTo>
                          <a:pt x="1358" y="336"/>
                        </a:lnTo>
                        <a:lnTo>
                          <a:pt x="1356" y="337"/>
                        </a:lnTo>
                        <a:lnTo>
                          <a:pt x="1356" y="339"/>
                        </a:lnTo>
                        <a:lnTo>
                          <a:pt x="1356" y="340"/>
                        </a:lnTo>
                        <a:lnTo>
                          <a:pt x="1356" y="342"/>
                        </a:lnTo>
                        <a:lnTo>
                          <a:pt x="1356" y="344"/>
                        </a:lnTo>
                        <a:lnTo>
                          <a:pt x="1356" y="345"/>
                        </a:lnTo>
                        <a:lnTo>
                          <a:pt x="1356" y="347"/>
                        </a:lnTo>
                        <a:lnTo>
                          <a:pt x="1355" y="347"/>
                        </a:lnTo>
                        <a:lnTo>
                          <a:pt x="1355" y="348"/>
                        </a:lnTo>
                        <a:lnTo>
                          <a:pt x="1355" y="350"/>
                        </a:lnTo>
                        <a:lnTo>
                          <a:pt x="1353" y="350"/>
                        </a:lnTo>
                        <a:lnTo>
                          <a:pt x="1353" y="352"/>
                        </a:lnTo>
                        <a:lnTo>
                          <a:pt x="1353" y="353"/>
                        </a:lnTo>
                        <a:lnTo>
                          <a:pt x="1353" y="355"/>
                        </a:lnTo>
                        <a:lnTo>
                          <a:pt x="1355" y="355"/>
                        </a:lnTo>
                        <a:lnTo>
                          <a:pt x="1355" y="356"/>
                        </a:lnTo>
                        <a:lnTo>
                          <a:pt x="1355" y="358"/>
                        </a:lnTo>
                        <a:lnTo>
                          <a:pt x="1356" y="358"/>
                        </a:lnTo>
                        <a:lnTo>
                          <a:pt x="1356" y="360"/>
                        </a:lnTo>
                        <a:lnTo>
                          <a:pt x="1356" y="361"/>
                        </a:lnTo>
                        <a:lnTo>
                          <a:pt x="1355" y="361"/>
                        </a:lnTo>
                        <a:lnTo>
                          <a:pt x="1355" y="363"/>
                        </a:lnTo>
                        <a:lnTo>
                          <a:pt x="1353" y="363"/>
                        </a:lnTo>
                        <a:lnTo>
                          <a:pt x="1352" y="363"/>
                        </a:lnTo>
                        <a:lnTo>
                          <a:pt x="1352" y="364"/>
                        </a:lnTo>
                        <a:lnTo>
                          <a:pt x="1350" y="364"/>
                        </a:lnTo>
                        <a:lnTo>
                          <a:pt x="1350" y="366"/>
                        </a:lnTo>
                        <a:lnTo>
                          <a:pt x="1350" y="367"/>
                        </a:lnTo>
                        <a:lnTo>
                          <a:pt x="1350" y="369"/>
                        </a:lnTo>
                        <a:lnTo>
                          <a:pt x="1352" y="371"/>
                        </a:lnTo>
                        <a:lnTo>
                          <a:pt x="1353" y="372"/>
                        </a:lnTo>
                        <a:lnTo>
                          <a:pt x="1353" y="374"/>
                        </a:lnTo>
                        <a:lnTo>
                          <a:pt x="1355" y="374"/>
                        </a:lnTo>
                        <a:lnTo>
                          <a:pt x="1356" y="375"/>
                        </a:lnTo>
                        <a:lnTo>
                          <a:pt x="1358" y="375"/>
                        </a:lnTo>
                        <a:lnTo>
                          <a:pt x="1360" y="377"/>
                        </a:lnTo>
                        <a:lnTo>
                          <a:pt x="1361" y="379"/>
                        </a:lnTo>
                        <a:lnTo>
                          <a:pt x="1361" y="380"/>
                        </a:lnTo>
                        <a:lnTo>
                          <a:pt x="1363" y="382"/>
                        </a:lnTo>
                        <a:lnTo>
                          <a:pt x="1364" y="382"/>
                        </a:lnTo>
                        <a:lnTo>
                          <a:pt x="1366" y="383"/>
                        </a:lnTo>
                        <a:lnTo>
                          <a:pt x="1368" y="383"/>
                        </a:lnTo>
                        <a:lnTo>
                          <a:pt x="1369" y="383"/>
                        </a:lnTo>
                        <a:lnTo>
                          <a:pt x="1371" y="383"/>
                        </a:lnTo>
                        <a:lnTo>
                          <a:pt x="1372" y="383"/>
                        </a:lnTo>
                        <a:lnTo>
                          <a:pt x="1374" y="383"/>
                        </a:lnTo>
                        <a:lnTo>
                          <a:pt x="1375" y="383"/>
                        </a:lnTo>
                        <a:lnTo>
                          <a:pt x="1377" y="383"/>
                        </a:lnTo>
                        <a:lnTo>
                          <a:pt x="1379" y="383"/>
                        </a:lnTo>
                        <a:lnTo>
                          <a:pt x="1380" y="383"/>
                        </a:lnTo>
                        <a:lnTo>
                          <a:pt x="1380" y="385"/>
                        </a:lnTo>
                        <a:lnTo>
                          <a:pt x="1382" y="385"/>
                        </a:lnTo>
                        <a:lnTo>
                          <a:pt x="1382" y="383"/>
                        </a:lnTo>
                        <a:lnTo>
                          <a:pt x="1383" y="383"/>
                        </a:lnTo>
                        <a:lnTo>
                          <a:pt x="1385" y="383"/>
                        </a:lnTo>
                        <a:lnTo>
                          <a:pt x="1385" y="382"/>
                        </a:lnTo>
                        <a:lnTo>
                          <a:pt x="1387" y="382"/>
                        </a:lnTo>
                        <a:lnTo>
                          <a:pt x="1388" y="380"/>
                        </a:lnTo>
                        <a:lnTo>
                          <a:pt x="1390" y="380"/>
                        </a:lnTo>
                        <a:lnTo>
                          <a:pt x="1390" y="379"/>
                        </a:lnTo>
                        <a:lnTo>
                          <a:pt x="1391" y="377"/>
                        </a:lnTo>
                        <a:lnTo>
                          <a:pt x="1393" y="377"/>
                        </a:lnTo>
                        <a:lnTo>
                          <a:pt x="1394" y="375"/>
                        </a:lnTo>
                        <a:lnTo>
                          <a:pt x="1396" y="375"/>
                        </a:lnTo>
                        <a:lnTo>
                          <a:pt x="1396" y="374"/>
                        </a:lnTo>
                        <a:lnTo>
                          <a:pt x="1398" y="374"/>
                        </a:lnTo>
                        <a:lnTo>
                          <a:pt x="1398" y="372"/>
                        </a:lnTo>
                        <a:lnTo>
                          <a:pt x="1399" y="372"/>
                        </a:lnTo>
                        <a:lnTo>
                          <a:pt x="1401" y="371"/>
                        </a:lnTo>
                        <a:lnTo>
                          <a:pt x="1402" y="371"/>
                        </a:lnTo>
                        <a:lnTo>
                          <a:pt x="1402" y="372"/>
                        </a:lnTo>
                        <a:lnTo>
                          <a:pt x="1404" y="372"/>
                        </a:lnTo>
                        <a:lnTo>
                          <a:pt x="1406" y="372"/>
                        </a:lnTo>
                        <a:lnTo>
                          <a:pt x="1407" y="374"/>
                        </a:lnTo>
                        <a:lnTo>
                          <a:pt x="1407" y="375"/>
                        </a:lnTo>
                        <a:lnTo>
                          <a:pt x="1409" y="375"/>
                        </a:lnTo>
                        <a:lnTo>
                          <a:pt x="1410" y="374"/>
                        </a:lnTo>
                        <a:lnTo>
                          <a:pt x="1412" y="375"/>
                        </a:lnTo>
                        <a:lnTo>
                          <a:pt x="1413" y="375"/>
                        </a:lnTo>
                        <a:lnTo>
                          <a:pt x="1415" y="375"/>
                        </a:lnTo>
                        <a:lnTo>
                          <a:pt x="1417" y="375"/>
                        </a:lnTo>
                        <a:lnTo>
                          <a:pt x="1418" y="375"/>
                        </a:lnTo>
                        <a:lnTo>
                          <a:pt x="1420" y="375"/>
                        </a:lnTo>
                        <a:lnTo>
                          <a:pt x="1421" y="375"/>
                        </a:lnTo>
                        <a:lnTo>
                          <a:pt x="1421" y="374"/>
                        </a:lnTo>
                        <a:lnTo>
                          <a:pt x="1423" y="374"/>
                        </a:lnTo>
                        <a:lnTo>
                          <a:pt x="1423" y="372"/>
                        </a:lnTo>
                        <a:lnTo>
                          <a:pt x="1425" y="372"/>
                        </a:lnTo>
                        <a:lnTo>
                          <a:pt x="1425" y="371"/>
                        </a:lnTo>
                        <a:lnTo>
                          <a:pt x="1426" y="371"/>
                        </a:lnTo>
                        <a:lnTo>
                          <a:pt x="1426" y="369"/>
                        </a:lnTo>
                        <a:lnTo>
                          <a:pt x="1428" y="369"/>
                        </a:lnTo>
                        <a:lnTo>
                          <a:pt x="1429" y="369"/>
                        </a:lnTo>
                        <a:lnTo>
                          <a:pt x="1431" y="367"/>
                        </a:lnTo>
                        <a:lnTo>
                          <a:pt x="1432" y="367"/>
                        </a:lnTo>
                        <a:lnTo>
                          <a:pt x="1434" y="367"/>
                        </a:lnTo>
                        <a:lnTo>
                          <a:pt x="1434" y="366"/>
                        </a:lnTo>
                        <a:lnTo>
                          <a:pt x="1436" y="366"/>
                        </a:lnTo>
                        <a:lnTo>
                          <a:pt x="1436" y="364"/>
                        </a:lnTo>
                        <a:lnTo>
                          <a:pt x="1437" y="364"/>
                        </a:lnTo>
                        <a:lnTo>
                          <a:pt x="1439" y="364"/>
                        </a:lnTo>
                        <a:lnTo>
                          <a:pt x="1440" y="363"/>
                        </a:lnTo>
                        <a:lnTo>
                          <a:pt x="1442" y="364"/>
                        </a:lnTo>
                        <a:lnTo>
                          <a:pt x="1442" y="363"/>
                        </a:lnTo>
                        <a:lnTo>
                          <a:pt x="1444" y="363"/>
                        </a:lnTo>
                        <a:lnTo>
                          <a:pt x="1445" y="363"/>
                        </a:lnTo>
                        <a:lnTo>
                          <a:pt x="1447" y="363"/>
                        </a:lnTo>
                        <a:lnTo>
                          <a:pt x="1447" y="361"/>
                        </a:lnTo>
                        <a:lnTo>
                          <a:pt x="1448" y="361"/>
                        </a:lnTo>
                        <a:lnTo>
                          <a:pt x="1450" y="361"/>
                        </a:lnTo>
                        <a:lnTo>
                          <a:pt x="1450" y="360"/>
                        </a:lnTo>
                        <a:lnTo>
                          <a:pt x="1451" y="360"/>
                        </a:lnTo>
                        <a:lnTo>
                          <a:pt x="1453" y="360"/>
                        </a:lnTo>
                        <a:lnTo>
                          <a:pt x="1455" y="358"/>
                        </a:lnTo>
                        <a:lnTo>
                          <a:pt x="1456" y="358"/>
                        </a:lnTo>
                        <a:lnTo>
                          <a:pt x="1458" y="358"/>
                        </a:lnTo>
                        <a:lnTo>
                          <a:pt x="1459" y="358"/>
                        </a:lnTo>
                        <a:lnTo>
                          <a:pt x="1459" y="360"/>
                        </a:lnTo>
                        <a:lnTo>
                          <a:pt x="1461" y="360"/>
                        </a:lnTo>
                        <a:lnTo>
                          <a:pt x="1461" y="358"/>
                        </a:lnTo>
                        <a:lnTo>
                          <a:pt x="1463" y="358"/>
                        </a:lnTo>
                        <a:lnTo>
                          <a:pt x="1463" y="356"/>
                        </a:lnTo>
                        <a:lnTo>
                          <a:pt x="1464" y="356"/>
                        </a:lnTo>
                        <a:lnTo>
                          <a:pt x="1464" y="355"/>
                        </a:lnTo>
                        <a:lnTo>
                          <a:pt x="1466" y="355"/>
                        </a:lnTo>
                        <a:lnTo>
                          <a:pt x="1467" y="353"/>
                        </a:lnTo>
                        <a:lnTo>
                          <a:pt x="1469" y="353"/>
                        </a:lnTo>
                        <a:lnTo>
                          <a:pt x="1470" y="353"/>
                        </a:lnTo>
                        <a:lnTo>
                          <a:pt x="1472" y="353"/>
                        </a:lnTo>
                        <a:lnTo>
                          <a:pt x="1474" y="353"/>
                        </a:lnTo>
                        <a:lnTo>
                          <a:pt x="1474" y="352"/>
                        </a:lnTo>
                        <a:lnTo>
                          <a:pt x="1472" y="352"/>
                        </a:lnTo>
                        <a:lnTo>
                          <a:pt x="1474" y="350"/>
                        </a:lnTo>
                        <a:lnTo>
                          <a:pt x="1475" y="350"/>
                        </a:lnTo>
                        <a:lnTo>
                          <a:pt x="1477" y="350"/>
                        </a:lnTo>
                        <a:lnTo>
                          <a:pt x="1478" y="350"/>
                        </a:lnTo>
                        <a:lnTo>
                          <a:pt x="1480" y="348"/>
                        </a:lnTo>
                        <a:lnTo>
                          <a:pt x="1478" y="347"/>
                        </a:lnTo>
                        <a:lnTo>
                          <a:pt x="1480" y="347"/>
                        </a:lnTo>
                        <a:lnTo>
                          <a:pt x="1480" y="345"/>
                        </a:lnTo>
                        <a:lnTo>
                          <a:pt x="1482" y="345"/>
                        </a:lnTo>
                        <a:lnTo>
                          <a:pt x="1483" y="345"/>
                        </a:lnTo>
                        <a:lnTo>
                          <a:pt x="1483" y="344"/>
                        </a:lnTo>
                        <a:lnTo>
                          <a:pt x="1483" y="342"/>
                        </a:lnTo>
                        <a:lnTo>
                          <a:pt x="1483" y="340"/>
                        </a:lnTo>
                        <a:lnTo>
                          <a:pt x="1485" y="339"/>
                        </a:lnTo>
                        <a:lnTo>
                          <a:pt x="1486" y="339"/>
                        </a:lnTo>
                        <a:lnTo>
                          <a:pt x="1486" y="337"/>
                        </a:lnTo>
                        <a:lnTo>
                          <a:pt x="1488" y="336"/>
                        </a:lnTo>
                        <a:lnTo>
                          <a:pt x="1486" y="334"/>
                        </a:lnTo>
                        <a:lnTo>
                          <a:pt x="1488" y="334"/>
                        </a:lnTo>
                        <a:lnTo>
                          <a:pt x="1489" y="334"/>
                        </a:lnTo>
                        <a:lnTo>
                          <a:pt x="1489" y="336"/>
                        </a:lnTo>
                        <a:lnTo>
                          <a:pt x="1491" y="334"/>
                        </a:lnTo>
                        <a:lnTo>
                          <a:pt x="1493" y="334"/>
                        </a:lnTo>
                        <a:lnTo>
                          <a:pt x="1494" y="334"/>
                        </a:lnTo>
                        <a:lnTo>
                          <a:pt x="1496" y="334"/>
                        </a:lnTo>
                        <a:lnTo>
                          <a:pt x="1496" y="333"/>
                        </a:lnTo>
                        <a:lnTo>
                          <a:pt x="1496" y="331"/>
                        </a:lnTo>
                        <a:lnTo>
                          <a:pt x="1496" y="329"/>
                        </a:lnTo>
                        <a:lnTo>
                          <a:pt x="1494" y="328"/>
                        </a:lnTo>
                        <a:lnTo>
                          <a:pt x="1494" y="326"/>
                        </a:lnTo>
                        <a:lnTo>
                          <a:pt x="1493" y="326"/>
                        </a:lnTo>
                        <a:lnTo>
                          <a:pt x="1494" y="325"/>
                        </a:lnTo>
                        <a:lnTo>
                          <a:pt x="1496" y="325"/>
                        </a:lnTo>
                        <a:lnTo>
                          <a:pt x="1497" y="325"/>
                        </a:lnTo>
                        <a:lnTo>
                          <a:pt x="1499" y="323"/>
                        </a:lnTo>
                        <a:lnTo>
                          <a:pt x="1501" y="325"/>
                        </a:lnTo>
                        <a:lnTo>
                          <a:pt x="1502" y="325"/>
                        </a:lnTo>
                        <a:lnTo>
                          <a:pt x="1504" y="325"/>
                        </a:lnTo>
                        <a:lnTo>
                          <a:pt x="1504" y="323"/>
                        </a:lnTo>
                        <a:lnTo>
                          <a:pt x="1505" y="323"/>
                        </a:lnTo>
                        <a:lnTo>
                          <a:pt x="1505" y="321"/>
                        </a:lnTo>
                        <a:lnTo>
                          <a:pt x="1507" y="321"/>
                        </a:lnTo>
                        <a:lnTo>
                          <a:pt x="1507" y="320"/>
                        </a:lnTo>
                        <a:lnTo>
                          <a:pt x="1508" y="321"/>
                        </a:lnTo>
                        <a:lnTo>
                          <a:pt x="1510" y="323"/>
                        </a:lnTo>
                        <a:lnTo>
                          <a:pt x="1510" y="325"/>
                        </a:lnTo>
                        <a:lnTo>
                          <a:pt x="1512" y="326"/>
                        </a:lnTo>
                        <a:lnTo>
                          <a:pt x="1513" y="328"/>
                        </a:lnTo>
                        <a:lnTo>
                          <a:pt x="1513" y="326"/>
                        </a:lnTo>
                        <a:lnTo>
                          <a:pt x="1515" y="326"/>
                        </a:lnTo>
                        <a:lnTo>
                          <a:pt x="1515" y="325"/>
                        </a:lnTo>
                        <a:lnTo>
                          <a:pt x="1516" y="325"/>
                        </a:lnTo>
                        <a:lnTo>
                          <a:pt x="1516" y="323"/>
                        </a:lnTo>
                        <a:lnTo>
                          <a:pt x="1518" y="325"/>
                        </a:lnTo>
                        <a:lnTo>
                          <a:pt x="1520" y="325"/>
                        </a:lnTo>
                        <a:lnTo>
                          <a:pt x="1521" y="325"/>
                        </a:lnTo>
                        <a:lnTo>
                          <a:pt x="1521" y="326"/>
                        </a:lnTo>
                        <a:lnTo>
                          <a:pt x="1521" y="328"/>
                        </a:lnTo>
                        <a:lnTo>
                          <a:pt x="1523" y="328"/>
                        </a:lnTo>
                        <a:lnTo>
                          <a:pt x="1523" y="329"/>
                        </a:lnTo>
                        <a:lnTo>
                          <a:pt x="1524" y="331"/>
                        </a:lnTo>
                        <a:lnTo>
                          <a:pt x="1526" y="331"/>
                        </a:lnTo>
                        <a:lnTo>
                          <a:pt x="1528" y="329"/>
                        </a:lnTo>
                        <a:lnTo>
                          <a:pt x="1528" y="331"/>
                        </a:lnTo>
                        <a:lnTo>
                          <a:pt x="1529" y="329"/>
                        </a:lnTo>
                        <a:lnTo>
                          <a:pt x="1531" y="329"/>
                        </a:lnTo>
                        <a:lnTo>
                          <a:pt x="1532" y="331"/>
                        </a:lnTo>
                        <a:lnTo>
                          <a:pt x="1531" y="331"/>
                        </a:lnTo>
                        <a:lnTo>
                          <a:pt x="1531" y="333"/>
                        </a:lnTo>
                        <a:lnTo>
                          <a:pt x="1529" y="334"/>
                        </a:lnTo>
                        <a:lnTo>
                          <a:pt x="1528" y="334"/>
                        </a:lnTo>
                        <a:lnTo>
                          <a:pt x="1528" y="336"/>
                        </a:lnTo>
                        <a:lnTo>
                          <a:pt x="1526" y="336"/>
                        </a:lnTo>
                        <a:lnTo>
                          <a:pt x="1526" y="337"/>
                        </a:lnTo>
                        <a:lnTo>
                          <a:pt x="1526" y="339"/>
                        </a:lnTo>
                        <a:lnTo>
                          <a:pt x="1528" y="339"/>
                        </a:lnTo>
                        <a:lnTo>
                          <a:pt x="1528" y="340"/>
                        </a:lnTo>
                        <a:lnTo>
                          <a:pt x="1528" y="342"/>
                        </a:lnTo>
                        <a:lnTo>
                          <a:pt x="1528" y="344"/>
                        </a:lnTo>
                        <a:lnTo>
                          <a:pt x="1529" y="344"/>
                        </a:lnTo>
                        <a:lnTo>
                          <a:pt x="1529" y="345"/>
                        </a:lnTo>
                        <a:lnTo>
                          <a:pt x="1531" y="345"/>
                        </a:lnTo>
                        <a:lnTo>
                          <a:pt x="1532" y="344"/>
                        </a:lnTo>
                        <a:lnTo>
                          <a:pt x="1534" y="345"/>
                        </a:lnTo>
                        <a:lnTo>
                          <a:pt x="1535" y="345"/>
                        </a:lnTo>
                        <a:lnTo>
                          <a:pt x="1537" y="344"/>
                        </a:lnTo>
                        <a:lnTo>
                          <a:pt x="1539" y="345"/>
                        </a:lnTo>
                        <a:lnTo>
                          <a:pt x="1543" y="347"/>
                        </a:lnTo>
                        <a:lnTo>
                          <a:pt x="1543" y="350"/>
                        </a:lnTo>
                        <a:lnTo>
                          <a:pt x="1545" y="352"/>
                        </a:lnTo>
                        <a:lnTo>
                          <a:pt x="1547" y="352"/>
                        </a:lnTo>
                        <a:lnTo>
                          <a:pt x="1547" y="353"/>
                        </a:lnTo>
                        <a:lnTo>
                          <a:pt x="1548" y="355"/>
                        </a:lnTo>
                        <a:lnTo>
                          <a:pt x="1548" y="353"/>
                        </a:lnTo>
                        <a:lnTo>
                          <a:pt x="1548" y="352"/>
                        </a:lnTo>
                        <a:lnTo>
                          <a:pt x="1548" y="350"/>
                        </a:lnTo>
                        <a:lnTo>
                          <a:pt x="1550" y="350"/>
                        </a:lnTo>
                        <a:lnTo>
                          <a:pt x="1551" y="350"/>
                        </a:lnTo>
                        <a:lnTo>
                          <a:pt x="1551" y="348"/>
                        </a:lnTo>
                        <a:lnTo>
                          <a:pt x="1553" y="348"/>
                        </a:lnTo>
                        <a:lnTo>
                          <a:pt x="1553" y="347"/>
                        </a:lnTo>
                        <a:lnTo>
                          <a:pt x="1553" y="345"/>
                        </a:lnTo>
                        <a:lnTo>
                          <a:pt x="1554" y="345"/>
                        </a:lnTo>
                        <a:lnTo>
                          <a:pt x="1556" y="345"/>
                        </a:lnTo>
                        <a:lnTo>
                          <a:pt x="1558" y="345"/>
                        </a:lnTo>
                        <a:lnTo>
                          <a:pt x="1559" y="344"/>
                        </a:lnTo>
                        <a:lnTo>
                          <a:pt x="1561" y="342"/>
                        </a:lnTo>
                        <a:lnTo>
                          <a:pt x="1562" y="340"/>
                        </a:lnTo>
                        <a:lnTo>
                          <a:pt x="1566" y="340"/>
                        </a:lnTo>
                        <a:lnTo>
                          <a:pt x="1567" y="340"/>
                        </a:lnTo>
                        <a:lnTo>
                          <a:pt x="1569" y="342"/>
                        </a:lnTo>
                        <a:lnTo>
                          <a:pt x="1570" y="342"/>
                        </a:lnTo>
                        <a:lnTo>
                          <a:pt x="1572" y="342"/>
                        </a:lnTo>
                        <a:lnTo>
                          <a:pt x="1573" y="344"/>
                        </a:lnTo>
                        <a:lnTo>
                          <a:pt x="1575" y="345"/>
                        </a:lnTo>
                        <a:lnTo>
                          <a:pt x="1577" y="345"/>
                        </a:lnTo>
                        <a:lnTo>
                          <a:pt x="1577" y="344"/>
                        </a:lnTo>
                        <a:lnTo>
                          <a:pt x="1575" y="344"/>
                        </a:lnTo>
                        <a:lnTo>
                          <a:pt x="1575" y="342"/>
                        </a:lnTo>
                        <a:lnTo>
                          <a:pt x="1575" y="340"/>
                        </a:lnTo>
                        <a:lnTo>
                          <a:pt x="1573" y="339"/>
                        </a:lnTo>
                        <a:lnTo>
                          <a:pt x="1573" y="337"/>
                        </a:lnTo>
                        <a:lnTo>
                          <a:pt x="1575" y="337"/>
                        </a:lnTo>
                        <a:lnTo>
                          <a:pt x="1577" y="337"/>
                        </a:lnTo>
                        <a:lnTo>
                          <a:pt x="1580" y="337"/>
                        </a:lnTo>
                        <a:lnTo>
                          <a:pt x="1580" y="339"/>
                        </a:lnTo>
                        <a:lnTo>
                          <a:pt x="1581" y="340"/>
                        </a:lnTo>
                        <a:lnTo>
                          <a:pt x="1583" y="342"/>
                        </a:lnTo>
                        <a:lnTo>
                          <a:pt x="1585" y="342"/>
                        </a:lnTo>
                        <a:lnTo>
                          <a:pt x="1586" y="344"/>
                        </a:lnTo>
                        <a:lnTo>
                          <a:pt x="1588" y="344"/>
                        </a:lnTo>
                        <a:lnTo>
                          <a:pt x="1588" y="347"/>
                        </a:lnTo>
                        <a:lnTo>
                          <a:pt x="1589" y="348"/>
                        </a:lnTo>
                        <a:lnTo>
                          <a:pt x="1589" y="350"/>
                        </a:lnTo>
                        <a:lnTo>
                          <a:pt x="1591" y="352"/>
                        </a:lnTo>
                        <a:lnTo>
                          <a:pt x="1592" y="352"/>
                        </a:lnTo>
                        <a:lnTo>
                          <a:pt x="1592" y="353"/>
                        </a:lnTo>
                        <a:lnTo>
                          <a:pt x="1594" y="353"/>
                        </a:lnTo>
                        <a:lnTo>
                          <a:pt x="1596" y="353"/>
                        </a:lnTo>
                        <a:lnTo>
                          <a:pt x="1597" y="355"/>
                        </a:lnTo>
                        <a:lnTo>
                          <a:pt x="1599" y="355"/>
                        </a:lnTo>
                        <a:lnTo>
                          <a:pt x="1599" y="356"/>
                        </a:lnTo>
                        <a:lnTo>
                          <a:pt x="1600" y="358"/>
                        </a:lnTo>
                        <a:lnTo>
                          <a:pt x="1602" y="356"/>
                        </a:lnTo>
                        <a:lnTo>
                          <a:pt x="1604" y="356"/>
                        </a:lnTo>
                        <a:lnTo>
                          <a:pt x="1605" y="356"/>
                        </a:lnTo>
                        <a:lnTo>
                          <a:pt x="1607" y="358"/>
                        </a:lnTo>
                        <a:lnTo>
                          <a:pt x="1608" y="356"/>
                        </a:lnTo>
                        <a:lnTo>
                          <a:pt x="1608" y="355"/>
                        </a:lnTo>
                        <a:lnTo>
                          <a:pt x="1610" y="355"/>
                        </a:lnTo>
                        <a:lnTo>
                          <a:pt x="1610" y="353"/>
                        </a:lnTo>
                        <a:lnTo>
                          <a:pt x="1608" y="352"/>
                        </a:lnTo>
                        <a:lnTo>
                          <a:pt x="1607" y="350"/>
                        </a:lnTo>
                        <a:lnTo>
                          <a:pt x="1607" y="348"/>
                        </a:lnTo>
                        <a:lnTo>
                          <a:pt x="1605" y="348"/>
                        </a:lnTo>
                        <a:lnTo>
                          <a:pt x="1605" y="347"/>
                        </a:lnTo>
                        <a:lnTo>
                          <a:pt x="1605" y="345"/>
                        </a:lnTo>
                        <a:lnTo>
                          <a:pt x="1607" y="344"/>
                        </a:lnTo>
                        <a:lnTo>
                          <a:pt x="1608" y="344"/>
                        </a:lnTo>
                        <a:lnTo>
                          <a:pt x="1610" y="344"/>
                        </a:lnTo>
                        <a:lnTo>
                          <a:pt x="1611" y="344"/>
                        </a:lnTo>
                        <a:lnTo>
                          <a:pt x="1613" y="345"/>
                        </a:lnTo>
                        <a:lnTo>
                          <a:pt x="1615" y="345"/>
                        </a:lnTo>
                        <a:lnTo>
                          <a:pt x="1616" y="347"/>
                        </a:lnTo>
                        <a:lnTo>
                          <a:pt x="1616" y="348"/>
                        </a:lnTo>
                        <a:lnTo>
                          <a:pt x="1618" y="350"/>
                        </a:lnTo>
                        <a:lnTo>
                          <a:pt x="1619" y="350"/>
                        </a:lnTo>
                        <a:lnTo>
                          <a:pt x="1621" y="350"/>
                        </a:lnTo>
                        <a:lnTo>
                          <a:pt x="1623" y="350"/>
                        </a:lnTo>
                        <a:lnTo>
                          <a:pt x="1624" y="350"/>
                        </a:lnTo>
                        <a:lnTo>
                          <a:pt x="1626" y="348"/>
                        </a:lnTo>
                        <a:lnTo>
                          <a:pt x="1627" y="347"/>
                        </a:lnTo>
                        <a:lnTo>
                          <a:pt x="1629" y="347"/>
                        </a:lnTo>
                        <a:lnTo>
                          <a:pt x="1629" y="348"/>
                        </a:lnTo>
                        <a:lnTo>
                          <a:pt x="1630" y="348"/>
                        </a:lnTo>
                        <a:lnTo>
                          <a:pt x="1630" y="350"/>
                        </a:lnTo>
                        <a:lnTo>
                          <a:pt x="1632" y="350"/>
                        </a:lnTo>
                        <a:lnTo>
                          <a:pt x="1632" y="348"/>
                        </a:lnTo>
                        <a:lnTo>
                          <a:pt x="1634" y="350"/>
                        </a:lnTo>
                        <a:lnTo>
                          <a:pt x="1635" y="350"/>
                        </a:lnTo>
                        <a:lnTo>
                          <a:pt x="1637" y="352"/>
                        </a:lnTo>
                        <a:lnTo>
                          <a:pt x="1637" y="353"/>
                        </a:lnTo>
                        <a:lnTo>
                          <a:pt x="1638" y="355"/>
                        </a:lnTo>
                        <a:lnTo>
                          <a:pt x="1638" y="356"/>
                        </a:lnTo>
                        <a:lnTo>
                          <a:pt x="1640" y="358"/>
                        </a:lnTo>
                        <a:lnTo>
                          <a:pt x="1642" y="360"/>
                        </a:lnTo>
                        <a:lnTo>
                          <a:pt x="1643" y="363"/>
                        </a:lnTo>
                        <a:lnTo>
                          <a:pt x="1642" y="367"/>
                        </a:lnTo>
                        <a:lnTo>
                          <a:pt x="1642" y="371"/>
                        </a:lnTo>
                        <a:lnTo>
                          <a:pt x="1642" y="372"/>
                        </a:lnTo>
                        <a:lnTo>
                          <a:pt x="1640" y="374"/>
                        </a:lnTo>
                        <a:lnTo>
                          <a:pt x="1640" y="375"/>
                        </a:lnTo>
                        <a:lnTo>
                          <a:pt x="1637" y="377"/>
                        </a:lnTo>
                        <a:lnTo>
                          <a:pt x="1637" y="379"/>
                        </a:lnTo>
                        <a:lnTo>
                          <a:pt x="1635" y="380"/>
                        </a:lnTo>
                        <a:lnTo>
                          <a:pt x="1634" y="382"/>
                        </a:lnTo>
                        <a:lnTo>
                          <a:pt x="1629" y="385"/>
                        </a:lnTo>
                        <a:lnTo>
                          <a:pt x="1627" y="386"/>
                        </a:lnTo>
                        <a:lnTo>
                          <a:pt x="1627" y="388"/>
                        </a:lnTo>
                        <a:lnTo>
                          <a:pt x="1627" y="390"/>
                        </a:lnTo>
                        <a:lnTo>
                          <a:pt x="1627" y="391"/>
                        </a:lnTo>
                        <a:lnTo>
                          <a:pt x="1629" y="391"/>
                        </a:lnTo>
                        <a:lnTo>
                          <a:pt x="1629" y="393"/>
                        </a:lnTo>
                        <a:lnTo>
                          <a:pt x="1630" y="393"/>
                        </a:lnTo>
                        <a:lnTo>
                          <a:pt x="1632" y="393"/>
                        </a:lnTo>
                        <a:lnTo>
                          <a:pt x="1634" y="393"/>
                        </a:lnTo>
                        <a:lnTo>
                          <a:pt x="1637" y="393"/>
                        </a:lnTo>
                        <a:lnTo>
                          <a:pt x="1638" y="393"/>
                        </a:lnTo>
                        <a:lnTo>
                          <a:pt x="1640" y="394"/>
                        </a:lnTo>
                        <a:lnTo>
                          <a:pt x="1642" y="396"/>
                        </a:lnTo>
                        <a:lnTo>
                          <a:pt x="1643" y="399"/>
                        </a:lnTo>
                        <a:lnTo>
                          <a:pt x="1642" y="401"/>
                        </a:lnTo>
                        <a:lnTo>
                          <a:pt x="1642" y="402"/>
                        </a:lnTo>
                        <a:lnTo>
                          <a:pt x="1642" y="405"/>
                        </a:lnTo>
                        <a:lnTo>
                          <a:pt x="1642" y="407"/>
                        </a:lnTo>
                        <a:lnTo>
                          <a:pt x="1642" y="409"/>
                        </a:lnTo>
                        <a:lnTo>
                          <a:pt x="1642" y="412"/>
                        </a:lnTo>
                        <a:lnTo>
                          <a:pt x="1642" y="413"/>
                        </a:lnTo>
                        <a:lnTo>
                          <a:pt x="1643" y="417"/>
                        </a:lnTo>
                        <a:lnTo>
                          <a:pt x="1643" y="420"/>
                        </a:lnTo>
                        <a:lnTo>
                          <a:pt x="1643" y="423"/>
                        </a:lnTo>
                        <a:lnTo>
                          <a:pt x="1643" y="424"/>
                        </a:lnTo>
                        <a:lnTo>
                          <a:pt x="1643" y="428"/>
                        </a:lnTo>
                        <a:lnTo>
                          <a:pt x="1643" y="429"/>
                        </a:lnTo>
                        <a:lnTo>
                          <a:pt x="1643" y="431"/>
                        </a:lnTo>
                        <a:lnTo>
                          <a:pt x="1643" y="436"/>
                        </a:lnTo>
                        <a:lnTo>
                          <a:pt x="1642" y="437"/>
                        </a:lnTo>
                        <a:lnTo>
                          <a:pt x="1642" y="440"/>
                        </a:lnTo>
                        <a:lnTo>
                          <a:pt x="1640" y="442"/>
                        </a:lnTo>
                        <a:lnTo>
                          <a:pt x="1640" y="443"/>
                        </a:lnTo>
                        <a:lnTo>
                          <a:pt x="1640" y="445"/>
                        </a:lnTo>
                        <a:lnTo>
                          <a:pt x="1640" y="447"/>
                        </a:lnTo>
                        <a:lnTo>
                          <a:pt x="1640" y="448"/>
                        </a:lnTo>
                        <a:lnTo>
                          <a:pt x="1638" y="451"/>
                        </a:lnTo>
                        <a:lnTo>
                          <a:pt x="1638" y="453"/>
                        </a:lnTo>
                        <a:lnTo>
                          <a:pt x="1638" y="455"/>
                        </a:lnTo>
                        <a:lnTo>
                          <a:pt x="1638" y="456"/>
                        </a:lnTo>
                        <a:lnTo>
                          <a:pt x="1637" y="458"/>
                        </a:lnTo>
                        <a:lnTo>
                          <a:pt x="1637" y="461"/>
                        </a:lnTo>
                        <a:lnTo>
                          <a:pt x="1635" y="462"/>
                        </a:lnTo>
                        <a:lnTo>
                          <a:pt x="1635" y="464"/>
                        </a:lnTo>
                        <a:lnTo>
                          <a:pt x="1635" y="469"/>
                        </a:lnTo>
                        <a:lnTo>
                          <a:pt x="1635" y="472"/>
                        </a:lnTo>
                        <a:lnTo>
                          <a:pt x="1635" y="474"/>
                        </a:lnTo>
                        <a:lnTo>
                          <a:pt x="1637" y="478"/>
                        </a:lnTo>
                        <a:lnTo>
                          <a:pt x="1637" y="483"/>
                        </a:lnTo>
                        <a:lnTo>
                          <a:pt x="1637" y="486"/>
                        </a:lnTo>
                        <a:lnTo>
                          <a:pt x="1638" y="491"/>
                        </a:lnTo>
                        <a:lnTo>
                          <a:pt x="1637" y="491"/>
                        </a:lnTo>
                        <a:lnTo>
                          <a:pt x="1637" y="493"/>
                        </a:lnTo>
                        <a:lnTo>
                          <a:pt x="1637" y="494"/>
                        </a:lnTo>
                        <a:lnTo>
                          <a:pt x="1635" y="496"/>
                        </a:lnTo>
                        <a:lnTo>
                          <a:pt x="1634" y="497"/>
                        </a:lnTo>
                        <a:lnTo>
                          <a:pt x="1632" y="497"/>
                        </a:lnTo>
                        <a:lnTo>
                          <a:pt x="1632" y="499"/>
                        </a:lnTo>
                        <a:lnTo>
                          <a:pt x="1632" y="497"/>
                        </a:lnTo>
                        <a:lnTo>
                          <a:pt x="1630" y="497"/>
                        </a:lnTo>
                        <a:lnTo>
                          <a:pt x="1629" y="499"/>
                        </a:lnTo>
                        <a:lnTo>
                          <a:pt x="1626" y="499"/>
                        </a:lnTo>
                        <a:lnTo>
                          <a:pt x="1623" y="497"/>
                        </a:lnTo>
                        <a:lnTo>
                          <a:pt x="1621" y="497"/>
                        </a:lnTo>
                        <a:lnTo>
                          <a:pt x="1619" y="497"/>
                        </a:lnTo>
                        <a:lnTo>
                          <a:pt x="1616" y="497"/>
                        </a:lnTo>
                        <a:lnTo>
                          <a:pt x="1613" y="497"/>
                        </a:lnTo>
                        <a:lnTo>
                          <a:pt x="1611" y="496"/>
                        </a:lnTo>
                        <a:lnTo>
                          <a:pt x="1610" y="496"/>
                        </a:lnTo>
                        <a:lnTo>
                          <a:pt x="1607" y="494"/>
                        </a:lnTo>
                        <a:lnTo>
                          <a:pt x="1605" y="494"/>
                        </a:lnTo>
                        <a:lnTo>
                          <a:pt x="1602" y="493"/>
                        </a:lnTo>
                        <a:lnTo>
                          <a:pt x="1599" y="491"/>
                        </a:lnTo>
                        <a:lnTo>
                          <a:pt x="1596" y="489"/>
                        </a:lnTo>
                        <a:lnTo>
                          <a:pt x="1592" y="488"/>
                        </a:lnTo>
                        <a:lnTo>
                          <a:pt x="1591" y="488"/>
                        </a:lnTo>
                        <a:lnTo>
                          <a:pt x="1589" y="486"/>
                        </a:lnTo>
                        <a:lnTo>
                          <a:pt x="1588" y="485"/>
                        </a:lnTo>
                        <a:lnTo>
                          <a:pt x="1586" y="485"/>
                        </a:lnTo>
                        <a:lnTo>
                          <a:pt x="1583" y="483"/>
                        </a:lnTo>
                        <a:lnTo>
                          <a:pt x="1583" y="481"/>
                        </a:lnTo>
                        <a:lnTo>
                          <a:pt x="1581" y="481"/>
                        </a:lnTo>
                        <a:lnTo>
                          <a:pt x="1578" y="481"/>
                        </a:lnTo>
                        <a:lnTo>
                          <a:pt x="1575" y="480"/>
                        </a:lnTo>
                        <a:lnTo>
                          <a:pt x="1573" y="478"/>
                        </a:lnTo>
                        <a:lnTo>
                          <a:pt x="1572" y="478"/>
                        </a:lnTo>
                        <a:lnTo>
                          <a:pt x="1570" y="477"/>
                        </a:lnTo>
                        <a:lnTo>
                          <a:pt x="1564" y="474"/>
                        </a:lnTo>
                        <a:lnTo>
                          <a:pt x="1559" y="472"/>
                        </a:lnTo>
                        <a:lnTo>
                          <a:pt x="1554" y="470"/>
                        </a:lnTo>
                        <a:lnTo>
                          <a:pt x="1550" y="469"/>
                        </a:lnTo>
                        <a:lnTo>
                          <a:pt x="1548" y="467"/>
                        </a:lnTo>
                        <a:lnTo>
                          <a:pt x="1545" y="466"/>
                        </a:lnTo>
                        <a:lnTo>
                          <a:pt x="1543" y="464"/>
                        </a:lnTo>
                        <a:lnTo>
                          <a:pt x="1542" y="462"/>
                        </a:lnTo>
                        <a:lnTo>
                          <a:pt x="1539" y="461"/>
                        </a:lnTo>
                        <a:lnTo>
                          <a:pt x="1539" y="462"/>
                        </a:lnTo>
                        <a:lnTo>
                          <a:pt x="1539" y="461"/>
                        </a:lnTo>
                        <a:lnTo>
                          <a:pt x="1537" y="461"/>
                        </a:lnTo>
                        <a:lnTo>
                          <a:pt x="1535" y="461"/>
                        </a:lnTo>
                        <a:lnTo>
                          <a:pt x="1535" y="459"/>
                        </a:lnTo>
                        <a:lnTo>
                          <a:pt x="1534" y="459"/>
                        </a:lnTo>
                        <a:lnTo>
                          <a:pt x="1532" y="459"/>
                        </a:lnTo>
                        <a:lnTo>
                          <a:pt x="1531" y="459"/>
                        </a:lnTo>
                        <a:lnTo>
                          <a:pt x="1529" y="459"/>
                        </a:lnTo>
                        <a:lnTo>
                          <a:pt x="1528" y="458"/>
                        </a:lnTo>
                        <a:lnTo>
                          <a:pt x="1526" y="458"/>
                        </a:lnTo>
                        <a:lnTo>
                          <a:pt x="1524" y="458"/>
                        </a:lnTo>
                        <a:lnTo>
                          <a:pt x="1523" y="458"/>
                        </a:lnTo>
                        <a:lnTo>
                          <a:pt x="1521" y="458"/>
                        </a:lnTo>
                        <a:lnTo>
                          <a:pt x="1520" y="458"/>
                        </a:lnTo>
                        <a:lnTo>
                          <a:pt x="1518" y="458"/>
                        </a:lnTo>
                        <a:lnTo>
                          <a:pt x="1516" y="459"/>
                        </a:lnTo>
                        <a:lnTo>
                          <a:pt x="1515" y="459"/>
                        </a:lnTo>
                        <a:lnTo>
                          <a:pt x="1513" y="461"/>
                        </a:lnTo>
                        <a:lnTo>
                          <a:pt x="1512" y="461"/>
                        </a:lnTo>
                        <a:lnTo>
                          <a:pt x="1512" y="462"/>
                        </a:lnTo>
                        <a:lnTo>
                          <a:pt x="1510" y="462"/>
                        </a:lnTo>
                        <a:lnTo>
                          <a:pt x="1508" y="464"/>
                        </a:lnTo>
                        <a:lnTo>
                          <a:pt x="1507" y="466"/>
                        </a:lnTo>
                        <a:lnTo>
                          <a:pt x="1507" y="467"/>
                        </a:lnTo>
                        <a:lnTo>
                          <a:pt x="1505" y="467"/>
                        </a:lnTo>
                        <a:lnTo>
                          <a:pt x="1505" y="469"/>
                        </a:lnTo>
                        <a:lnTo>
                          <a:pt x="1504" y="469"/>
                        </a:lnTo>
                        <a:lnTo>
                          <a:pt x="1502" y="469"/>
                        </a:lnTo>
                        <a:lnTo>
                          <a:pt x="1501" y="469"/>
                        </a:lnTo>
                        <a:lnTo>
                          <a:pt x="1499" y="470"/>
                        </a:lnTo>
                        <a:lnTo>
                          <a:pt x="1497" y="470"/>
                        </a:lnTo>
                        <a:lnTo>
                          <a:pt x="1496" y="470"/>
                        </a:lnTo>
                        <a:lnTo>
                          <a:pt x="1494" y="470"/>
                        </a:lnTo>
                        <a:lnTo>
                          <a:pt x="1493" y="470"/>
                        </a:lnTo>
                        <a:lnTo>
                          <a:pt x="1491" y="470"/>
                        </a:lnTo>
                        <a:lnTo>
                          <a:pt x="1489" y="470"/>
                        </a:lnTo>
                        <a:lnTo>
                          <a:pt x="1488" y="470"/>
                        </a:lnTo>
                        <a:lnTo>
                          <a:pt x="1486" y="470"/>
                        </a:lnTo>
                        <a:lnTo>
                          <a:pt x="1485" y="470"/>
                        </a:lnTo>
                        <a:lnTo>
                          <a:pt x="1483" y="470"/>
                        </a:lnTo>
                        <a:lnTo>
                          <a:pt x="1482" y="472"/>
                        </a:lnTo>
                        <a:lnTo>
                          <a:pt x="1480" y="472"/>
                        </a:lnTo>
                        <a:lnTo>
                          <a:pt x="1478" y="474"/>
                        </a:lnTo>
                        <a:lnTo>
                          <a:pt x="1477" y="474"/>
                        </a:lnTo>
                        <a:lnTo>
                          <a:pt x="1475" y="474"/>
                        </a:lnTo>
                        <a:lnTo>
                          <a:pt x="1474" y="474"/>
                        </a:lnTo>
                        <a:lnTo>
                          <a:pt x="1474" y="475"/>
                        </a:lnTo>
                        <a:lnTo>
                          <a:pt x="1472" y="475"/>
                        </a:lnTo>
                        <a:lnTo>
                          <a:pt x="1472" y="477"/>
                        </a:lnTo>
                        <a:lnTo>
                          <a:pt x="1470" y="477"/>
                        </a:lnTo>
                        <a:lnTo>
                          <a:pt x="1469" y="477"/>
                        </a:lnTo>
                        <a:lnTo>
                          <a:pt x="1469" y="475"/>
                        </a:lnTo>
                        <a:lnTo>
                          <a:pt x="1467" y="475"/>
                        </a:lnTo>
                        <a:lnTo>
                          <a:pt x="1467" y="474"/>
                        </a:lnTo>
                        <a:lnTo>
                          <a:pt x="1466" y="472"/>
                        </a:lnTo>
                        <a:lnTo>
                          <a:pt x="1466" y="470"/>
                        </a:lnTo>
                        <a:lnTo>
                          <a:pt x="1464" y="470"/>
                        </a:lnTo>
                        <a:lnTo>
                          <a:pt x="1464" y="469"/>
                        </a:lnTo>
                        <a:lnTo>
                          <a:pt x="1464" y="467"/>
                        </a:lnTo>
                        <a:lnTo>
                          <a:pt x="1463" y="467"/>
                        </a:lnTo>
                        <a:lnTo>
                          <a:pt x="1463" y="466"/>
                        </a:lnTo>
                        <a:lnTo>
                          <a:pt x="1461" y="466"/>
                        </a:lnTo>
                        <a:lnTo>
                          <a:pt x="1461" y="464"/>
                        </a:lnTo>
                        <a:lnTo>
                          <a:pt x="1459" y="464"/>
                        </a:lnTo>
                        <a:lnTo>
                          <a:pt x="1458" y="462"/>
                        </a:lnTo>
                        <a:lnTo>
                          <a:pt x="1458" y="461"/>
                        </a:lnTo>
                        <a:lnTo>
                          <a:pt x="1456" y="461"/>
                        </a:lnTo>
                        <a:lnTo>
                          <a:pt x="1456" y="459"/>
                        </a:lnTo>
                        <a:lnTo>
                          <a:pt x="1455" y="459"/>
                        </a:lnTo>
                        <a:lnTo>
                          <a:pt x="1455" y="458"/>
                        </a:lnTo>
                        <a:lnTo>
                          <a:pt x="1453" y="458"/>
                        </a:lnTo>
                        <a:lnTo>
                          <a:pt x="1451" y="456"/>
                        </a:lnTo>
                        <a:lnTo>
                          <a:pt x="1450" y="456"/>
                        </a:lnTo>
                        <a:lnTo>
                          <a:pt x="1450" y="455"/>
                        </a:lnTo>
                        <a:lnTo>
                          <a:pt x="1448" y="456"/>
                        </a:lnTo>
                        <a:lnTo>
                          <a:pt x="1447" y="458"/>
                        </a:lnTo>
                        <a:lnTo>
                          <a:pt x="1445" y="458"/>
                        </a:lnTo>
                        <a:lnTo>
                          <a:pt x="1444" y="459"/>
                        </a:lnTo>
                        <a:lnTo>
                          <a:pt x="1442" y="459"/>
                        </a:lnTo>
                        <a:lnTo>
                          <a:pt x="1442" y="461"/>
                        </a:lnTo>
                        <a:lnTo>
                          <a:pt x="1440" y="461"/>
                        </a:lnTo>
                        <a:lnTo>
                          <a:pt x="1439" y="462"/>
                        </a:lnTo>
                        <a:lnTo>
                          <a:pt x="1437" y="462"/>
                        </a:lnTo>
                        <a:lnTo>
                          <a:pt x="1436" y="462"/>
                        </a:lnTo>
                        <a:lnTo>
                          <a:pt x="1434" y="462"/>
                        </a:lnTo>
                        <a:lnTo>
                          <a:pt x="1432" y="462"/>
                        </a:lnTo>
                        <a:lnTo>
                          <a:pt x="1431" y="462"/>
                        </a:lnTo>
                        <a:lnTo>
                          <a:pt x="1429" y="462"/>
                        </a:lnTo>
                        <a:lnTo>
                          <a:pt x="1428" y="462"/>
                        </a:lnTo>
                        <a:lnTo>
                          <a:pt x="1426" y="462"/>
                        </a:lnTo>
                        <a:lnTo>
                          <a:pt x="1425" y="461"/>
                        </a:lnTo>
                        <a:lnTo>
                          <a:pt x="1423" y="461"/>
                        </a:lnTo>
                        <a:lnTo>
                          <a:pt x="1421" y="462"/>
                        </a:lnTo>
                        <a:lnTo>
                          <a:pt x="1420" y="462"/>
                        </a:lnTo>
                        <a:lnTo>
                          <a:pt x="1418" y="462"/>
                        </a:lnTo>
                        <a:lnTo>
                          <a:pt x="1417" y="462"/>
                        </a:lnTo>
                        <a:lnTo>
                          <a:pt x="1415" y="464"/>
                        </a:lnTo>
                        <a:lnTo>
                          <a:pt x="1413" y="464"/>
                        </a:lnTo>
                        <a:lnTo>
                          <a:pt x="1412" y="464"/>
                        </a:lnTo>
                        <a:lnTo>
                          <a:pt x="1412" y="466"/>
                        </a:lnTo>
                        <a:lnTo>
                          <a:pt x="1410" y="466"/>
                        </a:lnTo>
                        <a:lnTo>
                          <a:pt x="1409" y="466"/>
                        </a:lnTo>
                        <a:lnTo>
                          <a:pt x="1407" y="466"/>
                        </a:lnTo>
                        <a:lnTo>
                          <a:pt x="1406" y="467"/>
                        </a:lnTo>
                        <a:lnTo>
                          <a:pt x="1404" y="469"/>
                        </a:lnTo>
                        <a:lnTo>
                          <a:pt x="1402" y="469"/>
                        </a:lnTo>
                        <a:lnTo>
                          <a:pt x="1402" y="470"/>
                        </a:lnTo>
                        <a:lnTo>
                          <a:pt x="1401" y="470"/>
                        </a:lnTo>
                        <a:lnTo>
                          <a:pt x="1401" y="472"/>
                        </a:lnTo>
                        <a:lnTo>
                          <a:pt x="1399" y="474"/>
                        </a:lnTo>
                        <a:lnTo>
                          <a:pt x="1399" y="475"/>
                        </a:lnTo>
                        <a:lnTo>
                          <a:pt x="1398" y="477"/>
                        </a:lnTo>
                        <a:lnTo>
                          <a:pt x="1398" y="478"/>
                        </a:lnTo>
                        <a:lnTo>
                          <a:pt x="1396" y="480"/>
                        </a:lnTo>
                        <a:lnTo>
                          <a:pt x="1394" y="481"/>
                        </a:lnTo>
                        <a:lnTo>
                          <a:pt x="1394" y="483"/>
                        </a:lnTo>
                        <a:lnTo>
                          <a:pt x="1393" y="485"/>
                        </a:lnTo>
                        <a:lnTo>
                          <a:pt x="1393" y="486"/>
                        </a:lnTo>
                        <a:lnTo>
                          <a:pt x="1391" y="486"/>
                        </a:lnTo>
                        <a:lnTo>
                          <a:pt x="1391" y="488"/>
                        </a:lnTo>
                        <a:lnTo>
                          <a:pt x="1391" y="489"/>
                        </a:lnTo>
                        <a:lnTo>
                          <a:pt x="1390" y="489"/>
                        </a:lnTo>
                        <a:lnTo>
                          <a:pt x="1390" y="491"/>
                        </a:lnTo>
                        <a:lnTo>
                          <a:pt x="1390" y="493"/>
                        </a:lnTo>
                        <a:lnTo>
                          <a:pt x="1388" y="493"/>
                        </a:lnTo>
                        <a:lnTo>
                          <a:pt x="1388" y="494"/>
                        </a:lnTo>
                        <a:lnTo>
                          <a:pt x="1388" y="496"/>
                        </a:lnTo>
                        <a:lnTo>
                          <a:pt x="1387" y="497"/>
                        </a:lnTo>
                        <a:lnTo>
                          <a:pt x="1385" y="499"/>
                        </a:lnTo>
                        <a:lnTo>
                          <a:pt x="1385" y="500"/>
                        </a:lnTo>
                        <a:lnTo>
                          <a:pt x="1383" y="500"/>
                        </a:lnTo>
                        <a:lnTo>
                          <a:pt x="1383" y="502"/>
                        </a:lnTo>
                        <a:lnTo>
                          <a:pt x="1382" y="502"/>
                        </a:lnTo>
                        <a:lnTo>
                          <a:pt x="1382" y="504"/>
                        </a:lnTo>
                        <a:lnTo>
                          <a:pt x="1380" y="504"/>
                        </a:lnTo>
                        <a:lnTo>
                          <a:pt x="1380" y="505"/>
                        </a:lnTo>
                        <a:lnTo>
                          <a:pt x="1379" y="505"/>
                        </a:lnTo>
                        <a:lnTo>
                          <a:pt x="1379" y="507"/>
                        </a:lnTo>
                        <a:lnTo>
                          <a:pt x="1377" y="507"/>
                        </a:lnTo>
                        <a:lnTo>
                          <a:pt x="1375" y="508"/>
                        </a:lnTo>
                        <a:lnTo>
                          <a:pt x="1374" y="510"/>
                        </a:lnTo>
                        <a:lnTo>
                          <a:pt x="1372" y="512"/>
                        </a:lnTo>
                        <a:lnTo>
                          <a:pt x="1366" y="516"/>
                        </a:lnTo>
                        <a:lnTo>
                          <a:pt x="1366" y="518"/>
                        </a:lnTo>
                        <a:lnTo>
                          <a:pt x="1364" y="518"/>
                        </a:lnTo>
                        <a:lnTo>
                          <a:pt x="1364" y="519"/>
                        </a:lnTo>
                        <a:lnTo>
                          <a:pt x="1363" y="519"/>
                        </a:lnTo>
                        <a:lnTo>
                          <a:pt x="1363" y="521"/>
                        </a:lnTo>
                        <a:lnTo>
                          <a:pt x="1363" y="523"/>
                        </a:lnTo>
                        <a:lnTo>
                          <a:pt x="1361" y="523"/>
                        </a:lnTo>
                        <a:lnTo>
                          <a:pt x="1361" y="524"/>
                        </a:lnTo>
                        <a:lnTo>
                          <a:pt x="1361" y="526"/>
                        </a:lnTo>
                        <a:lnTo>
                          <a:pt x="1360" y="527"/>
                        </a:lnTo>
                        <a:lnTo>
                          <a:pt x="1360" y="529"/>
                        </a:lnTo>
                        <a:lnTo>
                          <a:pt x="1360" y="531"/>
                        </a:lnTo>
                        <a:lnTo>
                          <a:pt x="1360" y="532"/>
                        </a:lnTo>
                        <a:lnTo>
                          <a:pt x="1360" y="534"/>
                        </a:lnTo>
                        <a:lnTo>
                          <a:pt x="1360" y="535"/>
                        </a:lnTo>
                        <a:lnTo>
                          <a:pt x="1361" y="537"/>
                        </a:lnTo>
                        <a:lnTo>
                          <a:pt x="1361" y="538"/>
                        </a:lnTo>
                        <a:lnTo>
                          <a:pt x="1361" y="540"/>
                        </a:lnTo>
                        <a:lnTo>
                          <a:pt x="1363" y="542"/>
                        </a:lnTo>
                        <a:lnTo>
                          <a:pt x="1363" y="543"/>
                        </a:lnTo>
                        <a:lnTo>
                          <a:pt x="1363" y="545"/>
                        </a:lnTo>
                        <a:lnTo>
                          <a:pt x="1361" y="546"/>
                        </a:lnTo>
                        <a:lnTo>
                          <a:pt x="1363" y="546"/>
                        </a:lnTo>
                        <a:lnTo>
                          <a:pt x="1361" y="550"/>
                        </a:lnTo>
                        <a:lnTo>
                          <a:pt x="1361" y="551"/>
                        </a:lnTo>
                        <a:lnTo>
                          <a:pt x="1361" y="553"/>
                        </a:lnTo>
                        <a:lnTo>
                          <a:pt x="1360" y="554"/>
                        </a:lnTo>
                        <a:lnTo>
                          <a:pt x="1361" y="556"/>
                        </a:lnTo>
                        <a:lnTo>
                          <a:pt x="1361" y="558"/>
                        </a:lnTo>
                        <a:lnTo>
                          <a:pt x="1360" y="558"/>
                        </a:lnTo>
                        <a:lnTo>
                          <a:pt x="1360" y="556"/>
                        </a:lnTo>
                        <a:lnTo>
                          <a:pt x="1358" y="556"/>
                        </a:lnTo>
                        <a:lnTo>
                          <a:pt x="1356" y="556"/>
                        </a:lnTo>
                        <a:lnTo>
                          <a:pt x="1355" y="556"/>
                        </a:lnTo>
                        <a:lnTo>
                          <a:pt x="1353" y="556"/>
                        </a:lnTo>
                        <a:lnTo>
                          <a:pt x="1352" y="556"/>
                        </a:lnTo>
                        <a:lnTo>
                          <a:pt x="1352" y="558"/>
                        </a:lnTo>
                        <a:lnTo>
                          <a:pt x="1352" y="559"/>
                        </a:lnTo>
                        <a:lnTo>
                          <a:pt x="1350" y="559"/>
                        </a:lnTo>
                        <a:lnTo>
                          <a:pt x="1349" y="561"/>
                        </a:lnTo>
                        <a:lnTo>
                          <a:pt x="1349" y="562"/>
                        </a:lnTo>
                        <a:lnTo>
                          <a:pt x="1349" y="564"/>
                        </a:lnTo>
                        <a:lnTo>
                          <a:pt x="1347" y="564"/>
                        </a:lnTo>
                        <a:lnTo>
                          <a:pt x="1347" y="562"/>
                        </a:lnTo>
                        <a:lnTo>
                          <a:pt x="1345" y="562"/>
                        </a:lnTo>
                        <a:lnTo>
                          <a:pt x="1344" y="562"/>
                        </a:lnTo>
                        <a:lnTo>
                          <a:pt x="1342" y="561"/>
                        </a:lnTo>
                        <a:lnTo>
                          <a:pt x="1342" y="559"/>
                        </a:lnTo>
                        <a:lnTo>
                          <a:pt x="1341" y="558"/>
                        </a:lnTo>
                        <a:lnTo>
                          <a:pt x="1339" y="558"/>
                        </a:lnTo>
                        <a:lnTo>
                          <a:pt x="1339" y="556"/>
                        </a:lnTo>
                        <a:lnTo>
                          <a:pt x="1339" y="554"/>
                        </a:lnTo>
                        <a:lnTo>
                          <a:pt x="1341" y="554"/>
                        </a:lnTo>
                        <a:lnTo>
                          <a:pt x="1341" y="553"/>
                        </a:lnTo>
                        <a:lnTo>
                          <a:pt x="1339" y="553"/>
                        </a:lnTo>
                        <a:lnTo>
                          <a:pt x="1337" y="553"/>
                        </a:lnTo>
                        <a:lnTo>
                          <a:pt x="1337" y="551"/>
                        </a:lnTo>
                        <a:lnTo>
                          <a:pt x="1336" y="551"/>
                        </a:lnTo>
                        <a:lnTo>
                          <a:pt x="1336" y="550"/>
                        </a:lnTo>
                        <a:lnTo>
                          <a:pt x="1334" y="550"/>
                        </a:lnTo>
                        <a:lnTo>
                          <a:pt x="1333" y="550"/>
                        </a:lnTo>
                        <a:lnTo>
                          <a:pt x="1333" y="548"/>
                        </a:lnTo>
                        <a:lnTo>
                          <a:pt x="1331" y="548"/>
                        </a:lnTo>
                        <a:lnTo>
                          <a:pt x="1330" y="546"/>
                        </a:lnTo>
                        <a:lnTo>
                          <a:pt x="1328" y="545"/>
                        </a:lnTo>
                        <a:lnTo>
                          <a:pt x="1326" y="545"/>
                        </a:lnTo>
                        <a:lnTo>
                          <a:pt x="1325" y="545"/>
                        </a:lnTo>
                        <a:lnTo>
                          <a:pt x="1323" y="545"/>
                        </a:lnTo>
                        <a:lnTo>
                          <a:pt x="1323" y="546"/>
                        </a:lnTo>
                        <a:lnTo>
                          <a:pt x="1322" y="546"/>
                        </a:lnTo>
                        <a:lnTo>
                          <a:pt x="1322" y="548"/>
                        </a:lnTo>
                        <a:lnTo>
                          <a:pt x="1320" y="548"/>
                        </a:lnTo>
                        <a:lnTo>
                          <a:pt x="1320" y="550"/>
                        </a:lnTo>
                        <a:lnTo>
                          <a:pt x="1320" y="551"/>
                        </a:lnTo>
                        <a:lnTo>
                          <a:pt x="1318" y="551"/>
                        </a:lnTo>
                        <a:lnTo>
                          <a:pt x="1318" y="553"/>
                        </a:lnTo>
                        <a:lnTo>
                          <a:pt x="1318" y="554"/>
                        </a:lnTo>
                        <a:lnTo>
                          <a:pt x="1317" y="554"/>
                        </a:lnTo>
                        <a:lnTo>
                          <a:pt x="1315" y="556"/>
                        </a:lnTo>
                        <a:lnTo>
                          <a:pt x="1315" y="558"/>
                        </a:lnTo>
                        <a:lnTo>
                          <a:pt x="1314" y="558"/>
                        </a:lnTo>
                        <a:lnTo>
                          <a:pt x="1312" y="559"/>
                        </a:lnTo>
                        <a:lnTo>
                          <a:pt x="1310" y="561"/>
                        </a:lnTo>
                        <a:lnTo>
                          <a:pt x="1309" y="562"/>
                        </a:lnTo>
                        <a:lnTo>
                          <a:pt x="1307" y="562"/>
                        </a:lnTo>
                        <a:lnTo>
                          <a:pt x="1306" y="564"/>
                        </a:lnTo>
                        <a:lnTo>
                          <a:pt x="1304" y="565"/>
                        </a:lnTo>
                        <a:lnTo>
                          <a:pt x="1303" y="565"/>
                        </a:lnTo>
                        <a:lnTo>
                          <a:pt x="1303" y="567"/>
                        </a:lnTo>
                        <a:lnTo>
                          <a:pt x="1301" y="567"/>
                        </a:lnTo>
                        <a:lnTo>
                          <a:pt x="1299" y="567"/>
                        </a:lnTo>
                        <a:lnTo>
                          <a:pt x="1298" y="569"/>
                        </a:lnTo>
                        <a:lnTo>
                          <a:pt x="1296" y="569"/>
                        </a:lnTo>
                        <a:lnTo>
                          <a:pt x="1295" y="569"/>
                        </a:lnTo>
                        <a:lnTo>
                          <a:pt x="1295" y="570"/>
                        </a:lnTo>
                        <a:lnTo>
                          <a:pt x="1293" y="570"/>
                        </a:lnTo>
                        <a:lnTo>
                          <a:pt x="1291" y="570"/>
                        </a:lnTo>
                        <a:lnTo>
                          <a:pt x="1290" y="570"/>
                        </a:lnTo>
                        <a:lnTo>
                          <a:pt x="1290" y="572"/>
                        </a:lnTo>
                        <a:lnTo>
                          <a:pt x="1288" y="572"/>
                        </a:lnTo>
                        <a:lnTo>
                          <a:pt x="1287" y="572"/>
                        </a:lnTo>
                        <a:lnTo>
                          <a:pt x="1285" y="572"/>
                        </a:lnTo>
                        <a:lnTo>
                          <a:pt x="1284" y="570"/>
                        </a:lnTo>
                        <a:lnTo>
                          <a:pt x="1282" y="570"/>
                        </a:lnTo>
                        <a:lnTo>
                          <a:pt x="1280" y="570"/>
                        </a:lnTo>
                        <a:lnTo>
                          <a:pt x="1279" y="570"/>
                        </a:lnTo>
                        <a:lnTo>
                          <a:pt x="1277" y="570"/>
                        </a:lnTo>
                        <a:lnTo>
                          <a:pt x="1276" y="570"/>
                        </a:lnTo>
                        <a:lnTo>
                          <a:pt x="1274" y="570"/>
                        </a:lnTo>
                        <a:lnTo>
                          <a:pt x="1272" y="570"/>
                        </a:lnTo>
                        <a:lnTo>
                          <a:pt x="1271" y="570"/>
                        </a:lnTo>
                        <a:lnTo>
                          <a:pt x="1269" y="570"/>
                        </a:lnTo>
                        <a:lnTo>
                          <a:pt x="1269" y="572"/>
                        </a:lnTo>
                        <a:lnTo>
                          <a:pt x="1268" y="573"/>
                        </a:lnTo>
                        <a:lnTo>
                          <a:pt x="1268" y="575"/>
                        </a:lnTo>
                        <a:lnTo>
                          <a:pt x="1268" y="577"/>
                        </a:lnTo>
                        <a:lnTo>
                          <a:pt x="1266" y="578"/>
                        </a:lnTo>
                        <a:lnTo>
                          <a:pt x="1266" y="580"/>
                        </a:lnTo>
                        <a:lnTo>
                          <a:pt x="1265" y="581"/>
                        </a:lnTo>
                        <a:lnTo>
                          <a:pt x="1265" y="583"/>
                        </a:lnTo>
                        <a:lnTo>
                          <a:pt x="1263" y="583"/>
                        </a:lnTo>
                        <a:lnTo>
                          <a:pt x="1263" y="584"/>
                        </a:lnTo>
                        <a:lnTo>
                          <a:pt x="1261" y="584"/>
                        </a:lnTo>
                        <a:lnTo>
                          <a:pt x="1261" y="586"/>
                        </a:lnTo>
                        <a:lnTo>
                          <a:pt x="1261" y="588"/>
                        </a:lnTo>
                        <a:lnTo>
                          <a:pt x="1260" y="588"/>
                        </a:lnTo>
                        <a:lnTo>
                          <a:pt x="1258" y="589"/>
                        </a:lnTo>
                        <a:lnTo>
                          <a:pt x="1257" y="589"/>
                        </a:lnTo>
                        <a:lnTo>
                          <a:pt x="1255" y="589"/>
                        </a:lnTo>
                        <a:lnTo>
                          <a:pt x="1253" y="589"/>
                        </a:lnTo>
                        <a:lnTo>
                          <a:pt x="1252" y="589"/>
                        </a:lnTo>
                        <a:lnTo>
                          <a:pt x="1250" y="589"/>
                        </a:lnTo>
                        <a:lnTo>
                          <a:pt x="1249" y="589"/>
                        </a:lnTo>
                        <a:lnTo>
                          <a:pt x="1247" y="588"/>
                        </a:lnTo>
                        <a:lnTo>
                          <a:pt x="1246" y="586"/>
                        </a:lnTo>
                        <a:lnTo>
                          <a:pt x="1244" y="584"/>
                        </a:lnTo>
                        <a:lnTo>
                          <a:pt x="1242" y="583"/>
                        </a:lnTo>
                        <a:lnTo>
                          <a:pt x="1241" y="581"/>
                        </a:lnTo>
                        <a:lnTo>
                          <a:pt x="1239" y="581"/>
                        </a:lnTo>
                        <a:lnTo>
                          <a:pt x="1239" y="583"/>
                        </a:lnTo>
                        <a:lnTo>
                          <a:pt x="1238" y="583"/>
                        </a:lnTo>
                        <a:lnTo>
                          <a:pt x="1236" y="584"/>
                        </a:lnTo>
                        <a:lnTo>
                          <a:pt x="1234" y="584"/>
                        </a:lnTo>
                        <a:lnTo>
                          <a:pt x="1233" y="584"/>
                        </a:lnTo>
                        <a:lnTo>
                          <a:pt x="1233" y="586"/>
                        </a:lnTo>
                        <a:lnTo>
                          <a:pt x="1231" y="588"/>
                        </a:lnTo>
                        <a:lnTo>
                          <a:pt x="1231" y="589"/>
                        </a:lnTo>
                        <a:lnTo>
                          <a:pt x="1231" y="591"/>
                        </a:lnTo>
                        <a:lnTo>
                          <a:pt x="1231" y="592"/>
                        </a:lnTo>
                        <a:lnTo>
                          <a:pt x="1231" y="594"/>
                        </a:lnTo>
                        <a:lnTo>
                          <a:pt x="1233" y="594"/>
                        </a:lnTo>
                        <a:lnTo>
                          <a:pt x="1233" y="596"/>
                        </a:lnTo>
                        <a:lnTo>
                          <a:pt x="1233" y="597"/>
                        </a:lnTo>
                        <a:lnTo>
                          <a:pt x="1231" y="599"/>
                        </a:lnTo>
                        <a:lnTo>
                          <a:pt x="1230" y="599"/>
                        </a:lnTo>
                        <a:lnTo>
                          <a:pt x="1230" y="600"/>
                        </a:lnTo>
                        <a:lnTo>
                          <a:pt x="1230" y="602"/>
                        </a:lnTo>
                        <a:lnTo>
                          <a:pt x="1228" y="602"/>
                        </a:lnTo>
                        <a:lnTo>
                          <a:pt x="1228" y="603"/>
                        </a:lnTo>
                        <a:lnTo>
                          <a:pt x="1227" y="603"/>
                        </a:lnTo>
                        <a:lnTo>
                          <a:pt x="1227" y="605"/>
                        </a:lnTo>
                        <a:lnTo>
                          <a:pt x="1225" y="607"/>
                        </a:lnTo>
                        <a:lnTo>
                          <a:pt x="1225" y="608"/>
                        </a:lnTo>
                        <a:lnTo>
                          <a:pt x="1223" y="610"/>
                        </a:lnTo>
                        <a:lnTo>
                          <a:pt x="1222" y="611"/>
                        </a:lnTo>
                        <a:lnTo>
                          <a:pt x="1222" y="613"/>
                        </a:lnTo>
                        <a:lnTo>
                          <a:pt x="1220" y="613"/>
                        </a:lnTo>
                        <a:lnTo>
                          <a:pt x="1220" y="615"/>
                        </a:lnTo>
                        <a:lnTo>
                          <a:pt x="1219" y="615"/>
                        </a:lnTo>
                        <a:lnTo>
                          <a:pt x="1219" y="616"/>
                        </a:lnTo>
                        <a:lnTo>
                          <a:pt x="1217" y="616"/>
                        </a:lnTo>
                        <a:lnTo>
                          <a:pt x="1215" y="618"/>
                        </a:lnTo>
                        <a:lnTo>
                          <a:pt x="1214" y="618"/>
                        </a:lnTo>
                        <a:lnTo>
                          <a:pt x="1214" y="619"/>
                        </a:lnTo>
                        <a:lnTo>
                          <a:pt x="1212" y="621"/>
                        </a:lnTo>
                        <a:lnTo>
                          <a:pt x="1212" y="622"/>
                        </a:lnTo>
                        <a:lnTo>
                          <a:pt x="1211" y="622"/>
                        </a:lnTo>
                        <a:lnTo>
                          <a:pt x="1211" y="624"/>
                        </a:lnTo>
                        <a:lnTo>
                          <a:pt x="1209" y="624"/>
                        </a:lnTo>
                        <a:lnTo>
                          <a:pt x="1208" y="626"/>
                        </a:lnTo>
                        <a:lnTo>
                          <a:pt x="1208" y="627"/>
                        </a:lnTo>
                        <a:lnTo>
                          <a:pt x="1206" y="627"/>
                        </a:lnTo>
                        <a:lnTo>
                          <a:pt x="1206" y="629"/>
                        </a:lnTo>
                        <a:lnTo>
                          <a:pt x="1204" y="629"/>
                        </a:lnTo>
                        <a:lnTo>
                          <a:pt x="1204" y="630"/>
                        </a:lnTo>
                        <a:lnTo>
                          <a:pt x="1203" y="630"/>
                        </a:lnTo>
                        <a:lnTo>
                          <a:pt x="1203" y="632"/>
                        </a:lnTo>
                        <a:lnTo>
                          <a:pt x="1203" y="634"/>
                        </a:lnTo>
                        <a:lnTo>
                          <a:pt x="1203" y="635"/>
                        </a:lnTo>
                        <a:lnTo>
                          <a:pt x="1203" y="637"/>
                        </a:lnTo>
                        <a:lnTo>
                          <a:pt x="1203" y="638"/>
                        </a:lnTo>
                        <a:lnTo>
                          <a:pt x="1203" y="640"/>
                        </a:lnTo>
                        <a:lnTo>
                          <a:pt x="1201" y="641"/>
                        </a:lnTo>
                        <a:lnTo>
                          <a:pt x="1200" y="641"/>
                        </a:lnTo>
                        <a:lnTo>
                          <a:pt x="1198" y="641"/>
                        </a:lnTo>
                        <a:lnTo>
                          <a:pt x="1198" y="640"/>
                        </a:lnTo>
                        <a:lnTo>
                          <a:pt x="1198" y="638"/>
                        </a:lnTo>
                        <a:lnTo>
                          <a:pt x="1198" y="637"/>
                        </a:lnTo>
                        <a:lnTo>
                          <a:pt x="1198" y="635"/>
                        </a:lnTo>
                        <a:lnTo>
                          <a:pt x="1196" y="635"/>
                        </a:lnTo>
                        <a:lnTo>
                          <a:pt x="1196" y="634"/>
                        </a:lnTo>
                        <a:lnTo>
                          <a:pt x="1195" y="634"/>
                        </a:lnTo>
                        <a:lnTo>
                          <a:pt x="1195" y="632"/>
                        </a:lnTo>
                        <a:lnTo>
                          <a:pt x="1195" y="630"/>
                        </a:lnTo>
                        <a:lnTo>
                          <a:pt x="1196" y="630"/>
                        </a:lnTo>
                        <a:lnTo>
                          <a:pt x="1198" y="630"/>
                        </a:lnTo>
                        <a:lnTo>
                          <a:pt x="1198" y="629"/>
                        </a:lnTo>
                        <a:lnTo>
                          <a:pt x="1200" y="629"/>
                        </a:lnTo>
                        <a:lnTo>
                          <a:pt x="1198" y="627"/>
                        </a:lnTo>
                        <a:lnTo>
                          <a:pt x="1196" y="627"/>
                        </a:lnTo>
                        <a:lnTo>
                          <a:pt x="1195" y="627"/>
                        </a:lnTo>
                        <a:lnTo>
                          <a:pt x="1193" y="627"/>
                        </a:lnTo>
                        <a:lnTo>
                          <a:pt x="1193" y="629"/>
                        </a:lnTo>
                        <a:lnTo>
                          <a:pt x="1192" y="629"/>
                        </a:lnTo>
                        <a:lnTo>
                          <a:pt x="1190" y="629"/>
                        </a:lnTo>
                        <a:lnTo>
                          <a:pt x="1190" y="630"/>
                        </a:lnTo>
                        <a:lnTo>
                          <a:pt x="1189" y="632"/>
                        </a:lnTo>
                        <a:lnTo>
                          <a:pt x="1187" y="634"/>
                        </a:lnTo>
                        <a:lnTo>
                          <a:pt x="1185" y="635"/>
                        </a:lnTo>
                        <a:lnTo>
                          <a:pt x="1184" y="637"/>
                        </a:lnTo>
                        <a:lnTo>
                          <a:pt x="1184" y="638"/>
                        </a:lnTo>
                        <a:lnTo>
                          <a:pt x="1184" y="640"/>
                        </a:lnTo>
                        <a:lnTo>
                          <a:pt x="1185" y="641"/>
                        </a:lnTo>
                        <a:lnTo>
                          <a:pt x="1187" y="641"/>
                        </a:lnTo>
                        <a:lnTo>
                          <a:pt x="1187" y="643"/>
                        </a:lnTo>
                        <a:lnTo>
                          <a:pt x="1187" y="645"/>
                        </a:lnTo>
                        <a:lnTo>
                          <a:pt x="1189" y="645"/>
                        </a:lnTo>
                        <a:lnTo>
                          <a:pt x="1187" y="646"/>
                        </a:lnTo>
                        <a:lnTo>
                          <a:pt x="1185" y="646"/>
                        </a:lnTo>
                        <a:lnTo>
                          <a:pt x="1185" y="645"/>
                        </a:lnTo>
                        <a:lnTo>
                          <a:pt x="1184" y="646"/>
                        </a:lnTo>
                        <a:lnTo>
                          <a:pt x="1182" y="646"/>
                        </a:lnTo>
                        <a:lnTo>
                          <a:pt x="1181" y="646"/>
                        </a:lnTo>
                        <a:lnTo>
                          <a:pt x="1179" y="646"/>
                        </a:lnTo>
                        <a:lnTo>
                          <a:pt x="1177" y="646"/>
                        </a:lnTo>
                        <a:lnTo>
                          <a:pt x="1177" y="648"/>
                        </a:lnTo>
                        <a:lnTo>
                          <a:pt x="1177" y="646"/>
                        </a:lnTo>
                        <a:lnTo>
                          <a:pt x="1176" y="646"/>
                        </a:lnTo>
                        <a:lnTo>
                          <a:pt x="1174" y="648"/>
                        </a:lnTo>
                        <a:lnTo>
                          <a:pt x="1173" y="648"/>
                        </a:lnTo>
                        <a:lnTo>
                          <a:pt x="1173" y="649"/>
                        </a:lnTo>
                        <a:lnTo>
                          <a:pt x="1174" y="649"/>
                        </a:lnTo>
                        <a:lnTo>
                          <a:pt x="1174" y="651"/>
                        </a:lnTo>
                        <a:lnTo>
                          <a:pt x="1173" y="653"/>
                        </a:lnTo>
                        <a:lnTo>
                          <a:pt x="1171" y="653"/>
                        </a:lnTo>
                        <a:lnTo>
                          <a:pt x="1171" y="654"/>
                        </a:lnTo>
                        <a:lnTo>
                          <a:pt x="1170" y="654"/>
                        </a:lnTo>
                        <a:lnTo>
                          <a:pt x="1170" y="656"/>
                        </a:lnTo>
                        <a:lnTo>
                          <a:pt x="1168" y="656"/>
                        </a:lnTo>
                        <a:lnTo>
                          <a:pt x="1168" y="657"/>
                        </a:lnTo>
                        <a:lnTo>
                          <a:pt x="1170" y="657"/>
                        </a:lnTo>
                        <a:lnTo>
                          <a:pt x="1170" y="659"/>
                        </a:lnTo>
                        <a:lnTo>
                          <a:pt x="1171" y="659"/>
                        </a:lnTo>
                        <a:lnTo>
                          <a:pt x="1171" y="660"/>
                        </a:lnTo>
                        <a:lnTo>
                          <a:pt x="1173" y="660"/>
                        </a:lnTo>
                        <a:lnTo>
                          <a:pt x="1174" y="659"/>
                        </a:lnTo>
                        <a:lnTo>
                          <a:pt x="1176" y="659"/>
                        </a:lnTo>
                        <a:lnTo>
                          <a:pt x="1177" y="657"/>
                        </a:lnTo>
                        <a:lnTo>
                          <a:pt x="1177" y="656"/>
                        </a:lnTo>
                        <a:lnTo>
                          <a:pt x="1179" y="656"/>
                        </a:lnTo>
                        <a:lnTo>
                          <a:pt x="1179" y="657"/>
                        </a:lnTo>
                        <a:lnTo>
                          <a:pt x="1181" y="657"/>
                        </a:lnTo>
                        <a:lnTo>
                          <a:pt x="1181" y="659"/>
                        </a:lnTo>
                        <a:lnTo>
                          <a:pt x="1181" y="660"/>
                        </a:lnTo>
                        <a:lnTo>
                          <a:pt x="1182" y="662"/>
                        </a:lnTo>
                        <a:lnTo>
                          <a:pt x="1182" y="664"/>
                        </a:lnTo>
                        <a:lnTo>
                          <a:pt x="1182" y="665"/>
                        </a:lnTo>
                        <a:lnTo>
                          <a:pt x="1182" y="667"/>
                        </a:lnTo>
                        <a:lnTo>
                          <a:pt x="1182" y="668"/>
                        </a:lnTo>
                        <a:lnTo>
                          <a:pt x="1181" y="668"/>
                        </a:lnTo>
                        <a:lnTo>
                          <a:pt x="1179" y="670"/>
                        </a:lnTo>
                        <a:lnTo>
                          <a:pt x="1177" y="670"/>
                        </a:lnTo>
                        <a:lnTo>
                          <a:pt x="1177" y="672"/>
                        </a:lnTo>
                        <a:lnTo>
                          <a:pt x="1177" y="673"/>
                        </a:lnTo>
                        <a:lnTo>
                          <a:pt x="1177" y="675"/>
                        </a:lnTo>
                        <a:lnTo>
                          <a:pt x="1177" y="676"/>
                        </a:lnTo>
                        <a:lnTo>
                          <a:pt x="1176" y="676"/>
                        </a:lnTo>
                        <a:lnTo>
                          <a:pt x="1176" y="678"/>
                        </a:lnTo>
                        <a:lnTo>
                          <a:pt x="1174" y="678"/>
                        </a:lnTo>
                        <a:lnTo>
                          <a:pt x="1173" y="678"/>
                        </a:lnTo>
                        <a:lnTo>
                          <a:pt x="1171" y="679"/>
                        </a:lnTo>
                        <a:lnTo>
                          <a:pt x="1171" y="681"/>
                        </a:lnTo>
                        <a:lnTo>
                          <a:pt x="1173" y="681"/>
                        </a:lnTo>
                        <a:lnTo>
                          <a:pt x="1171" y="683"/>
                        </a:lnTo>
                        <a:lnTo>
                          <a:pt x="1168" y="684"/>
                        </a:lnTo>
                        <a:lnTo>
                          <a:pt x="1166" y="683"/>
                        </a:lnTo>
                        <a:lnTo>
                          <a:pt x="1165" y="683"/>
                        </a:lnTo>
                        <a:lnTo>
                          <a:pt x="1165" y="686"/>
                        </a:lnTo>
                        <a:lnTo>
                          <a:pt x="1166" y="687"/>
                        </a:lnTo>
                        <a:lnTo>
                          <a:pt x="1170" y="691"/>
                        </a:lnTo>
                        <a:lnTo>
                          <a:pt x="1168" y="692"/>
                        </a:lnTo>
                        <a:lnTo>
                          <a:pt x="1168" y="694"/>
                        </a:lnTo>
                        <a:lnTo>
                          <a:pt x="1168" y="695"/>
                        </a:lnTo>
                        <a:lnTo>
                          <a:pt x="1166" y="698"/>
                        </a:lnTo>
                        <a:lnTo>
                          <a:pt x="1166" y="697"/>
                        </a:lnTo>
                        <a:lnTo>
                          <a:pt x="1165" y="697"/>
                        </a:lnTo>
                        <a:lnTo>
                          <a:pt x="1162" y="695"/>
                        </a:lnTo>
                        <a:lnTo>
                          <a:pt x="1162" y="697"/>
                        </a:lnTo>
                        <a:lnTo>
                          <a:pt x="1160" y="697"/>
                        </a:lnTo>
                        <a:lnTo>
                          <a:pt x="1160" y="702"/>
                        </a:lnTo>
                        <a:lnTo>
                          <a:pt x="1160" y="703"/>
                        </a:lnTo>
                        <a:lnTo>
                          <a:pt x="1160" y="705"/>
                        </a:lnTo>
                        <a:lnTo>
                          <a:pt x="1158" y="706"/>
                        </a:lnTo>
                        <a:lnTo>
                          <a:pt x="1160" y="706"/>
                        </a:lnTo>
                        <a:lnTo>
                          <a:pt x="1160" y="708"/>
                        </a:lnTo>
                        <a:lnTo>
                          <a:pt x="1158" y="708"/>
                        </a:lnTo>
                        <a:lnTo>
                          <a:pt x="1154" y="708"/>
                        </a:lnTo>
                        <a:lnTo>
                          <a:pt x="1152" y="708"/>
                        </a:lnTo>
                        <a:lnTo>
                          <a:pt x="1147" y="708"/>
                        </a:lnTo>
                        <a:lnTo>
                          <a:pt x="1147" y="705"/>
                        </a:lnTo>
                        <a:lnTo>
                          <a:pt x="1147" y="703"/>
                        </a:lnTo>
                        <a:lnTo>
                          <a:pt x="1144" y="705"/>
                        </a:lnTo>
                        <a:lnTo>
                          <a:pt x="1143" y="705"/>
                        </a:lnTo>
                        <a:lnTo>
                          <a:pt x="1143" y="703"/>
                        </a:lnTo>
                        <a:lnTo>
                          <a:pt x="1141" y="702"/>
                        </a:lnTo>
                        <a:lnTo>
                          <a:pt x="1141" y="703"/>
                        </a:lnTo>
                        <a:lnTo>
                          <a:pt x="1139" y="705"/>
                        </a:lnTo>
                        <a:lnTo>
                          <a:pt x="1139" y="706"/>
                        </a:lnTo>
                        <a:lnTo>
                          <a:pt x="1139" y="708"/>
                        </a:lnTo>
                        <a:lnTo>
                          <a:pt x="1141" y="711"/>
                        </a:lnTo>
                        <a:lnTo>
                          <a:pt x="1141" y="713"/>
                        </a:lnTo>
                        <a:lnTo>
                          <a:pt x="1139" y="714"/>
                        </a:lnTo>
                        <a:lnTo>
                          <a:pt x="1138" y="716"/>
                        </a:lnTo>
                        <a:lnTo>
                          <a:pt x="1135" y="717"/>
                        </a:lnTo>
                        <a:lnTo>
                          <a:pt x="1133" y="719"/>
                        </a:lnTo>
                        <a:lnTo>
                          <a:pt x="1135" y="721"/>
                        </a:lnTo>
                        <a:lnTo>
                          <a:pt x="1135" y="719"/>
                        </a:lnTo>
                        <a:lnTo>
                          <a:pt x="1136" y="721"/>
                        </a:lnTo>
                        <a:lnTo>
                          <a:pt x="1136" y="724"/>
                        </a:lnTo>
                        <a:lnTo>
                          <a:pt x="1135" y="724"/>
                        </a:lnTo>
                        <a:lnTo>
                          <a:pt x="1135" y="727"/>
                        </a:lnTo>
                        <a:lnTo>
                          <a:pt x="1133" y="727"/>
                        </a:lnTo>
                        <a:lnTo>
                          <a:pt x="1131" y="725"/>
                        </a:lnTo>
                        <a:lnTo>
                          <a:pt x="1130" y="725"/>
                        </a:lnTo>
                        <a:lnTo>
                          <a:pt x="1130" y="727"/>
                        </a:lnTo>
                        <a:lnTo>
                          <a:pt x="1130" y="732"/>
                        </a:lnTo>
                        <a:lnTo>
                          <a:pt x="1133" y="735"/>
                        </a:lnTo>
                        <a:lnTo>
                          <a:pt x="1133" y="737"/>
                        </a:lnTo>
                        <a:lnTo>
                          <a:pt x="1135" y="737"/>
                        </a:lnTo>
                        <a:lnTo>
                          <a:pt x="1136" y="735"/>
                        </a:lnTo>
                        <a:lnTo>
                          <a:pt x="1136" y="733"/>
                        </a:lnTo>
                        <a:lnTo>
                          <a:pt x="1136" y="732"/>
                        </a:lnTo>
                        <a:lnTo>
                          <a:pt x="1138" y="732"/>
                        </a:lnTo>
                        <a:lnTo>
                          <a:pt x="1139" y="732"/>
                        </a:lnTo>
                        <a:lnTo>
                          <a:pt x="1138" y="735"/>
                        </a:lnTo>
                        <a:lnTo>
                          <a:pt x="1138" y="737"/>
                        </a:lnTo>
                        <a:lnTo>
                          <a:pt x="1138" y="740"/>
                        </a:lnTo>
                        <a:lnTo>
                          <a:pt x="1139" y="740"/>
                        </a:lnTo>
                        <a:lnTo>
                          <a:pt x="1139" y="741"/>
                        </a:lnTo>
                        <a:lnTo>
                          <a:pt x="1138" y="743"/>
                        </a:lnTo>
                        <a:lnTo>
                          <a:pt x="1138" y="744"/>
                        </a:lnTo>
                        <a:lnTo>
                          <a:pt x="1139" y="746"/>
                        </a:lnTo>
                        <a:lnTo>
                          <a:pt x="1141" y="749"/>
                        </a:lnTo>
                        <a:lnTo>
                          <a:pt x="1141" y="751"/>
                        </a:lnTo>
                        <a:lnTo>
                          <a:pt x="1139" y="752"/>
                        </a:lnTo>
                        <a:lnTo>
                          <a:pt x="1136" y="752"/>
                        </a:lnTo>
                        <a:lnTo>
                          <a:pt x="1135" y="752"/>
                        </a:lnTo>
                        <a:lnTo>
                          <a:pt x="1133" y="749"/>
                        </a:lnTo>
                        <a:lnTo>
                          <a:pt x="1131" y="749"/>
                        </a:lnTo>
                        <a:lnTo>
                          <a:pt x="1130" y="749"/>
                        </a:lnTo>
                        <a:lnTo>
                          <a:pt x="1128" y="749"/>
                        </a:lnTo>
                        <a:lnTo>
                          <a:pt x="1127" y="749"/>
                        </a:lnTo>
                        <a:lnTo>
                          <a:pt x="1125" y="749"/>
                        </a:lnTo>
                        <a:lnTo>
                          <a:pt x="1125" y="752"/>
                        </a:lnTo>
                        <a:lnTo>
                          <a:pt x="1125" y="756"/>
                        </a:lnTo>
                        <a:lnTo>
                          <a:pt x="1124" y="756"/>
                        </a:lnTo>
                        <a:lnTo>
                          <a:pt x="1122" y="756"/>
                        </a:lnTo>
                        <a:lnTo>
                          <a:pt x="1120" y="754"/>
                        </a:lnTo>
                        <a:lnTo>
                          <a:pt x="1119" y="754"/>
                        </a:lnTo>
                        <a:lnTo>
                          <a:pt x="1119" y="752"/>
                        </a:lnTo>
                        <a:lnTo>
                          <a:pt x="1119" y="751"/>
                        </a:lnTo>
                        <a:lnTo>
                          <a:pt x="1119" y="749"/>
                        </a:lnTo>
                        <a:lnTo>
                          <a:pt x="1119" y="748"/>
                        </a:lnTo>
                        <a:lnTo>
                          <a:pt x="1117" y="748"/>
                        </a:lnTo>
                        <a:lnTo>
                          <a:pt x="1116" y="746"/>
                        </a:lnTo>
                        <a:lnTo>
                          <a:pt x="1114" y="746"/>
                        </a:lnTo>
                        <a:lnTo>
                          <a:pt x="1114" y="748"/>
                        </a:lnTo>
                        <a:lnTo>
                          <a:pt x="1112" y="748"/>
                        </a:lnTo>
                        <a:lnTo>
                          <a:pt x="1112" y="749"/>
                        </a:lnTo>
                        <a:lnTo>
                          <a:pt x="1111" y="752"/>
                        </a:lnTo>
                        <a:lnTo>
                          <a:pt x="1109" y="754"/>
                        </a:lnTo>
                        <a:lnTo>
                          <a:pt x="1109" y="756"/>
                        </a:lnTo>
                        <a:lnTo>
                          <a:pt x="1109" y="759"/>
                        </a:lnTo>
                        <a:lnTo>
                          <a:pt x="1109" y="760"/>
                        </a:lnTo>
                        <a:lnTo>
                          <a:pt x="1108" y="760"/>
                        </a:lnTo>
                        <a:lnTo>
                          <a:pt x="1106" y="759"/>
                        </a:lnTo>
                        <a:lnTo>
                          <a:pt x="1105" y="757"/>
                        </a:lnTo>
                        <a:lnTo>
                          <a:pt x="1103" y="754"/>
                        </a:lnTo>
                        <a:lnTo>
                          <a:pt x="1101" y="752"/>
                        </a:lnTo>
                        <a:lnTo>
                          <a:pt x="1100" y="752"/>
                        </a:lnTo>
                        <a:lnTo>
                          <a:pt x="1100" y="751"/>
                        </a:lnTo>
                        <a:lnTo>
                          <a:pt x="1098" y="751"/>
                        </a:lnTo>
                        <a:lnTo>
                          <a:pt x="1097" y="751"/>
                        </a:lnTo>
                        <a:lnTo>
                          <a:pt x="1095" y="751"/>
                        </a:lnTo>
                        <a:lnTo>
                          <a:pt x="1095" y="752"/>
                        </a:lnTo>
                        <a:lnTo>
                          <a:pt x="1097" y="756"/>
                        </a:lnTo>
                        <a:lnTo>
                          <a:pt x="1098" y="756"/>
                        </a:lnTo>
                        <a:lnTo>
                          <a:pt x="1098" y="757"/>
                        </a:lnTo>
                        <a:lnTo>
                          <a:pt x="1098" y="759"/>
                        </a:lnTo>
                        <a:lnTo>
                          <a:pt x="1098" y="760"/>
                        </a:lnTo>
                        <a:lnTo>
                          <a:pt x="1097" y="762"/>
                        </a:lnTo>
                        <a:lnTo>
                          <a:pt x="1095" y="763"/>
                        </a:lnTo>
                        <a:lnTo>
                          <a:pt x="1093" y="763"/>
                        </a:lnTo>
                        <a:lnTo>
                          <a:pt x="1092" y="763"/>
                        </a:lnTo>
                        <a:lnTo>
                          <a:pt x="1090" y="762"/>
                        </a:lnTo>
                        <a:lnTo>
                          <a:pt x="1089" y="762"/>
                        </a:lnTo>
                        <a:lnTo>
                          <a:pt x="1087" y="763"/>
                        </a:lnTo>
                        <a:lnTo>
                          <a:pt x="1087" y="765"/>
                        </a:lnTo>
                        <a:lnTo>
                          <a:pt x="1089" y="765"/>
                        </a:lnTo>
                        <a:lnTo>
                          <a:pt x="1089" y="767"/>
                        </a:lnTo>
                        <a:lnTo>
                          <a:pt x="1090" y="768"/>
                        </a:lnTo>
                        <a:lnTo>
                          <a:pt x="1092" y="770"/>
                        </a:lnTo>
                        <a:lnTo>
                          <a:pt x="1093" y="770"/>
                        </a:lnTo>
                        <a:lnTo>
                          <a:pt x="1095" y="771"/>
                        </a:lnTo>
                        <a:lnTo>
                          <a:pt x="1097" y="773"/>
                        </a:lnTo>
                        <a:lnTo>
                          <a:pt x="1097" y="775"/>
                        </a:lnTo>
                        <a:lnTo>
                          <a:pt x="1097" y="776"/>
                        </a:lnTo>
                        <a:lnTo>
                          <a:pt x="1098" y="776"/>
                        </a:lnTo>
                        <a:lnTo>
                          <a:pt x="1100" y="778"/>
                        </a:lnTo>
                        <a:lnTo>
                          <a:pt x="1100" y="779"/>
                        </a:lnTo>
                        <a:lnTo>
                          <a:pt x="1100" y="781"/>
                        </a:lnTo>
                        <a:lnTo>
                          <a:pt x="1098" y="781"/>
                        </a:lnTo>
                        <a:lnTo>
                          <a:pt x="1097" y="781"/>
                        </a:lnTo>
                        <a:lnTo>
                          <a:pt x="1097" y="782"/>
                        </a:lnTo>
                        <a:lnTo>
                          <a:pt x="1095" y="782"/>
                        </a:lnTo>
                        <a:lnTo>
                          <a:pt x="1092" y="782"/>
                        </a:lnTo>
                        <a:lnTo>
                          <a:pt x="1092" y="784"/>
                        </a:lnTo>
                        <a:lnTo>
                          <a:pt x="1090" y="784"/>
                        </a:lnTo>
                        <a:lnTo>
                          <a:pt x="1089" y="784"/>
                        </a:lnTo>
                        <a:lnTo>
                          <a:pt x="1087" y="786"/>
                        </a:lnTo>
                        <a:lnTo>
                          <a:pt x="1086" y="786"/>
                        </a:lnTo>
                        <a:lnTo>
                          <a:pt x="1084" y="786"/>
                        </a:lnTo>
                        <a:lnTo>
                          <a:pt x="1082" y="786"/>
                        </a:lnTo>
                        <a:lnTo>
                          <a:pt x="1081" y="786"/>
                        </a:lnTo>
                        <a:lnTo>
                          <a:pt x="1079" y="786"/>
                        </a:lnTo>
                        <a:lnTo>
                          <a:pt x="1078" y="786"/>
                        </a:lnTo>
                        <a:lnTo>
                          <a:pt x="1076" y="784"/>
                        </a:lnTo>
                        <a:lnTo>
                          <a:pt x="1076" y="782"/>
                        </a:lnTo>
                        <a:lnTo>
                          <a:pt x="1076" y="781"/>
                        </a:lnTo>
                        <a:lnTo>
                          <a:pt x="1076" y="778"/>
                        </a:lnTo>
                        <a:lnTo>
                          <a:pt x="1076" y="775"/>
                        </a:lnTo>
                        <a:lnTo>
                          <a:pt x="1074" y="775"/>
                        </a:lnTo>
                        <a:lnTo>
                          <a:pt x="1073" y="775"/>
                        </a:lnTo>
                        <a:lnTo>
                          <a:pt x="1068" y="776"/>
                        </a:lnTo>
                        <a:lnTo>
                          <a:pt x="1067" y="776"/>
                        </a:lnTo>
                        <a:lnTo>
                          <a:pt x="1065" y="778"/>
                        </a:lnTo>
                        <a:lnTo>
                          <a:pt x="1063" y="778"/>
                        </a:lnTo>
                        <a:lnTo>
                          <a:pt x="1063" y="776"/>
                        </a:lnTo>
                        <a:lnTo>
                          <a:pt x="1062" y="775"/>
                        </a:lnTo>
                        <a:lnTo>
                          <a:pt x="1060" y="773"/>
                        </a:lnTo>
                        <a:lnTo>
                          <a:pt x="1059" y="775"/>
                        </a:lnTo>
                        <a:lnTo>
                          <a:pt x="1057" y="776"/>
                        </a:lnTo>
                        <a:lnTo>
                          <a:pt x="1055" y="778"/>
                        </a:lnTo>
                        <a:lnTo>
                          <a:pt x="1054" y="779"/>
                        </a:lnTo>
                        <a:lnTo>
                          <a:pt x="1054" y="781"/>
                        </a:lnTo>
                        <a:lnTo>
                          <a:pt x="1052" y="781"/>
                        </a:lnTo>
                        <a:lnTo>
                          <a:pt x="1052" y="779"/>
                        </a:lnTo>
                        <a:lnTo>
                          <a:pt x="1051" y="779"/>
                        </a:lnTo>
                        <a:lnTo>
                          <a:pt x="1051" y="781"/>
                        </a:lnTo>
                        <a:lnTo>
                          <a:pt x="1049" y="781"/>
                        </a:lnTo>
                        <a:lnTo>
                          <a:pt x="1049" y="782"/>
                        </a:lnTo>
                        <a:lnTo>
                          <a:pt x="1048" y="786"/>
                        </a:lnTo>
                        <a:lnTo>
                          <a:pt x="1049" y="786"/>
                        </a:lnTo>
                        <a:lnTo>
                          <a:pt x="1049" y="787"/>
                        </a:lnTo>
                        <a:lnTo>
                          <a:pt x="1049" y="790"/>
                        </a:lnTo>
                        <a:lnTo>
                          <a:pt x="1049" y="792"/>
                        </a:lnTo>
                        <a:lnTo>
                          <a:pt x="1046" y="794"/>
                        </a:lnTo>
                        <a:lnTo>
                          <a:pt x="1043" y="797"/>
                        </a:lnTo>
                        <a:lnTo>
                          <a:pt x="1043" y="798"/>
                        </a:lnTo>
                        <a:lnTo>
                          <a:pt x="1041" y="798"/>
                        </a:lnTo>
                        <a:lnTo>
                          <a:pt x="1040" y="800"/>
                        </a:lnTo>
                        <a:lnTo>
                          <a:pt x="1038" y="803"/>
                        </a:lnTo>
                        <a:lnTo>
                          <a:pt x="1038" y="806"/>
                        </a:lnTo>
                        <a:lnTo>
                          <a:pt x="1036" y="808"/>
                        </a:lnTo>
                        <a:lnTo>
                          <a:pt x="1036" y="809"/>
                        </a:lnTo>
                        <a:lnTo>
                          <a:pt x="1035" y="809"/>
                        </a:lnTo>
                        <a:lnTo>
                          <a:pt x="1032" y="813"/>
                        </a:lnTo>
                        <a:lnTo>
                          <a:pt x="1030" y="816"/>
                        </a:lnTo>
                        <a:lnTo>
                          <a:pt x="1030" y="817"/>
                        </a:lnTo>
                        <a:lnTo>
                          <a:pt x="1030" y="819"/>
                        </a:lnTo>
                        <a:lnTo>
                          <a:pt x="1032" y="820"/>
                        </a:lnTo>
                        <a:lnTo>
                          <a:pt x="1033" y="820"/>
                        </a:lnTo>
                        <a:lnTo>
                          <a:pt x="1033" y="822"/>
                        </a:lnTo>
                        <a:lnTo>
                          <a:pt x="1032" y="824"/>
                        </a:lnTo>
                        <a:lnTo>
                          <a:pt x="1029" y="827"/>
                        </a:lnTo>
                        <a:lnTo>
                          <a:pt x="1025" y="827"/>
                        </a:lnTo>
                        <a:lnTo>
                          <a:pt x="1025" y="828"/>
                        </a:lnTo>
                        <a:lnTo>
                          <a:pt x="1024" y="830"/>
                        </a:lnTo>
                        <a:lnTo>
                          <a:pt x="1022" y="830"/>
                        </a:lnTo>
                        <a:lnTo>
                          <a:pt x="1021" y="830"/>
                        </a:lnTo>
                        <a:lnTo>
                          <a:pt x="1019" y="830"/>
                        </a:lnTo>
                        <a:lnTo>
                          <a:pt x="1019" y="832"/>
                        </a:lnTo>
                        <a:lnTo>
                          <a:pt x="1019" y="833"/>
                        </a:lnTo>
                        <a:lnTo>
                          <a:pt x="1021" y="833"/>
                        </a:lnTo>
                        <a:lnTo>
                          <a:pt x="1022" y="835"/>
                        </a:lnTo>
                        <a:lnTo>
                          <a:pt x="1024" y="836"/>
                        </a:lnTo>
                        <a:lnTo>
                          <a:pt x="1022" y="838"/>
                        </a:lnTo>
                        <a:lnTo>
                          <a:pt x="1021" y="839"/>
                        </a:lnTo>
                        <a:lnTo>
                          <a:pt x="1019" y="839"/>
                        </a:lnTo>
                        <a:lnTo>
                          <a:pt x="1017" y="841"/>
                        </a:lnTo>
                        <a:lnTo>
                          <a:pt x="1021" y="844"/>
                        </a:lnTo>
                        <a:lnTo>
                          <a:pt x="1021" y="846"/>
                        </a:lnTo>
                        <a:lnTo>
                          <a:pt x="1022" y="846"/>
                        </a:lnTo>
                        <a:lnTo>
                          <a:pt x="1024" y="844"/>
                        </a:lnTo>
                        <a:lnTo>
                          <a:pt x="1025" y="844"/>
                        </a:lnTo>
                        <a:lnTo>
                          <a:pt x="1027" y="847"/>
                        </a:lnTo>
                        <a:lnTo>
                          <a:pt x="1025" y="849"/>
                        </a:lnTo>
                        <a:lnTo>
                          <a:pt x="1024" y="849"/>
                        </a:lnTo>
                        <a:lnTo>
                          <a:pt x="1022" y="849"/>
                        </a:lnTo>
                        <a:lnTo>
                          <a:pt x="1021" y="847"/>
                        </a:lnTo>
                        <a:lnTo>
                          <a:pt x="1019" y="847"/>
                        </a:lnTo>
                        <a:lnTo>
                          <a:pt x="1017" y="847"/>
                        </a:lnTo>
                        <a:lnTo>
                          <a:pt x="1016" y="849"/>
                        </a:lnTo>
                        <a:lnTo>
                          <a:pt x="1016" y="847"/>
                        </a:lnTo>
                        <a:lnTo>
                          <a:pt x="1014" y="847"/>
                        </a:lnTo>
                        <a:lnTo>
                          <a:pt x="1014" y="849"/>
                        </a:lnTo>
                        <a:lnTo>
                          <a:pt x="1013" y="851"/>
                        </a:lnTo>
                        <a:lnTo>
                          <a:pt x="1013" y="852"/>
                        </a:lnTo>
                        <a:lnTo>
                          <a:pt x="1014" y="852"/>
                        </a:lnTo>
                        <a:lnTo>
                          <a:pt x="1014" y="854"/>
                        </a:lnTo>
                        <a:lnTo>
                          <a:pt x="1016" y="854"/>
                        </a:lnTo>
                        <a:lnTo>
                          <a:pt x="1016" y="855"/>
                        </a:lnTo>
                        <a:lnTo>
                          <a:pt x="1016" y="857"/>
                        </a:lnTo>
                        <a:lnTo>
                          <a:pt x="1017" y="858"/>
                        </a:lnTo>
                        <a:lnTo>
                          <a:pt x="1017" y="860"/>
                        </a:lnTo>
                        <a:lnTo>
                          <a:pt x="1016" y="862"/>
                        </a:lnTo>
                        <a:lnTo>
                          <a:pt x="1013" y="865"/>
                        </a:lnTo>
                        <a:lnTo>
                          <a:pt x="1011" y="863"/>
                        </a:lnTo>
                        <a:lnTo>
                          <a:pt x="1010" y="863"/>
                        </a:lnTo>
                        <a:lnTo>
                          <a:pt x="1010" y="865"/>
                        </a:lnTo>
                        <a:lnTo>
                          <a:pt x="1008" y="865"/>
                        </a:lnTo>
                        <a:lnTo>
                          <a:pt x="1008" y="866"/>
                        </a:lnTo>
                        <a:lnTo>
                          <a:pt x="1008" y="868"/>
                        </a:lnTo>
                        <a:lnTo>
                          <a:pt x="1006" y="868"/>
                        </a:lnTo>
                        <a:lnTo>
                          <a:pt x="1005" y="868"/>
                        </a:lnTo>
                        <a:lnTo>
                          <a:pt x="1003" y="868"/>
                        </a:lnTo>
                        <a:lnTo>
                          <a:pt x="1002" y="866"/>
                        </a:lnTo>
                        <a:lnTo>
                          <a:pt x="1000" y="866"/>
                        </a:lnTo>
                        <a:lnTo>
                          <a:pt x="998" y="866"/>
                        </a:lnTo>
                        <a:lnTo>
                          <a:pt x="998" y="868"/>
                        </a:lnTo>
                        <a:lnTo>
                          <a:pt x="997" y="868"/>
                        </a:lnTo>
                        <a:lnTo>
                          <a:pt x="995" y="870"/>
                        </a:lnTo>
                        <a:lnTo>
                          <a:pt x="994" y="868"/>
                        </a:lnTo>
                        <a:lnTo>
                          <a:pt x="992" y="868"/>
                        </a:lnTo>
                        <a:lnTo>
                          <a:pt x="991" y="868"/>
                        </a:lnTo>
                        <a:lnTo>
                          <a:pt x="989" y="868"/>
                        </a:lnTo>
                        <a:lnTo>
                          <a:pt x="987" y="870"/>
                        </a:lnTo>
                        <a:lnTo>
                          <a:pt x="984" y="870"/>
                        </a:lnTo>
                        <a:lnTo>
                          <a:pt x="984" y="871"/>
                        </a:lnTo>
                        <a:lnTo>
                          <a:pt x="984" y="873"/>
                        </a:lnTo>
                        <a:lnTo>
                          <a:pt x="984" y="874"/>
                        </a:lnTo>
                        <a:lnTo>
                          <a:pt x="983" y="874"/>
                        </a:lnTo>
                        <a:lnTo>
                          <a:pt x="981" y="874"/>
                        </a:lnTo>
                        <a:lnTo>
                          <a:pt x="979" y="874"/>
                        </a:lnTo>
                        <a:lnTo>
                          <a:pt x="978" y="874"/>
                        </a:lnTo>
                        <a:lnTo>
                          <a:pt x="976" y="874"/>
                        </a:lnTo>
                        <a:lnTo>
                          <a:pt x="978" y="876"/>
                        </a:lnTo>
                        <a:lnTo>
                          <a:pt x="978" y="877"/>
                        </a:lnTo>
                        <a:lnTo>
                          <a:pt x="976" y="879"/>
                        </a:lnTo>
                        <a:lnTo>
                          <a:pt x="975" y="881"/>
                        </a:lnTo>
                        <a:lnTo>
                          <a:pt x="975" y="884"/>
                        </a:lnTo>
                        <a:lnTo>
                          <a:pt x="973" y="885"/>
                        </a:lnTo>
                        <a:lnTo>
                          <a:pt x="972" y="885"/>
                        </a:lnTo>
                        <a:lnTo>
                          <a:pt x="970" y="885"/>
                        </a:lnTo>
                        <a:lnTo>
                          <a:pt x="970" y="884"/>
                        </a:lnTo>
                        <a:lnTo>
                          <a:pt x="968" y="882"/>
                        </a:lnTo>
                        <a:lnTo>
                          <a:pt x="970" y="881"/>
                        </a:lnTo>
                        <a:lnTo>
                          <a:pt x="970" y="879"/>
                        </a:lnTo>
                        <a:lnTo>
                          <a:pt x="972" y="876"/>
                        </a:lnTo>
                        <a:lnTo>
                          <a:pt x="972" y="874"/>
                        </a:lnTo>
                        <a:lnTo>
                          <a:pt x="968" y="871"/>
                        </a:lnTo>
                        <a:lnTo>
                          <a:pt x="968" y="870"/>
                        </a:lnTo>
                        <a:lnTo>
                          <a:pt x="967" y="870"/>
                        </a:lnTo>
                        <a:lnTo>
                          <a:pt x="965" y="870"/>
                        </a:lnTo>
                        <a:lnTo>
                          <a:pt x="964" y="870"/>
                        </a:lnTo>
                        <a:lnTo>
                          <a:pt x="962" y="868"/>
                        </a:lnTo>
                        <a:lnTo>
                          <a:pt x="960" y="866"/>
                        </a:lnTo>
                        <a:lnTo>
                          <a:pt x="960" y="865"/>
                        </a:lnTo>
                        <a:lnTo>
                          <a:pt x="959" y="863"/>
                        </a:lnTo>
                        <a:lnTo>
                          <a:pt x="957" y="863"/>
                        </a:lnTo>
                        <a:lnTo>
                          <a:pt x="956" y="862"/>
                        </a:lnTo>
                        <a:lnTo>
                          <a:pt x="956" y="860"/>
                        </a:lnTo>
                        <a:lnTo>
                          <a:pt x="956" y="858"/>
                        </a:lnTo>
                        <a:lnTo>
                          <a:pt x="954" y="858"/>
                        </a:lnTo>
                        <a:lnTo>
                          <a:pt x="953" y="858"/>
                        </a:lnTo>
                        <a:lnTo>
                          <a:pt x="951" y="858"/>
                        </a:lnTo>
                        <a:lnTo>
                          <a:pt x="949" y="858"/>
                        </a:lnTo>
                        <a:lnTo>
                          <a:pt x="948" y="858"/>
                        </a:lnTo>
                        <a:lnTo>
                          <a:pt x="946" y="858"/>
                        </a:lnTo>
                        <a:lnTo>
                          <a:pt x="945" y="858"/>
                        </a:lnTo>
                        <a:lnTo>
                          <a:pt x="943" y="858"/>
                        </a:lnTo>
                        <a:lnTo>
                          <a:pt x="941" y="858"/>
                        </a:lnTo>
                        <a:lnTo>
                          <a:pt x="941" y="860"/>
                        </a:lnTo>
                        <a:lnTo>
                          <a:pt x="938" y="860"/>
                        </a:lnTo>
                        <a:lnTo>
                          <a:pt x="937" y="860"/>
                        </a:lnTo>
                        <a:lnTo>
                          <a:pt x="937" y="858"/>
                        </a:lnTo>
                        <a:lnTo>
                          <a:pt x="933" y="858"/>
                        </a:lnTo>
                        <a:lnTo>
                          <a:pt x="932" y="858"/>
                        </a:lnTo>
                        <a:lnTo>
                          <a:pt x="930" y="857"/>
                        </a:lnTo>
                        <a:lnTo>
                          <a:pt x="929" y="855"/>
                        </a:lnTo>
                        <a:lnTo>
                          <a:pt x="929" y="854"/>
                        </a:lnTo>
                        <a:lnTo>
                          <a:pt x="929" y="851"/>
                        </a:lnTo>
                        <a:lnTo>
                          <a:pt x="927" y="849"/>
                        </a:lnTo>
                        <a:lnTo>
                          <a:pt x="926" y="849"/>
                        </a:lnTo>
                        <a:lnTo>
                          <a:pt x="926" y="851"/>
                        </a:lnTo>
                        <a:lnTo>
                          <a:pt x="922" y="849"/>
                        </a:lnTo>
                        <a:lnTo>
                          <a:pt x="921" y="849"/>
                        </a:lnTo>
                        <a:lnTo>
                          <a:pt x="921" y="851"/>
                        </a:lnTo>
                        <a:lnTo>
                          <a:pt x="919" y="851"/>
                        </a:lnTo>
                        <a:lnTo>
                          <a:pt x="918" y="851"/>
                        </a:lnTo>
                        <a:lnTo>
                          <a:pt x="918" y="849"/>
                        </a:lnTo>
                        <a:lnTo>
                          <a:pt x="916" y="849"/>
                        </a:lnTo>
                        <a:lnTo>
                          <a:pt x="914" y="847"/>
                        </a:lnTo>
                        <a:lnTo>
                          <a:pt x="913" y="847"/>
                        </a:lnTo>
                        <a:lnTo>
                          <a:pt x="913" y="846"/>
                        </a:lnTo>
                        <a:lnTo>
                          <a:pt x="913" y="844"/>
                        </a:lnTo>
                        <a:lnTo>
                          <a:pt x="913" y="843"/>
                        </a:lnTo>
                        <a:lnTo>
                          <a:pt x="911" y="841"/>
                        </a:lnTo>
                        <a:lnTo>
                          <a:pt x="910" y="841"/>
                        </a:lnTo>
                        <a:lnTo>
                          <a:pt x="910" y="843"/>
                        </a:lnTo>
                        <a:lnTo>
                          <a:pt x="910" y="844"/>
                        </a:lnTo>
                        <a:lnTo>
                          <a:pt x="908" y="846"/>
                        </a:lnTo>
                        <a:lnTo>
                          <a:pt x="908" y="844"/>
                        </a:lnTo>
                        <a:lnTo>
                          <a:pt x="907" y="844"/>
                        </a:lnTo>
                        <a:lnTo>
                          <a:pt x="905" y="844"/>
                        </a:lnTo>
                        <a:lnTo>
                          <a:pt x="905" y="846"/>
                        </a:lnTo>
                        <a:lnTo>
                          <a:pt x="903" y="846"/>
                        </a:lnTo>
                        <a:lnTo>
                          <a:pt x="903" y="844"/>
                        </a:lnTo>
                        <a:lnTo>
                          <a:pt x="903" y="843"/>
                        </a:lnTo>
                        <a:lnTo>
                          <a:pt x="902" y="843"/>
                        </a:lnTo>
                        <a:lnTo>
                          <a:pt x="902" y="844"/>
                        </a:lnTo>
                        <a:lnTo>
                          <a:pt x="900" y="844"/>
                        </a:lnTo>
                        <a:lnTo>
                          <a:pt x="900" y="843"/>
                        </a:lnTo>
                        <a:lnTo>
                          <a:pt x="899" y="843"/>
                        </a:lnTo>
                        <a:lnTo>
                          <a:pt x="897" y="841"/>
                        </a:lnTo>
                        <a:lnTo>
                          <a:pt x="895" y="841"/>
                        </a:lnTo>
                        <a:lnTo>
                          <a:pt x="895" y="839"/>
                        </a:lnTo>
                        <a:lnTo>
                          <a:pt x="894" y="839"/>
                        </a:lnTo>
                        <a:lnTo>
                          <a:pt x="892" y="838"/>
                        </a:lnTo>
                        <a:lnTo>
                          <a:pt x="891" y="838"/>
                        </a:lnTo>
                        <a:lnTo>
                          <a:pt x="891" y="836"/>
                        </a:lnTo>
                        <a:lnTo>
                          <a:pt x="889" y="835"/>
                        </a:lnTo>
                        <a:lnTo>
                          <a:pt x="889" y="833"/>
                        </a:lnTo>
                        <a:lnTo>
                          <a:pt x="888" y="833"/>
                        </a:lnTo>
                        <a:lnTo>
                          <a:pt x="888" y="832"/>
                        </a:lnTo>
                        <a:lnTo>
                          <a:pt x="886" y="832"/>
                        </a:lnTo>
                        <a:lnTo>
                          <a:pt x="886" y="830"/>
                        </a:lnTo>
                        <a:lnTo>
                          <a:pt x="886" y="828"/>
                        </a:lnTo>
                        <a:lnTo>
                          <a:pt x="884" y="828"/>
                        </a:lnTo>
                        <a:lnTo>
                          <a:pt x="884" y="827"/>
                        </a:lnTo>
                        <a:lnTo>
                          <a:pt x="883" y="825"/>
                        </a:lnTo>
                        <a:lnTo>
                          <a:pt x="881" y="824"/>
                        </a:lnTo>
                        <a:lnTo>
                          <a:pt x="881" y="822"/>
                        </a:lnTo>
                        <a:lnTo>
                          <a:pt x="880" y="822"/>
                        </a:lnTo>
                        <a:lnTo>
                          <a:pt x="880" y="820"/>
                        </a:lnTo>
                        <a:lnTo>
                          <a:pt x="880" y="819"/>
                        </a:lnTo>
                        <a:lnTo>
                          <a:pt x="878" y="817"/>
                        </a:lnTo>
                        <a:lnTo>
                          <a:pt x="878" y="816"/>
                        </a:lnTo>
                        <a:lnTo>
                          <a:pt x="876" y="816"/>
                        </a:lnTo>
                        <a:lnTo>
                          <a:pt x="876" y="814"/>
                        </a:lnTo>
                        <a:lnTo>
                          <a:pt x="876" y="813"/>
                        </a:lnTo>
                        <a:lnTo>
                          <a:pt x="875" y="813"/>
                        </a:lnTo>
                        <a:lnTo>
                          <a:pt x="875" y="811"/>
                        </a:lnTo>
                        <a:lnTo>
                          <a:pt x="875" y="809"/>
                        </a:lnTo>
                        <a:lnTo>
                          <a:pt x="873" y="809"/>
                        </a:lnTo>
                        <a:lnTo>
                          <a:pt x="873" y="808"/>
                        </a:lnTo>
                        <a:lnTo>
                          <a:pt x="872" y="808"/>
                        </a:lnTo>
                        <a:lnTo>
                          <a:pt x="870" y="809"/>
                        </a:lnTo>
                        <a:lnTo>
                          <a:pt x="870" y="808"/>
                        </a:lnTo>
                        <a:lnTo>
                          <a:pt x="869" y="809"/>
                        </a:lnTo>
                        <a:lnTo>
                          <a:pt x="869" y="811"/>
                        </a:lnTo>
                        <a:lnTo>
                          <a:pt x="867" y="811"/>
                        </a:lnTo>
                        <a:lnTo>
                          <a:pt x="867" y="813"/>
                        </a:lnTo>
                        <a:lnTo>
                          <a:pt x="867" y="814"/>
                        </a:lnTo>
                        <a:lnTo>
                          <a:pt x="865" y="814"/>
                        </a:lnTo>
                        <a:lnTo>
                          <a:pt x="864" y="816"/>
                        </a:lnTo>
                        <a:lnTo>
                          <a:pt x="862" y="816"/>
                        </a:lnTo>
                        <a:lnTo>
                          <a:pt x="861" y="817"/>
                        </a:lnTo>
                        <a:lnTo>
                          <a:pt x="859" y="817"/>
                        </a:lnTo>
                        <a:lnTo>
                          <a:pt x="857" y="817"/>
                        </a:lnTo>
                        <a:lnTo>
                          <a:pt x="857" y="819"/>
                        </a:lnTo>
                        <a:lnTo>
                          <a:pt x="856" y="819"/>
                        </a:lnTo>
                        <a:lnTo>
                          <a:pt x="856" y="820"/>
                        </a:lnTo>
                        <a:lnTo>
                          <a:pt x="854" y="822"/>
                        </a:lnTo>
                        <a:lnTo>
                          <a:pt x="854" y="824"/>
                        </a:lnTo>
                        <a:lnTo>
                          <a:pt x="853" y="824"/>
                        </a:lnTo>
                        <a:lnTo>
                          <a:pt x="851" y="825"/>
                        </a:lnTo>
                        <a:lnTo>
                          <a:pt x="850" y="825"/>
                        </a:lnTo>
                        <a:lnTo>
                          <a:pt x="850" y="827"/>
                        </a:lnTo>
                        <a:lnTo>
                          <a:pt x="848" y="827"/>
                        </a:lnTo>
                        <a:lnTo>
                          <a:pt x="846" y="827"/>
                        </a:lnTo>
                        <a:lnTo>
                          <a:pt x="845" y="827"/>
                        </a:lnTo>
                        <a:lnTo>
                          <a:pt x="843" y="828"/>
                        </a:lnTo>
                        <a:lnTo>
                          <a:pt x="842" y="830"/>
                        </a:lnTo>
                        <a:lnTo>
                          <a:pt x="840" y="830"/>
                        </a:lnTo>
                        <a:lnTo>
                          <a:pt x="840" y="832"/>
                        </a:lnTo>
                        <a:lnTo>
                          <a:pt x="838" y="833"/>
                        </a:lnTo>
                        <a:lnTo>
                          <a:pt x="837" y="833"/>
                        </a:lnTo>
                        <a:lnTo>
                          <a:pt x="835" y="833"/>
                        </a:lnTo>
                        <a:lnTo>
                          <a:pt x="834" y="833"/>
                        </a:lnTo>
                        <a:lnTo>
                          <a:pt x="832" y="833"/>
                        </a:lnTo>
                        <a:lnTo>
                          <a:pt x="831" y="833"/>
                        </a:lnTo>
                        <a:lnTo>
                          <a:pt x="829" y="833"/>
                        </a:lnTo>
                        <a:lnTo>
                          <a:pt x="827" y="833"/>
                        </a:lnTo>
                        <a:lnTo>
                          <a:pt x="827" y="835"/>
                        </a:lnTo>
                        <a:lnTo>
                          <a:pt x="826" y="835"/>
                        </a:lnTo>
                        <a:lnTo>
                          <a:pt x="824" y="836"/>
                        </a:lnTo>
                        <a:lnTo>
                          <a:pt x="823" y="836"/>
                        </a:lnTo>
                        <a:lnTo>
                          <a:pt x="821" y="836"/>
                        </a:lnTo>
                        <a:lnTo>
                          <a:pt x="819" y="836"/>
                        </a:lnTo>
                        <a:lnTo>
                          <a:pt x="816" y="836"/>
                        </a:lnTo>
                        <a:lnTo>
                          <a:pt x="815" y="836"/>
                        </a:lnTo>
                        <a:lnTo>
                          <a:pt x="813" y="836"/>
                        </a:lnTo>
                        <a:lnTo>
                          <a:pt x="812" y="836"/>
                        </a:lnTo>
                        <a:lnTo>
                          <a:pt x="810" y="838"/>
                        </a:lnTo>
                        <a:lnTo>
                          <a:pt x="808" y="838"/>
                        </a:lnTo>
                        <a:lnTo>
                          <a:pt x="807" y="838"/>
                        </a:lnTo>
                        <a:lnTo>
                          <a:pt x="805" y="838"/>
                        </a:lnTo>
                        <a:lnTo>
                          <a:pt x="804" y="838"/>
                        </a:lnTo>
                        <a:lnTo>
                          <a:pt x="802" y="838"/>
                        </a:lnTo>
                        <a:lnTo>
                          <a:pt x="800" y="838"/>
                        </a:lnTo>
                        <a:lnTo>
                          <a:pt x="799" y="839"/>
                        </a:lnTo>
                        <a:lnTo>
                          <a:pt x="797" y="839"/>
                        </a:lnTo>
                        <a:lnTo>
                          <a:pt x="796" y="839"/>
                        </a:lnTo>
                        <a:lnTo>
                          <a:pt x="794" y="841"/>
                        </a:lnTo>
                        <a:lnTo>
                          <a:pt x="794" y="843"/>
                        </a:lnTo>
                        <a:lnTo>
                          <a:pt x="793" y="844"/>
                        </a:lnTo>
                        <a:lnTo>
                          <a:pt x="793" y="846"/>
                        </a:lnTo>
                        <a:lnTo>
                          <a:pt x="793" y="847"/>
                        </a:lnTo>
                        <a:lnTo>
                          <a:pt x="791" y="849"/>
                        </a:lnTo>
                        <a:lnTo>
                          <a:pt x="791" y="851"/>
                        </a:lnTo>
                        <a:lnTo>
                          <a:pt x="789" y="852"/>
                        </a:lnTo>
                        <a:lnTo>
                          <a:pt x="789" y="854"/>
                        </a:lnTo>
                        <a:lnTo>
                          <a:pt x="788" y="855"/>
                        </a:lnTo>
                        <a:lnTo>
                          <a:pt x="786" y="855"/>
                        </a:lnTo>
                        <a:lnTo>
                          <a:pt x="786" y="857"/>
                        </a:lnTo>
                        <a:lnTo>
                          <a:pt x="785" y="858"/>
                        </a:lnTo>
                        <a:lnTo>
                          <a:pt x="783" y="858"/>
                        </a:lnTo>
                        <a:lnTo>
                          <a:pt x="781" y="858"/>
                        </a:lnTo>
                        <a:lnTo>
                          <a:pt x="780" y="858"/>
                        </a:lnTo>
                        <a:lnTo>
                          <a:pt x="778" y="858"/>
                        </a:lnTo>
                        <a:lnTo>
                          <a:pt x="778" y="860"/>
                        </a:lnTo>
                        <a:lnTo>
                          <a:pt x="777" y="860"/>
                        </a:lnTo>
                        <a:lnTo>
                          <a:pt x="775" y="860"/>
                        </a:lnTo>
                        <a:lnTo>
                          <a:pt x="775" y="862"/>
                        </a:lnTo>
                        <a:lnTo>
                          <a:pt x="775" y="863"/>
                        </a:lnTo>
                        <a:lnTo>
                          <a:pt x="774" y="863"/>
                        </a:lnTo>
                        <a:lnTo>
                          <a:pt x="774" y="865"/>
                        </a:lnTo>
                        <a:lnTo>
                          <a:pt x="772" y="866"/>
                        </a:lnTo>
                        <a:lnTo>
                          <a:pt x="770" y="868"/>
                        </a:lnTo>
                        <a:lnTo>
                          <a:pt x="769" y="868"/>
                        </a:lnTo>
                        <a:lnTo>
                          <a:pt x="769" y="866"/>
                        </a:lnTo>
                        <a:lnTo>
                          <a:pt x="767" y="866"/>
                        </a:lnTo>
                        <a:lnTo>
                          <a:pt x="766" y="866"/>
                        </a:lnTo>
                        <a:lnTo>
                          <a:pt x="764" y="866"/>
                        </a:lnTo>
                        <a:lnTo>
                          <a:pt x="762" y="866"/>
                        </a:lnTo>
                        <a:lnTo>
                          <a:pt x="762" y="868"/>
                        </a:lnTo>
                        <a:lnTo>
                          <a:pt x="761" y="866"/>
                        </a:lnTo>
                        <a:lnTo>
                          <a:pt x="759" y="866"/>
                        </a:lnTo>
                        <a:lnTo>
                          <a:pt x="759" y="865"/>
                        </a:lnTo>
                        <a:lnTo>
                          <a:pt x="758" y="865"/>
                        </a:lnTo>
                        <a:lnTo>
                          <a:pt x="756" y="865"/>
                        </a:lnTo>
                        <a:lnTo>
                          <a:pt x="756" y="863"/>
                        </a:lnTo>
                        <a:lnTo>
                          <a:pt x="754" y="863"/>
                        </a:lnTo>
                        <a:lnTo>
                          <a:pt x="754" y="862"/>
                        </a:lnTo>
                        <a:lnTo>
                          <a:pt x="753" y="862"/>
                        </a:lnTo>
                        <a:lnTo>
                          <a:pt x="753" y="860"/>
                        </a:lnTo>
                        <a:lnTo>
                          <a:pt x="751" y="860"/>
                        </a:lnTo>
                        <a:lnTo>
                          <a:pt x="751" y="858"/>
                        </a:lnTo>
                        <a:lnTo>
                          <a:pt x="750" y="857"/>
                        </a:lnTo>
                        <a:lnTo>
                          <a:pt x="750" y="855"/>
                        </a:lnTo>
                        <a:lnTo>
                          <a:pt x="750" y="854"/>
                        </a:lnTo>
                        <a:lnTo>
                          <a:pt x="748" y="854"/>
                        </a:lnTo>
                        <a:lnTo>
                          <a:pt x="748" y="852"/>
                        </a:lnTo>
                        <a:lnTo>
                          <a:pt x="748" y="851"/>
                        </a:lnTo>
                        <a:lnTo>
                          <a:pt x="747" y="849"/>
                        </a:lnTo>
                        <a:lnTo>
                          <a:pt x="747" y="847"/>
                        </a:lnTo>
                        <a:lnTo>
                          <a:pt x="747" y="846"/>
                        </a:lnTo>
                        <a:lnTo>
                          <a:pt x="747" y="844"/>
                        </a:lnTo>
                        <a:lnTo>
                          <a:pt x="745" y="843"/>
                        </a:lnTo>
                        <a:lnTo>
                          <a:pt x="743" y="843"/>
                        </a:lnTo>
                        <a:lnTo>
                          <a:pt x="743" y="844"/>
                        </a:lnTo>
                        <a:lnTo>
                          <a:pt x="742" y="844"/>
                        </a:lnTo>
                        <a:lnTo>
                          <a:pt x="740" y="844"/>
                        </a:lnTo>
                        <a:lnTo>
                          <a:pt x="740" y="843"/>
                        </a:lnTo>
                        <a:lnTo>
                          <a:pt x="739" y="843"/>
                        </a:lnTo>
                        <a:lnTo>
                          <a:pt x="737" y="843"/>
                        </a:lnTo>
                        <a:lnTo>
                          <a:pt x="735" y="843"/>
                        </a:lnTo>
                        <a:lnTo>
                          <a:pt x="734" y="843"/>
                        </a:lnTo>
                        <a:lnTo>
                          <a:pt x="732" y="843"/>
                        </a:lnTo>
                        <a:lnTo>
                          <a:pt x="731" y="843"/>
                        </a:lnTo>
                        <a:lnTo>
                          <a:pt x="729" y="841"/>
                        </a:lnTo>
                        <a:lnTo>
                          <a:pt x="728" y="841"/>
                        </a:lnTo>
                        <a:lnTo>
                          <a:pt x="726" y="841"/>
                        </a:lnTo>
                        <a:lnTo>
                          <a:pt x="726" y="843"/>
                        </a:lnTo>
                        <a:lnTo>
                          <a:pt x="724" y="843"/>
                        </a:lnTo>
                        <a:lnTo>
                          <a:pt x="723" y="843"/>
                        </a:lnTo>
                        <a:lnTo>
                          <a:pt x="721" y="843"/>
                        </a:lnTo>
                        <a:lnTo>
                          <a:pt x="720" y="843"/>
                        </a:lnTo>
                        <a:lnTo>
                          <a:pt x="716" y="843"/>
                        </a:lnTo>
                        <a:lnTo>
                          <a:pt x="716" y="841"/>
                        </a:lnTo>
                        <a:lnTo>
                          <a:pt x="715" y="841"/>
                        </a:lnTo>
                        <a:lnTo>
                          <a:pt x="713" y="841"/>
                        </a:lnTo>
                        <a:lnTo>
                          <a:pt x="712" y="841"/>
                        </a:lnTo>
                        <a:lnTo>
                          <a:pt x="710" y="839"/>
                        </a:lnTo>
                        <a:lnTo>
                          <a:pt x="709" y="839"/>
                        </a:lnTo>
                        <a:lnTo>
                          <a:pt x="707" y="839"/>
                        </a:lnTo>
                        <a:lnTo>
                          <a:pt x="707" y="838"/>
                        </a:lnTo>
                        <a:lnTo>
                          <a:pt x="705" y="838"/>
                        </a:lnTo>
                        <a:lnTo>
                          <a:pt x="704" y="838"/>
                        </a:lnTo>
                        <a:lnTo>
                          <a:pt x="702" y="838"/>
                        </a:lnTo>
                        <a:lnTo>
                          <a:pt x="701" y="839"/>
                        </a:lnTo>
                        <a:lnTo>
                          <a:pt x="699" y="839"/>
                        </a:lnTo>
                        <a:lnTo>
                          <a:pt x="699" y="841"/>
                        </a:lnTo>
                        <a:lnTo>
                          <a:pt x="697" y="841"/>
                        </a:lnTo>
                        <a:lnTo>
                          <a:pt x="696" y="843"/>
                        </a:lnTo>
                        <a:lnTo>
                          <a:pt x="694" y="843"/>
                        </a:lnTo>
                        <a:lnTo>
                          <a:pt x="694" y="844"/>
                        </a:lnTo>
                        <a:lnTo>
                          <a:pt x="693" y="844"/>
                        </a:lnTo>
                        <a:lnTo>
                          <a:pt x="691" y="844"/>
                        </a:lnTo>
                        <a:lnTo>
                          <a:pt x="690" y="844"/>
                        </a:lnTo>
                        <a:lnTo>
                          <a:pt x="688" y="846"/>
                        </a:lnTo>
                        <a:lnTo>
                          <a:pt x="686" y="844"/>
                        </a:lnTo>
                        <a:lnTo>
                          <a:pt x="685" y="844"/>
                        </a:lnTo>
                        <a:lnTo>
                          <a:pt x="683" y="844"/>
                        </a:lnTo>
                        <a:lnTo>
                          <a:pt x="683" y="843"/>
                        </a:lnTo>
                        <a:lnTo>
                          <a:pt x="683" y="841"/>
                        </a:lnTo>
                        <a:lnTo>
                          <a:pt x="683" y="839"/>
                        </a:lnTo>
                        <a:lnTo>
                          <a:pt x="682" y="839"/>
                        </a:lnTo>
                        <a:lnTo>
                          <a:pt x="682" y="838"/>
                        </a:lnTo>
                        <a:lnTo>
                          <a:pt x="682" y="836"/>
                        </a:lnTo>
                        <a:lnTo>
                          <a:pt x="680" y="835"/>
                        </a:lnTo>
                        <a:lnTo>
                          <a:pt x="680" y="833"/>
                        </a:lnTo>
                        <a:lnTo>
                          <a:pt x="678" y="832"/>
                        </a:lnTo>
                        <a:lnTo>
                          <a:pt x="678" y="830"/>
                        </a:lnTo>
                        <a:lnTo>
                          <a:pt x="677" y="828"/>
                        </a:lnTo>
                        <a:lnTo>
                          <a:pt x="677" y="827"/>
                        </a:lnTo>
                        <a:lnTo>
                          <a:pt x="675" y="825"/>
                        </a:lnTo>
                        <a:lnTo>
                          <a:pt x="675" y="824"/>
                        </a:lnTo>
                        <a:lnTo>
                          <a:pt x="675" y="822"/>
                        </a:lnTo>
                        <a:lnTo>
                          <a:pt x="674" y="822"/>
                        </a:lnTo>
                        <a:lnTo>
                          <a:pt x="674" y="820"/>
                        </a:lnTo>
                        <a:lnTo>
                          <a:pt x="674" y="819"/>
                        </a:lnTo>
                        <a:lnTo>
                          <a:pt x="672" y="819"/>
                        </a:lnTo>
                        <a:lnTo>
                          <a:pt x="672" y="817"/>
                        </a:lnTo>
                        <a:lnTo>
                          <a:pt x="671" y="816"/>
                        </a:lnTo>
                        <a:lnTo>
                          <a:pt x="671" y="814"/>
                        </a:lnTo>
                        <a:lnTo>
                          <a:pt x="671" y="813"/>
                        </a:lnTo>
                        <a:lnTo>
                          <a:pt x="671" y="811"/>
                        </a:lnTo>
                        <a:lnTo>
                          <a:pt x="669" y="811"/>
                        </a:lnTo>
                        <a:lnTo>
                          <a:pt x="669" y="809"/>
                        </a:lnTo>
                        <a:lnTo>
                          <a:pt x="667" y="808"/>
                        </a:lnTo>
                        <a:lnTo>
                          <a:pt x="667" y="806"/>
                        </a:lnTo>
                        <a:lnTo>
                          <a:pt x="666" y="805"/>
                        </a:lnTo>
                        <a:lnTo>
                          <a:pt x="666" y="803"/>
                        </a:lnTo>
                        <a:lnTo>
                          <a:pt x="666" y="801"/>
                        </a:lnTo>
                        <a:lnTo>
                          <a:pt x="664" y="800"/>
                        </a:lnTo>
                        <a:lnTo>
                          <a:pt x="664" y="798"/>
                        </a:lnTo>
                        <a:lnTo>
                          <a:pt x="663" y="798"/>
                        </a:lnTo>
                        <a:lnTo>
                          <a:pt x="663" y="797"/>
                        </a:lnTo>
                        <a:lnTo>
                          <a:pt x="663" y="795"/>
                        </a:lnTo>
                        <a:lnTo>
                          <a:pt x="661" y="795"/>
                        </a:lnTo>
                        <a:lnTo>
                          <a:pt x="661" y="794"/>
                        </a:lnTo>
                        <a:lnTo>
                          <a:pt x="661" y="792"/>
                        </a:lnTo>
                        <a:lnTo>
                          <a:pt x="659" y="792"/>
                        </a:lnTo>
                        <a:lnTo>
                          <a:pt x="659" y="790"/>
                        </a:lnTo>
                        <a:lnTo>
                          <a:pt x="659" y="789"/>
                        </a:lnTo>
                        <a:lnTo>
                          <a:pt x="659" y="787"/>
                        </a:lnTo>
                        <a:lnTo>
                          <a:pt x="658" y="787"/>
                        </a:lnTo>
                        <a:lnTo>
                          <a:pt x="658" y="786"/>
                        </a:lnTo>
                        <a:lnTo>
                          <a:pt x="656" y="784"/>
                        </a:lnTo>
                        <a:lnTo>
                          <a:pt x="656" y="782"/>
                        </a:lnTo>
                        <a:lnTo>
                          <a:pt x="655" y="781"/>
                        </a:lnTo>
                        <a:lnTo>
                          <a:pt x="655" y="779"/>
                        </a:lnTo>
                        <a:lnTo>
                          <a:pt x="653" y="778"/>
                        </a:lnTo>
                        <a:lnTo>
                          <a:pt x="653" y="776"/>
                        </a:lnTo>
                        <a:lnTo>
                          <a:pt x="653" y="775"/>
                        </a:lnTo>
                        <a:lnTo>
                          <a:pt x="652" y="773"/>
                        </a:lnTo>
                        <a:lnTo>
                          <a:pt x="652" y="771"/>
                        </a:lnTo>
                        <a:lnTo>
                          <a:pt x="650" y="770"/>
                        </a:lnTo>
                        <a:lnTo>
                          <a:pt x="650" y="768"/>
                        </a:lnTo>
                        <a:lnTo>
                          <a:pt x="650" y="767"/>
                        </a:lnTo>
                        <a:lnTo>
                          <a:pt x="648" y="767"/>
                        </a:lnTo>
                        <a:lnTo>
                          <a:pt x="648" y="765"/>
                        </a:lnTo>
                        <a:lnTo>
                          <a:pt x="648" y="763"/>
                        </a:lnTo>
                        <a:lnTo>
                          <a:pt x="647" y="763"/>
                        </a:lnTo>
                        <a:lnTo>
                          <a:pt x="647" y="762"/>
                        </a:lnTo>
                        <a:lnTo>
                          <a:pt x="647" y="760"/>
                        </a:lnTo>
                        <a:lnTo>
                          <a:pt x="645" y="760"/>
                        </a:lnTo>
                        <a:lnTo>
                          <a:pt x="644" y="760"/>
                        </a:lnTo>
                        <a:lnTo>
                          <a:pt x="642" y="760"/>
                        </a:lnTo>
                        <a:lnTo>
                          <a:pt x="640" y="760"/>
                        </a:lnTo>
                        <a:lnTo>
                          <a:pt x="640" y="759"/>
                        </a:lnTo>
                        <a:lnTo>
                          <a:pt x="639" y="759"/>
                        </a:lnTo>
                        <a:lnTo>
                          <a:pt x="637" y="757"/>
                        </a:lnTo>
                        <a:lnTo>
                          <a:pt x="636" y="757"/>
                        </a:lnTo>
                        <a:lnTo>
                          <a:pt x="634" y="757"/>
                        </a:lnTo>
                        <a:lnTo>
                          <a:pt x="633" y="757"/>
                        </a:lnTo>
                        <a:lnTo>
                          <a:pt x="631" y="757"/>
                        </a:lnTo>
                        <a:lnTo>
                          <a:pt x="631" y="759"/>
                        </a:lnTo>
                        <a:lnTo>
                          <a:pt x="629" y="759"/>
                        </a:lnTo>
                        <a:lnTo>
                          <a:pt x="628" y="759"/>
                        </a:lnTo>
                        <a:lnTo>
                          <a:pt x="628" y="760"/>
                        </a:lnTo>
                        <a:lnTo>
                          <a:pt x="628" y="762"/>
                        </a:lnTo>
                        <a:lnTo>
                          <a:pt x="626" y="762"/>
                        </a:lnTo>
                        <a:lnTo>
                          <a:pt x="626" y="763"/>
                        </a:lnTo>
                        <a:lnTo>
                          <a:pt x="625" y="763"/>
                        </a:lnTo>
                        <a:lnTo>
                          <a:pt x="626" y="763"/>
                        </a:lnTo>
                        <a:lnTo>
                          <a:pt x="625" y="763"/>
                        </a:lnTo>
                        <a:lnTo>
                          <a:pt x="623" y="763"/>
                        </a:lnTo>
                        <a:lnTo>
                          <a:pt x="623" y="762"/>
                        </a:lnTo>
                        <a:lnTo>
                          <a:pt x="621" y="762"/>
                        </a:lnTo>
                        <a:lnTo>
                          <a:pt x="620" y="762"/>
                        </a:lnTo>
                        <a:lnTo>
                          <a:pt x="620" y="760"/>
                        </a:lnTo>
                        <a:lnTo>
                          <a:pt x="617" y="762"/>
                        </a:lnTo>
                        <a:lnTo>
                          <a:pt x="615" y="762"/>
                        </a:lnTo>
                        <a:lnTo>
                          <a:pt x="614" y="762"/>
                        </a:lnTo>
                        <a:lnTo>
                          <a:pt x="614" y="763"/>
                        </a:lnTo>
                        <a:lnTo>
                          <a:pt x="612" y="763"/>
                        </a:lnTo>
                        <a:lnTo>
                          <a:pt x="610" y="763"/>
                        </a:lnTo>
                        <a:lnTo>
                          <a:pt x="610" y="765"/>
                        </a:lnTo>
                        <a:lnTo>
                          <a:pt x="609" y="765"/>
                        </a:lnTo>
                        <a:lnTo>
                          <a:pt x="607" y="765"/>
                        </a:lnTo>
                        <a:lnTo>
                          <a:pt x="606" y="765"/>
                        </a:lnTo>
                        <a:lnTo>
                          <a:pt x="604" y="765"/>
                        </a:lnTo>
                        <a:lnTo>
                          <a:pt x="602" y="763"/>
                        </a:lnTo>
                        <a:lnTo>
                          <a:pt x="601" y="763"/>
                        </a:lnTo>
                        <a:lnTo>
                          <a:pt x="599" y="763"/>
                        </a:lnTo>
                        <a:lnTo>
                          <a:pt x="599" y="762"/>
                        </a:lnTo>
                        <a:lnTo>
                          <a:pt x="596" y="762"/>
                        </a:lnTo>
                        <a:lnTo>
                          <a:pt x="595" y="762"/>
                        </a:lnTo>
                        <a:lnTo>
                          <a:pt x="593" y="762"/>
                        </a:lnTo>
                        <a:lnTo>
                          <a:pt x="591" y="762"/>
                        </a:lnTo>
                        <a:lnTo>
                          <a:pt x="590" y="762"/>
                        </a:lnTo>
                        <a:lnTo>
                          <a:pt x="588" y="763"/>
                        </a:lnTo>
                        <a:lnTo>
                          <a:pt x="587" y="763"/>
                        </a:lnTo>
                        <a:lnTo>
                          <a:pt x="587" y="765"/>
                        </a:lnTo>
                        <a:lnTo>
                          <a:pt x="585" y="765"/>
                        </a:lnTo>
                        <a:lnTo>
                          <a:pt x="583" y="767"/>
                        </a:lnTo>
                        <a:lnTo>
                          <a:pt x="582" y="767"/>
                        </a:lnTo>
                        <a:lnTo>
                          <a:pt x="582" y="768"/>
                        </a:lnTo>
                        <a:lnTo>
                          <a:pt x="580" y="768"/>
                        </a:lnTo>
                        <a:lnTo>
                          <a:pt x="579" y="768"/>
                        </a:lnTo>
                        <a:lnTo>
                          <a:pt x="579" y="770"/>
                        </a:lnTo>
                        <a:lnTo>
                          <a:pt x="577" y="770"/>
                        </a:lnTo>
                        <a:lnTo>
                          <a:pt x="576" y="770"/>
                        </a:lnTo>
                        <a:lnTo>
                          <a:pt x="574" y="771"/>
                        </a:lnTo>
                        <a:lnTo>
                          <a:pt x="572" y="771"/>
                        </a:lnTo>
                        <a:lnTo>
                          <a:pt x="571" y="771"/>
                        </a:lnTo>
                        <a:lnTo>
                          <a:pt x="571" y="773"/>
                        </a:lnTo>
                        <a:lnTo>
                          <a:pt x="569" y="773"/>
                        </a:lnTo>
                        <a:lnTo>
                          <a:pt x="568" y="773"/>
                        </a:lnTo>
                        <a:lnTo>
                          <a:pt x="568" y="775"/>
                        </a:lnTo>
                        <a:lnTo>
                          <a:pt x="566" y="775"/>
                        </a:lnTo>
                        <a:lnTo>
                          <a:pt x="566" y="776"/>
                        </a:lnTo>
                        <a:lnTo>
                          <a:pt x="564" y="776"/>
                        </a:lnTo>
                        <a:lnTo>
                          <a:pt x="564" y="778"/>
                        </a:lnTo>
                        <a:lnTo>
                          <a:pt x="563" y="778"/>
                        </a:lnTo>
                        <a:lnTo>
                          <a:pt x="561" y="779"/>
                        </a:lnTo>
                        <a:lnTo>
                          <a:pt x="561" y="781"/>
                        </a:lnTo>
                        <a:lnTo>
                          <a:pt x="561" y="782"/>
                        </a:lnTo>
                        <a:lnTo>
                          <a:pt x="563" y="784"/>
                        </a:lnTo>
                        <a:lnTo>
                          <a:pt x="563" y="786"/>
                        </a:lnTo>
                        <a:lnTo>
                          <a:pt x="563" y="787"/>
                        </a:lnTo>
                        <a:lnTo>
                          <a:pt x="561" y="789"/>
                        </a:lnTo>
                        <a:lnTo>
                          <a:pt x="560" y="789"/>
                        </a:lnTo>
                        <a:lnTo>
                          <a:pt x="560" y="790"/>
                        </a:lnTo>
                        <a:lnTo>
                          <a:pt x="558" y="790"/>
                        </a:lnTo>
                        <a:lnTo>
                          <a:pt x="556" y="790"/>
                        </a:lnTo>
                        <a:lnTo>
                          <a:pt x="555" y="792"/>
                        </a:lnTo>
                        <a:lnTo>
                          <a:pt x="553" y="792"/>
                        </a:lnTo>
                        <a:lnTo>
                          <a:pt x="552" y="794"/>
                        </a:lnTo>
                        <a:lnTo>
                          <a:pt x="550" y="794"/>
                        </a:lnTo>
                        <a:lnTo>
                          <a:pt x="549" y="794"/>
                        </a:lnTo>
                        <a:lnTo>
                          <a:pt x="547" y="795"/>
                        </a:lnTo>
                        <a:lnTo>
                          <a:pt x="545" y="797"/>
                        </a:lnTo>
                        <a:lnTo>
                          <a:pt x="542" y="798"/>
                        </a:lnTo>
                        <a:lnTo>
                          <a:pt x="541" y="800"/>
                        </a:lnTo>
                        <a:lnTo>
                          <a:pt x="541" y="801"/>
                        </a:lnTo>
                        <a:lnTo>
                          <a:pt x="539" y="801"/>
                        </a:lnTo>
                        <a:lnTo>
                          <a:pt x="537" y="803"/>
                        </a:lnTo>
                        <a:lnTo>
                          <a:pt x="537" y="805"/>
                        </a:lnTo>
                        <a:lnTo>
                          <a:pt x="536" y="805"/>
                        </a:lnTo>
                        <a:lnTo>
                          <a:pt x="534" y="806"/>
                        </a:lnTo>
                        <a:lnTo>
                          <a:pt x="533" y="806"/>
                        </a:lnTo>
                        <a:lnTo>
                          <a:pt x="530" y="809"/>
                        </a:lnTo>
                        <a:lnTo>
                          <a:pt x="528" y="811"/>
                        </a:lnTo>
                        <a:lnTo>
                          <a:pt x="526" y="811"/>
                        </a:lnTo>
                        <a:lnTo>
                          <a:pt x="526" y="813"/>
                        </a:lnTo>
                        <a:lnTo>
                          <a:pt x="525" y="813"/>
                        </a:lnTo>
                        <a:lnTo>
                          <a:pt x="525" y="814"/>
                        </a:lnTo>
                        <a:lnTo>
                          <a:pt x="523" y="816"/>
                        </a:lnTo>
                        <a:lnTo>
                          <a:pt x="522" y="816"/>
                        </a:lnTo>
                        <a:lnTo>
                          <a:pt x="520" y="817"/>
                        </a:lnTo>
                        <a:lnTo>
                          <a:pt x="518" y="817"/>
                        </a:lnTo>
                        <a:lnTo>
                          <a:pt x="518" y="819"/>
                        </a:lnTo>
                        <a:lnTo>
                          <a:pt x="517" y="819"/>
                        </a:lnTo>
                        <a:lnTo>
                          <a:pt x="515" y="819"/>
                        </a:lnTo>
                        <a:lnTo>
                          <a:pt x="514" y="819"/>
                        </a:lnTo>
                        <a:lnTo>
                          <a:pt x="512" y="819"/>
                        </a:lnTo>
                        <a:lnTo>
                          <a:pt x="511" y="819"/>
                        </a:lnTo>
                        <a:lnTo>
                          <a:pt x="509" y="819"/>
                        </a:lnTo>
                        <a:lnTo>
                          <a:pt x="507" y="819"/>
                        </a:lnTo>
                        <a:lnTo>
                          <a:pt x="506" y="819"/>
                        </a:lnTo>
                        <a:lnTo>
                          <a:pt x="504" y="819"/>
                        </a:lnTo>
                        <a:lnTo>
                          <a:pt x="503" y="819"/>
                        </a:lnTo>
                        <a:lnTo>
                          <a:pt x="501" y="819"/>
                        </a:lnTo>
                        <a:lnTo>
                          <a:pt x="499" y="819"/>
                        </a:lnTo>
                        <a:lnTo>
                          <a:pt x="498" y="817"/>
                        </a:lnTo>
                        <a:lnTo>
                          <a:pt x="496" y="816"/>
                        </a:lnTo>
                        <a:lnTo>
                          <a:pt x="496" y="814"/>
                        </a:lnTo>
                        <a:lnTo>
                          <a:pt x="495" y="814"/>
                        </a:lnTo>
                        <a:lnTo>
                          <a:pt x="495" y="813"/>
                        </a:lnTo>
                        <a:lnTo>
                          <a:pt x="493" y="811"/>
                        </a:lnTo>
                        <a:lnTo>
                          <a:pt x="492" y="811"/>
                        </a:lnTo>
                        <a:lnTo>
                          <a:pt x="490" y="811"/>
                        </a:lnTo>
                        <a:lnTo>
                          <a:pt x="490" y="809"/>
                        </a:lnTo>
                        <a:lnTo>
                          <a:pt x="488" y="808"/>
                        </a:lnTo>
                        <a:lnTo>
                          <a:pt x="487" y="808"/>
                        </a:lnTo>
                        <a:lnTo>
                          <a:pt x="485" y="806"/>
                        </a:lnTo>
                        <a:lnTo>
                          <a:pt x="484" y="806"/>
                        </a:lnTo>
                        <a:lnTo>
                          <a:pt x="482" y="806"/>
                        </a:lnTo>
                        <a:lnTo>
                          <a:pt x="480" y="806"/>
                        </a:lnTo>
                        <a:lnTo>
                          <a:pt x="479" y="806"/>
                        </a:lnTo>
                        <a:lnTo>
                          <a:pt x="477" y="806"/>
                        </a:lnTo>
                        <a:lnTo>
                          <a:pt x="476" y="805"/>
                        </a:lnTo>
                        <a:lnTo>
                          <a:pt x="474" y="805"/>
                        </a:lnTo>
                        <a:lnTo>
                          <a:pt x="474" y="803"/>
                        </a:lnTo>
                        <a:lnTo>
                          <a:pt x="473" y="803"/>
                        </a:lnTo>
                        <a:lnTo>
                          <a:pt x="471" y="801"/>
                        </a:lnTo>
                        <a:lnTo>
                          <a:pt x="469" y="801"/>
                        </a:lnTo>
                        <a:lnTo>
                          <a:pt x="469" y="800"/>
                        </a:lnTo>
                        <a:lnTo>
                          <a:pt x="468" y="798"/>
                        </a:lnTo>
                        <a:lnTo>
                          <a:pt x="469" y="797"/>
                        </a:lnTo>
                        <a:lnTo>
                          <a:pt x="469" y="795"/>
                        </a:lnTo>
                        <a:lnTo>
                          <a:pt x="469" y="794"/>
                        </a:lnTo>
                        <a:lnTo>
                          <a:pt x="469" y="792"/>
                        </a:lnTo>
                        <a:lnTo>
                          <a:pt x="468" y="792"/>
                        </a:lnTo>
                        <a:lnTo>
                          <a:pt x="468" y="790"/>
                        </a:lnTo>
                        <a:lnTo>
                          <a:pt x="468" y="789"/>
                        </a:lnTo>
                        <a:lnTo>
                          <a:pt x="466" y="787"/>
                        </a:lnTo>
                        <a:lnTo>
                          <a:pt x="466" y="786"/>
                        </a:lnTo>
                        <a:lnTo>
                          <a:pt x="465" y="786"/>
                        </a:lnTo>
                        <a:lnTo>
                          <a:pt x="463" y="784"/>
                        </a:lnTo>
                        <a:lnTo>
                          <a:pt x="461" y="784"/>
                        </a:lnTo>
                        <a:lnTo>
                          <a:pt x="461" y="782"/>
                        </a:lnTo>
                        <a:lnTo>
                          <a:pt x="460" y="781"/>
                        </a:lnTo>
                        <a:lnTo>
                          <a:pt x="460" y="779"/>
                        </a:lnTo>
                        <a:lnTo>
                          <a:pt x="458" y="779"/>
                        </a:lnTo>
                        <a:lnTo>
                          <a:pt x="458" y="778"/>
                        </a:lnTo>
                        <a:lnTo>
                          <a:pt x="458" y="776"/>
                        </a:lnTo>
                        <a:lnTo>
                          <a:pt x="458" y="775"/>
                        </a:lnTo>
                        <a:lnTo>
                          <a:pt x="458" y="773"/>
                        </a:lnTo>
                        <a:lnTo>
                          <a:pt x="458" y="771"/>
                        </a:lnTo>
                        <a:lnTo>
                          <a:pt x="458" y="770"/>
                        </a:lnTo>
                        <a:lnTo>
                          <a:pt x="457" y="768"/>
                        </a:lnTo>
                        <a:lnTo>
                          <a:pt x="457" y="767"/>
                        </a:lnTo>
                        <a:lnTo>
                          <a:pt x="455" y="767"/>
                        </a:lnTo>
                        <a:lnTo>
                          <a:pt x="454" y="767"/>
                        </a:lnTo>
                        <a:lnTo>
                          <a:pt x="454" y="765"/>
                        </a:lnTo>
                        <a:lnTo>
                          <a:pt x="452" y="765"/>
                        </a:lnTo>
                        <a:lnTo>
                          <a:pt x="452" y="763"/>
                        </a:lnTo>
                        <a:lnTo>
                          <a:pt x="452" y="762"/>
                        </a:lnTo>
                        <a:lnTo>
                          <a:pt x="452" y="760"/>
                        </a:lnTo>
                        <a:lnTo>
                          <a:pt x="450" y="760"/>
                        </a:lnTo>
                        <a:lnTo>
                          <a:pt x="450" y="759"/>
                        </a:lnTo>
                        <a:lnTo>
                          <a:pt x="449" y="759"/>
                        </a:lnTo>
                        <a:lnTo>
                          <a:pt x="447" y="759"/>
                        </a:lnTo>
                        <a:lnTo>
                          <a:pt x="446" y="759"/>
                        </a:lnTo>
                        <a:lnTo>
                          <a:pt x="444" y="759"/>
                        </a:lnTo>
                        <a:lnTo>
                          <a:pt x="442" y="759"/>
                        </a:lnTo>
                        <a:lnTo>
                          <a:pt x="441" y="759"/>
                        </a:lnTo>
                        <a:lnTo>
                          <a:pt x="439" y="759"/>
                        </a:lnTo>
                        <a:lnTo>
                          <a:pt x="439" y="757"/>
                        </a:lnTo>
                        <a:lnTo>
                          <a:pt x="438" y="757"/>
                        </a:lnTo>
                        <a:lnTo>
                          <a:pt x="436" y="757"/>
                        </a:lnTo>
                        <a:lnTo>
                          <a:pt x="435" y="757"/>
                        </a:lnTo>
                        <a:lnTo>
                          <a:pt x="431" y="757"/>
                        </a:lnTo>
                        <a:lnTo>
                          <a:pt x="430" y="757"/>
                        </a:lnTo>
                        <a:lnTo>
                          <a:pt x="428" y="757"/>
                        </a:lnTo>
                        <a:lnTo>
                          <a:pt x="427" y="757"/>
                        </a:lnTo>
                        <a:lnTo>
                          <a:pt x="425" y="757"/>
                        </a:lnTo>
                        <a:lnTo>
                          <a:pt x="423" y="757"/>
                        </a:lnTo>
                        <a:lnTo>
                          <a:pt x="422" y="757"/>
                        </a:lnTo>
                        <a:lnTo>
                          <a:pt x="420" y="757"/>
                        </a:lnTo>
                        <a:lnTo>
                          <a:pt x="419" y="756"/>
                        </a:lnTo>
                        <a:lnTo>
                          <a:pt x="417" y="756"/>
                        </a:lnTo>
                        <a:lnTo>
                          <a:pt x="416" y="756"/>
                        </a:lnTo>
                        <a:lnTo>
                          <a:pt x="414" y="756"/>
                        </a:lnTo>
                        <a:lnTo>
                          <a:pt x="412" y="756"/>
                        </a:lnTo>
                        <a:lnTo>
                          <a:pt x="411" y="756"/>
                        </a:lnTo>
                        <a:lnTo>
                          <a:pt x="409" y="756"/>
                        </a:lnTo>
                        <a:lnTo>
                          <a:pt x="408" y="756"/>
                        </a:lnTo>
                        <a:lnTo>
                          <a:pt x="406" y="756"/>
                        </a:lnTo>
                        <a:lnTo>
                          <a:pt x="404" y="756"/>
                        </a:lnTo>
                        <a:lnTo>
                          <a:pt x="403" y="756"/>
                        </a:lnTo>
                        <a:lnTo>
                          <a:pt x="401" y="756"/>
                        </a:lnTo>
                        <a:lnTo>
                          <a:pt x="400" y="756"/>
                        </a:lnTo>
                        <a:lnTo>
                          <a:pt x="398" y="756"/>
                        </a:lnTo>
                        <a:lnTo>
                          <a:pt x="395" y="756"/>
                        </a:lnTo>
                        <a:lnTo>
                          <a:pt x="395" y="757"/>
                        </a:lnTo>
                        <a:lnTo>
                          <a:pt x="393" y="757"/>
                        </a:lnTo>
                        <a:lnTo>
                          <a:pt x="392" y="759"/>
                        </a:lnTo>
                        <a:lnTo>
                          <a:pt x="390" y="759"/>
                        </a:lnTo>
                        <a:lnTo>
                          <a:pt x="390" y="760"/>
                        </a:lnTo>
                        <a:lnTo>
                          <a:pt x="389" y="760"/>
                        </a:lnTo>
                        <a:lnTo>
                          <a:pt x="387" y="760"/>
                        </a:lnTo>
                        <a:lnTo>
                          <a:pt x="387" y="759"/>
                        </a:lnTo>
                        <a:lnTo>
                          <a:pt x="385" y="759"/>
                        </a:lnTo>
                        <a:lnTo>
                          <a:pt x="385" y="757"/>
                        </a:lnTo>
                        <a:lnTo>
                          <a:pt x="385" y="756"/>
                        </a:lnTo>
                        <a:lnTo>
                          <a:pt x="384" y="756"/>
                        </a:lnTo>
                        <a:lnTo>
                          <a:pt x="382" y="756"/>
                        </a:lnTo>
                        <a:lnTo>
                          <a:pt x="381" y="756"/>
                        </a:lnTo>
                        <a:lnTo>
                          <a:pt x="379" y="756"/>
                        </a:lnTo>
                        <a:lnTo>
                          <a:pt x="377" y="756"/>
                        </a:lnTo>
                        <a:lnTo>
                          <a:pt x="376" y="756"/>
                        </a:lnTo>
                        <a:lnTo>
                          <a:pt x="374" y="756"/>
                        </a:lnTo>
                        <a:lnTo>
                          <a:pt x="373" y="757"/>
                        </a:lnTo>
                        <a:lnTo>
                          <a:pt x="371" y="757"/>
                        </a:lnTo>
                        <a:lnTo>
                          <a:pt x="371" y="756"/>
                        </a:lnTo>
                        <a:lnTo>
                          <a:pt x="370" y="756"/>
                        </a:lnTo>
                        <a:lnTo>
                          <a:pt x="368" y="756"/>
                        </a:lnTo>
                        <a:lnTo>
                          <a:pt x="366" y="756"/>
                        </a:lnTo>
                        <a:lnTo>
                          <a:pt x="365" y="756"/>
                        </a:lnTo>
                        <a:lnTo>
                          <a:pt x="363" y="757"/>
                        </a:lnTo>
                        <a:lnTo>
                          <a:pt x="362" y="757"/>
                        </a:lnTo>
                        <a:lnTo>
                          <a:pt x="360" y="757"/>
                        </a:lnTo>
                        <a:lnTo>
                          <a:pt x="358" y="757"/>
                        </a:lnTo>
                        <a:lnTo>
                          <a:pt x="357" y="757"/>
                        </a:lnTo>
                        <a:lnTo>
                          <a:pt x="355" y="757"/>
                        </a:lnTo>
                        <a:lnTo>
                          <a:pt x="355" y="759"/>
                        </a:lnTo>
                        <a:lnTo>
                          <a:pt x="354" y="759"/>
                        </a:lnTo>
                        <a:lnTo>
                          <a:pt x="354" y="757"/>
                        </a:lnTo>
                        <a:lnTo>
                          <a:pt x="352" y="757"/>
                        </a:lnTo>
                        <a:lnTo>
                          <a:pt x="352" y="759"/>
                        </a:lnTo>
                        <a:lnTo>
                          <a:pt x="351" y="757"/>
                        </a:lnTo>
                        <a:lnTo>
                          <a:pt x="349" y="757"/>
                        </a:lnTo>
                        <a:lnTo>
                          <a:pt x="349" y="756"/>
                        </a:lnTo>
                        <a:lnTo>
                          <a:pt x="347" y="756"/>
                        </a:lnTo>
                        <a:lnTo>
                          <a:pt x="347" y="754"/>
                        </a:lnTo>
                        <a:lnTo>
                          <a:pt x="346" y="754"/>
                        </a:lnTo>
                        <a:lnTo>
                          <a:pt x="344" y="754"/>
                        </a:lnTo>
                        <a:lnTo>
                          <a:pt x="344" y="752"/>
                        </a:lnTo>
                        <a:lnTo>
                          <a:pt x="343" y="752"/>
                        </a:lnTo>
                        <a:lnTo>
                          <a:pt x="341" y="751"/>
                        </a:lnTo>
                        <a:lnTo>
                          <a:pt x="339" y="751"/>
                        </a:lnTo>
                        <a:lnTo>
                          <a:pt x="338" y="751"/>
                        </a:lnTo>
                        <a:lnTo>
                          <a:pt x="336" y="751"/>
                        </a:lnTo>
                        <a:lnTo>
                          <a:pt x="335" y="749"/>
                        </a:lnTo>
                        <a:lnTo>
                          <a:pt x="333" y="749"/>
                        </a:lnTo>
                        <a:lnTo>
                          <a:pt x="332" y="749"/>
                        </a:lnTo>
                        <a:lnTo>
                          <a:pt x="330" y="749"/>
                        </a:lnTo>
                        <a:lnTo>
                          <a:pt x="328" y="749"/>
                        </a:lnTo>
                        <a:lnTo>
                          <a:pt x="327" y="751"/>
                        </a:lnTo>
                        <a:lnTo>
                          <a:pt x="327" y="752"/>
                        </a:lnTo>
                        <a:lnTo>
                          <a:pt x="325" y="752"/>
                        </a:lnTo>
                        <a:lnTo>
                          <a:pt x="325" y="754"/>
                        </a:lnTo>
                        <a:lnTo>
                          <a:pt x="324" y="756"/>
                        </a:lnTo>
                        <a:lnTo>
                          <a:pt x="322" y="756"/>
                        </a:lnTo>
                        <a:lnTo>
                          <a:pt x="322" y="757"/>
                        </a:lnTo>
                        <a:lnTo>
                          <a:pt x="320" y="757"/>
                        </a:lnTo>
                        <a:lnTo>
                          <a:pt x="320" y="759"/>
                        </a:lnTo>
                        <a:lnTo>
                          <a:pt x="320" y="760"/>
                        </a:lnTo>
                        <a:lnTo>
                          <a:pt x="319" y="760"/>
                        </a:lnTo>
                        <a:lnTo>
                          <a:pt x="319" y="762"/>
                        </a:lnTo>
                        <a:lnTo>
                          <a:pt x="319" y="763"/>
                        </a:lnTo>
                        <a:lnTo>
                          <a:pt x="317" y="763"/>
                        </a:lnTo>
                        <a:lnTo>
                          <a:pt x="317" y="765"/>
                        </a:lnTo>
                        <a:lnTo>
                          <a:pt x="317" y="767"/>
                        </a:lnTo>
                        <a:lnTo>
                          <a:pt x="316" y="767"/>
                        </a:lnTo>
                        <a:lnTo>
                          <a:pt x="316" y="768"/>
                        </a:lnTo>
                        <a:lnTo>
                          <a:pt x="316" y="770"/>
                        </a:lnTo>
                        <a:lnTo>
                          <a:pt x="314" y="770"/>
                        </a:lnTo>
                        <a:lnTo>
                          <a:pt x="314" y="771"/>
                        </a:lnTo>
                        <a:lnTo>
                          <a:pt x="313" y="771"/>
                        </a:lnTo>
                        <a:lnTo>
                          <a:pt x="313" y="773"/>
                        </a:lnTo>
                        <a:lnTo>
                          <a:pt x="313" y="775"/>
                        </a:lnTo>
                        <a:lnTo>
                          <a:pt x="311" y="776"/>
                        </a:lnTo>
                        <a:lnTo>
                          <a:pt x="311" y="778"/>
                        </a:lnTo>
                        <a:lnTo>
                          <a:pt x="311" y="779"/>
                        </a:lnTo>
                        <a:lnTo>
                          <a:pt x="309" y="781"/>
                        </a:lnTo>
                        <a:lnTo>
                          <a:pt x="308" y="782"/>
                        </a:lnTo>
                        <a:lnTo>
                          <a:pt x="306" y="782"/>
                        </a:lnTo>
                        <a:lnTo>
                          <a:pt x="306" y="784"/>
                        </a:lnTo>
                        <a:lnTo>
                          <a:pt x="305" y="784"/>
                        </a:lnTo>
                        <a:lnTo>
                          <a:pt x="303" y="784"/>
                        </a:lnTo>
                        <a:lnTo>
                          <a:pt x="301" y="784"/>
                        </a:lnTo>
                        <a:lnTo>
                          <a:pt x="301" y="782"/>
                        </a:lnTo>
                        <a:lnTo>
                          <a:pt x="300" y="782"/>
                        </a:lnTo>
                        <a:lnTo>
                          <a:pt x="298" y="782"/>
                        </a:lnTo>
                        <a:lnTo>
                          <a:pt x="297" y="782"/>
                        </a:lnTo>
                        <a:lnTo>
                          <a:pt x="295" y="782"/>
                        </a:lnTo>
                        <a:lnTo>
                          <a:pt x="294" y="782"/>
                        </a:lnTo>
                        <a:lnTo>
                          <a:pt x="292" y="782"/>
                        </a:lnTo>
                        <a:lnTo>
                          <a:pt x="290" y="782"/>
                        </a:lnTo>
                        <a:lnTo>
                          <a:pt x="289" y="782"/>
                        </a:lnTo>
                        <a:lnTo>
                          <a:pt x="287" y="784"/>
                        </a:lnTo>
                        <a:lnTo>
                          <a:pt x="286" y="784"/>
                        </a:lnTo>
                        <a:lnTo>
                          <a:pt x="286" y="786"/>
                        </a:lnTo>
                        <a:lnTo>
                          <a:pt x="284" y="786"/>
                        </a:lnTo>
                        <a:lnTo>
                          <a:pt x="282" y="787"/>
                        </a:lnTo>
                        <a:lnTo>
                          <a:pt x="281" y="787"/>
                        </a:lnTo>
                        <a:lnTo>
                          <a:pt x="279" y="787"/>
                        </a:lnTo>
                        <a:lnTo>
                          <a:pt x="278" y="787"/>
                        </a:lnTo>
                        <a:lnTo>
                          <a:pt x="276" y="787"/>
                        </a:lnTo>
                        <a:lnTo>
                          <a:pt x="275" y="789"/>
                        </a:lnTo>
                        <a:lnTo>
                          <a:pt x="273" y="789"/>
                        </a:lnTo>
                        <a:lnTo>
                          <a:pt x="271" y="790"/>
                        </a:lnTo>
                        <a:lnTo>
                          <a:pt x="270" y="790"/>
                        </a:lnTo>
                        <a:lnTo>
                          <a:pt x="268" y="790"/>
                        </a:lnTo>
                        <a:lnTo>
                          <a:pt x="267" y="790"/>
                        </a:lnTo>
                        <a:lnTo>
                          <a:pt x="265" y="790"/>
                        </a:lnTo>
                        <a:lnTo>
                          <a:pt x="263" y="790"/>
                        </a:lnTo>
                        <a:lnTo>
                          <a:pt x="262" y="789"/>
                        </a:lnTo>
                        <a:lnTo>
                          <a:pt x="260" y="789"/>
                        </a:lnTo>
                        <a:lnTo>
                          <a:pt x="259" y="789"/>
                        </a:lnTo>
                        <a:lnTo>
                          <a:pt x="257" y="789"/>
                        </a:lnTo>
                        <a:lnTo>
                          <a:pt x="256" y="789"/>
                        </a:lnTo>
                        <a:lnTo>
                          <a:pt x="254" y="789"/>
                        </a:lnTo>
                        <a:lnTo>
                          <a:pt x="252" y="789"/>
                        </a:lnTo>
                        <a:lnTo>
                          <a:pt x="251" y="789"/>
                        </a:lnTo>
                        <a:lnTo>
                          <a:pt x="249" y="789"/>
                        </a:lnTo>
                        <a:lnTo>
                          <a:pt x="248" y="789"/>
                        </a:lnTo>
                        <a:lnTo>
                          <a:pt x="246" y="789"/>
                        </a:lnTo>
                        <a:lnTo>
                          <a:pt x="246" y="790"/>
                        </a:lnTo>
                        <a:lnTo>
                          <a:pt x="244" y="790"/>
                        </a:lnTo>
                        <a:lnTo>
                          <a:pt x="243" y="790"/>
                        </a:lnTo>
                        <a:lnTo>
                          <a:pt x="241" y="790"/>
                        </a:lnTo>
                        <a:lnTo>
                          <a:pt x="240" y="790"/>
                        </a:lnTo>
                        <a:lnTo>
                          <a:pt x="238" y="790"/>
                        </a:lnTo>
                        <a:lnTo>
                          <a:pt x="238" y="792"/>
                        </a:lnTo>
                        <a:lnTo>
                          <a:pt x="237" y="792"/>
                        </a:lnTo>
                        <a:lnTo>
                          <a:pt x="235" y="792"/>
                        </a:lnTo>
                        <a:lnTo>
                          <a:pt x="233" y="794"/>
                        </a:lnTo>
                        <a:lnTo>
                          <a:pt x="232" y="794"/>
                        </a:lnTo>
                        <a:lnTo>
                          <a:pt x="230" y="794"/>
                        </a:lnTo>
                        <a:lnTo>
                          <a:pt x="229" y="794"/>
                        </a:lnTo>
                        <a:lnTo>
                          <a:pt x="227" y="795"/>
                        </a:lnTo>
                        <a:lnTo>
                          <a:pt x="225" y="795"/>
                        </a:lnTo>
                        <a:lnTo>
                          <a:pt x="224" y="795"/>
                        </a:lnTo>
                        <a:lnTo>
                          <a:pt x="222" y="797"/>
                        </a:lnTo>
                        <a:lnTo>
                          <a:pt x="221" y="797"/>
                        </a:lnTo>
                        <a:lnTo>
                          <a:pt x="221" y="798"/>
                        </a:lnTo>
                        <a:lnTo>
                          <a:pt x="219" y="798"/>
                        </a:lnTo>
                        <a:lnTo>
                          <a:pt x="218" y="800"/>
                        </a:lnTo>
                        <a:lnTo>
                          <a:pt x="216" y="800"/>
                        </a:lnTo>
                        <a:lnTo>
                          <a:pt x="214" y="800"/>
                        </a:lnTo>
                        <a:lnTo>
                          <a:pt x="213" y="801"/>
                        </a:lnTo>
                        <a:lnTo>
                          <a:pt x="211" y="801"/>
                        </a:lnTo>
                        <a:lnTo>
                          <a:pt x="211" y="803"/>
                        </a:lnTo>
                        <a:lnTo>
                          <a:pt x="210" y="803"/>
                        </a:lnTo>
                        <a:lnTo>
                          <a:pt x="208" y="803"/>
                        </a:lnTo>
                        <a:lnTo>
                          <a:pt x="208" y="805"/>
                        </a:lnTo>
                        <a:lnTo>
                          <a:pt x="206" y="805"/>
                        </a:lnTo>
                        <a:lnTo>
                          <a:pt x="205" y="805"/>
                        </a:lnTo>
                        <a:lnTo>
                          <a:pt x="203" y="806"/>
                        </a:lnTo>
                        <a:lnTo>
                          <a:pt x="202" y="806"/>
                        </a:lnTo>
                        <a:lnTo>
                          <a:pt x="200" y="806"/>
                        </a:lnTo>
                        <a:lnTo>
                          <a:pt x="199" y="808"/>
                        </a:lnTo>
                        <a:lnTo>
                          <a:pt x="197" y="808"/>
                        </a:lnTo>
                        <a:lnTo>
                          <a:pt x="195" y="809"/>
                        </a:lnTo>
                        <a:lnTo>
                          <a:pt x="194" y="809"/>
                        </a:lnTo>
                        <a:lnTo>
                          <a:pt x="192" y="811"/>
                        </a:lnTo>
                        <a:lnTo>
                          <a:pt x="191" y="811"/>
                        </a:lnTo>
                        <a:lnTo>
                          <a:pt x="189" y="811"/>
                        </a:lnTo>
                        <a:lnTo>
                          <a:pt x="187" y="813"/>
                        </a:lnTo>
                        <a:lnTo>
                          <a:pt x="187" y="811"/>
                        </a:lnTo>
                        <a:lnTo>
                          <a:pt x="186" y="809"/>
                        </a:lnTo>
                        <a:lnTo>
                          <a:pt x="186" y="808"/>
                        </a:lnTo>
                        <a:lnTo>
                          <a:pt x="184" y="808"/>
                        </a:lnTo>
                        <a:lnTo>
                          <a:pt x="184" y="806"/>
                        </a:lnTo>
                        <a:lnTo>
                          <a:pt x="183" y="805"/>
                        </a:lnTo>
                        <a:lnTo>
                          <a:pt x="181" y="803"/>
                        </a:lnTo>
                        <a:lnTo>
                          <a:pt x="179" y="801"/>
                        </a:lnTo>
                        <a:lnTo>
                          <a:pt x="178" y="800"/>
                        </a:lnTo>
                        <a:lnTo>
                          <a:pt x="176" y="798"/>
                        </a:lnTo>
                        <a:lnTo>
                          <a:pt x="176" y="797"/>
                        </a:lnTo>
                        <a:lnTo>
                          <a:pt x="176" y="795"/>
                        </a:lnTo>
                        <a:lnTo>
                          <a:pt x="176" y="794"/>
                        </a:lnTo>
                        <a:lnTo>
                          <a:pt x="175" y="792"/>
                        </a:lnTo>
                        <a:lnTo>
                          <a:pt x="175" y="790"/>
                        </a:lnTo>
                        <a:lnTo>
                          <a:pt x="173" y="790"/>
                        </a:lnTo>
                        <a:lnTo>
                          <a:pt x="173" y="789"/>
                        </a:lnTo>
                        <a:lnTo>
                          <a:pt x="173" y="787"/>
                        </a:lnTo>
                        <a:lnTo>
                          <a:pt x="173" y="786"/>
                        </a:lnTo>
                        <a:lnTo>
                          <a:pt x="173" y="784"/>
                        </a:lnTo>
                        <a:lnTo>
                          <a:pt x="173" y="782"/>
                        </a:lnTo>
                        <a:lnTo>
                          <a:pt x="173" y="781"/>
                        </a:lnTo>
                        <a:lnTo>
                          <a:pt x="173" y="779"/>
                        </a:lnTo>
                        <a:lnTo>
                          <a:pt x="173" y="778"/>
                        </a:lnTo>
                        <a:lnTo>
                          <a:pt x="173" y="776"/>
                        </a:lnTo>
                        <a:lnTo>
                          <a:pt x="173" y="775"/>
                        </a:lnTo>
                        <a:lnTo>
                          <a:pt x="172" y="773"/>
                        </a:lnTo>
                        <a:lnTo>
                          <a:pt x="172" y="771"/>
                        </a:lnTo>
                        <a:lnTo>
                          <a:pt x="170" y="770"/>
                        </a:lnTo>
                        <a:lnTo>
                          <a:pt x="170" y="768"/>
                        </a:lnTo>
                        <a:lnTo>
                          <a:pt x="168" y="768"/>
                        </a:lnTo>
                        <a:lnTo>
                          <a:pt x="168" y="767"/>
                        </a:lnTo>
                        <a:lnTo>
                          <a:pt x="167" y="767"/>
                        </a:lnTo>
                        <a:lnTo>
                          <a:pt x="165" y="765"/>
                        </a:lnTo>
                        <a:lnTo>
                          <a:pt x="165" y="767"/>
                        </a:lnTo>
                        <a:lnTo>
                          <a:pt x="164" y="765"/>
                        </a:lnTo>
                        <a:lnTo>
                          <a:pt x="162" y="767"/>
                        </a:lnTo>
                        <a:lnTo>
                          <a:pt x="160" y="767"/>
                        </a:lnTo>
                        <a:lnTo>
                          <a:pt x="159" y="767"/>
                        </a:lnTo>
                        <a:lnTo>
                          <a:pt x="157" y="767"/>
                        </a:lnTo>
                        <a:lnTo>
                          <a:pt x="156" y="768"/>
                        </a:lnTo>
                        <a:lnTo>
                          <a:pt x="154" y="770"/>
                        </a:lnTo>
                        <a:lnTo>
                          <a:pt x="153" y="770"/>
                        </a:lnTo>
                        <a:lnTo>
                          <a:pt x="151" y="771"/>
                        </a:lnTo>
                        <a:lnTo>
                          <a:pt x="149" y="771"/>
                        </a:lnTo>
                        <a:lnTo>
                          <a:pt x="148" y="771"/>
                        </a:lnTo>
                        <a:lnTo>
                          <a:pt x="146" y="771"/>
                        </a:lnTo>
                        <a:lnTo>
                          <a:pt x="146" y="770"/>
                        </a:lnTo>
                        <a:lnTo>
                          <a:pt x="146" y="768"/>
                        </a:lnTo>
                        <a:lnTo>
                          <a:pt x="146" y="765"/>
                        </a:lnTo>
                        <a:lnTo>
                          <a:pt x="146" y="763"/>
                        </a:lnTo>
                        <a:lnTo>
                          <a:pt x="146" y="762"/>
                        </a:lnTo>
                        <a:lnTo>
                          <a:pt x="146" y="760"/>
                        </a:lnTo>
                        <a:lnTo>
                          <a:pt x="145" y="759"/>
                        </a:lnTo>
                        <a:lnTo>
                          <a:pt x="145" y="757"/>
                        </a:lnTo>
                        <a:lnTo>
                          <a:pt x="145" y="756"/>
                        </a:lnTo>
                        <a:lnTo>
                          <a:pt x="145" y="754"/>
                        </a:lnTo>
                        <a:lnTo>
                          <a:pt x="145" y="752"/>
                        </a:lnTo>
                        <a:lnTo>
                          <a:pt x="145" y="751"/>
                        </a:lnTo>
                        <a:lnTo>
                          <a:pt x="145" y="749"/>
                        </a:lnTo>
                        <a:lnTo>
                          <a:pt x="145" y="748"/>
                        </a:lnTo>
                        <a:lnTo>
                          <a:pt x="145" y="746"/>
                        </a:lnTo>
                        <a:lnTo>
                          <a:pt x="145" y="744"/>
                        </a:lnTo>
                        <a:lnTo>
                          <a:pt x="143" y="743"/>
                        </a:lnTo>
                        <a:lnTo>
                          <a:pt x="143" y="741"/>
                        </a:lnTo>
                        <a:lnTo>
                          <a:pt x="143" y="740"/>
                        </a:lnTo>
                        <a:lnTo>
                          <a:pt x="143" y="738"/>
                        </a:lnTo>
                        <a:lnTo>
                          <a:pt x="141" y="737"/>
                        </a:lnTo>
                        <a:lnTo>
                          <a:pt x="141" y="735"/>
                        </a:lnTo>
                        <a:lnTo>
                          <a:pt x="140" y="733"/>
                        </a:lnTo>
                        <a:lnTo>
                          <a:pt x="140" y="732"/>
                        </a:lnTo>
                        <a:lnTo>
                          <a:pt x="138" y="730"/>
                        </a:lnTo>
                        <a:lnTo>
                          <a:pt x="137" y="730"/>
                        </a:lnTo>
                        <a:lnTo>
                          <a:pt x="135" y="729"/>
                        </a:lnTo>
                        <a:lnTo>
                          <a:pt x="134" y="727"/>
                        </a:lnTo>
                        <a:lnTo>
                          <a:pt x="132" y="727"/>
                        </a:lnTo>
                        <a:lnTo>
                          <a:pt x="132" y="725"/>
                        </a:lnTo>
                        <a:lnTo>
                          <a:pt x="130" y="725"/>
                        </a:lnTo>
                        <a:lnTo>
                          <a:pt x="129" y="724"/>
                        </a:lnTo>
                        <a:lnTo>
                          <a:pt x="127" y="724"/>
                        </a:lnTo>
                        <a:lnTo>
                          <a:pt x="126" y="722"/>
                        </a:lnTo>
                        <a:lnTo>
                          <a:pt x="124" y="721"/>
                        </a:lnTo>
                        <a:lnTo>
                          <a:pt x="122" y="719"/>
                        </a:lnTo>
                        <a:lnTo>
                          <a:pt x="121" y="719"/>
                        </a:lnTo>
                        <a:lnTo>
                          <a:pt x="119" y="717"/>
                        </a:lnTo>
                        <a:lnTo>
                          <a:pt x="118" y="717"/>
                        </a:lnTo>
                        <a:lnTo>
                          <a:pt x="116" y="716"/>
                        </a:lnTo>
                        <a:lnTo>
                          <a:pt x="113" y="716"/>
                        </a:lnTo>
                        <a:lnTo>
                          <a:pt x="111" y="714"/>
                        </a:lnTo>
                        <a:lnTo>
                          <a:pt x="110" y="713"/>
                        </a:lnTo>
                        <a:lnTo>
                          <a:pt x="108" y="713"/>
                        </a:lnTo>
                        <a:lnTo>
                          <a:pt x="107" y="713"/>
                        </a:lnTo>
                        <a:lnTo>
                          <a:pt x="105" y="711"/>
                        </a:lnTo>
                        <a:lnTo>
                          <a:pt x="103" y="710"/>
                        </a:lnTo>
                        <a:lnTo>
                          <a:pt x="102" y="710"/>
                        </a:lnTo>
                        <a:lnTo>
                          <a:pt x="100" y="708"/>
                        </a:lnTo>
                        <a:lnTo>
                          <a:pt x="97" y="708"/>
                        </a:lnTo>
                        <a:lnTo>
                          <a:pt x="96" y="708"/>
                        </a:lnTo>
                        <a:lnTo>
                          <a:pt x="94" y="706"/>
                        </a:lnTo>
                        <a:lnTo>
                          <a:pt x="92" y="706"/>
                        </a:lnTo>
                        <a:lnTo>
                          <a:pt x="91" y="705"/>
                        </a:lnTo>
                        <a:lnTo>
                          <a:pt x="89" y="703"/>
                        </a:lnTo>
                        <a:lnTo>
                          <a:pt x="88" y="702"/>
                        </a:lnTo>
                        <a:lnTo>
                          <a:pt x="86" y="702"/>
                        </a:lnTo>
                        <a:lnTo>
                          <a:pt x="84" y="702"/>
                        </a:lnTo>
                        <a:lnTo>
                          <a:pt x="83" y="700"/>
                        </a:lnTo>
                        <a:lnTo>
                          <a:pt x="81" y="698"/>
                        </a:lnTo>
                        <a:lnTo>
                          <a:pt x="78" y="697"/>
                        </a:lnTo>
                        <a:lnTo>
                          <a:pt x="77" y="697"/>
                        </a:lnTo>
                        <a:lnTo>
                          <a:pt x="75" y="695"/>
                        </a:lnTo>
                        <a:lnTo>
                          <a:pt x="73" y="694"/>
                        </a:lnTo>
                        <a:lnTo>
                          <a:pt x="72" y="692"/>
                        </a:lnTo>
                        <a:lnTo>
                          <a:pt x="70" y="691"/>
                        </a:lnTo>
                        <a:lnTo>
                          <a:pt x="69" y="691"/>
                        </a:lnTo>
                        <a:lnTo>
                          <a:pt x="69" y="689"/>
                        </a:lnTo>
                        <a:lnTo>
                          <a:pt x="67" y="687"/>
                        </a:lnTo>
                        <a:lnTo>
                          <a:pt x="65" y="686"/>
                        </a:lnTo>
                        <a:lnTo>
                          <a:pt x="64" y="686"/>
                        </a:lnTo>
                        <a:lnTo>
                          <a:pt x="64" y="684"/>
                        </a:lnTo>
                        <a:lnTo>
                          <a:pt x="62" y="683"/>
                        </a:lnTo>
                        <a:lnTo>
                          <a:pt x="62" y="681"/>
                        </a:lnTo>
                        <a:lnTo>
                          <a:pt x="67" y="681"/>
                        </a:lnTo>
                        <a:lnTo>
                          <a:pt x="65" y="679"/>
                        </a:lnTo>
                        <a:lnTo>
                          <a:pt x="62" y="676"/>
                        </a:lnTo>
                        <a:lnTo>
                          <a:pt x="59" y="675"/>
                        </a:lnTo>
                        <a:lnTo>
                          <a:pt x="54" y="672"/>
                        </a:lnTo>
                        <a:lnTo>
                          <a:pt x="51" y="670"/>
                        </a:lnTo>
                        <a:lnTo>
                          <a:pt x="45" y="670"/>
                        </a:lnTo>
                        <a:lnTo>
                          <a:pt x="43" y="668"/>
                        </a:lnTo>
                        <a:lnTo>
                          <a:pt x="39" y="668"/>
                        </a:lnTo>
                        <a:lnTo>
                          <a:pt x="32" y="668"/>
                        </a:lnTo>
                        <a:lnTo>
                          <a:pt x="15" y="668"/>
                        </a:lnTo>
                        <a:lnTo>
                          <a:pt x="2" y="670"/>
                        </a:lnTo>
                        <a:lnTo>
                          <a:pt x="2" y="667"/>
                        </a:lnTo>
                        <a:lnTo>
                          <a:pt x="2" y="653"/>
                        </a:lnTo>
                        <a:lnTo>
                          <a:pt x="0" y="646"/>
                        </a:lnTo>
                        <a:lnTo>
                          <a:pt x="0" y="643"/>
                        </a:lnTo>
                        <a:lnTo>
                          <a:pt x="4" y="638"/>
                        </a:lnTo>
                        <a:lnTo>
                          <a:pt x="5" y="638"/>
                        </a:lnTo>
                        <a:lnTo>
                          <a:pt x="8" y="637"/>
                        </a:lnTo>
                        <a:lnTo>
                          <a:pt x="12" y="635"/>
                        </a:lnTo>
                        <a:lnTo>
                          <a:pt x="16" y="634"/>
                        </a:lnTo>
                        <a:lnTo>
                          <a:pt x="20" y="632"/>
                        </a:lnTo>
                        <a:lnTo>
                          <a:pt x="24" y="632"/>
                        </a:lnTo>
                        <a:lnTo>
                          <a:pt x="53" y="626"/>
                        </a:lnTo>
                        <a:lnTo>
                          <a:pt x="54" y="624"/>
                        </a:lnTo>
                        <a:lnTo>
                          <a:pt x="56" y="624"/>
                        </a:lnTo>
                        <a:lnTo>
                          <a:pt x="58" y="624"/>
                        </a:lnTo>
                        <a:lnTo>
                          <a:pt x="64" y="621"/>
                        </a:lnTo>
                        <a:lnTo>
                          <a:pt x="83" y="610"/>
                        </a:lnTo>
                        <a:lnTo>
                          <a:pt x="84" y="608"/>
                        </a:lnTo>
                        <a:lnTo>
                          <a:pt x="92" y="602"/>
                        </a:lnTo>
                        <a:lnTo>
                          <a:pt x="94" y="600"/>
                        </a:lnTo>
                        <a:lnTo>
                          <a:pt x="96" y="599"/>
                        </a:lnTo>
                        <a:lnTo>
                          <a:pt x="97" y="597"/>
                        </a:lnTo>
                        <a:lnTo>
                          <a:pt x="99" y="592"/>
                        </a:lnTo>
                        <a:lnTo>
                          <a:pt x="100" y="588"/>
                        </a:lnTo>
                        <a:lnTo>
                          <a:pt x="100" y="586"/>
                        </a:lnTo>
                        <a:lnTo>
                          <a:pt x="102" y="575"/>
                        </a:lnTo>
                        <a:lnTo>
                          <a:pt x="102" y="572"/>
                        </a:lnTo>
                        <a:lnTo>
                          <a:pt x="102" y="570"/>
                        </a:lnTo>
                        <a:lnTo>
                          <a:pt x="102" y="569"/>
                        </a:lnTo>
                        <a:lnTo>
                          <a:pt x="105" y="561"/>
                        </a:lnTo>
                        <a:lnTo>
                          <a:pt x="108" y="558"/>
                        </a:lnTo>
                        <a:lnTo>
                          <a:pt x="111" y="556"/>
                        </a:lnTo>
                        <a:lnTo>
                          <a:pt x="113" y="554"/>
                        </a:lnTo>
                        <a:lnTo>
                          <a:pt x="130" y="546"/>
                        </a:lnTo>
                        <a:lnTo>
                          <a:pt x="134" y="543"/>
                        </a:lnTo>
                        <a:lnTo>
                          <a:pt x="135" y="542"/>
                        </a:lnTo>
                        <a:lnTo>
                          <a:pt x="138" y="538"/>
                        </a:lnTo>
                        <a:lnTo>
                          <a:pt x="140" y="537"/>
                        </a:lnTo>
                        <a:lnTo>
                          <a:pt x="141" y="532"/>
                        </a:lnTo>
                        <a:lnTo>
                          <a:pt x="141" y="529"/>
                        </a:lnTo>
                        <a:lnTo>
                          <a:pt x="143" y="518"/>
                        </a:lnTo>
                        <a:lnTo>
                          <a:pt x="145" y="513"/>
                        </a:lnTo>
                        <a:lnTo>
                          <a:pt x="143" y="505"/>
                        </a:lnTo>
                        <a:lnTo>
                          <a:pt x="143" y="497"/>
                        </a:lnTo>
                        <a:lnTo>
                          <a:pt x="141" y="475"/>
                        </a:lnTo>
                        <a:lnTo>
                          <a:pt x="141" y="469"/>
                        </a:lnTo>
                        <a:lnTo>
                          <a:pt x="141" y="466"/>
                        </a:lnTo>
                        <a:lnTo>
                          <a:pt x="143" y="461"/>
                        </a:lnTo>
                        <a:lnTo>
                          <a:pt x="145" y="459"/>
                        </a:lnTo>
                        <a:lnTo>
                          <a:pt x="148" y="455"/>
                        </a:lnTo>
                        <a:lnTo>
                          <a:pt x="156" y="448"/>
                        </a:lnTo>
                        <a:lnTo>
                          <a:pt x="162" y="447"/>
                        </a:lnTo>
                        <a:lnTo>
                          <a:pt x="162" y="445"/>
                        </a:lnTo>
                        <a:lnTo>
                          <a:pt x="164" y="445"/>
                        </a:lnTo>
                        <a:lnTo>
                          <a:pt x="172" y="440"/>
                        </a:lnTo>
                        <a:lnTo>
                          <a:pt x="173" y="439"/>
                        </a:lnTo>
                        <a:lnTo>
                          <a:pt x="176" y="432"/>
                        </a:lnTo>
                        <a:lnTo>
                          <a:pt x="179" y="424"/>
                        </a:lnTo>
                        <a:lnTo>
                          <a:pt x="179" y="423"/>
                        </a:lnTo>
                        <a:lnTo>
                          <a:pt x="183" y="420"/>
                        </a:lnTo>
                        <a:lnTo>
                          <a:pt x="183" y="418"/>
                        </a:lnTo>
                        <a:lnTo>
                          <a:pt x="184" y="415"/>
                        </a:lnTo>
                        <a:lnTo>
                          <a:pt x="183" y="413"/>
                        </a:lnTo>
                        <a:lnTo>
                          <a:pt x="183" y="412"/>
                        </a:lnTo>
                        <a:lnTo>
                          <a:pt x="183" y="410"/>
                        </a:lnTo>
                        <a:lnTo>
                          <a:pt x="181" y="409"/>
                        </a:lnTo>
                        <a:lnTo>
                          <a:pt x="181" y="407"/>
                        </a:lnTo>
                        <a:lnTo>
                          <a:pt x="179" y="405"/>
                        </a:lnTo>
                        <a:lnTo>
                          <a:pt x="176" y="402"/>
                        </a:lnTo>
                        <a:lnTo>
                          <a:pt x="176" y="399"/>
                        </a:lnTo>
                        <a:lnTo>
                          <a:pt x="175" y="398"/>
                        </a:lnTo>
                        <a:lnTo>
                          <a:pt x="175" y="394"/>
                        </a:lnTo>
                        <a:lnTo>
                          <a:pt x="175" y="393"/>
                        </a:lnTo>
                        <a:lnTo>
                          <a:pt x="178" y="385"/>
                        </a:lnTo>
                        <a:lnTo>
                          <a:pt x="176" y="382"/>
                        </a:lnTo>
                        <a:lnTo>
                          <a:pt x="176" y="380"/>
                        </a:lnTo>
                        <a:lnTo>
                          <a:pt x="175" y="366"/>
                        </a:lnTo>
                        <a:lnTo>
                          <a:pt x="176" y="364"/>
                        </a:lnTo>
                        <a:lnTo>
                          <a:pt x="178" y="361"/>
                        </a:lnTo>
                        <a:lnTo>
                          <a:pt x="181" y="356"/>
                        </a:lnTo>
                        <a:lnTo>
                          <a:pt x="181" y="355"/>
                        </a:lnTo>
                        <a:lnTo>
                          <a:pt x="181" y="353"/>
                        </a:lnTo>
                        <a:lnTo>
                          <a:pt x="176" y="345"/>
                        </a:lnTo>
                        <a:lnTo>
                          <a:pt x="175" y="344"/>
                        </a:lnTo>
                        <a:lnTo>
                          <a:pt x="173" y="340"/>
                        </a:lnTo>
                        <a:lnTo>
                          <a:pt x="172" y="337"/>
                        </a:lnTo>
                        <a:lnTo>
                          <a:pt x="170" y="329"/>
                        </a:lnTo>
                        <a:lnTo>
                          <a:pt x="170" y="326"/>
                        </a:lnTo>
                        <a:lnTo>
                          <a:pt x="170" y="321"/>
                        </a:lnTo>
                        <a:lnTo>
                          <a:pt x="167" y="318"/>
                        </a:lnTo>
                        <a:lnTo>
                          <a:pt x="165" y="317"/>
                        </a:lnTo>
                        <a:lnTo>
                          <a:pt x="162" y="315"/>
                        </a:lnTo>
                        <a:lnTo>
                          <a:pt x="159" y="310"/>
                        </a:lnTo>
                        <a:lnTo>
                          <a:pt x="159" y="309"/>
                        </a:lnTo>
                        <a:lnTo>
                          <a:pt x="154" y="309"/>
                        </a:lnTo>
                        <a:lnTo>
                          <a:pt x="149" y="309"/>
                        </a:lnTo>
                        <a:lnTo>
                          <a:pt x="145" y="309"/>
                        </a:lnTo>
                        <a:lnTo>
                          <a:pt x="135" y="310"/>
                        </a:lnTo>
                        <a:lnTo>
                          <a:pt x="132" y="309"/>
                        </a:lnTo>
                        <a:lnTo>
                          <a:pt x="130" y="307"/>
                        </a:lnTo>
                        <a:lnTo>
                          <a:pt x="126" y="306"/>
                        </a:lnTo>
                        <a:lnTo>
                          <a:pt x="122" y="301"/>
                        </a:lnTo>
                        <a:lnTo>
                          <a:pt x="122" y="299"/>
                        </a:lnTo>
                        <a:lnTo>
                          <a:pt x="122" y="296"/>
                        </a:lnTo>
                        <a:lnTo>
                          <a:pt x="126" y="290"/>
                        </a:lnTo>
                        <a:lnTo>
                          <a:pt x="127" y="285"/>
                        </a:lnTo>
                        <a:lnTo>
                          <a:pt x="129" y="283"/>
                        </a:lnTo>
                        <a:lnTo>
                          <a:pt x="129" y="282"/>
                        </a:lnTo>
                        <a:lnTo>
                          <a:pt x="137" y="266"/>
                        </a:lnTo>
                        <a:lnTo>
                          <a:pt x="140" y="260"/>
                        </a:lnTo>
                        <a:lnTo>
                          <a:pt x="140" y="258"/>
                        </a:lnTo>
                        <a:lnTo>
                          <a:pt x="140" y="255"/>
                        </a:lnTo>
                        <a:lnTo>
                          <a:pt x="138" y="252"/>
                        </a:lnTo>
                        <a:lnTo>
                          <a:pt x="138" y="250"/>
                        </a:lnTo>
                        <a:lnTo>
                          <a:pt x="137" y="244"/>
                        </a:lnTo>
                        <a:lnTo>
                          <a:pt x="138" y="241"/>
                        </a:lnTo>
                        <a:lnTo>
                          <a:pt x="140" y="238"/>
                        </a:lnTo>
                        <a:lnTo>
                          <a:pt x="140" y="233"/>
                        </a:lnTo>
                        <a:lnTo>
                          <a:pt x="140" y="231"/>
                        </a:lnTo>
                        <a:lnTo>
                          <a:pt x="141" y="226"/>
                        </a:lnTo>
                        <a:lnTo>
                          <a:pt x="143" y="223"/>
                        </a:lnTo>
                        <a:lnTo>
                          <a:pt x="143" y="222"/>
                        </a:lnTo>
                        <a:lnTo>
                          <a:pt x="143" y="220"/>
                        </a:lnTo>
                        <a:lnTo>
                          <a:pt x="141" y="217"/>
                        </a:lnTo>
                        <a:lnTo>
                          <a:pt x="145" y="211"/>
                        </a:lnTo>
                        <a:lnTo>
                          <a:pt x="141" y="211"/>
                        </a:lnTo>
                        <a:lnTo>
                          <a:pt x="140" y="209"/>
                        </a:lnTo>
                        <a:lnTo>
                          <a:pt x="138" y="211"/>
                        </a:lnTo>
                        <a:lnTo>
                          <a:pt x="135" y="212"/>
                        </a:lnTo>
                        <a:lnTo>
                          <a:pt x="134" y="214"/>
                        </a:lnTo>
                        <a:lnTo>
                          <a:pt x="130" y="214"/>
                        </a:lnTo>
                        <a:lnTo>
                          <a:pt x="129" y="212"/>
                        </a:lnTo>
                        <a:lnTo>
                          <a:pt x="124" y="207"/>
                        </a:lnTo>
                        <a:lnTo>
                          <a:pt x="126" y="204"/>
                        </a:lnTo>
                        <a:lnTo>
                          <a:pt x="124" y="201"/>
                        </a:lnTo>
                        <a:lnTo>
                          <a:pt x="124" y="200"/>
                        </a:lnTo>
                        <a:lnTo>
                          <a:pt x="122" y="198"/>
                        </a:lnTo>
                        <a:lnTo>
                          <a:pt x="121" y="198"/>
                        </a:lnTo>
                        <a:lnTo>
                          <a:pt x="116" y="198"/>
                        </a:lnTo>
                        <a:lnTo>
                          <a:pt x="115" y="196"/>
                        </a:lnTo>
                        <a:lnTo>
                          <a:pt x="113" y="193"/>
                        </a:lnTo>
                        <a:lnTo>
                          <a:pt x="107" y="193"/>
                        </a:lnTo>
                        <a:lnTo>
                          <a:pt x="100" y="190"/>
                        </a:lnTo>
                        <a:lnTo>
                          <a:pt x="100" y="188"/>
                        </a:lnTo>
                        <a:lnTo>
                          <a:pt x="99" y="188"/>
                        </a:lnTo>
                        <a:lnTo>
                          <a:pt x="92" y="187"/>
                        </a:lnTo>
                        <a:lnTo>
                          <a:pt x="91" y="185"/>
                        </a:lnTo>
                        <a:lnTo>
                          <a:pt x="89" y="187"/>
                        </a:lnTo>
                        <a:lnTo>
                          <a:pt x="88" y="190"/>
                        </a:lnTo>
                        <a:lnTo>
                          <a:pt x="86" y="192"/>
                        </a:lnTo>
                        <a:lnTo>
                          <a:pt x="84" y="190"/>
                        </a:lnTo>
                        <a:lnTo>
                          <a:pt x="83" y="188"/>
                        </a:lnTo>
                        <a:lnTo>
                          <a:pt x="81" y="187"/>
                        </a:lnTo>
                        <a:lnTo>
                          <a:pt x="80" y="187"/>
                        </a:lnTo>
                        <a:lnTo>
                          <a:pt x="77" y="182"/>
                        </a:lnTo>
                        <a:lnTo>
                          <a:pt x="72" y="181"/>
                        </a:lnTo>
                        <a:lnTo>
                          <a:pt x="70" y="181"/>
                        </a:lnTo>
                        <a:lnTo>
                          <a:pt x="69" y="179"/>
                        </a:lnTo>
                        <a:lnTo>
                          <a:pt x="67" y="177"/>
                        </a:lnTo>
                        <a:lnTo>
                          <a:pt x="65" y="179"/>
                        </a:lnTo>
                        <a:lnTo>
                          <a:pt x="64" y="179"/>
                        </a:lnTo>
                        <a:lnTo>
                          <a:pt x="64" y="181"/>
                        </a:lnTo>
                        <a:lnTo>
                          <a:pt x="62" y="181"/>
                        </a:lnTo>
                        <a:lnTo>
                          <a:pt x="62" y="179"/>
                        </a:lnTo>
                        <a:lnTo>
                          <a:pt x="61" y="177"/>
                        </a:lnTo>
                        <a:lnTo>
                          <a:pt x="56" y="174"/>
                        </a:lnTo>
                        <a:lnTo>
                          <a:pt x="54" y="173"/>
                        </a:lnTo>
                        <a:lnTo>
                          <a:pt x="54" y="171"/>
                        </a:lnTo>
                        <a:lnTo>
                          <a:pt x="54" y="169"/>
                        </a:lnTo>
                        <a:lnTo>
                          <a:pt x="56" y="168"/>
                        </a:lnTo>
                        <a:lnTo>
                          <a:pt x="56" y="166"/>
                        </a:lnTo>
                        <a:lnTo>
                          <a:pt x="58" y="166"/>
                        </a:lnTo>
                        <a:lnTo>
                          <a:pt x="62" y="166"/>
                        </a:lnTo>
                        <a:lnTo>
                          <a:pt x="67" y="165"/>
                        </a:lnTo>
                        <a:lnTo>
                          <a:pt x="67" y="163"/>
                        </a:lnTo>
                        <a:lnTo>
                          <a:pt x="72" y="163"/>
                        </a:lnTo>
                        <a:lnTo>
                          <a:pt x="73" y="166"/>
                        </a:lnTo>
                        <a:lnTo>
                          <a:pt x="75" y="166"/>
                        </a:lnTo>
                        <a:lnTo>
                          <a:pt x="77" y="166"/>
                        </a:lnTo>
                        <a:lnTo>
                          <a:pt x="80" y="168"/>
                        </a:lnTo>
                        <a:lnTo>
                          <a:pt x="81" y="169"/>
                        </a:lnTo>
                        <a:lnTo>
                          <a:pt x="84" y="174"/>
                        </a:lnTo>
                        <a:lnTo>
                          <a:pt x="86" y="174"/>
                        </a:lnTo>
                        <a:lnTo>
                          <a:pt x="89" y="174"/>
                        </a:lnTo>
                        <a:lnTo>
                          <a:pt x="92" y="173"/>
                        </a:lnTo>
                        <a:lnTo>
                          <a:pt x="100" y="166"/>
                        </a:lnTo>
                        <a:lnTo>
                          <a:pt x="102" y="166"/>
                        </a:lnTo>
                        <a:lnTo>
                          <a:pt x="102" y="165"/>
                        </a:lnTo>
                        <a:lnTo>
                          <a:pt x="105" y="161"/>
                        </a:lnTo>
                        <a:lnTo>
                          <a:pt x="107" y="163"/>
                        </a:lnTo>
                        <a:lnTo>
                          <a:pt x="108" y="163"/>
                        </a:lnTo>
                        <a:lnTo>
                          <a:pt x="108" y="165"/>
                        </a:lnTo>
                        <a:lnTo>
                          <a:pt x="113" y="165"/>
                        </a:lnTo>
                        <a:lnTo>
                          <a:pt x="116" y="165"/>
                        </a:lnTo>
                        <a:lnTo>
                          <a:pt x="118" y="165"/>
                        </a:lnTo>
                        <a:lnTo>
                          <a:pt x="119" y="160"/>
                        </a:lnTo>
                        <a:lnTo>
                          <a:pt x="121" y="158"/>
                        </a:lnTo>
                        <a:lnTo>
                          <a:pt x="122" y="158"/>
                        </a:lnTo>
                        <a:lnTo>
                          <a:pt x="126" y="155"/>
                        </a:lnTo>
                        <a:lnTo>
                          <a:pt x="127" y="155"/>
                        </a:lnTo>
                        <a:lnTo>
                          <a:pt x="130" y="155"/>
                        </a:lnTo>
                        <a:lnTo>
                          <a:pt x="132" y="157"/>
                        </a:lnTo>
                        <a:lnTo>
                          <a:pt x="132" y="158"/>
                        </a:lnTo>
                        <a:lnTo>
                          <a:pt x="132" y="160"/>
                        </a:lnTo>
                        <a:lnTo>
                          <a:pt x="132" y="161"/>
                        </a:lnTo>
                        <a:lnTo>
                          <a:pt x="134" y="163"/>
                        </a:lnTo>
                        <a:lnTo>
                          <a:pt x="135" y="163"/>
                        </a:lnTo>
                        <a:lnTo>
                          <a:pt x="135" y="165"/>
                        </a:lnTo>
                        <a:lnTo>
                          <a:pt x="137" y="165"/>
                        </a:lnTo>
                        <a:lnTo>
                          <a:pt x="138" y="165"/>
                        </a:lnTo>
                        <a:lnTo>
                          <a:pt x="140" y="166"/>
                        </a:lnTo>
                        <a:lnTo>
                          <a:pt x="141" y="166"/>
                        </a:lnTo>
                        <a:lnTo>
                          <a:pt x="145" y="163"/>
                        </a:lnTo>
                        <a:lnTo>
                          <a:pt x="149" y="163"/>
                        </a:lnTo>
                        <a:lnTo>
                          <a:pt x="151" y="163"/>
                        </a:lnTo>
                        <a:lnTo>
                          <a:pt x="151" y="161"/>
                        </a:lnTo>
                        <a:lnTo>
                          <a:pt x="149" y="160"/>
                        </a:lnTo>
                        <a:lnTo>
                          <a:pt x="151" y="160"/>
                        </a:lnTo>
                        <a:lnTo>
                          <a:pt x="151" y="158"/>
                        </a:lnTo>
                        <a:lnTo>
                          <a:pt x="151" y="157"/>
                        </a:lnTo>
                        <a:lnTo>
                          <a:pt x="149" y="155"/>
                        </a:lnTo>
                        <a:lnTo>
                          <a:pt x="153" y="150"/>
                        </a:lnTo>
                        <a:lnTo>
                          <a:pt x="157" y="146"/>
                        </a:lnTo>
                        <a:lnTo>
                          <a:pt x="159" y="146"/>
                        </a:lnTo>
                        <a:lnTo>
                          <a:pt x="162" y="146"/>
                        </a:lnTo>
                        <a:lnTo>
                          <a:pt x="168" y="141"/>
                        </a:lnTo>
                        <a:lnTo>
                          <a:pt x="170" y="138"/>
                        </a:lnTo>
                        <a:lnTo>
                          <a:pt x="172" y="136"/>
                        </a:lnTo>
                        <a:lnTo>
                          <a:pt x="173" y="135"/>
                        </a:lnTo>
                        <a:lnTo>
                          <a:pt x="176" y="130"/>
                        </a:lnTo>
                        <a:lnTo>
                          <a:pt x="178" y="130"/>
                        </a:lnTo>
                        <a:lnTo>
                          <a:pt x="179" y="130"/>
                        </a:lnTo>
                        <a:lnTo>
                          <a:pt x="186" y="128"/>
                        </a:lnTo>
                        <a:lnTo>
                          <a:pt x="187" y="127"/>
                        </a:lnTo>
                        <a:lnTo>
                          <a:pt x="187" y="125"/>
                        </a:lnTo>
                        <a:lnTo>
                          <a:pt x="191" y="125"/>
                        </a:lnTo>
                        <a:lnTo>
                          <a:pt x="192" y="122"/>
                        </a:lnTo>
                        <a:lnTo>
                          <a:pt x="194" y="120"/>
                        </a:lnTo>
                        <a:lnTo>
                          <a:pt x="195" y="114"/>
                        </a:lnTo>
                        <a:lnTo>
                          <a:pt x="195" y="111"/>
                        </a:lnTo>
                        <a:lnTo>
                          <a:pt x="197" y="109"/>
                        </a:lnTo>
                        <a:lnTo>
                          <a:pt x="199" y="108"/>
                        </a:lnTo>
                        <a:lnTo>
                          <a:pt x="203" y="106"/>
                        </a:lnTo>
                        <a:lnTo>
                          <a:pt x="206" y="108"/>
                        </a:lnTo>
                        <a:lnTo>
                          <a:pt x="210" y="108"/>
                        </a:lnTo>
                        <a:lnTo>
                          <a:pt x="210" y="104"/>
                        </a:lnTo>
                        <a:lnTo>
                          <a:pt x="210" y="98"/>
                        </a:lnTo>
                        <a:lnTo>
                          <a:pt x="211" y="98"/>
                        </a:lnTo>
                        <a:lnTo>
                          <a:pt x="211" y="97"/>
                        </a:lnTo>
                        <a:lnTo>
                          <a:pt x="213" y="97"/>
                        </a:lnTo>
                        <a:lnTo>
                          <a:pt x="214" y="97"/>
                        </a:lnTo>
                        <a:lnTo>
                          <a:pt x="216" y="98"/>
                        </a:lnTo>
                        <a:lnTo>
                          <a:pt x="218" y="98"/>
                        </a:lnTo>
                        <a:lnTo>
                          <a:pt x="219" y="98"/>
                        </a:lnTo>
                        <a:lnTo>
                          <a:pt x="221" y="97"/>
                        </a:lnTo>
                        <a:lnTo>
                          <a:pt x="227" y="92"/>
                        </a:lnTo>
                        <a:lnTo>
                          <a:pt x="229" y="92"/>
                        </a:lnTo>
                        <a:lnTo>
                          <a:pt x="229" y="90"/>
                        </a:lnTo>
                        <a:lnTo>
                          <a:pt x="237" y="89"/>
                        </a:lnTo>
                        <a:lnTo>
                          <a:pt x="238" y="89"/>
                        </a:lnTo>
                        <a:lnTo>
                          <a:pt x="243" y="87"/>
                        </a:lnTo>
                        <a:lnTo>
                          <a:pt x="244" y="85"/>
                        </a:lnTo>
                        <a:lnTo>
                          <a:pt x="249" y="84"/>
                        </a:lnTo>
                        <a:lnTo>
                          <a:pt x="251" y="84"/>
                        </a:lnTo>
                        <a:lnTo>
                          <a:pt x="252" y="82"/>
                        </a:lnTo>
                        <a:lnTo>
                          <a:pt x="252" y="81"/>
                        </a:lnTo>
                        <a:lnTo>
                          <a:pt x="252" y="79"/>
                        </a:lnTo>
                        <a:lnTo>
                          <a:pt x="254" y="79"/>
                        </a:lnTo>
                        <a:lnTo>
                          <a:pt x="256" y="79"/>
                        </a:lnTo>
                        <a:lnTo>
                          <a:pt x="256" y="78"/>
                        </a:lnTo>
                        <a:lnTo>
                          <a:pt x="257" y="78"/>
                        </a:lnTo>
                        <a:lnTo>
                          <a:pt x="259" y="78"/>
                        </a:lnTo>
                        <a:lnTo>
                          <a:pt x="260" y="79"/>
                        </a:lnTo>
                        <a:lnTo>
                          <a:pt x="262" y="79"/>
                        </a:lnTo>
                        <a:lnTo>
                          <a:pt x="268" y="79"/>
                        </a:lnTo>
                        <a:lnTo>
                          <a:pt x="270" y="79"/>
                        </a:lnTo>
                        <a:lnTo>
                          <a:pt x="276" y="78"/>
                        </a:lnTo>
                        <a:lnTo>
                          <a:pt x="286" y="76"/>
                        </a:lnTo>
                        <a:lnTo>
                          <a:pt x="294" y="78"/>
                        </a:lnTo>
                        <a:lnTo>
                          <a:pt x="295" y="76"/>
                        </a:lnTo>
                        <a:lnTo>
                          <a:pt x="297" y="76"/>
                        </a:lnTo>
                        <a:lnTo>
                          <a:pt x="300" y="74"/>
                        </a:lnTo>
                        <a:lnTo>
                          <a:pt x="303" y="74"/>
                        </a:lnTo>
                        <a:lnTo>
                          <a:pt x="305" y="74"/>
                        </a:lnTo>
                        <a:lnTo>
                          <a:pt x="306" y="76"/>
                        </a:lnTo>
                        <a:lnTo>
                          <a:pt x="309" y="76"/>
                        </a:lnTo>
                        <a:lnTo>
                          <a:pt x="313" y="76"/>
                        </a:lnTo>
                        <a:lnTo>
                          <a:pt x="314" y="76"/>
                        </a:lnTo>
                        <a:lnTo>
                          <a:pt x="316" y="74"/>
                        </a:lnTo>
                        <a:lnTo>
                          <a:pt x="319" y="71"/>
                        </a:lnTo>
                        <a:lnTo>
                          <a:pt x="320" y="71"/>
                        </a:lnTo>
                        <a:lnTo>
                          <a:pt x="320" y="73"/>
                        </a:lnTo>
                        <a:lnTo>
                          <a:pt x="324" y="71"/>
                        </a:lnTo>
                        <a:lnTo>
                          <a:pt x="325" y="70"/>
                        </a:lnTo>
                        <a:lnTo>
                          <a:pt x="327" y="70"/>
                        </a:lnTo>
                        <a:lnTo>
                          <a:pt x="332" y="68"/>
                        </a:lnTo>
                        <a:lnTo>
                          <a:pt x="336" y="65"/>
                        </a:lnTo>
                        <a:lnTo>
                          <a:pt x="343" y="65"/>
                        </a:lnTo>
                        <a:lnTo>
                          <a:pt x="354" y="65"/>
                        </a:lnTo>
                        <a:lnTo>
                          <a:pt x="355" y="65"/>
                        </a:lnTo>
                        <a:lnTo>
                          <a:pt x="357" y="65"/>
                        </a:lnTo>
                        <a:lnTo>
                          <a:pt x="365" y="62"/>
                        </a:lnTo>
                        <a:lnTo>
                          <a:pt x="368" y="63"/>
                        </a:lnTo>
                        <a:lnTo>
                          <a:pt x="368" y="65"/>
                        </a:lnTo>
                        <a:lnTo>
                          <a:pt x="373" y="63"/>
                        </a:lnTo>
                        <a:lnTo>
                          <a:pt x="376" y="65"/>
                        </a:lnTo>
                        <a:lnTo>
                          <a:pt x="379" y="65"/>
                        </a:lnTo>
                        <a:lnTo>
                          <a:pt x="381" y="65"/>
                        </a:lnTo>
                        <a:lnTo>
                          <a:pt x="389" y="62"/>
                        </a:lnTo>
                        <a:lnTo>
                          <a:pt x="392" y="59"/>
                        </a:lnTo>
                        <a:lnTo>
                          <a:pt x="395" y="57"/>
                        </a:lnTo>
                        <a:lnTo>
                          <a:pt x="401" y="57"/>
                        </a:lnTo>
                        <a:lnTo>
                          <a:pt x="404" y="55"/>
                        </a:lnTo>
                        <a:lnTo>
                          <a:pt x="406" y="55"/>
                        </a:lnTo>
                        <a:lnTo>
                          <a:pt x="408" y="55"/>
                        </a:lnTo>
                        <a:lnTo>
                          <a:pt x="409" y="59"/>
                        </a:lnTo>
                        <a:lnTo>
                          <a:pt x="411" y="60"/>
                        </a:lnTo>
                        <a:lnTo>
                          <a:pt x="414" y="62"/>
                        </a:lnTo>
                        <a:lnTo>
                          <a:pt x="420" y="60"/>
                        </a:lnTo>
                        <a:lnTo>
                          <a:pt x="425" y="60"/>
                        </a:lnTo>
                        <a:lnTo>
                          <a:pt x="427" y="60"/>
                        </a:lnTo>
                        <a:lnTo>
                          <a:pt x="435" y="60"/>
                        </a:lnTo>
                        <a:lnTo>
                          <a:pt x="438" y="62"/>
                        </a:lnTo>
                        <a:lnTo>
                          <a:pt x="452" y="62"/>
                        </a:lnTo>
                        <a:lnTo>
                          <a:pt x="455" y="62"/>
                        </a:lnTo>
                        <a:lnTo>
                          <a:pt x="458" y="65"/>
                        </a:lnTo>
                        <a:lnTo>
                          <a:pt x="460" y="65"/>
                        </a:lnTo>
                        <a:lnTo>
                          <a:pt x="461" y="66"/>
                        </a:lnTo>
                        <a:lnTo>
                          <a:pt x="463" y="65"/>
                        </a:lnTo>
                        <a:lnTo>
                          <a:pt x="463" y="66"/>
                        </a:lnTo>
                        <a:lnTo>
                          <a:pt x="471" y="68"/>
                        </a:lnTo>
                        <a:lnTo>
                          <a:pt x="471" y="66"/>
                        </a:lnTo>
                        <a:lnTo>
                          <a:pt x="473" y="66"/>
                        </a:lnTo>
                        <a:lnTo>
                          <a:pt x="476" y="62"/>
                        </a:lnTo>
                        <a:lnTo>
                          <a:pt x="477" y="62"/>
                        </a:lnTo>
                        <a:lnTo>
                          <a:pt x="480" y="46"/>
                        </a:lnTo>
                        <a:lnTo>
                          <a:pt x="480" y="44"/>
                        </a:lnTo>
                        <a:lnTo>
                          <a:pt x="480" y="43"/>
                        </a:lnTo>
                        <a:lnTo>
                          <a:pt x="484" y="40"/>
                        </a:lnTo>
                        <a:lnTo>
                          <a:pt x="484" y="38"/>
                        </a:lnTo>
                        <a:lnTo>
                          <a:pt x="485" y="36"/>
                        </a:lnTo>
                        <a:lnTo>
                          <a:pt x="487" y="35"/>
                        </a:lnTo>
                        <a:lnTo>
                          <a:pt x="492" y="33"/>
                        </a:lnTo>
                        <a:lnTo>
                          <a:pt x="493" y="32"/>
                        </a:lnTo>
                        <a:lnTo>
                          <a:pt x="498" y="30"/>
                        </a:lnTo>
                        <a:lnTo>
                          <a:pt x="503" y="30"/>
                        </a:lnTo>
                        <a:lnTo>
                          <a:pt x="511" y="33"/>
                        </a:lnTo>
                        <a:lnTo>
                          <a:pt x="517" y="33"/>
                        </a:lnTo>
                        <a:lnTo>
                          <a:pt x="522" y="28"/>
                        </a:lnTo>
                        <a:lnTo>
                          <a:pt x="522" y="27"/>
                        </a:lnTo>
                        <a:lnTo>
                          <a:pt x="523" y="27"/>
                        </a:lnTo>
                        <a:lnTo>
                          <a:pt x="523" y="30"/>
                        </a:lnTo>
                        <a:lnTo>
                          <a:pt x="525" y="30"/>
                        </a:lnTo>
                        <a:lnTo>
                          <a:pt x="526" y="30"/>
                        </a:lnTo>
                        <a:lnTo>
                          <a:pt x="530" y="32"/>
                        </a:lnTo>
                        <a:lnTo>
                          <a:pt x="534" y="30"/>
                        </a:lnTo>
                        <a:lnTo>
                          <a:pt x="544" y="30"/>
                        </a:lnTo>
                        <a:lnTo>
                          <a:pt x="547" y="32"/>
                        </a:lnTo>
                        <a:lnTo>
                          <a:pt x="549" y="32"/>
                        </a:lnTo>
                        <a:lnTo>
                          <a:pt x="550" y="30"/>
                        </a:lnTo>
                        <a:lnTo>
                          <a:pt x="553" y="28"/>
                        </a:lnTo>
                        <a:lnTo>
                          <a:pt x="556" y="27"/>
                        </a:lnTo>
                        <a:lnTo>
                          <a:pt x="563" y="22"/>
                        </a:lnTo>
                        <a:lnTo>
                          <a:pt x="568" y="21"/>
                        </a:lnTo>
                        <a:lnTo>
                          <a:pt x="572" y="21"/>
                        </a:lnTo>
                        <a:lnTo>
                          <a:pt x="577" y="19"/>
                        </a:lnTo>
                        <a:lnTo>
                          <a:pt x="583" y="19"/>
                        </a:lnTo>
                        <a:lnTo>
                          <a:pt x="588" y="21"/>
                        </a:lnTo>
                        <a:lnTo>
                          <a:pt x="590" y="21"/>
                        </a:lnTo>
                        <a:lnTo>
                          <a:pt x="591" y="21"/>
                        </a:lnTo>
                        <a:lnTo>
                          <a:pt x="593" y="19"/>
                        </a:lnTo>
                        <a:lnTo>
                          <a:pt x="595" y="19"/>
                        </a:lnTo>
                        <a:lnTo>
                          <a:pt x="598" y="16"/>
                        </a:lnTo>
                        <a:lnTo>
                          <a:pt x="599" y="14"/>
                        </a:lnTo>
                        <a:lnTo>
                          <a:pt x="601" y="13"/>
                        </a:lnTo>
                        <a:lnTo>
                          <a:pt x="602" y="11"/>
                        </a:lnTo>
                        <a:lnTo>
                          <a:pt x="602" y="9"/>
                        </a:lnTo>
                        <a:lnTo>
                          <a:pt x="604" y="8"/>
                        </a:lnTo>
                        <a:lnTo>
                          <a:pt x="604" y="6"/>
                        </a:lnTo>
                        <a:lnTo>
                          <a:pt x="606" y="3"/>
                        </a:lnTo>
                        <a:lnTo>
                          <a:pt x="607" y="3"/>
                        </a:lnTo>
                        <a:lnTo>
                          <a:pt x="609" y="2"/>
                        </a:lnTo>
                        <a:lnTo>
                          <a:pt x="614" y="0"/>
                        </a:lnTo>
                        <a:lnTo>
                          <a:pt x="615" y="0"/>
                        </a:lnTo>
                        <a:lnTo>
                          <a:pt x="617" y="0"/>
                        </a:lnTo>
                        <a:lnTo>
                          <a:pt x="618" y="0"/>
                        </a:lnTo>
                        <a:lnTo>
                          <a:pt x="620" y="3"/>
                        </a:lnTo>
                        <a:lnTo>
                          <a:pt x="621" y="3"/>
                        </a:lnTo>
                        <a:lnTo>
                          <a:pt x="623" y="5"/>
                        </a:lnTo>
                        <a:lnTo>
                          <a:pt x="625" y="6"/>
                        </a:lnTo>
                        <a:close/>
                      </a:path>
                    </a:pathLst>
                  </a:custGeom>
                  <a:solidFill>
                    <a:srgbClr val="E1E1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62" name="Freeform 61"/>
                  <p:cNvSpPr>
                    <a:spLocks/>
                  </p:cNvSpPr>
                  <p:nvPr/>
                </p:nvSpPr>
                <p:spPr bwMode="auto">
                  <a:xfrm>
                    <a:off x="2269" y="2475"/>
                    <a:ext cx="988" cy="379"/>
                  </a:xfrm>
                  <a:custGeom>
                    <a:avLst/>
                    <a:gdLst>
                      <a:gd name="T0" fmla="*/ 14 w 988"/>
                      <a:gd name="T1" fmla="*/ 32 h 379"/>
                      <a:gd name="T2" fmla="*/ 22 w 988"/>
                      <a:gd name="T3" fmla="*/ 57 h 379"/>
                      <a:gd name="T4" fmla="*/ 32 w 988"/>
                      <a:gd name="T5" fmla="*/ 76 h 379"/>
                      <a:gd name="T6" fmla="*/ 27 w 988"/>
                      <a:gd name="T7" fmla="*/ 103 h 379"/>
                      <a:gd name="T8" fmla="*/ 25 w 988"/>
                      <a:gd name="T9" fmla="*/ 154 h 379"/>
                      <a:gd name="T10" fmla="*/ 0 w 988"/>
                      <a:gd name="T11" fmla="*/ 186 h 379"/>
                      <a:gd name="T12" fmla="*/ 14 w 988"/>
                      <a:gd name="T13" fmla="*/ 225 h 379"/>
                      <a:gd name="T14" fmla="*/ 43 w 988"/>
                      <a:gd name="T15" fmla="*/ 224 h 379"/>
                      <a:gd name="T16" fmla="*/ 73 w 988"/>
                      <a:gd name="T17" fmla="*/ 214 h 379"/>
                      <a:gd name="T18" fmla="*/ 95 w 988"/>
                      <a:gd name="T19" fmla="*/ 228 h 379"/>
                      <a:gd name="T20" fmla="*/ 120 w 988"/>
                      <a:gd name="T21" fmla="*/ 216 h 379"/>
                      <a:gd name="T22" fmla="*/ 131 w 988"/>
                      <a:gd name="T23" fmla="*/ 190 h 379"/>
                      <a:gd name="T24" fmla="*/ 141 w 988"/>
                      <a:gd name="T25" fmla="*/ 165 h 379"/>
                      <a:gd name="T26" fmla="*/ 155 w 988"/>
                      <a:gd name="T27" fmla="*/ 116 h 379"/>
                      <a:gd name="T28" fmla="*/ 233 w 988"/>
                      <a:gd name="T29" fmla="*/ 95 h 379"/>
                      <a:gd name="T30" fmla="*/ 299 w 988"/>
                      <a:gd name="T31" fmla="*/ 94 h 379"/>
                      <a:gd name="T32" fmla="*/ 315 w 988"/>
                      <a:gd name="T33" fmla="*/ 108 h 379"/>
                      <a:gd name="T34" fmla="*/ 323 w 988"/>
                      <a:gd name="T35" fmla="*/ 127 h 379"/>
                      <a:gd name="T36" fmla="*/ 337 w 988"/>
                      <a:gd name="T37" fmla="*/ 143 h 379"/>
                      <a:gd name="T38" fmla="*/ 358 w 988"/>
                      <a:gd name="T39" fmla="*/ 141 h 379"/>
                      <a:gd name="T40" fmla="*/ 359 w 988"/>
                      <a:gd name="T41" fmla="*/ 160 h 379"/>
                      <a:gd name="T42" fmla="*/ 383 w 988"/>
                      <a:gd name="T43" fmla="*/ 168 h 379"/>
                      <a:gd name="T44" fmla="*/ 393 w 988"/>
                      <a:gd name="T45" fmla="*/ 194 h 379"/>
                      <a:gd name="T46" fmla="*/ 418 w 988"/>
                      <a:gd name="T47" fmla="*/ 214 h 379"/>
                      <a:gd name="T48" fmla="*/ 437 w 988"/>
                      <a:gd name="T49" fmla="*/ 224 h 379"/>
                      <a:gd name="T50" fmla="*/ 461 w 988"/>
                      <a:gd name="T51" fmla="*/ 224 h 379"/>
                      <a:gd name="T52" fmla="*/ 483 w 988"/>
                      <a:gd name="T53" fmla="*/ 216 h 379"/>
                      <a:gd name="T54" fmla="*/ 500 w 988"/>
                      <a:gd name="T55" fmla="*/ 195 h 379"/>
                      <a:gd name="T56" fmla="*/ 524 w 988"/>
                      <a:gd name="T57" fmla="*/ 203 h 379"/>
                      <a:gd name="T58" fmla="*/ 551 w 988"/>
                      <a:gd name="T59" fmla="*/ 203 h 379"/>
                      <a:gd name="T60" fmla="*/ 572 w 988"/>
                      <a:gd name="T61" fmla="*/ 203 h 379"/>
                      <a:gd name="T62" fmla="*/ 588 w 988"/>
                      <a:gd name="T63" fmla="*/ 216 h 379"/>
                      <a:gd name="T64" fmla="*/ 603 w 988"/>
                      <a:gd name="T65" fmla="*/ 222 h 379"/>
                      <a:gd name="T66" fmla="*/ 619 w 988"/>
                      <a:gd name="T67" fmla="*/ 230 h 379"/>
                      <a:gd name="T68" fmla="*/ 643 w 988"/>
                      <a:gd name="T69" fmla="*/ 232 h 379"/>
                      <a:gd name="T70" fmla="*/ 657 w 988"/>
                      <a:gd name="T71" fmla="*/ 238 h 379"/>
                      <a:gd name="T72" fmla="*/ 681 w 988"/>
                      <a:gd name="T73" fmla="*/ 247 h 379"/>
                      <a:gd name="T74" fmla="*/ 690 w 988"/>
                      <a:gd name="T75" fmla="*/ 255 h 379"/>
                      <a:gd name="T76" fmla="*/ 676 w 988"/>
                      <a:gd name="T77" fmla="*/ 274 h 379"/>
                      <a:gd name="T78" fmla="*/ 660 w 988"/>
                      <a:gd name="T79" fmla="*/ 292 h 379"/>
                      <a:gd name="T80" fmla="*/ 676 w 988"/>
                      <a:gd name="T81" fmla="*/ 311 h 379"/>
                      <a:gd name="T82" fmla="*/ 692 w 988"/>
                      <a:gd name="T83" fmla="*/ 327 h 379"/>
                      <a:gd name="T84" fmla="*/ 719 w 988"/>
                      <a:gd name="T85" fmla="*/ 330 h 379"/>
                      <a:gd name="T86" fmla="*/ 736 w 988"/>
                      <a:gd name="T87" fmla="*/ 336 h 379"/>
                      <a:gd name="T88" fmla="*/ 735 w 988"/>
                      <a:gd name="T89" fmla="*/ 355 h 379"/>
                      <a:gd name="T90" fmla="*/ 741 w 988"/>
                      <a:gd name="T91" fmla="*/ 374 h 379"/>
                      <a:gd name="T92" fmla="*/ 765 w 988"/>
                      <a:gd name="T93" fmla="*/ 377 h 379"/>
                      <a:gd name="T94" fmla="*/ 784 w 988"/>
                      <a:gd name="T95" fmla="*/ 366 h 379"/>
                      <a:gd name="T96" fmla="*/ 805 w 988"/>
                      <a:gd name="T97" fmla="*/ 365 h 379"/>
                      <a:gd name="T98" fmla="*/ 825 w 988"/>
                      <a:gd name="T99" fmla="*/ 357 h 379"/>
                      <a:gd name="T100" fmla="*/ 844 w 988"/>
                      <a:gd name="T101" fmla="*/ 350 h 379"/>
                      <a:gd name="T102" fmla="*/ 860 w 988"/>
                      <a:gd name="T103" fmla="*/ 339 h 379"/>
                      <a:gd name="T104" fmla="*/ 876 w 988"/>
                      <a:gd name="T105" fmla="*/ 328 h 379"/>
                      <a:gd name="T106" fmla="*/ 887 w 988"/>
                      <a:gd name="T107" fmla="*/ 315 h 379"/>
                      <a:gd name="T108" fmla="*/ 903 w 988"/>
                      <a:gd name="T109" fmla="*/ 322 h 379"/>
                      <a:gd name="T110" fmla="*/ 908 w 988"/>
                      <a:gd name="T111" fmla="*/ 333 h 379"/>
                      <a:gd name="T112" fmla="*/ 928 w 988"/>
                      <a:gd name="T113" fmla="*/ 349 h 379"/>
                      <a:gd name="T114" fmla="*/ 947 w 988"/>
                      <a:gd name="T115" fmla="*/ 334 h 379"/>
                      <a:gd name="T116" fmla="*/ 961 w 988"/>
                      <a:gd name="T117" fmla="*/ 334 h 379"/>
                      <a:gd name="T118" fmla="*/ 982 w 988"/>
                      <a:gd name="T119" fmla="*/ 35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88" h="379">
                        <a:moveTo>
                          <a:pt x="5" y="0"/>
                        </a:moveTo>
                        <a:lnTo>
                          <a:pt x="8" y="3"/>
                        </a:lnTo>
                        <a:lnTo>
                          <a:pt x="8" y="2"/>
                        </a:lnTo>
                        <a:lnTo>
                          <a:pt x="9" y="2"/>
                        </a:lnTo>
                        <a:lnTo>
                          <a:pt x="11" y="3"/>
                        </a:lnTo>
                        <a:lnTo>
                          <a:pt x="13" y="5"/>
                        </a:lnTo>
                        <a:lnTo>
                          <a:pt x="14" y="7"/>
                        </a:lnTo>
                        <a:lnTo>
                          <a:pt x="16" y="11"/>
                        </a:lnTo>
                        <a:lnTo>
                          <a:pt x="17" y="11"/>
                        </a:lnTo>
                        <a:lnTo>
                          <a:pt x="19" y="15"/>
                        </a:lnTo>
                        <a:lnTo>
                          <a:pt x="19" y="16"/>
                        </a:lnTo>
                        <a:lnTo>
                          <a:pt x="19" y="18"/>
                        </a:lnTo>
                        <a:lnTo>
                          <a:pt x="19" y="19"/>
                        </a:lnTo>
                        <a:lnTo>
                          <a:pt x="17" y="22"/>
                        </a:lnTo>
                        <a:lnTo>
                          <a:pt x="17" y="27"/>
                        </a:lnTo>
                        <a:lnTo>
                          <a:pt x="16" y="30"/>
                        </a:lnTo>
                        <a:lnTo>
                          <a:pt x="14" y="32"/>
                        </a:lnTo>
                        <a:lnTo>
                          <a:pt x="11" y="34"/>
                        </a:lnTo>
                        <a:lnTo>
                          <a:pt x="11" y="35"/>
                        </a:lnTo>
                        <a:lnTo>
                          <a:pt x="9" y="37"/>
                        </a:lnTo>
                        <a:lnTo>
                          <a:pt x="9" y="40"/>
                        </a:lnTo>
                        <a:lnTo>
                          <a:pt x="11" y="43"/>
                        </a:lnTo>
                        <a:lnTo>
                          <a:pt x="9" y="46"/>
                        </a:lnTo>
                        <a:lnTo>
                          <a:pt x="9" y="48"/>
                        </a:lnTo>
                        <a:lnTo>
                          <a:pt x="8" y="49"/>
                        </a:lnTo>
                        <a:lnTo>
                          <a:pt x="8" y="54"/>
                        </a:lnTo>
                        <a:lnTo>
                          <a:pt x="8" y="56"/>
                        </a:lnTo>
                        <a:lnTo>
                          <a:pt x="9" y="57"/>
                        </a:lnTo>
                        <a:lnTo>
                          <a:pt x="11" y="57"/>
                        </a:lnTo>
                        <a:lnTo>
                          <a:pt x="16" y="59"/>
                        </a:lnTo>
                        <a:lnTo>
                          <a:pt x="17" y="59"/>
                        </a:lnTo>
                        <a:lnTo>
                          <a:pt x="19" y="57"/>
                        </a:lnTo>
                        <a:lnTo>
                          <a:pt x="20" y="57"/>
                        </a:lnTo>
                        <a:lnTo>
                          <a:pt x="22" y="57"/>
                        </a:lnTo>
                        <a:lnTo>
                          <a:pt x="24" y="57"/>
                        </a:lnTo>
                        <a:lnTo>
                          <a:pt x="27" y="57"/>
                        </a:lnTo>
                        <a:lnTo>
                          <a:pt x="28" y="59"/>
                        </a:lnTo>
                        <a:lnTo>
                          <a:pt x="32" y="59"/>
                        </a:lnTo>
                        <a:lnTo>
                          <a:pt x="33" y="59"/>
                        </a:lnTo>
                        <a:lnTo>
                          <a:pt x="36" y="59"/>
                        </a:lnTo>
                        <a:lnTo>
                          <a:pt x="39" y="59"/>
                        </a:lnTo>
                        <a:lnTo>
                          <a:pt x="39" y="62"/>
                        </a:lnTo>
                        <a:lnTo>
                          <a:pt x="39" y="64"/>
                        </a:lnTo>
                        <a:lnTo>
                          <a:pt x="39" y="65"/>
                        </a:lnTo>
                        <a:lnTo>
                          <a:pt x="38" y="67"/>
                        </a:lnTo>
                        <a:lnTo>
                          <a:pt x="36" y="70"/>
                        </a:lnTo>
                        <a:lnTo>
                          <a:pt x="36" y="72"/>
                        </a:lnTo>
                        <a:lnTo>
                          <a:pt x="35" y="73"/>
                        </a:lnTo>
                        <a:lnTo>
                          <a:pt x="35" y="75"/>
                        </a:lnTo>
                        <a:lnTo>
                          <a:pt x="33" y="76"/>
                        </a:lnTo>
                        <a:lnTo>
                          <a:pt x="32" y="76"/>
                        </a:lnTo>
                        <a:lnTo>
                          <a:pt x="28" y="78"/>
                        </a:lnTo>
                        <a:lnTo>
                          <a:pt x="27" y="78"/>
                        </a:lnTo>
                        <a:lnTo>
                          <a:pt x="25" y="78"/>
                        </a:lnTo>
                        <a:lnTo>
                          <a:pt x="25" y="79"/>
                        </a:lnTo>
                        <a:lnTo>
                          <a:pt x="27" y="81"/>
                        </a:lnTo>
                        <a:lnTo>
                          <a:pt x="27" y="83"/>
                        </a:lnTo>
                        <a:lnTo>
                          <a:pt x="30" y="83"/>
                        </a:lnTo>
                        <a:lnTo>
                          <a:pt x="30" y="86"/>
                        </a:lnTo>
                        <a:lnTo>
                          <a:pt x="30" y="89"/>
                        </a:lnTo>
                        <a:lnTo>
                          <a:pt x="30" y="91"/>
                        </a:lnTo>
                        <a:lnTo>
                          <a:pt x="30" y="94"/>
                        </a:lnTo>
                        <a:lnTo>
                          <a:pt x="28" y="95"/>
                        </a:lnTo>
                        <a:lnTo>
                          <a:pt x="27" y="97"/>
                        </a:lnTo>
                        <a:lnTo>
                          <a:pt x="25" y="100"/>
                        </a:lnTo>
                        <a:lnTo>
                          <a:pt x="25" y="102"/>
                        </a:lnTo>
                        <a:lnTo>
                          <a:pt x="25" y="103"/>
                        </a:lnTo>
                        <a:lnTo>
                          <a:pt x="27" y="103"/>
                        </a:lnTo>
                        <a:lnTo>
                          <a:pt x="30" y="105"/>
                        </a:lnTo>
                        <a:lnTo>
                          <a:pt x="32" y="105"/>
                        </a:lnTo>
                        <a:lnTo>
                          <a:pt x="32" y="106"/>
                        </a:lnTo>
                        <a:lnTo>
                          <a:pt x="32" y="110"/>
                        </a:lnTo>
                        <a:lnTo>
                          <a:pt x="30" y="111"/>
                        </a:lnTo>
                        <a:lnTo>
                          <a:pt x="28" y="113"/>
                        </a:lnTo>
                        <a:lnTo>
                          <a:pt x="28" y="114"/>
                        </a:lnTo>
                        <a:lnTo>
                          <a:pt x="27" y="116"/>
                        </a:lnTo>
                        <a:lnTo>
                          <a:pt x="27" y="119"/>
                        </a:lnTo>
                        <a:lnTo>
                          <a:pt x="27" y="125"/>
                        </a:lnTo>
                        <a:lnTo>
                          <a:pt x="27" y="130"/>
                        </a:lnTo>
                        <a:lnTo>
                          <a:pt x="27" y="135"/>
                        </a:lnTo>
                        <a:lnTo>
                          <a:pt x="25" y="138"/>
                        </a:lnTo>
                        <a:lnTo>
                          <a:pt x="25" y="143"/>
                        </a:lnTo>
                        <a:lnTo>
                          <a:pt x="25" y="146"/>
                        </a:lnTo>
                        <a:lnTo>
                          <a:pt x="25" y="151"/>
                        </a:lnTo>
                        <a:lnTo>
                          <a:pt x="25" y="154"/>
                        </a:lnTo>
                        <a:lnTo>
                          <a:pt x="24" y="157"/>
                        </a:lnTo>
                        <a:lnTo>
                          <a:pt x="22" y="160"/>
                        </a:lnTo>
                        <a:lnTo>
                          <a:pt x="22" y="163"/>
                        </a:lnTo>
                        <a:lnTo>
                          <a:pt x="22" y="167"/>
                        </a:lnTo>
                        <a:lnTo>
                          <a:pt x="20" y="170"/>
                        </a:lnTo>
                        <a:lnTo>
                          <a:pt x="20" y="171"/>
                        </a:lnTo>
                        <a:lnTo>
                          <a:pt x="20" y="173"/>
                        </a:lnTo>
                        <a:lnTo>
                          <a:pt x="19" y="173"/>
                        </a:lnTo>
                        <a:lnTo>
                          <a:pt x="17" y="173"/>
                        </a:lnTo>
                        <a:lnTo>
                          <a:pt x="16" y="175"/>
                        </a:lnTo>
                        <a:lnTo>
                          <a:pt x="14" y="175"/>
                        </a:lnTo>
                        <a:lnTo>
                          <a:pt x="13" y="176"/>
                        </a:lnTo>
                        <a:lnTo>
                          <a:pt x="8" y="181"/>
                        </a:lnTo>
                        <a:lnTo>
                          <a:pt x="6" y="182"/>
                        </a:lnTo>
                        <a:lnTo>
                          <a:pt x="5" y="182"/>
                        </a:lnTo>
                        <a:lnTo>
                          <a:pt x="3" y="184"/>
                        </a:lnTo>
                        <a:lnTo>
                          <a:pt x="0" y="186"/>
                        </a:lnTo>
                        <a:lnTo>
                          <a:pt x="1" y="187"/>
                        </a:lnTo>
                        <a:lnTo>
                          <a:pt x="0" y="189"/>
                        </a:lnTo>
                        <a:lnTo>
                          <a:pt x="1" y="192"/>
                        </a:lnTo>
                        <a:lnTo>
                          <a:pt x="1" y="195"/>
                        </a:lnTo>
                        <a:lnTo>
                          <a:pt x="1" y="197"/>
                        </a:lnTo>
                        <a:lnTo>
                          <a:pt x="1" y="198"/>
                        </a:lnTo>
                        <a:lnTo>
                          <a:pt x="1" y="201"/>
                        </a:lnTo>
                        <a:lnTo>
                          <a:pt x="3" y="203"/>
                        </a:lnTo>
                        <a:lnTo>
                          <a:pt x="3" y="206"/>
                        </a:lnTo>
                        <a:lnTo>
                          <a:pt x="5" y="209"/>
                        </a:lnTo>
                        <a:lnTo>
                          <a:pt x="5" y="213"/>
                        </a:lnTo>
                        <a:lnTo>
                          <a:pt x="5" y="214"/>
                        </a:lnTo>
                        <a:lnTo>
                          <a:pt x="5" y="217"/>
                        </a:lnTo>
                        <a:lnTo>
                          <a:pt x="6" y="219"/>
                        </a:lnTo>
                        <a:lnTo>
                          <a:pt x="8" y="222"/>
                        </a:lnTo>
                        <a:lnTo>
                          <a:pt x="9" y="222"/>
                        </a:lnTo>
                        <a:lnTo>
                          <a:pt x="14" y="225"/>
                        </a:lnTo>
                        <a:lnTo>
                          <a:pt x="16" y="228"/>
                        </a:lnTo>
                        <a:lnTo>
                          <a:pt x="17" y="228"/>
                        </a:lnTo>
                        <a:lnTo>
                          <a:pt x="20" y="232"/>
                        </a:lnTo>
                        <a:lnTo>
                          <a:pt x="22" y="233"/>
                        </a:lnTo>
                        <a:lnTo>
                          <a:pt x="25" y="235"/>
                        </a:lnTo>
                        <a:lnTo>
                          <a:pt x="27" y="235"/>
                        </a:lnTo>
                        <a:lnTo>
                          <a:pt x="28" y="238"/>
                        </a:lnTo>
                        <a:lnTo>
                          <a:pt x="30" y="239"/>
                        </a:lnTo>
                        <a:lnTo>
                          <a:pt x="32" y="239"/>
                        </a:lnTo>
                        <a:lnTo>
                          <a:pt x="33" y="238"/>
                        </a:lnTo>
                        <a:lnTo>
                          <a:pt x="33" y="236"/>
                        </a:lnTo>
                        <a:lnTo>
                          <a:pt x="35" y="235"/>
                        </a:lnTo>
                        <a:lnTo>
                          <a:pt x="35" y="233"/>
                        </a:lnTo>
                        <a:lnTo>
                          <a:pt x="36" y="230"/>
                        </a:lnTo>
                        <a:lnTo>
                          <a:pt x="39" y="227"/>
                        </a:lnTo>
                        <a:lnTo>
                          <a:pt x="41" y="225"/>
                        </a:lnTo>
                        <a:lnTo>
                          <a:pt x="43" y="224"/>
                        </a:lnTo>
                        <a:lnTo>
                          <a:pt x="44" y="224"/>
                        </a:lnTo>
                        <a:lnTo>
                          <a:pt x="46" y="220"/>
                        </a:lnTo>
                        <a:lnTo>
                          <a:pt x="47" y="217"/>
                        </a:lnTo>
                        <a:lnTo>
                          <a:pt x="49" y="214"/>
                        </a:lnTo>
                        <a:lnTo>
                          <a:pt x="51" y="213"/>
                        </a:lnTo>
                        <a:lnTo>
                          <a:pt x="52" y="211"/>
                        </a:lnTo>
                        <a:lnTo>
                          <a:pt x="55" y="211"/>
                        </a:lnTo>
                        <a:lnTo>
                          <a:pt x="58" y="211"/>
                        </a:lnTo>
                        <a:lnTo>
                          <a:pt x="60" y="211"/>
                        </a:lnTo>
                        <a:lnTo>
                          <a:pt x="62" y="211"/>
                        </a:lnTo>
                        <a:lnTo>
                          <a:pt x="63" y="213"/>
                        </a:lnTo>
                        <a:lnTo>
                          <a:pt x="63" y="214"/>
                        </a:lnTo>
                        <a:lnTo>
                          <a:pt x="65" y="214"/>
                        </a:lnTo>
                        <a:lnTo>
                          <a:pt x="68" y="214"/>
                        </a:lnTo>
                        <a:lnTo>
                          <a:pt x="70" y="213"/>
                        </a:lnTo>
                        <a:lnTo>
                          <a:pt x="71" y="213"/>
                        </a:lnTo>
                        <a:lnTo>
                          <a:pt x="73" y="214"/>
                        </a:lnTo>
                        <a:lnTo>
                          <a:pt x="74" y="216"/>
                        </a:lnTo>
                        <a:lnTo>
                          <a:pt x="76" y="216"/>
                        </a:lnTo>
                        <a:lnTo>
                          <a:pt x="77" y="216"/>
                        </a:lnTo>
                        <a:lnTo>
                          <a:pt x="79" y="216"/>
                        </a:lnTo>
                        <a:lnTo>
                          <a:pt x="81" y="216"/>
                        </a:lnTo>
                        <a:lnTo>
                          <a:pt x="82" y="216"/>
                        </a:lnTo>
                        <a:lnTo>
                          <a:pt x="82" y="217"/>
                        </a:lnTo>
                        <a:lnTo>
                          <a:pt x="82" y="219"/>
                        </a:lnTo>
                        <a:lnTo>
                          <a:pt x="85" y="220"/>
                        </a:lnTo>
                        <a:lnTo>
                          <a:pt x="87" y="224"/>
                        </a:lnTo>
                        <a:lnTo>
                          <a:pt x="87" y="227"/>
                        </a:lnTo>
                        <a:lnTo>
                          <a:pt x="89" y="228"/>
                        </a:lnTo>
                        <a:lnTo>
                          <a:pt x="89" y="230"/>
                        </a:lnTo>
                        <a:lnTo>
                          <a:pt x="90" y="230"/>
                        </a:lnTo>
                        <a:lnTo>
                          <a:pt x="92" y="230"/>
                        </a:lnTo>
                        <a:lnTo>
                          <a:pt x="93" y="230"/>
                        </a:lnTo>
                        <a:lnTo>
                          <a:pt x="95" y="228"/>
                        </a:lnTo>
                        <a:lnTo>
                          <a:pt x="96" y="228"/>
                        </a:lnTo>
                        <a:lnTo>
                          <a:pt x="98" y="227"/>
                        </a:lnTo>
                        <a:lnTo>
                          <a:pt x="98" y="225"/>
                        </a:lnTo>
                        <a:lnTo>
                          <a:pt x="100" y="225"/>
                        </a:lnTo>
                        <a:lnTo>
                          <a:pt x="101" y="227"/>
                        </a:lnTo>
                        <a:lnTo>
                          <a:pt x="103" y="227"/>
                        </a:lnTo>
                        <a:lnTo>
                          <a:pt x="104" y="225"/>
                        </a:lnTo>
                        <a:lnTo>
                          <a:pt x="104" y="224"/>
                        </a:lnTo>
                        <a:lnTo>
                          <a:pt x="108" y="222"/>
                        </a:lnTo>
                        <a:lnTo>
                          <a:pt x="109" y="220"/>
                        </a:lnTo>
                        <a:lnTo>
                          <a:pt x="111" y="220"/>
                        </a:lnTo>
                        <a:lnTo>
                          <a:pt x="111" y="219"/>
                        </a:lnTo>
                        <a:lnTo>
                          <a:pt x="112" y="219"/>
                        </a:lnTo>
                        <a:lnTo>
                          <a:pt x="114" y="219"/>
                        </a:lnTo>
                        <a:lnTo>
                          <a:pt x="115" y="217"/>
                        </a:lnTo>
                        <a:lnTo>
                          <a:pt x="119" y="217"/>
                        </a:lnTo>
                        <a:lnTo>
                          <a:pt x="120" y="216"/>
                        </a:lnTo>
                        <a:lnTo>
                          <a:pt x="122" y="214"/>
                        </a:lnTo>
                        <a:lnTo>
                          <a:pt x="122" y="213"/>
                        </a:lnTo>
                        <a:lnTo>
                          <a:pt x="123" y="211"/>
                        </a:lnTo>
                        <a:lnTo>
                          <a:pt x="125" y="208"/>
                        </a:lnTo>
                        <a:lnTo>
                          <a:pt x="125" y="206"/>
                        </a:lnTo>
                        <a:lnTo>
                          <a:pt x="123" y="203"/>
                        </a:lnTo>
                        <a:lnTo>
                          <a:pt x="123" y="201"/>
                        </a:lnTo>
                        <a:lnTo>
                          <a:pt x="125" y="200"/>
                        </a:lnTo>
                        <a:lnTo>
                          <a:pt x="125" y="197"/>
                        </a:lnTo>
                        <a:lnTo>
                          <a:pt x="127" y="197"/>
                        </a:lnTo>
                        <a:lnTo>
                          <a:pt x="128" y="197"/>
                        </a:lnTo>
                        <a:lnTo>
                          <a:pt x="130" y="197"/>
                        </a:lnTo>
                        <a:lnTo>
                          <a:pt x="130" y="194"/>
                        </a:lnTo>
                        <a:lnTo>
                          <a:pt x="130" y="192"/>
                        </a:lnTo>
                        <a:lnTo>
                          <a:pt x="131" y="192"/>
                        </a:lnTo>
                        <a:lnTo>
                          <a:pt x="133" y="190"/>
                        </a:lnTo>
                        <a:lnTo>
                          <a:pt x="131" y="190"/>
                        </a:lnTo>
                        <a:lnTo>
                          <a:pt x="133" y="190"/>
                        </a:lnTo>
                        <a:lnTo>
                          <a:pt x="134" y="189"/>
                        </a:lnTo>
                        <a:lnTo>
                          <a:pt x="134" y="187"/>
                        </a:lnTo>
                        <a:lnTo>
                          <a:pt x="136" y="186"/>
                        </a:lnTo>
                        <a:lnTo>
                          <a:pt x="136" y="184"/>
                        </a:lnTo>
                        <a:lnTo>
                          <a:pt x="138" y="184"/>
                        </a:lnTo>
                        <a:lnTo>
                          <a:pt x="138" y="182"/>
                        </a:lnTo>
                        <a:lnTo>
                          <a:pt x="138" y="181"/>
                        </a:lnTo>
                        <a:lnTo>
                          <a:pt x="138" y="179"/>
                        </a:lnTo>
                        <a:lnTo>
                          <a:pt x="139" y="179"/>
                        </a:lnTo>
                        <a:lnTo>
                          <a:pt x="141" y="179"/>
                        </a:lnTo>
                        <a:lnTo>
                          <a:pt x="141" y="178"/>
                        </a:lnTo>
                        <a:lnTo>
                          <a:pt x="141" y="176"/>
                        </a:lnTo>
                        <a:lnTo>
                          <a:pt x="139" y="175"/>
                        </a:lnTo>
                        <a:lnTo>
                          <a:pt x="139" y="173"/>
                        </a:lnTo>
                        <a:lnTo>
                          <a:pt x="139" y="170"/>
                        </a:lnTo>
                        <a:lnTo>
                          <a:pt x="141" y="165"/>
                        </a:lnTo>
                        <a:lnTo>
                          <a:pt x="141" y="162"/>
                        </a:lnTo>
                        <a:lnTo>
                          <a:pt x="141" y="159"/>
                        </a:lnTo>
                        <a:lnTo>
                          <a:pt x="141" y="157"/>
                        </a:lnTo>
                        <a:lnTo>
                          <a:pt x="141" y="155"/>
                        </a:lnTo>
                        <a:lnTo>
                          <a:pt x="142" y="154"/>
                        </a:lnTo>
                        <a:lnTo>
                          <a:pt x="144" y="152"/>
                        </a:lnTo>
                        <a:lnTo>
                          <a:pt x="146" y="151"/>
                        </a:lnTo>
                        <a:lnTo>
                          <a:pt x="147" y="149"/>
                        </a:lnTo>
                        <a:lnTo>
                          <a:pt x="147" y="146"/>
                        </a:lnTo>
                        <a:lnTo>
                          <a:pt x="150" y="141"/>
                        </a:lnTo>
                        <a:lnTo>
                          <a:pt x="150" y="138"/>
                        </a:lnTo>
                        <a:lnTo>
                          <a:pt x="152" y="135"/>
                        </a:lnTo>
                        <a:lnTo>
                          <a:pt x="152" y="132"/>
                        </a:lnTo>
                        <a:lnTo>
                          <a:pt x="152" y="127"/>
                        </a:lnTo>
                        <a:lnTo>
                          <a:pt x="154" y="122"/>
                        </a:lnTo>
                        <a:lnTo>
                          <a:pt x="154" y="117"/>
                        </a:lnTo>
                        <a:lnTo>
                          <a:pt x="155" y="116"/>
                        </a:lnTo>
                        <a:lnTo>
                          <a:pt x="155" y="113"/>
                        </a:lnTo>
                        <a:lnTo>
                          <a:pt x="155" y="110"/>
                        </a:lnTo>
                        <a:lnTo>
                          <a:pt x="157" y="106"/>
                        </a:lnTo>
                        <a:lnTo>
                          <a:pt x="157" y="105"/>
                        </a:lnTo>
                        <a:lnTo>
                          <a:pt x="157" y="103"/>
                        </a:lnTo>
                        <a:lnTo>
                          <a:pt x="158" y="103"/>
                        </a:lnTo>
                        <a:lnTo>
                          <a:pt x="165" y="103"/>
                        </a:lnTo>
                        <a:lnTo>
                          <a:pt x="171" y="102"/>
                        </a:lnTo>
                        <a:lnTo>
                          <a:pt x="179" y="100"/>
                        </a:lnTo>
                        <a:lnTo>
                          <a:pt x="190" y="100"/>
                        </a:lnTo>
                        <a:lnTo>
                          <a:pt x="199" y="100"/>
                        </a:lnTo>
                        <a:lnTo>
                          <a:pt x="209" y="98"/>
                        </a:lnTo>
                        <a:lnTo>
                          <a:pt x="218" y="97"/>
                        </a:lnTo>
                        <a:lnTo>
                          <a:pt x="225" y="97"/>
                        </a:lnTo>
                        <a:lnTo>
                          <a:pt x="231" y="97"/>
                        </a:lnTo>
                        <a:lnTo>
                          <a:pt x="233" y="97"/>
                        </a:lnTo>
                        <a:lnTo>
                          <a:pt x="233" y="95"/>
                        </a:lnTo>
                        <a:lnTo>
                          <a:pt x="234" y="95"/>
                        </a:lnTo>
                        <a:lnTo>
                          <a:pt x="237" y="92"/>
                        </a:lnTo>
                        <a:lnTo>
                          <a:pt x="239" y="89"/>
                        </a:lnTo>
                        <a:lnTo>
                          <a:pt x="245" y="86"/>
                        </a:lnTo>
                        <a:lnTo>
                          <a:pt x="247" y="84"/>
                        </a:lnTo>
                        <a:lnTo>
                          <a:pt x="253" y="84"/>
                        </a:lnTo>
                        <a:lnTo>
                          <a:pt x="260" y="84"/>
                        </a:lnTo>
                        <a:lnTo>
                          <a:pt x="264" y="84"/>
                        </a:lnTo>
                        <a:lnTo>
                          <a:pt x="269" y="84"/>
                        </a:lnTo>
                        <a:lnTo>
                          <a:pt x="272" y="86"/>
                        </a:lnTo>
                        <a:lnTo>
                          <a:pt x="279" y="87"/>
                        </a:lnTo>
                        <a:lnTo>
                          <a:pt x="287" y="89"/>
                        </a:lnTo>
                        <a:lnTo>
                          <a:pt x="288" y="91"/>
                        </a:lnTo>
                        <a:lnTo>
                          <a:pt x="291" y="91"/>
                        </a:lnTo>
                        <a:lnTo>
                          <a:pt x="293" y="92"/>
                        </a:lnTo>
                        <a:lnTo>
                          <a:pt x="296" y="94"/>
                        </a:lnTo>
                        <a:lnTo>
                          <a:pt x="299" y="94"/>
                        </a:lnTo>
                        <a:lnTo>
                          <a:pt x="302" y="97"/>
                        </a:lnTo>
                        <a:lnTo>
                          <a:pt x="306" y="97"/>
                        </a:lnTo>
                        <a:lnTo>
                          <a:pt x="307" y="97"/>
                        </a:lnTo>
                        <a:lnTo>
                          <a:pt x="309" y="97"/>
                        </a:lnTo>
                        <a:lnTo>
                          <a:pt x="310" y="97"/>
                        </a:lnTo>
                        <a:lnTo>
                          <a:pt x="312" y="97"/>
                        </a:lnTo>
                        <a:lnTo>
                          <a:pt x="313" y="97"/>
                        </a:lnTo>
                        <a:lnTo>
                          <a:pt x="315" y="97"/>
                        </a:lnTo>
                        <a:lnTo>
                          <a:pt x="317" y="97"/>
                        </a:lnTo>
                        <a:lnTo>
                          <a:pt x="318" y="97"/>
                        </a:lnTo>
                        <a:lnTo>
                          <a:pt x="318" y="98"/>
                        </a:lnTo>
                        <a:lnTo>
                          <a:pt x="317" y="100"/>
                        </a:lnTo>
                        <a:lnTo>
                          <a:pt x="317" y="102"/>
                        </a:lnTo>
                        <a:lnTo>
                          <a:pt x="317" y="103"/>
                        </a:lnTo>
                        <a:lnTo>
                          <a:pt x="315" y="105"/>
                        </a:lnTo>
                        <a:lnTo>
                          <a:pt x="315" y="106"/>
                        </a:lnTo>
                        <a:lnTo>
                          <a:pt x="315" y="108"/>
                        </a:lnTo>
                        <a:lnTo>
                          <a:pt x="315" y="110"/>
                        </a:lnTo>
                        <a:lnTo>
                          <a:pt x="315" y="111"/>
                        </a:lnTo>
                        <a:lnTo>
                          <a:pt x="315" y="113"/>
                        </a:lnTo>
                        <a:lnTo>
                          <a:pt x="317" y="113"/>
                        </a:lnTo>
                        <a:lnTo>
                          <a:pt x="317" y="114"/>
                        </a:lnTo>
                        <a:lnTo>
                          <a:pt x="318" y="114"/>
                        </a:lnTo>
                        <a:lnTo>
                          <a:pt x="318" y="116"/>
                        </a:lnTo>
                        <a:lnTo>
                          <a:pt x="320" y="116"/>
                        </a:lnTo>
                        <a:lnTo>
                          <a:pt x="320" y="117"/>
                        </a:lnTo>
                        <a:lnTo>
                          <a:pt x="321" y="117"/>
                        </a:lnTo>
                        <a:lnTo>
                          <a:pt x="321" y="119"/>
                        </a:lnTo>
                        <a:lnTo>
                          <a:pt x="321" y="121"/>
                        </a:lnTo>
                        <a:lnTo>
                          <a:pt x="321" y="122"/>
                        </a:lnTo>
                        <a:lnTo>
                          <a:pt x="323" y="122"/>
                        </a:lnTo>
                        <a:lnTo>
                          <a:pt x="323" y="124"/>
                        </a:lnTo>
                        <a:lnTo>
                          <a:pt x="323" y="125"/>
                        </a:lnTo>
                        <a:lnTo>
                          <a:pt x="323" y="127"/>
                        </a:lnTo>
                        <a:lnTo>
                          <a:pt x="323" y="129"/>
                        </a:lnTo>
                        <a:lnTo>
                          <a:pt x="325" y="129"/>
                        </a:lnTo>
                        <a:lnTo>
                          <a:pt x="325" y="130"/>
                        </a:lnTo>
                        <a:lnTo>
                          <a:pt x="326" y="132"/>
                        </a:lnTo>
                        <a:lnTo>
                          <a:pt x="328" y="132"/>
                        </a:lnTo>
                        <a:lnTo>
                          <a:pt x="329" y="133"/>
                        </a:lnTo>
                        <a:lnTo>
                          <a:pt x="329" y="135"/>
                        </a:lnTo>
                        <a:lnTo>
                          <a:pt x="329" y="136"/>
                        </a:lnTo>
                        <a:lnTo>
                          <a:pt x="329" y="138"/>
                        </a:lnTo>
                        <a:lnTo>
                          <a:pt x="331" y="140"/>
                        </a:lnTo>
                        <a:lnTo>
                          <a:pt x="331" y="141"/>
                        </a:lnTo>
                        <a:lnTo>
                          <a:pt x="331" y="143"/>
                        </a:lnTo>
                        <a:lnTo>
                          <a:pt x="333" y="144"/>
                        </a:lnTo>
                        <a:lnTo>
                          <a:pt x="334" y="144"/>
                        </a:lnTo>
                        <a:lnTo>
                          <a:pt x="336" y="144"/>
                        </a:lnTo>
                        <a:lnTo>
                          <a:pt x="337" y="144"/>
                        </a:lnTo>
                        <a:lnTo>
                          <a:pt x="337" y="143"/>
                        </a:lnTo>
                        <a:lnTo>
                          <a:pt x="339" y="143"/>
                        </a:lnTo>
                        <a:lnTo>
                          <a:pt x="339" y="141"/>
                        </a:lnTo>
                        <a:lnTo>
                          <a:pt x="340" y="141"/>
                        </a:lnTo>
                        <a:lnTo>
                          <a:pt x="342" y="140"/>
                        </a:lnTo>
                        <a:lnTo>
                          <a:pt x="344" y="140"/>
                        </a:lnTo>
                        <a:lnTo>
                          <a:pt x="344" y="138"/>
                        </a:lnTo>
                        <a:lnTo>
                          <a:pt x="345" y="138"/>
                        </a:lnTo>
                        <a:lnTo>
                          <a:pt x="347" y="138"/>
                        </a:lnTo>
                        <a:lnTo>
                          <a:pt x="348" y="138"/>
                        </a:lnTo>
                        <a:lnTo>
                          <a:pt x="350" y="138"/>
                        </a:lnTo>
                        <a:lnTo>
                          <a:pt x="352" y="138"/>
                        </a:lnTo>
                        <a:lnTo>
                          <a:pt x="353" y="138"/>
                        </a:lnTo>
                        <a:lnTo>
                          <a:pt x="353" y="140"/>
                        </a:lnTo>
                        <a:lnTo>
                          <a:pt x="355" y="140"/>
                        </a:lnTo>
                        <a:lnTo>
                          <a:pt x="356" y="140"/>
                        </a:lnTo>
                        <a:lnTo>
                          <a:pt x="358" y="140"/>
                        </a:lnTo>
                        <a:lnTo>
                          <a:pt x="358" y="141"/>
                        </a:lnTo>
                        <a:lnTo>
                          <a:pt x="358" y="143"/>
                        </a:lnTo>
                        <a:lnTo>
                          <a:pt x="359" y="143"/>
                        </a:lnTo>
                        <a:lnTo>
                          <a:pt x="359" y="144"/>
                        </a:lnTo>
                        <a:lnTo>
                          <a:pt x="359" y="146"/>
                        </a:lnTo>
                        <a:lnTo>
                          <a:pt x="359" y="148"/>
                        </a:lnTo>
                        <a:lnTo>
                          <a:pt x="359" y="149"/>
                        </a:lnTo>
                        <a:lnTo>
                          <a:pt x="359" y="151"/>
                        </a:lnTo>
                        <a:lnTo>
                          <a:pt x="358" y="151"/>
                        </a:lnTo>
                        <a:lnTo>
                          <a:pt x="358" y="152"/>
                        </a:lnTo>
                        <a:lnTo>
                          <a:pt x="358" y="154"/>
                        </a:lnTo>
                        <a:lnTo>
                          <a:pt x="356" y="155"/>
                        </a:lnTo>
                        <a:lnTo>
                          <a:pt x="355" y="157"/>
                        </a:lnTo>
                        <a:lnTo>
                          <a:pt x="355" y="159"/>
                        </a:lnTo>
                        <a:lnTo>
                          <a:pt x="356" y="159"/>
                        </a:lnTo>
                        <a:lnTo>
                          <a:pt x="356" y="160"/>
                        </a:lnTo>
                        <a:lnTo>
                          <a:pt x="358" y="160"/>
                        </a:lnTo>
                        <a:lnTo>
                          <a:pt x="359" y="160"/>
                        </a:lnTo>
                        <a:lnTo>
                          <a:pt x="361" y="160"/>
                        </a:lnTo>
                        <a:lnTo>
                          <a:pt x="361" y="162"/>
                        </a:lnTo>
                        <a:lnTo>
                          <a:pt x="363" y="162"/>
                        </a:lnTo>
                        <a:lnTo>
                          <a:pt x="364" y="163"/>
                        </a:lnTo>
                        <a:lnTo>
                          <a:pt x="366" y="163"/>
                        </a:lnTo>
                        <a:lnTo>
                          <a:pt x="367" y="163"/>
                        </a:lnTo>
                        <a:lnTo>
                          <a:pt x="369" y="163"/>
                        </a:lnTo>
                        <a:lnTo>
                          <a:pt x="371" y="163"/>
                        </a:lnTo>
                        <a:lnTo>
                          <a:pt x="372" y="163"/>
                        </a:lnTo>
                        <a:lnTo>
                          <a:pt x="374" y="163"/>
                        </a:lnTo>
                        <a:lnTo>
                          <a:pt x="375" y="165"/>
                        </a:lnTo>
                        <a:lnTo>
                          <a:pt x="377" y="165"/>
                        </a:lnTo>
                        <a:lnTo>
                          <a:pt x="378" y="165"/>
                        </a:lnTo>
                        <a:lnTo>
                          <a:pt x="380" y="167"/>
                        </a:lnTo>
                        <a:lnTo>
                          <a:pt x="382" y="167"/>
                        </a:lnTo>
                        <a:lnTo>
                          <a:pt x="383" y="167"/>
                        </a:lnTo>
                        <a:lnTo>
                          <a:pt x="383" y="168"/>
                        </a:lnTo>
                        <a:lnTo>
                          <a:pt x="385" y="168"/>
                        </a:lnTo>
                        <a:lnTo>
                          <a:pt x="385" y="170"/>
                        </a:lnTo>
                        <a:lnTo>
                          <a:pt x="385" y="171"/>
                        </a:lnTo>
                        <a:lnTo>
                          <a:pt x="385" y="173"/>
                        </a:lnTo>
                        <a:lnTo>
                          <a:pt x="386" y="175"/>
                        </a:lnTo>
                        <a:lnTo>
                          <a:pt x="386" y="176"/>
                        </a:lnTo>
                        <a:lnTo>
                          <a:pt x="386" y="178"/>
                        </a:lnTo>
                        <a:lnTo>
                          <a:pt x="386" y="179"/>
                        </a:lnTo>
                        <a:lnTo>
                          <a:pt x="386" y="181"/>
                        </a:lnTo>
                        <a:lnTo>
                          <a:pt x="385" y="182"/>
                        </a:lnTo>
                        <a:lnTo>
                          <a:pt x="385" y="184"/>
                        </a:lnTo>
                        <a:lnTo>
                          <a:pt x="386" y="186"/>
                        </a:lnTo>
                        <a:lnTo>
                          <a:pt x="388" y="187"/>
                        </a:lnTo>
                        <a:lnTo>
                          <a:pt x="390" y="189"/>
                        </a:lnTo>
                        <a:lnTo>
                          <a:pt x="390" y="190"/>
                        </a:lnTo>
                        <a:lnTo>
                          <a:pt x="391" y="192"/>
                        </a:lnTo>
                        <a:lnTo>
                          <a:pt x="393" y="194"/>
                        </a:lnTo>
                        <a:lnTo>
                          <a:pt x="394" y="194"/>
                        </a:lnTo>
                        <a:lnTo>
                          <a:pt x="396" y="195"/>
                        </a:lnTo>
                        <a:lnTo>
                          <a:pt x="397" y="195"/>
                        </a:lnTo>
                        <a:lnTo>
                          <a:pt x="397" y="197"/>
                        </a:lnTo>
                        <a:lnTo>
                          <a:pt x="399" y="197"/>
                        </a:lnTo>
                        <a:lnTo>
                          <a:pt x="399" y="198"/>
                        </a:lnTo>
                        <a:lnTo>
                          <a:pt x="399" y="200"/>
                        </a:lnTo>
                        <a:lnTo>
                          <a:pt x="399" y="201"/>
                        </a:lnTo>
                        <a:lnTo>
                          <a:pt x="399" y="203"/>
                        </a:lnTo>
                        <a:lnTo>
                          <a:pt x="399" y="205"/>
                        </a:lnTo>
                        <a:lnTo>
                          <a:pt x="401" y="205"/>
                        </a:lnTo>
                        <a:lnTo>
                          <a:pt x="399" y="206"/>
                        </a:lnTo>
                        <a:lnTo>
                          <a:pt x="399" y="208"/>
                        </a:lnTo>
                        <a:lnTo>
                          <a:pt x="399" y="209"/>
                        </a:lnTo>
                        <a:lnTo>
                          <a:pt x="397" y="211"/>
                        </a:lnTo>
                        <a:lnTo>
                          <a:pt x="416" y="214"/>
                        </a:lnTo>
                        <a:lnTo>
                          <a:pt x="418" y="214"/>
                        </a:lnTo>
                        <a:lnTo>
                          <a:pt x="418" y="216"/>
                        </a:lnTo>
                        <a:lnTo>
                          <a:pt x="420" y="216"/>
                        </a:lnTo>
                        <a:lnTo>
                          <a:pt x="421" y="216"/>
                        </a:lnTo>
                        <a:lnTo>
                          <a:pt x="423" y="216"/>
                        </a:lnTo>
                        <a:lnTo>
                          <a:pt x="424" y="216"/>
                        </a:lnTo>
                        <a:lnTo>
                          <a:pt x="426" y="216"/>
                        </a:lnTo>
                        <a:lnTo>
                          <a:pt x="428" y="216"/>
                        </a:lnTo>
                        <a:lnTo>
                          <a:pt x="428" y="217"/>
                        </a:lnTo>
                        <a:lnTo>
                          <a:pt x="429" y="217"/>
                        </a:lnTo>
                        <a:lnTo>
                          <a:pt x="431" y="219"/>
                        </a:lnTo>
                        <a:lnTo>
                          <a:pt x="432" y="219"/>
                        </a:lnTo>
                        <a:lnTo>
                          <a:pt x="434" y="219"/>
                        </a:lnTo>
                        <a:lnTo>
                          <a:pt x="434" y="220"/>
                        </a:lnTo>
                        <a:lnTo>
                          <a:pt x="434" y="222"/>
                        </a:lnTo>
                        <a:lnTo>
                          <a:pt x="435" y="222"/>
                        </a:lnTo>
                        <a:lnTo>
                          <a:pt x="435" y="224"/>
                        </a:lnTo>
                        <a:lnTo>
                          <a:pt x="437" y="224"/>
                        </a:lnTo>
                        <a:lnTo>
                          <a:pt x="439" y="224"/>
                        </a:lnTo>
                        <a:lnTo>
                          <a:pt x="440" y="224"/>
                        </a:lnTo>
                        <a:lnTo>
                          <a:pt x="440" y="225"/>
                        </a:lnTo>
                        <a:lnTo>
                          <a:pt x="442" y="225"/>
                        </a:lnTo>
                        <a:lnTo>
                          <a:pt x="443" y="225"/>
                        </a:lnTo>
                        <a:lnTo>
                          <a:pt x="445" y="225"/>
                        </a:lnTo>
                        <a:lnTo>
                          <a:pt x="447" y="225"/>
                        </a:lnTo>
                        <a:lnTo>
                          <a:pt x="448" y="225"/>
                        </a:lnTo>
                        <a:lnTo>
                          <a:pt x="448" y="224"/>
                        </a:lnTo>
                        <a:lnTo>
                          <a:pt x="450" y="224"/>
                        </a:lnTo>
                        <a:lnTo>
                          <a:pt x="451" y="224"/>
                        </a:lnTo>
                        <a:lnTo>
                          <a:pt x="453" y="224"/>
                        </a:lnTo>
                        <a:lnTo>
                          <a:pt x="454" y="224"/>
                        </a:lnTo>
                        <a:lnTo>
                          <a:pt x="456" y="222"/>
                        </a:lnTo>
                        <a:lnTo>
                          <a:pt x="458" y="224"/>
                        </a:lnTo>
                        <a:lnTo>
                          <a:pt x="459" y="224"/>
                        </a:lnTo>
                        <a:lnTo>
                          <a:pt x="461" y="224"/>
                        </a:lnTo>
                        <a:lnTo>
                          <a:pt x="461" y="225"/>
                        </a:lnTo>
                        <a:lnTo>
                          <a:pt x="462" y="225"/>
                        </a:lnTo>
                        <a:lnTo>
                          <a:pt x="464" y="225"/>
                        </a:lnTo>
                        <a:lnTo>
                          <a:pt x="466" y="225"/>
                        </a:lnTo>
                        <a:lnTo>
                          <a:pt x="467" y="227"/>
                        </a:lnTo>
                        <a:lnTo>
                          <a:pt x="469" y="228"/>
                        </a:lnTo>
                        <a:lnTo>
                          <a:pt x="470" y="228"/>
                        </a:lnTo>
                        <a:lnTo>
                          <a:pt x="472" y="228"/>
                        </a:lnTo>
                        <a:lnTo>
                          <a:pt x="472" y="227"/>
                        </a:lnTo>
                        <a:lnTo>
                          <a:pt x="473" y="225"/>
                        </a:lnTo>
                        <a:lnTo>
                          <a:pt x="475" y="225"/>
                        </a:lnTo>
                        <a:lnTo>
                          <a:pt x="477" y="224"/>
                        </a:lnTo>
                        <a:lnTo>
                          <a:pt x="478" y="222"/>
                        </a:lnTo>
                        <a:lnTo>
                          <a:pt x="480" y="220"/>
                        </a:lnTo>
                        <a:lnTo>
                          <a:pt x="480" y="219"/>
                        </a:lnTo>
                        <a:lnTo>
                          <a:pt x="481" y="217"/>
                        </a:lnTo>
                        <a:lnTo>
                          <a:pt x="483" y="216"/>
                        </a:lnTo>
                        <a:lnTo>
                          <a:pt x="485" y="216"/>
                        </a:lnTo>
                        <a:lnTo>
                          <a:pt x="485" y="214"/>
                        </a:lnTo>
                        <a:lnTo>
                          <a:pt x="486" y="214"/>
                        </a:lnTo>
                        <a:lnTo>
                          <a:pt x="486" y="213"/>
                        </a:lnTo>
                        <a:lnTo>
                          <a:pt x="488" y="211"/>
                        </a:lnTo>
                        <a:lnTo>
                          <a:pt x="489" y="211"/>
                        </a:lnTo>
                        <a:lnTo>
                          <a:pt x="489" y="209"/>
                        </a:lnTo>
                        <a:lnTo>
                          <a:pt x="491" y="209"/>
                        </a:lnTo>
                        <a:lnTo>
                          <a:pt x="492" y="208"/>
                        </a:lnTo>
                        <a:lnTo>
                          <a:pt x="494" y="206"/>
                        </a:lnTo>
                        <a:lnTo>
                          <a:pt x="494" y="205"/>
                        </a:lnTo>
                        <a:lnTo>
                          <a:pt x="496" y="203"/>
                        </a:lnTo>
                        <a:lnTo>
                          <a:pt x="496" y="201"/>
                        </a:lnTo>
                        <a:lnTo>
                          <a:pt x="497" y="200"/>
                        </a:lnTo>
                        <a:lnTo>
                          <a:pt x="499" y="198"/>
                        </a:lnTo>
                        <a:lnTo>
                          <a:pt x="499" y="197"/>
                        </a:lnTo>
                        <a:lnTo>
                          <a:pt x="500" y="195"/>
                        </a:lnTo>
                        <a:lnTo>
                          <a:pt x="502" y="195"/>
                        </a:lnTo>
                        <a:lnTo>
                          <a:pt x="504" y="195"/>
                        </a:lnTo>
                        <a:lnTo>
                          <a:pt x="505" y="197"/>
                        </a:lnTo>
                        <a:lnTo>
                          <a:pt x="507" y="197"/>
                        </a:lnTo>
                        <a:lnTo>
                          <a:pt x="508" y="198"/>
                        </a:lnTo>
                        <a:lnTo>
                          <a:pt x="510" y="198"/>
                        </a:lnTo>
                        <a:lnTo>
                          <a:pt x="511" y="198"/>
                        </a:lnTo>
                        <a:lnTo>
                          <a:pt x="513" y="200"/>
                        </a:lnTo>
                        <a:lnTo>
                          <a:pt x="515" y="200"/>
                        </a:lnTo>
                        <a:lnTo>
                          <a:pt x="516" y="200"/>
                        </a:lnTo>
                        <a:lnTo>
                          <a:pt x="516" y="201"/>
                        </a:lnTo>
                        <a:lnTo>
                          <a:pt x="518" y="201"/>
                        </a:lnTo>
                        <a:lnTo>
                          <a:pt x="519" y="201"/>
                        </a:lnTo>
                        <a:lnTo>
                          <a:pt x="521" y="201"/>
                        </a:lnTo>
                        <a:lnTo>
                          <a:pt x="523" y="201"/>
                        </a:lnTo>
                        <a:lnTo>
                          <a:pt x="524" y="201"/>
                        </a:lnTo>
                        <a:lnTo>
                          <a:pt x="524" y="203"/>
                        </a:lnTo>
                        <a:lnTo>
                          <a:pt x="526" y="203"/>
                        </a:lnTo>
                        <a:lnTo>
                          <a:pt x="527" y="203"/>
                        </a:lnTo>
                        <a:lnTo>
                          <a:pt x="529" y="203"/>
                        </a:lnTo>
                        <a:lnTo>
                          <a:pt x="531" y="203"/>
                        </a:lnTo>
                        <a:lnTo>
                          <a:pt x="532" y="203"/>
                        </a:lnTo>
                        <a:lnTo>
                          <a:pt x="534" y="203"/>
                        </a:lnTo>
                        <a:lnTo>
                          <a:pt x="535" y="203"/>
                        </a:lnTo>
                        <a:lnTo>
                          <a:pt x="537" y="203"/>
                        </a:lnTo>
                        <a:lnTo>
                          <a:pt x="538" y="205"/>
                        </a:lnTo>
                        <a:lnTo>
                          <a:pt x="540" y="205"/>
                        </a:lnTo>
                        <a:lnTo>
                          <a:pt x="542" y="203"/>
                        </a:lnTo>
                        <a:lnTo>
                          <a:pt x="543" y="205"/>
                        </a:lnTo>
                        <a:lnTo>
                          <a:pt x="545" y="203"/>
                        </a:lnTo>
                        <a:lnTo>
                          <a:pt x="546" y="203"/>
                        </a:lnTo>
                        <a:lnTo>
                          <a:pt x="548" y="203"/>
                        </a:lnTo>
                        <a:lnTo>
                          <a:pt x="550" y="203"/>
                        </a:lnTo>
                        <a:lnTo>
                          <a:pt x="551" y="203"/>
                        </a:lnTo>
                        <a:lnTo>
                          <a:pt x="553" y="203"/>
                        </a:lnTo>
                        <a:lnTo>
                          <a:pt x="554" y="203"/>
                        </a:lnTo>
                        <a:lnTo>
                          <a:pt x="556" y="203"/>
                        </a:lnTo>
                        <a:lnTo>
                          <a:pt x="557" y="203"/>
                        </a:lnTo>
                        <a:lnTo>
                          <a:pt x="559" y="201"/>
                        </a:lnTo>
                        <a:lnTo>
                          <a:pt x="561" y="201"/>
                        </a:lnTo>
                        <a:lnTo>
                          <a:pt x="561" y="200"/>
                        </a:lnTo>
                        <a:lnTo>
                          <a:pt x="562" y="200"/>
                        </a:lnTo>
                        <a:lnTo>
                          <a:pt x="564" y="200"/>
                        </a:lnTo>
                        <a:lnTo>
                          <a:pt x="565" y="200"/>
                        </a:lnTo>
                        <a:lnTo>
                          <a:pt x="565" y="201"/>
                        </a:lnTo>
                        <a:lnTo>
                          <a:pt x="567" y="200"/>
                        </a:lnTo>
                        <a:lnTo>
                          <a:pt x="569" y="200"/>
                        </a:lnTo>
                        <a:lnTo>
                          <a:pt x="570" y="200"/>
                        </a:lnTo>
                        <a:lnTo>
                          <a:pt x="570" y="201"/>
                        </a:lnTo>
                        <a:lnTo>
                          <a:pt x="572" y="201"/>
                        </a:lnTo>
                        <a:lnTo>
                          <a:pt x="572" y="203"/>
                        </a:lnTo>
                        <a:lnTo>
                          <a:pt x="572" y="205"/>
                        </a:lnTo>
                        <a:lnTo>
                          <a:pt x="573" y="206"/>
                        </a:lnTo>
                        <a:lnTo>
                          <a:pt x="575" y="208"/>
                        </a:lnTo>
                        <a:lnTo>
                          <a:pt x="576" y="208"/>
                        </a:lnTo>
                        <a:lnTo>
                          <a:pt x="578" y="208"/>
                        </a:lnTo>
                        <a:lnTo>
                          <a:pt x="578" y="209"/>
                        </a:lnTo>
                        <a:lnTo>
                          <a:pt x="578" y="211"/>
                        </a:lnTo>
                        <a:lnTo>
                          <a:pt x="580" y="211"/>
                        </a:lnTo>
                        <a:lnTo>
                          <a:pt x="581" y="211"/>
                        </a:lnTo>
                        <a:lnTo>
                          <a:pt x="581" y="213"/>
                        </a:lnTo>
                        <a:lnTo>
                          <a:pt x="583" y="213"/>
                        </a:lnTo>
                        <a:lnTo>
                          <a:pt x="583" y="214"/>
                        </a:lnTo>
                        <a:lnTo>
                          <a:pt x="583" y="216"/>
                        </a:lnTo>
                        <a:lnTo>
                          <a:pt x="584" y="214"/>
                        </a:lnTo>
                        <a:lnTo>
                          <a:pt x="586" y="214"/>
                        </a:lnTo>
                        <a:lnTo>
                          <a:pt x="588" y="214"/>
                        </a:lnTo>
                        <a:lnTo>
                          <a:pt x="588" y="216"/>
                        </a:lnTo>
                        <a:lnTo>
                          <a:pt x="589" y="216"/>
                        </a:lnTo>
                        <a:lnTo>
                          <a:pt x="589" y="217"/>
                        </a:lnTo>
                        <a:lnTo>
                          <a:pt x="588" y="217"/>
                        </a:lnTo>
                        <a:lnTo>
                          <a:pt x="589" y="219"/>
                        </a:lnTo>
                        <a:lnTo>
                          <a:pt x="589" y="217"/>
                        </a:lnTo>
                        <a:lnTo>
                          <a:pt x="591" y="217"/>
                        </a:lnTo>
                        <a:lnTo>
                          <a:pt x="592" y="219"/>
                        </a:lnTo>
                        <a:lnTo>
                          <a:pt x="592" y="220"/>
                        </a:lnTo>
                        <a:lnTo>
                          <a:pt x="594" y="222"/>
                        </a:lnTo>
                        <a:lnTo>
                          <a:pt x="595" y="222"/>
                        </a:lnTo>
                        <a:lnTo>
                          <a:pt x="597" y="222"/>
                        </a:lnTo>
                        <a:lnTo>
                          <a:pt x="597" y="224"/>
                        </a:lnTo>
                        <a:lnTo>
                          <a:pt x="599" y="224"/>
                        </a:lnTo>
                        <a:lnTo>
                          <a:pt x="600" y="224"/>
                        </a:lnTo>
                        <a:lnTo>
                          <a:pt x="600" y="222"/>
                        </a:lnTo>
                        <a:lnTo>
                          <a:pt x="602" y="222"/>
                        </a:lnTo>
                        <a:lnTo>
                          <a:pt x="603" y="222"/>
                        </a:lnTo>
                        <a:lnTo>
                          <a:pt x="605" y="222"/>
                        </a:lnTo>
                        <a:lnTo>
                          <a:pt x="603" y="224"/>
                        </a:lnTo>
                        <a:lnTo>
                          <a:pt x="603" y="225"/>
                        </a:lnTo>
                        <a:lnTo>
                          <a:pt x="605" y="225"/>
                        </a:lnTo>
                        <a:lnTo>
                          <a:pt x="607" y="225"/>
                        </a:lnTo>
                        <a:lnTo>
                          <a:pt x="607" y="224"/>
                        </a:lnTo>
                        <a:lnTo>
                          <a:pt x="608" y="224"/>
                        </a:lnTo>
                        <a:lnTo>
                          <a:pt x="610" y="225"/>
                        </a:lnTo>
                        <a:lnTo>
                          <a:pt x="611" y="225"/>
                        </a:lnTo>
                        <a:lnTo>
                          <a:pt x="613" y="225"/>
                        </a:lnTo>
                        <a:lnTo>
                          <a:pt x="614" y="225"/>
                        </a:lnTo>
                        <a:lnTo>
                          <a:pt x="616" y="225"/>
                        </a:lnTo>
                        <a:lnTo>
                          <a:pt x="616" y="227"/>
                        </a:lnTo>
                        <a:lnTo>
                          <a:pt x="614" y="228"/>
                        </a:lnTo>
                        <a:lnTo>
                          <a:pt x="616" y="228"/>
                        </a:lnTo>
                        <a:lnTo>
                          <a:pt x="618" y="230"/>
                        </a:lnTo>
                        <a:lnTo>
                          <a:pt x="619" y="230"/>
                        </a:lnTo>
                        <a:lnTo>
                          <a:pt x="621" y="230"/>
                        </a:lnTo>
                        <a:lnTo>
                          <a:pt x="622" y="228"/>
                        </a:lnTo>
                        <a:lnTo>
                          <a:pt x="624" y="228"/>
                        </a:lnTo>
                        <a:lnTo>
                          <a:pt x="624" y="227"/>
                        </a:lnTo>
                        <a:lnTo>
                          <a:pt x="626" y="227"/>
                        </a:lnTo>
                        <a:lnTo>
                          <a:pt x="627" y="227"/>
                        </a:lnTo>
                        <a:lnTo>
                          <a:pt x="629" y="227"/>
                        </a:lnTo>
                        <a:lnTo>
                          <a:pt x="630" y="227"/>
                        </a:lnTo>
                        <a:lnTo>
                          <a:pt x="632" y="228"/>
                        </a:lnTo>
                        <a:lnTo>
                          <a:pt x="633" y="228"/>
                        </a:lnTo>
                        <a:lnTo>
                          <a:pt x="635" y="230"/>
                        </a:lnTo>
                        <a:lnTo>
                          <a:pt x="637" y="230"/>
                        </a:lnTo>
                        <a:lnTo>
                          <a:pt x="638" y="230"/>
                        </a:lnTo>
                        <a:lnTo>
                          <a:pt x="640" y="230"/>
                        </a:lnTo>
                        <a:lnTo>
                          <a:pt x="641" y="232"/>
                        </a:lnTo>
                        <a:lnTo>
                          <a:pt x="641" y="230"/>
                        </a:lnTo>
                        <a:lnTo>
                          <a:pt x="643" y="232"/>
                        </a:lnTo>
                        <a:lnTo>
                          <a:pt x="645" y="232"/>
                        </a:lnTo>
                        <a:lnTo>
                          <a:pt x="643" y="232"/>
                        </a:lnTo>
                        <a:lnTo>
                          <a:pt x="641" y="233"/>
                        </a:lnTo>
                        <a:lnTo>
                          <a:pt x="643" y="233"/>
                        </a:lnTo>
                        <a:lnTo>
                          <a:pt x="643" y="235"/>
                        </a:lnTo>
                        <a:lnTo>
                          <a:pt x="645" y="235"/>
                        </a:lnTo>
                        <a:lnTo>
                          <a:pt x="646" y="235"/>
                        </a:lnTo>
                        <a:lnTo>
                          <a:pt x="646" y="233"/>
                        </a:lnTo>
                        <a:lnTo>
                          <a:pt x="648" y="233"/>
                        </a:lnTo>
                        <a:lnTo>
                          <a:pt x="648" y="235"/>
                        </a:lnTo>
                        <a:lnTo>
                          <a:pt x="649" y="235"/>
                        </a:lnTo>
                        <a:lnTo>
                          <a:pt x="651" y="235"/>
                        </a:lnTo>
                        <a:lnTo>
                          <a:pt x="652" y="236"/>
                        </a:lnTo>
                        <a:lnTo>
                          <a:pt x="654" y="236"/>
                        </a:lnTo>
                        <a:lnTo>
                          <a:pt x="656" y="236"/>
                        </a:lnTo>
                        <a:lnTo>
                          <a:pt x="656" y="238"/>
                        </a:lnTo>
                        <a:lnTo>
                          <a:pt x="657" y="238"/>
                        </a:lnTo>
                        <a:lnTo>
                          <a:pt x="659" y="238"/>
                        </a:lnTo>
                        <a:lnTo>
                          <a:pt x="660" y="239"/>
                        </a:lnTo>
                        <a:lnTo>
                          <a:pt x="662" y="239"/>
                        </a:lnTo>
                        <a:lnTo>
                          <a:pt x="664" y="239"/>
                        </a:lnTo>
                        <a:lnTo>
                          <a:pt x="664" y="241"/>
                        </a:lnTo>
                        <a:lnTo>
                          <a:pt x="665" y="239"/>
                        </a:lnTo>
                        <a:lnTo>
                          <a:pt x="667" y="238"/>
                        </a:lnTo>
                        <a:lnTo>
                          <a:pt x="668" y="238"/>
                        </a:lnTo>
                        <a:lnTo>
                          <a:pt x="670" y="239"/>
                        </a:lnTo>
                        <a:lnTo>
                          <a:pt x="671" y="239"/>
                        </a:lnTo>
                        <a:lnTo>
                          <a:pt x="673" y="239"/>
                        </a:lnTo>
                        <a:lnTo>
                          <a:pt x="673" y="241"/>
                        </a:lnTo>
                        <a:lnTo>
                          <a:pt x="675" y="243"/>
                        </a:lnTo>
                        <a:lnTo>
                          <a:pt x="676" y="244"/>
                        </a:lnTo>
                        <a:lnTo>
                          <a:pt x="678" y="246"/>
                        </a:lnTo>
                        <a:lnTo>
                          <a:pt x="679" y="247"/>
                        </a:lnTo>
                        <a:lnTo>
                          <a:pt x="681" y="247"/>
                        </a:lnTo>
                        <a:lnTo>
                          <a:pt x="683" y="247"/>
                        </a:lnTo>
                        <a:lnTo>
                          <a:pt x="684" y="247"/>
                        </a:lnTo>
                        <a:lnTo>
                          <a:pt x="686" y="247"/>
                        </a:lnTo>
                        <a:lnTo>
                          <a:pt x="687" y="247"/>
                        </a:lnTo>
                        <a:lnTo>
                          <a:pt x="689" y="247"/>
                        </a:lnTo>
                        <a:lnTo>
                          <a:pt x="689" y="246"/>
                        </a:lnTo>
                        <a:lnTo>
                          <a:pt x="690" y="246"/>
                        </a:lnTo>
                        <a:lnTo>
                          <a:pt x="692" y="246"/>
                        </a:lnTo>
                        <a:lnTo>
                          <a:pt x="694" y="246"/>
                        </a:lnTo>
                        <a:lnTo>
                          <a:pt x="694" y="247"/>
                        </a:lnTo>
                        <a:lnTo>
                          <a:pt x="695" y="247"/>
                        </a:lnTo>
                        <a:lnTo>
                          <a:pt x="694" y="249"/>
                        </a:lnTo>
                        <a:lnTo>
                          <a:pt x="694" y="251"/>
                        </a:lnTo>
                        <a:lnTo>
                          <a:pt x="692" y="252"/>
                        </a:lnTo>
                        <a:lnTo>
                          <a:pt x="692" y="254"/>
                        </a:lnTo>
                        <a:lnTo>
                          <a:pt x="690" y="254"/>
                        </a:lnTo>
                        <a:lnTo>
                          <a:pt x="690" y="255"/>
                        </a:lnTo>
                        <a:lnTo>
                          <a:pt x="689" y="255"/>
                        </a:lnTo>
                        <a:lnTo>
                          <a:pt x="689" y="257"/>
                        </a:lnTo>
                        <a:lnTo>
                          <a:pt x="687" y="258"/>
                        </a:lnTo>
                        <a:lnTo>
                          <a:pt x="686" y="258"/>
                        </a:lnTo>
                        <a:lnTo>
                          <a:pt x="686" y="260"/>
                        </a:lnTo>
                        <a:lnTo>
                          <a:pt x="684" y="260"/>
                        </a:lnTo>
                        <a:lnTo>
                          <a:pt x="683" y="262"/>
                        </a:lnTo>
                        <a:lnTo>
                          <a:pt x="683" y="263"/>
                        </a:lnTo>
                        <a:lnTo>
                          <a:pt x="681" y="265"/>
                        </a:lnTo>
                        <a:lnTo>
                          <a:pt x="679" y="265"/>
                        </a:lnTo>
                        <a:lnTo>
                          <a:pt x="679" y="266"/>
                        </a:lnTo>
                        <a:lnTo>
                          <a:pt x="679" y="268"/>
                        </a:lnTo>
                        <a:lnTo>
                          <a:pt x="678" y="268"/>
                        </a:lnTo>
                        <a:lnTo>
                          <a:pt x="678" y="270"/>
                        </a:lnTo>
                        <a:lnTo>
                          <a:pt x="676" y="271"/>
                        </a:lnTo>
                        <a:lnTo>
                          <a:pt x="676" y="273"/>
                        </a:lnTo>
                        <a:lnTo>
                          <a:pt x="676" y="274"/>
                        </a:lnTo>
                        <a:lnTo>
                          <a:pt x="676" y="276"/>
                        </a:lnTo>
                        <a:lnTo>
                          <a:pt x="676" y="277"/>
                        </a:lnTo>
                        <a:lnTo>
                          <a:pt x="676" y="279"/>
                        </a:lnTo>
                        <a:lnTo>
                          <a:pt x="676" y="281"/>
                        </a:lnTo>
                        <a:lnTo>
                          <a:pt x="676" y="282"/>
                        </a:lnTo>
                        <a:lnTo>
                          <a:pt x="675" y="284"/>
                        </a:lnTo>
                        <a:lnTo>
                          <a:pt x="673" y="285"/>
                        </a:lnTo>
                        <a:lnTo>
                          <a:pt x="671" y="285"/>
                        </a:lnTo>
                        <a:lnTo>
                          <a:pt x="671" y="287"/>
                        </a:lnTo>
                        <a:lnTo>
                          <a:pt x="670" y="289"/>
                        </a:lnTo>
                        <a:lnTo>
                          <a:pt x="670" y="290"/>
                        </a:lnTo>
                        <a:lnTo>
                          <a:pt x="668" y="292"/>
                        </a:lnTo>
                        <a:lnTo>
                          <a:pt x="667" y="292"/>
                        </a:lnTo>
                        <a:lnTo>
                          <a:pt x="665" y="292"/>
                        </a:lnTo>
                        <a:lnTo>
                          <a:pt x="664" y="292"/>
                        </a:lnTo>
                        <a:lnTo>
                          <a:pt x="662" y="292"/>
                        </a:lnTo>
                        <a:lnTo>
                          <a:pt x="660" y="292"/>
                        </a:lnTo>
                        <a:lnTo>
                          <a:pt x="660" y="293"/>
                        </a:lnTo>
                        <a:lnTo>
                          <a:pt x="660" y="295"/>
                        </a:lnTo>
                        <a:lnTo>
                          <a:pt x="662" y="296"/>
                        </a:lnTo>
                        <a:lnTo>
                          <a:pt x="662" y="298"/>
                        </a:lnTo>
                        <a:lnTo>
                          <a:pt x="664" y="298"/>
                        </a:lnTo>
                        <a:lnTo>
                          <a:pt x="664" y="300"/>
                        </a:lnTo>
                        <a:lnTo>
                          <a:pt x="665" y="301"/>
                        </a:lnTo>
                        <a:lnTo>
                          <a:pt x="665" y="303"/>
                        </a:lnTo>
                        <a:lnTo>
                          <a:pt x="667" y="303"/>
                        </a:lnTo>
                        <a:lnTo>
                          <a:pt x="667" y="304"/>
                        </a:lnTo>
                        <a:lnTo>
                          <a:pt x="668" y="306"/>
                        </a:lnTo>
                        <a:lnTo>
                          <a:pt x="670" y="306"/>
                        </a:lnTo>
                        <a:lnTo>
                          <a:pt x="671" y="308"/>
                        </a:lnTo>
                        <a:lnTo>
                          <a:pt x="673" y="308"/>
                        </a:lnTo>
                        <a:lnTo>
                          <a:pt x="673" y="309"/>
                        </a:lnTo>
                        <a:lnTo>
                          <a:pt x="675" y="309"/>
                        </a:lnTo>
                        <a:lnTo>
                          <a:pt x="676" y="311"/>
                        </a:lnTo>
                        <a:lnTo>
                          <a:pt x="676" y="312"/>
                        </a:lnTo>
                        <a:lnTo>
                          <a:pt x="678" y="312"/>
                        </a:lnTo>
                        <a:lnTo>
                          <a:pt x="679" y="314"/>
                        </a:lnTo>
                        <a:lnTo>
                          <a:pt x="681" y="314"/>
                        </a:lnTo>
                        <a:lnTo>
                          <a:pt x="681" y="315"/>
                        </a:lnTo>
                        <a:lnTo>
                          <a:pt x="683" y="315"/>
                        </a:lnTo>
                        <a:lnTo>
                          <a:pt x="684" y="317"/>
                        </a:lnTo>
                        <a:lnTo>
                          <a:pt x="684" y="319"/>
                        </a:lnTo>
                        <a:lnTo>
                          <a:pt x="683" y="320"/>
                        </a:lnTo>
                        <a:lnTo>
                          <a:pt x="683" y="322"/>
                        </a:lnTo>
                        <a:lnTo>
                          <a:pt x="683" y="323"/>
                        </a:lnTo>
                        <a:lnTo>
                          <a:pt x="684" y="323"/>
                        </a:lnTo>
                        <a:lnTo>
                          <a:pt x="686" y="325"/>
                        </a:lnTo>
                        <a:lnTo>
                          <a:pt x="687" y="325"/>
                        </a:lnTo>
                        <a:lnTo>
                          <a:pt x="689" y="325"/>
                        </a:lnTo>
                        <a:lnTo>
                          <a:pt x="690" y="327"/>
                        </a:lnTo>
                        <a:lnTo>
                          <a:pt x="692" y="327"/>
                        </a:lnTo>
                        <a:lnTo>
                          <a:pt x="694" y="327"/>
                        </a:lnTo>
                        <a:lnTo>
                          <a:pt x="695" y="328"/>
                        </a:lnTo>
                        <a:lnTo>
                          <a:pt x="698" y="328"/>
                        </a:lnTo>
                        <a:lnTo>
                          <a:pt x="700" y="328"/>
                        </a:lnTo>
                        <a:lnTo>
                          <a:pt x="702" y="328"/>
                        </a:lnTo>
                        <a:lnTo>
                          <a:pt x="703" y="328"/>
                        </a:lnTo>
                        <a:lnTo>
                          <a:pt x="705" y="328"/>
                        </a:lnTo>
                        <a:lnTo>
                          <a:pt x="706" y="328"/>
                        </a:lnTo>
                        <a:lnTo>
                          <a:pt x="708" y="328"/>
                        </a:lnTo>
                        <a:lnTo>
                          <a:pt x="710" y="328"/>
                        </a:lnTo>
                        <a:lnTo>
                          <a:pt x="711" y="328"/>
                        </a:lnTo>
                        <a:lnTo>
                          <a:pt x="713" y="328"/>
                        </a:lnTo>
                        <a:lnTo>
                          <a:pt x="714" y="328"/>
                        </a:lnTo>
                        <a:lnTo>
                          <a:pt x="716" y="328"/>
                        </a:lnTo>
                        <a:lnTo>
                          <a:pt x="717" y="327"/>
                        </a:lnTo>
                        <a:lnTo>
                          <a:pt x="717" y="328"/>
                        </a:lnTo>
                        <a:lnTo>
                          <a:pt x="719" y="330"/>
                        </a:lnTo>
                        <a:lnTo>
                          <a:pt x="721" y="330"/>
                        </a:lnTo>
                        <a:lnTo>
                          <a:pt x="721" y="331"/>
                        </a:lnTo>
                        <a:lnTo>
                          <a:pt x="722" y="330"/>
                        </a:lnTo>
                        <a:lnTo>
                          <a:pt x="724" y="331"/>
                        </a:lnTo>
                        <a:lnTo>
                          <a:pt x="725" y="331"/>
                        </a:lnTo>
                        <a:lnTo>
                          <a:pt x="727" y="331"/>
                        </a:lnTo>
                        <a:lnTo>
                          <a:pt x="729" y="330"/>
                        </a:lnTo>
                        <a:lnTo>
                          <a:pt x="730" y="330"/>
                        </a:lnTo>
                        <a:lnTo>
                          <a:pt x="732" y="330"/>
                        </a:lnTo>
                        <a:lnTo>
                          <a:pt x="733" y="330"/>
                        </a:lnTo>
                        <a:lnTo>
                          <a:pt x="735" y="330"/>
                        </a:lnTo>
                        <a:lnTo>
                          <a:pt x="736" y="330"/>
                        </a:lnTo>
                        <a:lnTo>
                          <a:pt x="738" y="330"/>
                        </a:lnTo>
                        <a:lnTo>
                          <a:pt x="736" y="331"/>
                        </a:lnTo>
                        <a:lnTo>
                          <a:pt x="736" y="333"/>
                        </a:lnTo>
                        <a:lnTo>
                          <a:pt x="736" y="334"/>
                        </a:lnTo>
                        <a:lnTo>
                          <a:pt x="736" y="336"/>
                        </a:lnTo>
                        <a:lnTo>
                          <a:pt x="736" y="338"/>
                        </a:lnTo>
                        <a:lnTo>
                          <a:pt x="736" y="339"/>
                        </a:lnTo>
                        <a:lnTo>
                          <a:pt x="736" y="341"/>
                        </a:lnTo>
                        <a:lnTo>
                          <a:pt x="735" y="341"/>
                        </a:lnTo>
                        <a:lnTo>
                          <a:pt x="735" y="342"/>
                        </a:lnTo>
                        <a:lnTo>
                          <a:pt x="735" y="344"/>
                        </a:lnTo>
                        <a:lnTo>
                          <a:pt x="733" y="344"/>
                        </a:lnTo>
                        <a:lnTo>
                          <a:pt x="733" y="346"/>
                        </a:lnTo>
                        <a:lnTo>
                          <a:pt x="733" y="347"/>
                        </a:lnTo>
                        <a:lnTo>
                          <a:pt x="733" y="349"/>
                        </a:lnTo>
                        <a:lnTo>
                          <a:pt x="735" y="349"/>
                        </a:lnTo>
                        <a:lnTo>
                          <a:pt x="735" y="350"/>
                        </a:lnTo>
                        <a:lnTo>
                          <a:pt x="735" y="352"/>
                        </a:lnTo>
                        <a:lnTo>
                          <a:pt x="736" y="352"/>
                        </a:lnTo>
                        <a:lnTo>
                          <a:pt x="736" y="354"/>
                        </a:lnTo>
                        <a:lnTo>
                          <a:pt x="736" y="355"/>
                        </a:lnTo>
                        <a:lnTo>
                          <a:pt x="735" y="355"/>
                        </a:lnTo>
                        <a:lnTo>
                          <a:pt x="735" y="357"/>
                        </a:lnTo>
                        <a:lnTo>
                          <a:pt x="733" y="357"/>
                        </a:lnTo>
                        <a:lnTo>
                          <a:pt x="732" y="357"/>
                        </a:lnTo>
                        <a:lnTo>
                          <a:pt x="732" y="358"/>
                        </a:lnTo>
                        <a:lnTo>
                          <a:pt x="730" y="358"/>
                        </a:lnTo>
                        <a:lnTo>
                          <a:pt x="730" y="360"/>
                        </a:lnTo>
                        <a:lnTo>
                          <a:pt x="730" y="361"/>
                        </a:lnTo>
                        <a:lnTo>
                          <a:pt x="730" y="363"/>
                        </a:lnTo>
                        <a:lnTo>
                          <a:pt x="732" y="365"/>
                        </a:lnTo>
                        <a:lnTo>
                          <a:pt x="733" y="366"/>
                        </a:lnTo>
                        <a:lnTo>
                          <a:pt x="733" y="368"/>
                        </a:lnTo>
                        <a:lnTo>
                          <a:pt x="735" y="368"/>
                        </a:lnTo>
                        <a:lnTo>
                          <a:pt x="736" y="369"/>
                        </a:lnTo>
                        <a:lnTo>
                          <a:pt x="738" y="369"/>
                        </a:lnTo>
                        <a:lnTo>
                          <a:pt x="740" y="371"/>
                        </a:lnTo>
                        <a:lnTo>
                          <a:pt x="741" y="373"/>
                        </a:lnTo>
                        <a:lnTo>
                          <a:pt x="741" y="374"/>
                        </a:lnTo>
                        <a:lnTo>
                          <a:pt x="743" y="376"/>
                        </a:lnTo>
                        <a:lnTo>
                          <a:pt x="744" y="376"/>
                        </a:lnTo>
                        <a:lnTo>
                          <a:pt x="746" y="377"/>
                        </a:lnTo>
                        <a:lnTo>
                          <a:pt x="748" y="377"/>
                        </a:lnTo>
                        <a:lnTo>
                          <a:pt x="749" y="377"/>
                        </a:lnTo>
                        <a:lnTo>
                          <a:pt x="751" y="377"/>
                        </a:lnTo>
                        <a:lnTo>
                          <a:pt x="752" y="377"/>
                        </a:lnTo>
                        <a:lnTo>
                          <a:pt x="754" y="377"/>
                        </a:lnTo>
                        <a:lnTo>
                          <a:pt x="755" y="377"/>
                        </a:lnTo>
                        <a:lnTo>
                          <a:pt x="757" y="377"/>
                        </a:lnTo>
                        <a:lnTo>
                          <a:pt x="759" y="377"/>
                        </a:lnTo>
                        <a:lnTo>
                          <a:pt x="760" y="377"/>
                        </a:lnTo>
                        <a:lnTo>
                          <a:pt x="760" y="379"/>
                        </a:lnTo>
                        <a:lnTo>
                          <a:pt x="762" y="379"/>
                        </a:lnTo>
                        <a:lnTo>
                          <a:pt x="762" y="377"/>
                        </a:lnTo>
                        <a:lnTo>
                          <a:pt x="763" y="377"/>
                        </a:lnTo>
                        <a:lnTo>
                          <a:pt x="765" y="377"/>
                        </a:lnTo>
                        <a:lnTo>
                          <a:pt x="765" y="376"/>
                        </a:lnTo>
                        <a:lnTo>
                          <a:pt x="767" y="376"/>
                        </a:lnTo>
                        <a:lnTo>
                          <a:pt x="768" y="374"/>
                        </a:lnTo>
                        <a:lnTo>
                          <a:pt x="770" y="374"/>
                        </a:lnTo>
                        <a:lnTo>
                          <a:pt x="770" y="373"/>
                        </a:lnTo>
                        <a:lnTo>
                          <a:pt x="771" y="371"/>
                        </a:lnTo>
                        <a:lnTo>
                          <a:pt x="773" y="371"/>
                        </a:lnTo>
                        <a:lnTo>
                          <a:pt x="774" y="369"/>
                        </a:lnTo>
                        <a:lnTo>
                          <a:pt x="776" y="369"/>
                        </a:lnTo>
                        <a:lnTo>
                          <a:pt x="776" y="368"/>
                        </a:lnTo>
                        <a:lnTo>
                          <a:pt x="778" y="368"/>
                        </a:lnTo>
                        <a:lnTo>
                          <a:pt x="778" y="366"/>
                        </a:lnTo>
                        <a:lnTo>
                          <a:pt x="779" y="366"/>
                        </a:lnTo>
                        <a:lnTo>
                          <a:pt x="781" y="365"/>
                        </a:lnTo>
                        <a:lnTo>
                          <a:pt x="782" y="365"/>
                        </a:lnTo>
                        <a:lnTo>
                          <a:pt x="782" y="366"/>
                        </a:lnTo>
                        <a:lnTo>
                          <a:pt x="784" y="366"/>
                        </a:lnTo>
                        <a:lnTo>
                          <a:pt x="786" y="366"/>
                        </a:lnTo>
                        <a:lnTo>
                          <a:pt x="787" y="368"/>
                        </a:lnTo>
                        <a:lnTo>
                          <a:pt x="787" y="369"/>
                        </a:lnTo>
                        <a:lnTo>
                          <a:pt x="789" y="369"/>
                        </a:lnTo>
                        <a:lnTo>
                          <a:pt x="790" y="368"/>
                        </a:lnTo>
                        <a:lnTo>
                          <a:pt x="792" y="369"/>
                        </a:lnTo>
                        <a:lnTo>
                          <a:pt x="793" y="369"/>
                        </a:lnTo>
                        <a:lnTo>
                          <a:pt x="795" y="369"/>
                        </a:lnTo>
                        <a:lnTo>
                          <a:pt x="797" y="369"/>
                        </a:lnTo>
                        <a:lnTo>
                          <a:pt x="798" y="369"/>
                        </a:lnTo>
                        <a:lnTo>
                          <a:pt x="800" y="369"/>
                        </a:lnTo>
                        <a:lnTo>
                          <a:pt x="801" y="369"/>
                        </a:lnTo>
                        <a:lnTo>
                          <a:pt x="801" y="368"/>
                        </a:lnTo>
                        <a:lnTo>
                          <a:pt x="803" y="368"/>
                        </a:lnTo>
                        <a:lnTo>
                          <a:pt x="803" y="366"/>
                        </a:lnTo>
                        <a:lnTo>
                          <a:pt x="805" y="366"/>
                        </a:lnTo>
                        <a:lnTo>
                          <a:pt x="805" y="365"/>
                        </a:lnTo>
                        <a:lnTo>
                          <a:pt x="806" y="365"/>
                        </a:lnTo>
                        <a:lnTo>
                          <a:pt x="806" y="363"/>
                        </a:lnTo>
                        <a:lnTo>
                          <a:pt x="808" y="363"/>
                        </a:lnTo>
                        <a:lnTo>
                          <a:pt x="809" y="363"/>
                        </a:lnTo>
                        <a:lnTo>
                          <a:pt x="811" y="361"/>
                        </a:lnTo>
                        <a:lnTo>
                          <a:pt x="812" y="361"/>
                        </a:lnTo>
                        <a:lnTo>
                          <a:pt x="814" y="361"/>
                        </a:lnTo>
                        <a:lnTo>
                          <a:pt x="814" y="360"/>
                        </a:lnTo>
                        <a:lnTo>
                          <a:pt x="816" y="360"/>
                        </a:lnTo>
                        <a:lnTo>
                          <a:pt x="816" y="358"/>
                        </a:lnTo>
                        <a:lnTo>
                          <a:pt x="817" y="358"/>
                        </a:lnTo>
                        <a:lnTo>
                          <a:pt x="819" y="358"/>
                        </a:lnTo>
                        <a:lnTo>
                          <a:pt x="820" y="357"/>
                        </a:lnTo>
                        <a:lnTo>
                          <a:pt x="822" y="358"/>
                        </a:lnTo>
                        <a:lnTo>
                          <a:pt x="822" y="357"/>
                        </a:lnTo>
                        <a:lnTo>
                          <a:pt x="824" y="357"/>
                        </a:lnTo>
                        <a:lnTo>
                          <a:pt x="825" y="357"/>
                        </a:lnTo>
                        <a:lnTo>
                          <a:pt x="827" y="357"/>
                        </a:lnTo>
                        <a:lnTo>
                          <a:pt x="827" y="355"/>
                        </a:lnTo>
                        <a:lnTo>
                          <a:pt x="828" y="355"/>
                        </a:lnTo>
                        <a:lnTo>
                          <a:pt x="830" y="355"/>
                        </a:lnTo>
                        <a:lnTo>
                          <a:pt x="830" y="354"/>
                        </a:lnTo>
                        <a:lnTo>
                          <a:pt x="831" y="354"/>
                        </a:lnTo>
                        <a:lnTo>
                          <a:pt x="833" y="354"/>
                        </a:lnTo>
                        <a:lnTo>
                          <a:pt x="835" y="352"/>
                        </a:lnTo>
                        <a:lnTo>
                          <a:pt x="836" y="352"/>
                        </a:lnTo>
                        <a:lnTo>
                          <a:pt x="838" y="352"/>
                        </a:lnTo>
                        <a:lnTo>
                          <a:pt x="839" y="352"/>
                        </a:lnTo>
                        <a:lnTo>
                          <a:pt x="839" y="354"/>
                        </a:lnTo>
                        <a:lnTo>
                          <a:pt x="841" y="354"/>
                        </a:lnTo>
                        <a:lnTo>
                          <a:pt x="841" y="352"/>
                        </a:lnTo>
                        <a:lnTo>
                          <a:pt x="843" y="352"/>
                        </a:lnTo>
                        <a:lnTo>
                          <a:pt x="843" y="350"/>
                        </a:lnTo>
                        <a:lnTo>
                          <a:pt x="844" y="350"/>
                        </a:lnTo>
                        <a:lnTo>
                          <a:pt x="844" y="349"/>
                        </a:lnTo>
                        <a:lnTo>
                          <a:pt x="846" y="349"/>
                        </a:lnTo>
                        <a:lnTo>
                          <a:pt x="847" y="347"/>
                        </a:lnTo>
                        <a:lnTo>
                          <a:pt x="849" y="347"/>
                        </a:lnTo>
                        <a:lnTo>
                          <a:pt x="850" y="347"/>
                        </a:lnTo>
                        <a:lnTo>
                          <a:pt x="852" y="347"/>
                        </a:lnTo>
                        <a:lnTo>
                          <a:pt x="854" y="347"/>
                        </a:lnTo>
                        <a:lnTo>
                          <a:pt x="854" y="346"/>
                        </a:lnTo>
                        <a:lnTo>
                          <a:pt x="852" y="346"/>
                        </a:lnTo>
                        <a:lnTo>
                          <a:pt x="854" y="344"/>
                        </a:lnTo>
                        <a:lnTo>
                          <a:pt x="855" y="344"/>
                        </a:lnTo>
                        <a:lnTo>
                          <a:pt x="857" y="344"/>
                        </a:lnTo>
                        <a:lnTo>
                          <a:pt x="858" y="344"/>
                        </a:lnTo>
                        <a:lnTo>
                          <a:pt x="860" y="342"/>
                        </a:lnTo>
                        <a:lnTo>
                          <a:pt x="858" y="341"/>
                        </a:lnTo>
                        <a:lnTo>
                          <a:pt x="860" y="341"/>
                        </a:lnTo>
                        <a:lnTo>
                          <a:pt x="860" y="339"/>
                        </a:lnTo>
                        <a:lnTo>
                          <a:pt x="862" y="339"/>
                        </a:lnTo>
                        <a:lnTo>
                          <a:pt x="863" y="339"/>
                        </a:lnTo>
                        <a:lnTo>
                          <a:pt x="863" y="338"/>
                        </a:lnTo>
                        <a:lnTo>
                          <a:pt x="863" y="336"/>
                        </a:lnTo>
                        <a:lnTo>
                          <a:pt x="863" y="334"/>
                        </a:lnTo>
                        <a:lnTo>
                          <a:pt x="865" y="333"/>
                        </a:lnTo>
                        <a:lnTo>
                          <a:pt x="866" y="333"/>
                        </a:lnTo>
                        <a:lnTo>
                          <a:pt x="866" y="331"/>
                        </a:lnTo>
                        <a:lnTo>
                          <a:pt x="868" y="330"/>
                        </a:lnTo>
                        <a:lnTo>
                          <a:pt x="866" y="328"/>
                        </a:lnTo>
                        <a:lnTo>
                          <a:pt x="868" y="328"/>
                        </a:lnTo>
                        <a:lnTo>
                          <a:pt x="869" y="328"/>
                        </a:lnTo>
                        <a:lnTo>
                          <a:pt x="869" y="330"/>
                        </a:lnTo>
                        <a:lnTo>
                          <a:pt x="871" y="328"/>
                        </a:lnTo>
                        <a:lnTo>
                          <a:pt x="873" y="328"/>
                        </a:lnTo>
                        <a:lnTo>
                          <a:pt x="874" y="328"/>
                        </a:lnTo>
                        <a:lnTo>
                          <a:pt x="876" y="328"/>
                        </a:lnTo>
                        <a:lnTo>
                          <a:pt x="876" y="327"/>
                        </a:lnTo>
                        <a:lnTo>
                          <a:pt x="876" y="325"/>
                        </a:lnTo>
                        <a:lnTo>
                          <a:pt x="876" y="323"/>
                        </a:lnTo>
                        <a:lnTo>
                          <a:pt x="874" y="322"/>
                        </a:lnTo>
                        <a:lnTo>
                          <a:pt x="874" y="320"/>
                        </a:lnTo>
                        <a:lnTo>
                          <a:pt x="873" y="320"/>
                        </a:lnTo>
                        <a:lnTo>
                          <a:pt x="874" y="319"/>
                        </a:lnTo>
                        <a:lnTo>
                          <a:pt x="876" y="319"/>
                        </a:lnTo>
                        <a:lnTo>
                          <a:pt x="877" y="319"/>
                        </a:lnTo>
                        <a:lnTo>
                          <a:pt x="879" y="317"/>
                        </a:lnTo>
                        <a:lnTo>
                          <a:pt x="881" y="319"/>
                        </a:lnTo>
                        <a:lnTo>
                          <a:pt x="882" y="319"/>
                        </a:lnTo>
                        <a:lnTo>
                          <a:pt x="884" y="319"/>
                        </a:lnTo>
                        <a:lnTo>
                          <a:pt x="884" y="317"/>
                        </a:lnTo>
                        <a:lnTo>
                          <a:pt x="885" y="317"/>
                        </a:lnTo>
                        <a:lnTo>
                          <a:pt x="885" y="315"/>
                        </a:lnTo>
                        <a:lnTo>
                          <a:pt x="887" y="315"/>
                        </a:lnTo>
                        <a:lnTo>
                          <a:pt x="887" y="314"/>
                        </a:lnTo>
                        <a:lnTo>
                          <a:pt x="888" y="315"/>
                        </a:lnTo>
                        <a:lnTo>
                          <a:pt x="890" y="317"/>
                        </a:lnTo>
                        <a:lnTo>
                          <a:pt x="890" y="319"/>
                        </a:lnTo>
                        <a:lnTo>
                          <a:pt x="892" y="320"/>
                        </a:lnTo>
                        <a:lnTo>
                          <a:pt x="893" y="322"/>
                        </a:lnTo>
                        <a:lnTo>
                          <a:pt x="893" y="320"/>
                        </a:lnTo>
                        <a:lnTo>
                          <a:pt x="895" y="320"/>
                        </a:lnTo>
                        <a:lnTo>
                          <a:pt x="895" y="319"/>
                        </a:lnTo>
                        <a:lnTo>
                          <a:pt x="896" y="319"/>
                        </a:lnTo>
                        <a:lnTo>
                          <a:pt x="896" y="317"/>
                        </a:lnTo>
                        <a:lnTo>
                          <a:pt x="898" y="319"/>
                        </a:lnTo>
                        <a:lnTo>
                          <a:pt x="900" y="319"/>
                        </a:lnTo>
                        <a:lnTo>
                          <a:pt x="901" y="319"/>
                        </a:lnTo>
                        <a:lnTo>
                          <a:pt x="901" y="320"/>
                        </a:lnTo>
                        <a:lnTo>
                          <a:pt x="901" y="322"/>
                        </a:lnTo>
                        <a:lnTo>
                          <a:pt x="903" y="322"/>
                        </a:lnTo>
                        <a:lnTo>
                          <a:pt x="903" y="323"/>
                        </a:lnTo>
                        <a:lnTo>
                          <a:pt x="904" y="325"/>
                        </a:lnTo>
                        <a:lnTo>
                          <a:pt x="906" y="325"/>
                        </a:lnTo>
                        <a:lnTo>
                          <a:pt x="908" y="323"/>
                        </a:lnTo>
                        <a:lnTo>
                          <a:pt x="908" y="325"/>
                        </a:lnTo>
                        <a:lnTo>
                          <a:pt x="909" y="323"/>
                        </a:lnTo>
                        <a:lnTo>
                          <a:pt x="911" y="323"/>
                        </a:lnTo>
                        <a:lnTo>
                          <a:pt x="912" y="325"/>
                        </a:lnTo>
                        <a:lnTo>
                          <a:pt x="911" y="325"/>
                        </a:lnTo>
                        <a:lnTo>
                          <a:pt x="911" y="327"/>
                        </a:lnTo>
                        <a:lnTo>
                          <a:pt x="909" y="328"/>
                        </a:lnTo>
                        <a:lnTo>
                          <a:pt x="908" y="328"/>
                        </a:lnTo>
                        <a:lnTo>
                          <a:pt x="908" y="330"/>
                        </a:lnTo>
                        <a:lnTo>
                          <a:pt x="906" y="330"/>
                        </a:lnTo>
                        <a:lnTo>
                          <a:pt x="906" y="331"/>
                        </a:lnTo>
                        <a:lnTo>
                          <a:pt x="906" y="333"/>
                        </a:lnTo>
                        <a:lnTo>
                          <a:pt x="908" y="333"/>
                        </a:lnTo>
                        <a:lnTo>
                          <a:pt x="908" y="334"/>
                        </a:lnTo>
                        <a:lnTo>
                          <a:pt x="908" y="336"/>
                        </a:lnTo>
                        <a:lnTo>
                          <a:pt x="908" y="338"/>
                        </a:lnTo>
                        <a:lnTo>
                          <a:pt x="909" y="338"/>
                        </a:lnTo>
                        <a:lnTo>
                          <a:pt x="909" y="339"/>
                        </a:lnTo>
                        <a:lnTo>
                          <a:pt x="911" y="339"/>
                        </a:lnTo>
                        <a:lnTo>
                          <a:pt x="912" y="338"/>
                        </a:lnTo>
                        <a:lnTo>
                          <a:pt x="914" y="339"/>
                        </a:lnTo>
                        <a:lnTo>
                          <a:pt x="915" y="339"/>
                        </a:lnTo>
                        <a:lnTo>
                          <a:pt x="917" y="338"/>
                        </a:lnTo>
                        <a:lnTo>
                          <a:pt x="919" y="339"/>
                        </a:lnTo>
                        <a:lnTo>
                          <a:pt x="923" y="341"/>
                        </a:lnTo>
                        <a:lnTo>
                          <a:pt x="923" y="344"/>
                        </a:lnTo>
                        <a:lnTo>
                          <a:pt x="925" y="346"/>
                        </a:lnTo>
                        <a:lnTo>
                          <a:pt x="927" y="346"/>
                        </a:lnTo>
                        <a:lnTo>
                          <a:pt x="927" y="347"/>
                        </a:lnTo>
                        <a:lnTo>
                          <a:pt x="928" y="349"/>
                        </a:lnTo>
                        <a:lnTo>
                          <a:pt x="928" y="347"/>
                        </a:lnTo>
                        <a:lnTo>
                          <a:pt x="928" y="346"/>
                        </a:lnTo>
                        <a:lnTo>
                          <a:pt x="928" y="344"/>
                        </a:lnTo>
                        <a:lnTo>
                          <a:pt x="930" y="344"/>
                        </a:lnTo>
                        <a:lnTo>
                          <a:pt x="931" y="344"/>
                        </a:lnTo>
                        <a:lnTo>
                          <a:pt x="931" y="342"/>
                        </a:lnTo>
                        <a:lnTo>
                          <a:pt x="933" y="342"/>
                        </a:lnTo>
                        <a:lnTo>
                          <a:pt x="933" y="341"/>
                        </a:lnTo>
                        <a:lnTo>
                          <a:pt x="933" y="339"/>
                        </a:lnTo>
                        <a:lnTo>
                          <a:pt x="934" y="339"/>
                        </a:lnTo>
                        <a:lnTo>
                          <a:pt x="936" y="339"/>
                        </a:lnTo>
                        <a:lnTo>
                          <a:pt x="938" y="339"/>
                        </a:lnTo>
                        <a:lnTo>
                          <a:pt x="939" y="338"/>
                        </a:lnTo>
                        <a:lnTo>
                          <a:pt x="941" y="336"/>
                        </a:lnTo>
                        <a:lnTo>
                          <a:pt x="942" y="334"/>
                        </a:lnTo>
                        <a:lnTo>
                          <a:pt x="946" y="334"/>
                        </a:lnTo>
                        <a:lnTo>
                          <a:pt x="947" y="334"/>
                        </a:lnTo>
                        <a:lnTo>
                          <a:pt x="949" y="336"/>
                        </a:lnTo>
                        <a:lnTo>
                          <a:pt x="950" y="336"/>
                        </a:lnTo>
                        <a:lnTo>
                          <a:pt x="952" y="336"/>
                        </a:lnTo>
                        <a:lnTo>
                          <a:pt x="953" y="338"/>
                        </a:lnTo>
                        <a:lnTo>
                          <a:pt x="955" y="339"/>
                        </a:lnTo>
                        <a:lnTo>
                          <a:pt x="957" y="339"/>
                        </a:lnTo>
                        <a:lnTo>
                          <a:pt x="957" y="338"/>
                        </a:lnTo>
                        <a:lnTo>
                          <a:pt x="955" y="338"/>
                        </a:lnTo>
                        <a:lnTo>
                          <a:pt x="955" y="336"/>
                        </a:lnTo>
                        <a:lnTo>
                          <a:pt x="955" y="334"/>
                        </a:lnTo>
                        <a:lnTo>
                          <a:pt x="953" y="333"/>
                        </a:lnTo>
                        <a:lnTo>
                          <a:pt x="953" y="331"/>
                        </a:lnTo>
                        <a:lnTo>
                          <a:pt x="955" y="331"/>
                        </a:lnTo>
                        <a:lnTo>
                          <a:pt x="957" y="331"/>
                        </a:lnTo>
                        <a:lnTo>
                          <a:pt x="960" y="331"/>
                        </a:lnTo>
                        <a:lnTo>
                          <a:pt x="960" y="333"/>
                        </a:lnTo>
                        <a:lnTo>
                          <a:pt x="961" y="334"/>
                        </a:lnTo>
                        <a:lnTo>
                          <a:pt x="963" y="336"/>
                        </a:lnTo>
                        <a:lnTo>
                          <a:pt x="965" y="336"/>
                        </a:lnTo>
                        <a:lnTo>
                          <a:pt x="966" y="338"/>
                        </a:lnTo>
                        <a:lnTo>
                          <a:pt x="968" y="338"/>
                        </a:lnTo>
                        <a:lnTo>
                          <a:pt x="968" y="341"/>
                        </a:lnTo>
                        <a:lnTo>
                          <a:pt x="969" y="342"/>
                        </a:lnTo>
                        <a:lnTo>
                          <a:pt x="969" y="344"/>
                        </a:lnTo>
                        <a:lnTo>
                          <a:pt x="971" y="346"/>
                        </a:lnTo>
                        <a:lnTo>
                          <a:pt x="972" y="346"/>
                        </a:lnTo>
                        <a:lnTo>
                          <a:pt x="972" y="347"/>
                        </a:lnTo>
                        <a:lnTo>
                          <a:pt x="974" y="347"/>
                        </a:lnTo>
                        <a:lnTo>
                          <a:pt x="976" y="347"/>
                        </a:lnTo>
                        <a:lnTo>
                          <a:pt x="977" y="349"/>
                        </a:lnTo>
                        <a:lnTo>
                          <a:pt x="979" y="349"/>
                        </a:lnTo>
                        <a:lnTo>
                          <a:pt x="979" y="350"/>
                        </a:lnTo>
                        <a:lnTo>
                          <a:pt x="980" y="352"/>
                        </a:lnTo>
                        <a:lnTo>
                          <a:pt x="982" y="350"/>
                        </a:lnTo>
                        <a:lnTo>
                          <a:pt x="984" y="350"/>
                        </a:lnTo>
                        <a:lnTo>
                          <a:pt x="985" y="350"/>
                        </a:lnTo>
                        <a:lnTo>
                          <a:pt x="987" y="352"/>
                        </a:lnTo>
                        <a:lnTo>
                          <a:pt x="988" y="350"/>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63" name="Freeform 62"/>
                  <p:cNvSpPr>
                    <a:spLocks/>
                  </p:cNvSpPr>
                  <p:nvPr/>
                </p:nvSpPr>
                <p:spPr bwMode="auto">
                  <a:xfrm>
                    <a:off x="2437" y="2813"/>
                    <a:ext cx="855" cy="541"/>
                  </a:xfrm>
                  <a:custGeom>
                    <a:avLst/>
                    <a:gdLst>
                      <a:gd name="T0" fmla="*/ 828 w 855"/>
                      <a:gd name="T1" fmla="*/ 3 h 541"/>
                      <a:gd name="T2" fmla="*/ 849 w 855"/>
                      <a:gd name="T3" fmla="*/ 8 h 541"/>
                      <a:gd name="T4" fmla="*/ 839 w 855"/>
                      <a:gd name="T5" fmla="*/ 42 h 541"/>
                      <a:gd name="T6" fmla="*/ 854 w 855"/>
                      <a:gd name="T7" fmla="*/ 63 h 541"/>
                      <a:gd name="T8" fmla="*/ 852 w 855"/>
                      <a:gd name="T9" fmla="*/ 103 h 541"/>
                      <a:gd name="T10" fmla="*/ 849 w 855"/>
                      <a:gd name="T11" fmla="*/ 147 h 541"/>
                      <a:gd name="T12" fmla="*/ 822 w 855"/>
                      <a:gd name="T13" fmla="*/ 152 h 541"/>
                      <a:gd name="T14" fmla="*/ 784 w 855"/>
                      <a:gd name="T15" fmla="*/ 134 h 541"/>
                      <a:gd name="T16" fmla="*/ 744 w 855"/>
                      <a:gd name="T17" fmla="*/ 115 h 541"/>
                      <a:gd name="T18" fmla="*/ 719 w 855"/>
                      <a:gd name="T19" fmla="*/ 122 h 541"/>
                      <a:gd name="T20" fmla="*/ 695 w 855"/>
                      <a:gd name="T21" fmla="*/ 126 h 541"/>
                      <a:gd name="T22" fmla="*/ 676 w 855"/>
                      <a:gd name="T23" fmla="*/ 126 h 541"/>
                      <a:gd name="T24" fmla="*/ 662 w 855"/>
                      <a:gd name="T25" fmla="*/ 111 h 541"/>
                      <a:gd name="T26" fmla="*/ 637 w 855"/>
                      <a:gd name="T27" fmla="*/ 117 h 541"/>
                      <a:gd name="T28" fmla="*/ 613 w 855"/>
                      <a:gd name="T29" fmla="*/ 126 h 541"/>
                      <a:gd name="T30" fmla="*/ 600 w 855"/>
                      <a:gd name="T31" fmla="*/ 149 h 541"/>
                      <a:gd name="T32" fmla="*/ 584 w 855"/>
                      <a:gd name="T33" fmla="*/ 168 h 541"/>
                      <a:gd name="T34" fmla="*/ 573 w 855"/>
                      <a:gd name="T35" fmla="*/ 193 h 541"/>
                      <a:gd name="T36" fmla="*/ 568 w 855"/>
                      <a:gd name="T37" fmla="*/ 212 h 541"/>
                      <a:gd name="T38" fmla="*/ 551 w 855"/>
                      <a:gd name="T39" fmla="*/ 214 h 541"/>
                      <a:gd name="T40" fmla="*/ 537 w 855"/>
                      <a:gd name="T41" fmla="*/ 201 h 541"/>
                      <a:gd name="T42" fmla="*/ 521 w 855"/>
                      <a:gd name="T43" fmla="*/ 218 h 541"/>
                      <a:gd name="T44" fmla="*/ 499 w 855"/>
                      <a:gd name="T45" fmla="*/ 228 h 541"/>
                      <a:gd name="T46" fmla="*/ 478 w 855"/>
                      <a:gd name="T47" fmla="*/ 236 h 541"/>
                      <a:gd name="T48" fmla="*/ 458 w 855"/>
                      <a:gd name="T49" fmla="*/ 242 h 541"/>
                      <a:gd name="T50" fmla="*/ 445 w 855"/>
                      <a:gd name="T51" fmla="*/ 252 h 541"/>
                      <a:gd name="T52" fmla="*/ 431 w 855"/>
                      <a:gd name="T53" fmla="*/ 271 h 541"/>
                      <a:gd name="T54" fmla="*/ 415 w 855"/>
                      <a:gd name="T55" fmla="*/ 286 h 541"/>
                      <a:gd name="T56" fmla="*/ 407 w 855"/>
                      <a:gd name="T57" fmla="*/ 288 h 541"/>
                      <a:gd name="T58" fmla="*/ 396 w 855"/>
                      <a:gd name="T59" fmla="*/ 293 h 541"/>
                      <a:gd name="T60" fmla="*/ 389 w 855"/>
                      <a:gd name="T61" fmla="*/ 302 h 541"/>
                      <a:gd name="T62" fmla="*/ 383 w 855"/>
                      <a:gd name="T63" fmla="*/ 316 h 541"/>
                      <a:gd name="T64" fmla="*/ 391 w 855"/>
                      <a:gd name="T65" fmla="*/ 326 h 541"/>
                      <a:gd name="T66" fmla="*/ 377 w 855"/>
                      <a:gd name="T67" fmla="*/ 342 h 541"/>
                      <a:gd name="T68" fmla="*/ 372 w 855"/>
                      <a:gd name="T69" fmla="*/ 364 h 541"/>
                      <a:gd name="T70" fmla="*/ 351 w 855"/>
                      <a:gd name="T71" fmla="*/ 370 h 541"/>
                      <a:gd name="T72" fmla="*/ 347 w 855"/>
                      <a:gd name="T73" fmla="*/ 393 h 541"/>
                      <a:gd name="T74" fmla="*/ 348 w 855"/>
                      <a:gd name="T75" fmla="*/ 408 h 541"/>
                      <a:gd name="T76" fmla="*/ 331 w 855"/>
                      <a:gd name="T77" fmla="*/ 404 h 541"/>
                      <a:gd name="T78" fmla="*/ 312 w 855"/>
                      <a:gd name="T79" fmla="*/ 408 h 541"/>
                      <a:gd name="T80" fmla="*/ 299 w 855"/>
                      <a:gd name="T81" fmla="*/ 419 h 541"/>
                      <a:gd name="T82" fmla="*/ 309 w 855"/>
                      <a:gd name="T83" fmla="*/ 438 h 541"/>
                      <a:gd name="T84" fmla="*/ 288 w 855"/>
                      <a:gd name="T85" fmla="*/ 431 h 541"/>
                      <a:gd name="T86" fmla="*/ 263 w 855"/>
                      <a:gd name="T87" fmla="*/ 435 h 541"/>
                      <a:gd name="T88" fmla="*/ 248 w 855"/>
                      <a:gd name="T89" fmla="*/ 465 h 541"/>
                      <a:gd name="T90" fmla="*/ 231 w 855"/>
                      <a:gd name="T91" fmla="*/ 488 h 541"/>
                      <a:gd name="T92" fmla="*/ 234 w 855"/>
                      <a:gd name="T93" fmla="*/ 505 h 541"/>
                      <a:gd name="T94" fmla="*/ 228 w 855"/>
                      <a:gd name="T95" fmla="*/ 518 h 541"/>
                      <a:gd name="T96" fmla="*/ 206 w 855"/>
                      <a:gd name="T97" fmla="*/ 524 h 541"/>
                      <a:gd name="T98" fmla="*/ 187 w 855"/>
                      <a:gd name="T99" fmla="*/ 537 h 541"/>
                      <a:gd name="T100" fmla="*/ 172 w 855"/>
                      <a:gd name="T101" fmla="*/ 522 h 541"/>
                      <a:gd name="T102" fmla="*/ 150 w 855"/>
                      <a:gd name="T103" fmla="*/ 516 h 541"/>
                      <a:gd name="T104" fmla="*/ 130 w 855"/>
                      <a:gd name="T105" fmla="*/ 505 h 541"/>
                      <a:gd name="T106" fmla="*/ 115 w 855"/>
                      <a:gd name="T107" fmla="*/ 500 h 541"/>
                      <a:gd name="T108" fmla="*/ 100 w 855"/>
                      <a:gd name="T109" fmla="*/ 488 h 541"/>
                      <a:gd name="T110" fmla="*/ 87 w 855"/>
                      <a:gd name="T111" fmla="*/ 469 h 541"/>
                      <a:gd name="T112" fmla="*/ 71 w 855"/>
                      <a:gd name="T113" fmla="*/ 473 h 541"/>
                      <a:gd name="T114" fmla="*/ 52 w 855"/>
                      <a:gd name="T115" fmla="*/ 488 h 541"/>
                      <a:gd name="T116" fmla="*/ 25 w 855"/>
                      <a:gd name="T117" fmla="*/ 492 h 541"/>
                      <a:gd name="T118" fmla="*/ 3 w 855"/>
                      <a:gd name="T119" fmla="*/ 505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55" h="541">
                        <a:moveTo>
                          <a:pt x="820" y="12"/>
                        </a:moveTo>
                        <a:lnTo>
                          <a:pt x="820" y="11"/>
                        </a:lnTo>
                        <a:lnTo>
                          <a:pt x="822" y="11"/>
                        </a:lnTo>
                        <a:lnTo>
                          <a:pt x="822" y="9"/>
                        </a:lnTo>
                        <a:lnTo>
                          <a:pt x="820" y="8"/>
                        </a:lnTo>
                        <a:lnTo>
                          <a:pt x="819" y="6"/>
                        </a:lnTo>
                        <a:lnTo>
                          <a:pt x="819" y="4"/>
                        </a:lnTo>
                        <a:lnTo>
                          <a:pt x="817" y="4"/>
                        </a:lnTo>
                        <a:lnTo>
                          <a:pt x="817" y="3"/>
                        </a:lnTo>
                        <a:lnTo>
                          <a:pt x="817" y="1"/>
                        </a:lnTo>
                        <a:lnTo>
                          <a:pt x="819" y="0"/>
                        </a:lnTo>
                        <a:lnTo>
                          <a:pt x="820" y="0"/>
                        </a:lnTo>
                        <a:lnTo>
                          <a:pt x="822" y="0"/>
                        </a:lnTo>
                        <a:lnTo>
                          <a:pt x="823" y="0"/>
                        </a:lnTo>
                        <a:lnTo>
                          <a:pt x="825" y="1"/>
                        </a:lnTo>
                        <a:lnTo>
                          <a:pt x="827" y="1"/>
                        </a:lnTo>
                        <a:lnTo>
                          <a:pt x="828" y="3"/>
                        </a:lnTo>
                        <a:lnTo>
                          <a:pt x="828" y="4"/>
                        </a:lnTo>
                        <a:lnTo>
                          <a:pt x="830" y="6"/>
                        </a:lnTo>
                        <a:lnTo>
                          <a:pt x="831" y="6"/>
                        </a:lnTo>
                        <a:lnTo>
                          <a:pt x="833" y="6"/>
                        </a:lnTo>
                        <a:lnTo>
                          <a:pt x="835" y="6"/>
                        </a:lnTo>
                        <a:lnTo>
                          <a:pt x="836" y="6"/>
                        </a:lnTo>
                        <a:lnTo>
                          <a:pt x="838" y="4"/>
                        </a:lnTo>
                        <a:lnTo>
                          <a:pt x="839" y="3"/>
                        </a:lnTo>
                        <a:lnTo>
                          <a:pt x="841" y="3"/>
                        </a:lnTo>
                        <a:lnTo>
                          <a:pt x="841" y="4"/>
                        </a:lnTo>
                        <a:lnTo>
                          <a:pt x="842" y="4"/>
                        </a:lnTo>
                        <a:lnTo>
                          <a:pt x="842" y="6"/>
                        </a:lnTo>
                        <a:lnTo>
                          <a:pt x="844" y="6"/>
                        </a:lnTo>
                        <a:lnTo>
                          <a:pt x="844" y="4"/>
                        </a:lnTo>
                        <a:lnTo>
                          <a:pt x="846" y="6"/>
                        </a:lnTo>
                        <a:lnTo>
                          <a:pt x="847" y="6"/>
                        </a:lnTo>
                        <a:lnTo>
                          <a:pt x="849" y="8"/>
                        </a:lnTo>
                        <a:lnTo>
                          <a:pt x="849" y="9"/>
                        </a:lnTo>
                        <a:lnTo>
                          <a:pt x="850" y="11"/>
                        </a:lnTo>
                        <a:lnTo>
                          <a:pt x="850" y="12"/>
                        </a:lnTo>
                        <a:lnTo>
                          <a:pt x="852" y="14"/>
                        </a:lnTo>
                        <a:lnTo>
                          <a:pt x="854" y="16"/>
                        </a:lnTo>
                        <a:lnTo>
                          <a:pt x="855" y="19"/>
                        </a:lnTo>
                        <a:lnTo>
                          <a:pt x="854" y="23"/>
                        </a:lnTo>
                        <a:lnTo>
                          <a:pt x="854" y="27"/>
                        </a:lnTo>
                        <a:lnTo>
                          <a:pt x="854" y="28"/>
                        </a:lnTo>
                        <a:lnTo>
                          <a:pt x="852" y="30"/>
                        </a:lnTo>
                        <a:lnTo>
                          <a:pt x="852" y="31"/>
                        </a:lnTo>
                        <a:lnTo>
                          <a:pt x="849" y="33"/>
                        </a:lnTo>
                        <a:lnTo>
                          <a:pt x="849" y="35"/>
                        </a:lnTo>
                        <a:lnTo>
                          <a:pt x="847" y="36"/>
                        </a:lnTo>
                        <a:lnTo>
                          <a:pt x="846" y="38"/>
                        </a:lnTo>
                        <a:lnTo>
                          <a:pt x="841" y="41"/>
                        </a:lnTo>
                        <a:lnTo>
                          <a:pt x="839" y="42"/>
                        </a:lnTo>
                        <a:lnTo>
                          <a:pt x="839" y="44"/>
                        </a:lnTo>
                        <a:lnTo>
                          <a:pt x="839" y="46"/>
                        </a:lnTo>
                        <a:lnTo>
                          <a:pt x="839" y="47"/>
                        </a:lnTo>
                        <a:lnTo>
                          <a:pt x="841" y="47"/>
                        </a:lnTo>
                        <a:lnTo>
                          <a:pt x="841" y="49"/>
                        </a:lnTo>
                        <a:lnTo>
                          <a:pt x="842" y="49"/>
                        </a:lnTo>
                        <a:lnTo>
                          <a:pt x="844" y="49"/>
                        </a:lnTo>
                        <a:lnTo>
                          <a:pt x="846" y="49"/>
                        </a:lnTo>
                        <a:lnTo>
                          <a:pt x="849" y="49"/>
                        </a:lnTo>
                        <a:lnTo>
                          <a:pt x="850" y="49"/>
                        </a:lnTo>
                        <a:lnTo>
                          <a:pt x="852" y="50"/>
                        </a:lnTo>
                        <a:lnTo>
                          <a:pt x="854" y="52"/>
                        </a:lnTo>
                        <a:lnTo>
                          <a:pt x="855" y="55"/>
                        </a:lnTo>
                        <a:lnTo>
                          <a:pt x="854" y="57"/>
                        </a:lnTo>
                        <a:lnTo>
                          <a:pt x="854" y="58"/>
                        </a:lnTo>
                        <a:lnTo>
                          <a:pt x="854" y="61"/>
                        </a:lnTo>
                        <a:lnTo>
                          <a:pt x="854" y="63"/>
                        </a:lnTo>
                        <a:lnTo>
                          <a:pt x="854" y="65"/>
                        </a:lnTo>
                        <a:lnTo>
                          <a:pt x="854" y="68"/>
                        </a:lnTo>
                        <a:lnTo>
                          <a:pt x="854" y="69"/>
                        </a:lnTo>
                        <a:lnTo>
                          <a:pt x="855" y="73"/>
                        </a:lnTo>
                        <a:lnTo>
                          <a:pt x="855" y="76"/>
                        </a:lnTo>
                        <a:lnTo>
                          <a:pt x="855" y="79"/>
                        </a:lnTo>
                        <a:lnTo>
                          <a:pt x="855" y="80"/>
                        </a:lnTo>
                        <a:lnTo>
                          <a:pt x="855" y="84"/>
                        </a:lnTo>
                        <a:lnTo>
                          <a:pt x="855" y="85"/>
                        </a:lnTo>
                        <a:lnTo>
                          <a:pt x="855" y="87"/>
                        </a:lnTo>
                        <a:lnTo>
                          <a:pt x="855" y="92"/>
                        </a:lnTo>
                        <a:lnTo>
                          <a:pt x="854" y="93"/>
                        </a:lnTo>
                        <a:lnTo>
                          <a:pt x="854" y="96"/>
                        </a:lnTo>
                        <a:lnTo>
                          <a:pt x="852" y="98"/>
                        </a:lnTo>
                        <a:lnTo>
                          <a:pt x="852" y="99"/>
                        </a:lnTo>
                        <a:lnTo>
                          <a:pt x="852" y="101"/>
                        </a:lnTo>
                        <a:lnTo>
                          <a:pt x="852" y="103"/>
                        </a:lnTo>
                        <a:lnTo>
                          <a:pt x="852" y="104"/>
                        </a:lnTo>
                        <a:lnTo>
                          <a:pt x="850" y="107"/>
                        </a:lnTo>
                        <a:lnTo>
                          <a:pt x="850" y="109"/>
                        </a:lnTo>
                        <a:lnTo>
                          <a:pt x="850" y="111"/>
                        </a:lnTo>
                        <a:lnTo>
                          <a:pt x="850" y="112"/>
                        </a:lnTo>
                        <a:lnTo>
                          <a:pt x="849" y="114"/>
                        </a:lnTo>
                        <a:lnTo>
                          <a:pt x="849" y="117"/>
                        </a:lnTo>
                        <a:lnTo>
                          <a:pt x="847" y="118"/>
                        </a:lnTo>
                        <a:lnTo>
                          <a:pt x="847" y="120"/>
                        </a:lnTo>
                        <a:lnTo>
                          <a:pt x="847" y="125"/>
                        </a:lnTo>
                        <a:lnTo>
                          <a:pt x="847" y="128"/>
                        </a:lnTo>
                        <a:lnTo>
                          <a:pt x="847" y="130"/>
                        </a:lnTo>
                        <a:lnTo>
                          <a:pt x="849" y="134"/>
                        </a:lnTo>
                        <a:lnTo>
                          <a:pt x="849" y="139"/>
                        </a:lnTo>
                        <a:lnTo>
                          <a:pt x="849" y="142"/>
                        </a:lnTo>
                        <a:lnTo>
                          <a:pt x="850" y="147"/>
                        </a:lnTo>
                        <a:lnTo>
                          <a:pt x="849" y="147"/>
                        </a:lnTo>
                        <a:lnTo>
                          <a:pt x="849" y="149"/>
                        </a:lnTo>
                        <a:lnTo>
                          <a:pt x="849" y="150"/>
                        </a:lnTo>
                        <a:lnTo>
                          <a:pt x="847" y="152"/>
                        </a:lnTo>
                        <a:lnTo>
                          <a:pt x="846" y="153"/>
                        </a:lnTo>
                        <a:lnTo>
                          <a:pt x="844" y="153"/>
                        </a:lnTo>
                        <a:lnTo>
                          <a:pt x="844" y="155"/>
                        </a:lnTo>
                        <a:lnTo>
                          <a:pt x="844" y="153"/>
                        </a:lnTo>
                        <a:lnTo>
                          <a:pt x="842" y="153"/>
                        </a:lnTo>
                        <a:lnTo>
                          <a:pt x="841" y="155"/>
                        </a:lnTo>
                        <a:lnTo>
                          <a:pt x="838" y="155"/>
                        </a:lnTo>
                        <a:lnTo>
                          <a:pt x="835" y="153"/>
                        </a:lnTo>
                        <a:lnTo>
                          <a:pt x="833" y="153"/>
                        </a:lnTo>
                        <a:lnTo>
                          <a:pt x="831" y="153"/>
                        </a:lnTo>
                        <a:lnTo>
                          <a:pt x="828" y="153"/>
                        </a:lnTo>
                        <a:lnTo>
                          <a:pt x="825" y="153"/>
                        </a:lnTo>
                        <a:lnTo>
                          <a:pt x="823" y="152"/>
                        </a:lnTo>
                        <a:lnTo>
                          <a:pt x="822" y="152"/>
                        </a:lnTo>
                        <a:lnTo>
                          <a:pt x="819" y="150"/>
                        </a:lnTo>
                        <a:lnTo>
                          <a:pt x="817" y="150"/>
                        </a:lnTo>
                        <a:lnTo>
                          <a:pt x="814" y="149"/>
                        </a:lnTo>
                        <a:lnTo>
                          <a:pt x="811" y="147"/>
                        </a:lnTo>
                        <a:lnTo>
                          <a:pt x="808" y="145"/>
                        </a:lnTo>
                        <a:lnTo>
                          <a:pt x="804" y="144"/>
                        </a:lnTo>
                        <a:lnTo>
                          <a:pt x="803" y="144"/>
                        </a:lnTo>
                        <a:lnTo>
                          <a:pt x="801" y="142"/>
                        </a:lnTo>
                        <a:lnTo>
                          <a:pt x="800" y="141"/>
                        </a:lnTo>
                        <a:lnTo>
                          <a:pt x="798" y="141"/>
                        </a:lnTo>
                        <a:lnTo>
                          <a:pt x="795" y="139"/>
                        </a:lnTo>
                        <a:lnTo>
                          <a:pt x="795" y="137"/>
                        </a:lnTo>
                        <a:lnTo>
                          <a:pt x="793" y="137"/>
                        </a:lnTo>
                        <a:lnTo>
                          <a:pt x="790" y="137"/>
                        </a:lnTo>
                        <a:lnTo>
                          <a:pt x="787" y="136"/>
                        </a:lnTo>
                        <a:lnTo>
                          <a:pt x="785" y="134"/>
                        </a:lnTo>
                        <a:lnTo>
                          <a:pt x="784" y="134"/>
                        </a:lnTo>
                        <a:lnTo>
                          <a:pt x="782" y="133"/>
                        </a:lnTo>
                        <a:lnTo>
                          <a:pt x="776" y="130"/>
                        </a:lnTo>
                        <a:lnTo>
                          <a:pt x="771" y="128"/>
                        </a:lnTo>
                        <a:lnTo>
                          <a:pt x="766" y="126"/>
                        </a:lnTo>
                        <a:lnTo>
                          <a:pt x="762" y="125"/>
                        </a:lnTo>
                        <a:lnTo>
                          <a:pt x="760" y="123"/>
                        </a:lnTo>
                        <a:lnTo>
                          <a:pt x="757" y="122"/>
                        </a:lnTo>
                        <a:lnTo>
                          <a:pt x="755" y="120"/>
                        </a:lnTo>
                        <a:lnTo>
                          <a:pt x="754" y="118"/>
                        </a:lnTo>
                        <a:lnTo>
                          <a:pt x="751" y="117"/>
                        </a:lnTo>
                        <a:lnTo>
                          <a:pt x="751" y="118"/>
                        </a:lnTo>
                        <a:lnTo>
                          <a:pt x="751" y="117"/>
                        </a:lnTo>
                        <a:lnTo>
                          <a:pt x="749" y="117"/>
                        </a:lnTo>
                        <a:lnTo>
                          <a:pt x="747" y="117"/>
                        </a:lnTo>
                        <a:lnTo>
                          <a:pt x="747" y="115"/>
                        </a:lnTo>
                        <a:lnTo>
                          <a:pt x="746" y="115"/>
                        </a:lnTo>
                        <a:lnTo>
                          <a:pt x="744" y="115"/>
                        </a:lnTo>
                        <a:lnTo>
                          <a:pt x="743" y="115"/>
                        </a:lnTo>
                        <a:lnTo>
                          <a:pt x="741" y="115"/>
                        </a:lnTo>
                        <a:lnTo>
                          <a:pt x="740" y="114"/>
                        </a:lnTo>
                        <a:lnTo>
                          <a:pt x="738" y="114"/>
                        </a:lnTo>
                        <a:lnTo>
                          <a:pt x="736" y="114"/>
                        </a:lnTo>
                        <a:lnTo>
                          <a:pt x="735" y="114"/>
                        </a:lnTo>
                        <a:lnTo>
                          <a:pt x="733" y="114"/>
                        </a:lnTo>
                        <a:lnTo>
                          <a:pt x="732" y="114"/>
                        </a:lnTo>
                        <a:lnTo>
                          <a:pt x="730" y="114"/>
                        </a:lnTo>
                        <a:lnTo>
                          <a:pt x="728" y="115"/>
                        </a:lnTo>
                        <a:lnTo>
                          <a:pt x="727" y="115"/>
                        </a:lnTo>
                        <a:lnTo>
                          <a:pt x="725" y="117"/>
                        </a:lnTo>
                        <a:lnTo>
                          <a:pt x="724" y="117"/>
                        </a:lnTo>
                        <a:lnTo>
                          <a:pt x="724" y="118"/>
                        </a:lnTo>
                        <a:lnTo>
                          <a:pt x="722" y="118"/>
                        </a:lnTo>
                        <a:lnTo>
                          <a:pt x="720" y="120"/>
                        </a:lnTo>
                        <a:lnTo>
                          <a:pt x="719" y="122"/>
                        </a:lnTo>
                        <a:lnTo>
                          <a:pt x="719" y="123"/>
                        </a:lnTo>
                        <a:lnTo>
                          <a:pt x="717" y="123"/>
                        </a:lnTo>
                        <a:lnTo>
                          <a:pt x="717" y="125"/>
                        </a:lnTo>
                        <a:lnTo>
                          <a:pt x="716" y="125"/>
                        </a:lnTo>
                        <a:lnTo>
                          <a:pt x="714" y="125"/>
                        </a:lnTo>
                        <a:lnTo>
                          <a:pt x="713" y="125"/>
                        </a:lnTo>
                        <a:lnTo>
                          <a:pt x="711" y="126"/>
                        </a:lnTo>
                        <a:lnTo>
                          <a:pt x="709" y="126"/>
                        </a:lnTo>
                        <a:lnTo>
                          <a:pt x="708" y="126"/>
                        </a:lnTo>
                        <a:lnTo>
                          <a:pt x="706" y="126"/>
                        </a:lnTo>
                        <a:lnTo>
                          <a:pt x="705" y="126"/>
                        </a:lnTo>
                        <a:lnTo>
                          <a:pt x="703" y="126"/>
                        </a:lnTo>
                        <a:lnTo>
                          <a:pt x="701" y="126"/>
                        </a:lnTo>
                        <a:lnTo>
                          <a:pt x="700" y="126"/>
                        </a:lnTo>
                        <a:lnTo>
                          <a:pt x="698" y="126"/>
                        </a:lnTo>
                        <a:lnTo>
                          <a:pt x="697" y="126"/>
                        </a:lnTo>
                        <a:lnTo>
                          <a:pt x="695" y="126"/>
                        </a:lnTo>
                        <a:lnTo>
                          <a:pt x="694" y="128"/>
                        </a:lnTo>
                        <a:lnTo>
                          <a:pt x="692" y="128"/>
                        </a:lnTo>
                        <a:lnTo>
                          <a:pt x="690" y="130"/>
                        </a:lnTo>
                        <a:lnTo>
                          <a:pt x="689" y="130"/>
                        </a:lnTo>
                        <a:lnTo>
                          <a:pt x="687" y="130"/>
                        </a:lnTo>
                        <a:lnTo>
                          <a:pt x="686" y="130"/>
                        </a:lnTo>
                        <a:lnTo>
                          <a:pt x="686" y="131"/>
                        </a:lnTo>
                        <a:lnTo>
                          <a:pt x="684" y="131"/>
                        </a:lnTo>
                        <a:lnTo>
                          <a:pt x="684" y="133"/>
                        </a:lnTo>
                        <a:lnTo>
                          <a:pt x="682" y="133"/>
                        </a:lnTo>
                        <a:lnTo>
                          <a:pt x="681" y="133"/>
                        </a:lnTo>
                        <a:lnTo>
                          <a:pt x="681" y="131"/>
                        </a:lnTo>
                        <a:lnTo>
                          <a:pt x="679" y="131"/>
                        </a:lnTo>
                        <a:lnTo>
                          <a:pt x="679" y="130"/>
                        </a:lnTo>
                        <a:lnTo>
                          <a:pt x="678" y="128"/>
                        </a:lnTo>
                        <a:lnTo>
                          <a:pt x="678" y="126"/>
                        </a:lnTo>
                        <a:lnTo>
                          <a:pt x="676" y="126"/>
                        </a:lnTo>
                        <a:lnTo>
                          <a:pt x="676" y="125"/>
                        </a:lnTo>
                        <a:lnTo>
                          <a:pt x="676" y="123"/>
                        </a:lnTo>
                        <a:lnTo>
                          <a:pt x="675" y="123"/>
                        </a:lnTo>
                        <a:lnTo>
                          <a:pt x="675" y="122"/>
                        </a:lnTo>
                        <a:lnTo>
                          <a:pt x="673" y="122"/>
                        </a:lnTo>
                        <a:lnTo>
                          <a:pt x="673" y="120"/>
                        </a:lnTo>
                        <a:lnTo>
                          <a:pt x="671" y="120"/>
                        </a:lnTo>
                        <a:lnTo>
                          <a:pt x="670" y="118"/>
                        </a:lnTo>
                        <a:lnTo>
                          <a:pt x="670" y="117"/>
                        </a:lnTo>
                        <a:lnTo>
                          <a:pt x="668" y="117"/>
                        </a:lnTo>
                        <a:lnTo>
                          <a:pt x="668" y="115"/>
                        </a:lnTo>
                        <a:lnTo>
                          <a:pt x="667" y="115"/>
                        </a:lnTo>
                        <a:lnTo>
                          <a:pt x="667" y="114"/>
                        </a:lnTo>
                        <a:lnTo>
                          <a:pt x="665" y="114"/>
                        </a:lnTo>
                        <a:lnTo>
                          <a:pt x="663" y="112"/>
                        </a:lnTo>
                        <a:lnTo>
                          <a:pt x="662" y="112"/>
                        </a:lnTo>
                        <a:lnTo>
                          <a:pt x="662" y="111"/>
                        </a:lnTo>
                        <a:lnTo>
                          <a:pt x="660" y="112"/>
                        </a:lnTo>
                        <a:lnTo>
                          <a:pt x="659" y="114"/>
                        </a:lnTo>
                        <a:lnTo>
                          <a:pt x="657" y="114"/>
                        </a:lnTo>
                        <a:lnTo>
                          <a:pt x="656" y="115"/>
                        </a:lnTo>
                        <a:lnTo>
                          <a:pt x="654" y="115"/>
                        </a:lnTo>
                        <a:lnTo>
                          <a:pt x="654" y="117"/>
                        </a:lnTo>
                        <a:lnTo>
                          <a:pt x="652" y="117"/>
                        </a:lnTo>
                        <a:lnTo>
                          <a:pt x="651" y="118"/>
                        </a:lnTo>
                        <a:lnTo>
                          <a:pt x="649" y="118"/>
                        </a:lnTo>
                        <a:lnTo>
                          <a:pt x="648" y="118"/>
                        </a:lnTo>
                        <a:lnTo>
                          <a:pt x="646" y="118"/>
                        </a:lnTo>
                        <a:lnTo>
                          <a:pt x="644" y="118"/>
                        </a:lnTo>
                        <a:lnTo>
                          <a:pt x="643" y="118"/>
                        </a:lnTo>
                        <a:lnTo>
                          <a:pt x="641" y="118"/>
                        </a:lnTo>
                        <a:lnTo>
                          <a:pt x="640" y="118"/>
                        </a:lnTo>
                        <a:lnTo>
                          <a:pt x="638" y="118"/>
                        </a:lnTo>
                        <a:lnTo>
                          <a:pt x="637" y="117"/>
                        </a:lnTo>
                        <a:lnTo>
                          <a:pt x="635" y="117"/>
                        </a:lnTo>
                        <a:lnTo>
                          <a:pt x="633" y="118"/>
                        </a:lnTo>
                        <a:lnTo>
                          <a:pt x="632" y="118"/>
                        </a:lnTo>
                        <a:lnTo>
                          <a:pt x="630" y="118"/>
                        </a:lnTo>
                        <a:lnTo>
                          <a:pt x="629" y="118"/>
                        </a:lnTo>
                        <a:lnTo>
                          <a:pt x="627" y="120"/>
                        </a:lnTo>
                        <a:lnTo>
                          <a:pt x="625" y="120"/>
                        </a:lnTo>
                        <a:lnTo>
                          <a:pt x="624" y="120"/>
                        </a:lnTo>
                        <a:lnTo>
                          <a:pt x="624" y="122"/>
                        </a:lnTo>
                        <a:lnTo>
                          <a:pt x="622" y="122"/>
                        </a:lnTo>
                        <a:lnTo>
                          <a:pt x="621" y="122"/>
                        </a:lnTo>
                        <a:lnTo>
                          <a:pt x="619" y="122"/>
                        </a:lnTo>
                        <a:lnTo>
                          <a:pt x="618" y="123"/>
                        </a:lnTo>
                        <a:lnTo>
                          <a:pt x="616" y="125"/>
                        </a:lnTo>
                        <a:lnTo>
                          <a:pt x="614" y="125"/>
                        </a:lnTo>
                        <a:lnTo>
                          <a:pt x="614" y="126"/>
                        </a:lnTo>
                        <a:lnTo>
                          <a:pt x="613" y="126"/>
                        </a:lnTo>
                        <a:lnTo>
                          <a:pt x="613" y="128"/>
                        </a:lnTo>
                        <a:lnTo>
                          <a:pt x="611" y="130"/>
                        </a:lnTo>
                        <a:lnTo>
                          <a:pt x="611" y="131"/>
                        </a:lnTo>
                        <a:lnTo>
                          <a:pt x="610" y="133"/>
                        </a:lnTo>
                        <a:lnTo>
                          <a:pt x="610" y="134"/>
                        </a:lnTo>
                        <a:lnTo>
                          <a:pt x="608" y="136"/>
                        </a:lnTo>
                        <a:lnTo>
                          <a:pt x="606" y="137"/>
                        </a:lnTo>
                        <a:lnTo>
                          <a:pt x="606" y="139"/>
                        </a:lnTo>
                        <a:lnTo>
                          <a:pt x="605" y="141"/>
                        </a:lnTo>
                        <a:lnTo>
                          <a:pt x="605" y="142"/>
                        </a:lnTo>
                        <a:lnTo>
                          <a:pt x="603" y="142"/>
                        </a:lnTo>
                        <a:lnTo>
                          <a:pt x="603" y="144"/>
                        </a:lnTo>
                        <a:lnTo>
                          <a:pt x="603" y="145"/>
                        </a:lnTo>
                        <a:lnTo>
                          <a:pt x="602" y="145"/>
                        </a:lnTo>
                        <a:lnTo>
                          <a:pt x="602" y="147"/>
                        </a:lnTo>
                        <a:lnTo>
                          <a:pt x="602" y="149"/>
                        </a:lnTo>
                        <a:lnTo>
                          <a:pt x="600" y="149"/>
                        </a:lnTo>
                        <a:lnTo>
                          <a:pt x="600" y="150"/>
                        </a:lnTo>
                        <a:lnTo>
                          <a:pt x="600" y="152"/>
                        </a:lnTo>
                        <a:lnTo>
                          <a:pt x="599" y="153"/>
                        </a:lnTo>
                        <a:lnTo>
                          <a:pt x="597" y="155"/>
                        </a:lnTo>
                        <a:lnTo>
                          <a:pt x="597" y="156"/>
                        </a:lnTo>
                        <a:lnTo>
                          <a:pt x="595" y="156"/>
                        </a:lnTo>
                        <a:lnTo>
                          <a:pt x="595" y="158"/>
                        </a:lnTo>
                        <a:lnTo>
                          <a:pt x="594" y="158"/>
                        </a:lnTo>
                        <a:lnTo>
                          <a:pt x="594" y="160"/>
                        </a:lnTo>
                        <a:lnTo>
                          <a:pt x="592" y="160"/>
                        </a:lnTo>
                        <a:lnTo>
                          <a:pt x="592" y="161"/>
                        </a:lnTo>
                        <a:lnTo>
                          <a:pt x="591" y="161"/>
                        </a:lnTo>
                        <a:lnTo>
                          <a:pt x="591" y="163"/>
                        </a:lnTo>
                        <a:lnTo>
                          <a:pt x="589" y="163"/>
                        </a:lnTo>
                        <a:lnTo>
                          <a:pt x="587" y="164"/>
                        </a:lnTo>
                        <a:lnTo>
                          <a:pt x="586" y="166"/>
                        </a:lnTo>
                        <a:lnTo>
                          <a:pt x="584" y="168"/>
                        </a:lnTo>
                        <a:lnTo>
                          <a:pt x="578" y="172"/>
                        </a:lnTo>
                        <a:lnTo>
                          <a:pt x="578" y="174"/>
                        </a:lnTo>
                        <a:lnTo>
                          <a:pt x="576" y="174"/>
                        </a:lnTo>
                        <a:lnTo>
                          <a:pt x="576" y="175"/>
                        </a:lnTo>
                        <a:lnTo>
                          <a:pt x="575" y="175"/>
                        </a:lnTo>
                        <a:lnTo>
                          <a:pt x="575" y="177"/>
                        </a:lnTo>
                        <a:lnTo>
                          <a:pt x="575" y="179"/>
                        </a:lnTo>
                        <a:lnTo>
                          <a:pt x="573" y="179"/>
                        </a:lnTo>
                        <a:lnTo>
                          <a:pt x="573" y="180"/>
                        </a:lnTo>
                        <a:lnTo>
                          <a:pt x="573" y="182"/>
                        </a:lnTo>
                        <a:lnTo>
                          <a:pt x="572" y="183"/>
                        </a:lnTo>
                        <a:lnTo>
                          <a:pt x="572" y="185"/>
                        </a:lnTo>
                        <a:lnTo>
                          <a:pt x="572" y="187"/>
                        </a:lnTo>
                        <a:lnTo>
                          <a:pt x="572" y="188"/>
                        </a:lnTo>
                        <a:lnTo>
                          <a:pt x="572" y="190"/>
                        </a:lnTo>
                        <a:lnTo>
                          <a:pt x="572" y="191"/>
                        </a:lnTo>
                        <a:lnTo>
                          <a:pt x="573" y="193"/>
                        </a:lnTo>
                        <a:lnTo>
                          <a:pt x="573" y="194"/>
                        </a:lnTo>
                        <a:lnTo>
                          <a:pt x="573" y="196"/>
                        </a:lnTo>
                        <a:lnTo>
                          <a:pt x="575" y="198"/>
                        </a:lnTo>
                        <a:lnTo>
                          <a:pt x="575" y="199"/>
                        </a:lnTo>
                        <a:lnTo>
                          <a:pt x="575" y="201"/>
                        </a:lnTo>
                        <a:lnTo>
                          <a:pt x="573" y="202"/>
                        </a:lnTo>
                        <a:lnTo>
                          <a:pt x="575" y="202"/>
                        </a:lnTo>
                        <a:lnTo>
                          <a:pt x="573" y="206"/>
                        </a:lnTo>
                        <a:lnTo>
                          <a:pt x="573" y="207"/>
                        </a:lnTo>
                        <a:lnTo>
                          <a:pt x="573" y="209"/>
                        </a:lnTo>
                        <a:lnTo>
                          <a:pt x="572" y="210"/>
                        </a:lnTo>
                        <a:lnTo>
                          <a:pt x="573" y="212"/>
                        </a:lnTo>
                        <a:lnTo>
                          <a:pt x="573" y="214"/>
                        </a:lnTo>
                        <a:lnTo>
                          <a:pt x="572" y="214"/>
                        </a:lnTo>
                        <a:lnTo>
                          <a:pt x="572" y="212"/>
                        </a:lnTo>
                        <a:lnTo>
                          <a:pt x="570" y="212"/>
                        </a:lnTo>
                        <a:lnTo>
                          <a:pt x="568" y="212"/>
                        </a:lnTo>
                        <a:lnTo>
                          <a:pt x="567" y="212"/>
                        </a:lnTo>
                        <a:lnTo>
                          <a:pt x="565" y="212"/>
                        </a:lnTo>
                        <a:lnTo>
                          <a:pt x="564" y="212"/>
                        </a:lnTo>
                        <a:lnTo>
                          <a:pt x="564" y="214"/>
                        </a:lnTo>
                        <a:lnTo>
                          <a:pt x="564" y="215"/>
                        </a:lnTo>
                        <a:lnTo>
                          <a:pt x="562" y="215"/>
                        </a:lnTo>
                        <a:lnTo>
                          <a:pt x="561" y="217"/>
                        </a:lnTo>
                        <a:lnTo>
                          <a:pt x="561" y="218"/>
                        </a:lnTo>
                        <a:lnTo>
                          <a:pt x="561" y="220"/>
                        </a:lnTo>
                        <a:lnTo>
                          <a:pt x="559" y="220"/>
                        </a:lnTo>
                        <a:lnTo>
                          <a:pt x="559" y="218"/>
                        </a:lnTo>
                        <a:lnTo>
                          <a:pt x="557" y="218"/>
                        </a:lnTo>
                        <a:lnTo>
                          <a:pt x="556" y="218"/>
                        </a:lnTo>
                        <a:lnTo>
                          <a:pt x="554" y="217"/>
                        </a:lnTo>
                        <a:lnTo>
                          <a:pt x="554" y="215"/>
                        </a:lnTo>
                        <a:lnTo>
                          <a:pt x="553" y="214"/>
                        </a:lnTo>
                        <a:lnTo>
                          <a:pt x="551" y="214"/>
                        </a:lnTo>
                        <a:lnTo>
                          <a:pt x="551" y="212"/>
                        </a:lnTo>
                        <a:lnTo>
                          <a:pt x="551" y="210"/>
                        </a:lnTo>
                        <a:lnTo>
                          <a:pt x="553" y="210"/>
                        </a:lnTo>
                        <a:lnTo>
                          <a:pt x="553" y="209"/>
                        </a:lnTo>
                        <a:lnTo>
                          <a:pt x="551" y="209"/>
                        </a:lnTo>
                        <a:lnTo>
                          <a:pt x="549" y="209"/>
                        </a:lnTo>
                        <a:lnTo>
                          <a:pt x="549" y="207"/>
                        </a:lnTo>
                        <a:lnTo>
                          <a:pt x="548" y="207"/>
                        </a:lnTo>
                        <a:lnTo>
                          <a:pt x="548" y="206"/>
                        </a:lnTo>
                        <a:lnTo>
                          <a:pt x="546" y="206"/>
                        </a:lnTo>
                        <a:lnTo>
                          <a:pt x="545" y="206"/>
                        </a:lnTo>
                        <a:lnTo>
                          <a:pt x="545" y="204"/>
                        </a:lnTo>
                        <a:lnTo>
                          <a:pt x="543" y="204"/>
                        </a:lnTo>
                        <a:lnTo>
                          <a:pt x="542" y="202"/>
                        </a:lnTo>
                        <a:lnTo>
                          <a:pt x="540" y="201"/>
                        </a:lnTo>
                        <a:lnTo>
                          <a:pt x="538" y="201"/>
                        </a:lnTo>
                        <a:lnTo>
                          <a:pt x="537" y="201"/>
                        </a:lnTo>
                        <a:lnTo>
                          <a:pt x="535" y="201"/>
                        </a:lnTo>
                        <a:lnTo>
                          <a:pt x="535" y="202"/>
                        </a:lnTo>
                        <a:lnTo>
                          <a:pt x="534" y="202"/>
                        </a:lnTo>
                        <a:lnTo>
                          <a:pt x="534" y="204"/>
                        </a:lnTo>
                        <a:lnTo>
                          <a:pt x="532" y="204"/>
                        </a:lnTo>
                        <a:lnTo>
                          <a:pt x="532" y="206"/>
                        </a:lnTo>
                        <a:lnTo>
                          <a:pt x="532" y="207"/>
                        </a:lnTo>
                        <a:lnTo>
                          <a:pt x="530" y="207"/>
                        </a:lnTo>
                        <a:lnTo>
                          <a:pt x="530" y="209"/>
                        </a:lnTo>
                        <a:lnTo>
                          <a:pt x="530" y="210"/>
                        </a:lnTo>
                        <a:lnTo>
                          <a:pt x="529" y="210"/>
                        </a:lnTo>
                        <a:lnTo>
                          <a:pt x="527" y="212"/>
                        </a:lnTo>
                        <a:lnTo>
                          <a:pt x="527" y="214"/>
                        </a:lnTo>
                        <a:lnTo>
                          <a:pt x="526" y="214"/>
                        </a:lnTo>
                        <a:lnTo>
                          <a:pt x="524" y="215"/>
                        </a:lnTo>
                        <a:lnTo>
                          <a:pt x="522" y="217"/>
                        </a:lnTo>
                        <a:lnTo>
                          <a:pt x="521" y="218"/>
                        </a:lnTo>
                        <a:lnTo>
                          <a:pt x="519" y="218"/>
                        </a:lnTo>
                        <a:lnTo>
                          <a:pt x="518" y="220"/>
                        </a:lnTo>
                        <a:lnTo>
                          <a:pt x="516" y="221"/>
                        </a:lnTo>
                        <a:lnTo>
                          <a:pt x="515" y="221"/>
                        </a:lnTo>
                        <a:lnTo>
                          <a:pt x="515" y="223"/>
                        </a:lnTo>
                        <a:lnTo>
                          <a:pt x="513" y="223"/>
                        </a:lnTo>
                        <a:lnTo>
                          <a:pt x="511" y="223"/>
                        </a:lnTo>
                        <a:lnTo>
                          <a:pt x="510" y="225"/>
                        </a:lnTo>
                        <a:lnTo>
                          <a:pt x="508" y="225"/>
                        </a:lnTo>
                        <a:lnTo>
                          <a:pt x="507" y="225"/>
                        </a:lnTo>
                        <a:lnTo>
                          <a:pt x="507" y="226"/>
                        </a:lnTo>
                        <a:lnTo>
                          <a:pt x="505" y="226"/>
                        </a:lnTo>
                        <a:lnTo>
                          <a:pt x="503" y="226"/>
                        </a:lnTo>
                        <a:lnTo>
                          <a:pt x="502" y="226"/>
                        </a:lnTo>
                        <a:lnTo>
                          <a:pt x="502" y="228"/>
                        </a:lnTo>
                        <a:lnTo>
                          <a:pt x="500" y="228"/>
                        </a:lnTo>
                        <a:lnTo>
                          <a:pt x="499" y="228"/>
                        </a:lnTo>
                        <a:lnTo>
                          <a:pt x="497" y="228"/>
                        </a:lnTo>
                        <a:lnTo>
                          <a:pt x="496" y="226"/>
                        </a:lnTo>
                        <a:lnTo>
                          <a:pt x="494" y="226"/>
                        </a:lnTo>
                        <a:lnTo>
                          <a:pt x="492" y="226"/>
                        </a:lnTo>
                        <a:lnTo>
                          <a:pt x="491" y="226"/>
                        </a:lnTo>
                        <a:lnTo>
                          <a:pt x="489" y="226"/>
                        </a:lnTo>
                        <a:lnTo>
                          <a:pt x="488" y="226"/>
                        </a:lnTo>
                        <a:lnTo>
                          <a:pt x="486" y="226"/>
                        </a:lnTo>
                        <a:lnTo>
                          <a:pt x="484" y="226"/>
                        </a:lnTo>
                        <a:lnTo>
                          <a:pt x="483" y="226"/>
                        </a:lnTo>
                        <a:lnTo>
                          <a:pt x="481" y="226"/>
                        </a:lnTo>
                        <a:lnTo>
                          <a:pt x="481" y="228"/>
                        </a:lnTo>
                        <a:lnTo>
                          <a:pt x="480" y="229"/>
                        </a:lnTo>
                        <a:lnTo>
                          <a:pt x="480" y="231"/>
                        </a:lnTo>
                        <a:lnTo>
                          <a:pt x="480" y="233"/>
                        </a:lnTo>
                        <a:lnTo>
                          <a:pt x="478" y="234"/>
                        </a:lnTo>
                        <a:lnTo>
                          <a:pt x="478" y="236"/>
                        </a:lnTo>
                        <a:lnTo>
                          <a:pt x="477" y="237"/>
                        </a:lnTo>
                        <a:lnTo>
                          <a:pt x="477" y="239"/>
                        </a:lnTo>
                        <a:lnTo>
                          <a:pt x="475" y="239"/>
                        </a:lnTo>
                        <a:lnTo>
                          <a:pt x="475" y="240"/>
                        </a:lnTo>
                        <a:lnTo>
                          <a:pt x="473" y="240"/>
                        </a:lnTo>
                        <a:lnTo>
                          <a:pt x="473" y="242"/>
                        </a:lnTo>
                        <a:lnTo>
                          <a:pt x="473" y="244"/>
                        </a:lnTo>
                        <a:lnTo>
                          <a:pt x="472" y="244"/>
                        </a:lnTo>
                        <a:lnTo>
                          <a:pt x="470" y="245"/>
                        </a:lnTo>
                        <a:lnTo>
                          <a:pt x="469" y="245"/>
                        </a:lnTo>
                        <a:lnTo>
                          <a:pt x="467" y="245"/>
                        </a:lnTo>
                        <a:lnTo>
                          <a:pt x="465" y="245"/>
                        </a:lnTo>
                        <a:lnTo>
                          <a:pt x="464" y="245"/>
                        </a:lnTo>
                        <a:lnTo>
                          <a:pt x="462" y="245"/>
                        </a:lnTo>
                        <a:lnTo>
                          <a:pt x="461" y="245"/>
                        </a:lnTo>
                        <a:lnTo>
                          <a:pt x="459" y="244"/>
                        </a:lnTo>
                        <a:lnTo>
                          <a:pt x="458" y="242"/>
                        </a:lnTo>
                        <a:lnTo>
                          <a:pt x="456" y="240"/>
                        </a:lnTo>
                        <a:lnTo>
                          <a:pt x="454" y="239"/>
                        </a:lnTo>
                        <a:lnTo>
                          <a:pt x="453" y="237"/>
                        </a:lnTo>
                        <a:lnTo>
                          <a:pt x="451" y="237"/>
                        </a:lnTo>
                        <a:lnTo>
                          <a:pt x="451" y="239"/>
                        </a:lnTo>
                        <a:lnTo>
                          <a:pt x="450" y="239"/>
                        </a:lnTo>
                        <a:lnTo>
                          <a:pt x="448" y="240"/>
                        </a:lnTo>
                        <a:lnTo>
                          <a:pt x="446" y="240"/>
                        </a:lnTo>
                        <a:lnTo>
                          <a:pt x="445" y="240"/>
                        </a:lnTo>
                        <a:lnTo>
                          <a:pt x="445" y="242"/>
                        </a:lnTo>
                        <a:lnTo>
                          <a:pt x="443" y="244"/>
                        </a:lnTo>
                        <a:lnTo>
                          <a:pt x="443" y="245"/>
                        </a:lnTo>
                        <a:lnTo>
                          <a:pt x="443" y="247"/>
                        </a:lnTo>
                        <a:lnTo>
                          <a:pt x="443" y="248"/>
                        </a:lnTo>
                        <a:lnTo>
                          <a:pt x="443" y="250"/>
                        </a:lnTo>
                        <a:lnTo>
                          <a:pt x="445" y="250"/>
                        </a:lnTo>
                        <a:lnTo>
                          <a:pt x="445" y="252"/>
                        </a:lnTo>
                        <a:lnTo>
                          <a:pt x="445" y="253"/>
                        </a:lnTo>
                        <a:lnTo>
                          <a:pt x="443" y="255"/>
                        </a:lnTo>
                        <a:lnTo>
                          <a:pt x="442" y="255"/>
                        </a:lnTo>
                        <a:lnTo>
                          <a:pt x="442" y="256"/>
                        </a:lnTo>
                        <a:lnTo>
                          <a:pt x="442" y="258"/>
                        </a:lnTo>
                        <a:lnTo>
                          <a:pt x="440" y="258"/>
                        </a:lnTo>
                        <a:lnTo>
                          <a:pt x="440" y="259"/>
                        </a:lnTo>
                        <a:lnTo>
                          <a:pt x="439" y="259"/>
                        </a:lnTo>
                        <a:lnTo>
                          <a:pt x="439" y="261"/>
                        </a:lnTo>
                        <a:lnTo>
                          <a:pt x="437" y="263"/>
                        </a:lnTo>
                        <a:lnTo>
                          <a:pt x="437" y="264"/>
                        </a:lnTo>
                        <a:lnTo>
                          <a:pt x="435" y="266"/>
                        </a:lnTo>
                        <a:lnTo>
                          <a:pt x="434" y="267"/>
                        </a:lnTo>
                        <a:lnTo>
                          <a:pt x="434" y="269"/>
                        </a:lnTo>
                        <a:lnTo>
                          <a:pt x="432" y="269"/>
                        </a:lnTo>
                        <a:lnTo>
                          <a:pt x="432" y="271"/>
                        </a:lnTo>
                        <a:lnTo>
                          <a:pt x="431" y="271"/>
                        </a:lnTo>
                        <a:lnTo>
                          <a:pt x="431" y="272"/>
                        </a:lnTo>
                        <a:lnTo>
                          <a:pt x="429" y="272"/>
                        </a:lnTo>
                        <a:lnTo>
                          <a:pt x="427" y="274"/>
                        </a:lnTo>
                        <a:lnTo>
                          <a:pt x="426" y="274"/>
                        </a:lnTo>
                        <a:lnTo>
                          <a:pt x="426" y="275"/>
                        </a:lnTo>
                        <a:lnTo>
                          <a:pt x="424" y="277"/>
                        </a:lnTo>
                        <a:lnTo>
                          <a:pt x="424" y="278"/>
                        </a:lnTo>
                        <a:lnTo>
                          <a:pt x="423" y="278"/>
                        </a:lnTo>
                        <a:lnTo>
                          <a:pt x="423" y="280"/>
                        </a:lnTo>
                        <a:lnTo>
                          <a:pt x="421" y="280"/>
                        </a:lnTo>
                        <a:lnTo>
                          <a:pt x="420" y="282"/>
                        </a:lnTo>
                        <a:lnTo>
                          <a:pt x="420" y="283"/>
                        </a:lnTo>
                        <a:lnTo>
                          <a:pt x="418" y="283"/>
                        </a:lnTo>
                        <a:lnTo>
                          <a:pt x="418" y="285"/>
                        </a:lnTo>
                        <a:lnTo>
                          <a:pt x="416" y="285"/>
                        </a:lnTo>
                        <a:lnTo>
                          <a:pt x="416" y="286"/>
                        </a:lnTo>
                        <a:lnTo>
                          <a:pt x="415" y="286"/>
                        </a:lnTo>
                        <a:lnTo>
                          <a:pt x="415" y="288"/>
                        </a:lnTo>
                        <a:lnTo>
                          <a:pt x="415" y="290"/>
                        </a:lnTo>
                        <a:lnTo>
                          <a:pt x="415" y="291"/>
                        </a:lnTo>
                        <a:lnTo>
                          <a:pt x="415" y="293"/>
                        </a:lnTo>
                        <a:lnTo>
                          <a:pt x="415" y="294"/>
                        </a:lnTo>
                        <a:lnTo>
                          <a:pt x="415" y="296"/>
                        </a:lnTo>
                        <a:lnTo>
                          <a:pt x="413" y="297"/>
                        </a:lnTo>
                        <a:lnTo>
                          <a:pt x="412" y="297"/>
                        </a:lnTo>
                        <a:lnTo>
                          <a:pt x="410" y="297"/>
                        </a:lnTo>
                        <a:lnTo>
                          <a:pt x="410" y="296"/>
                        </a:lnTo>
                        <a:lnTo>
                          <a:pt x="410" y="294"/>
                        </a:lnTo>
                        <a:lnTo>
                          <a:pt x="410" y="293"/>
                        </a:lnTo>
                        <a:lnTo>
                          <a:pt x="410" y="291"/>
                        </a:lnTo>
                        <a:lnTo>
                          <a:pt x="408" y="291"/>
                        </a:lnTo>
                        <a:lnTo>
                          <a:pt x="408" y="290"/>
                        </a:lnTo>
                        <a:lnTo>
                          <a:pt x="407" y="290"/>
                        </a:lnTo>
                        <a:lnTo>
                          <a:pt x="407" y="288"/>
                        </a:lnTo>
                        <a:lnTo>
                          <a:pt x="407" y="286"/>
                        </a:lnTo>
                        <a:lnTo>
                          <a:pt x="408" y="286"/>
                        </a:lnTo>
                        <a:lnTo>
                          <a:pt x="410" y="286"/>
                        </a:lnTo>
                        <a:lnTo>
                          <a:pt x="410" y="285"/>
                        </a:lnTo>
                        <a:lnTo>
                          <a:pt x="412" y="285"/>
                        </a:lnTo>
                        <a:lnTo>
                          <a:pt x="410" y="283"/>
                        </a:lnTo>
                        <a:lnTo>
                          <a:pt x="408" y="283"/>
                        </a:lnTo>
                        <a:lnTo>
                          <a:pt x="407" y="283"/>
                        </a:lnTo>
                        <a:lnTo>
                          <a:pt x="405" y="283"/>
                        </a:lnTo>
                        <a:lnTo>
                          <a:pt x="405" y="285"/>
                        </a:lnTo>
                        <a:lnTo>
                          <a:pt x="404" y="285"/>
                        </a:lnTo>
                        <a:lnTo>
                          <a:pt x="402" y="285"/>
                        </a:lnTo>
                        <a:lnTo>
                          <a:pt x="402" y="286"/>
                        </a:lnTo>
                        <a:lnTo>
                          <a:pt x="401" y="288"/>
                        </a:lnTo>
                        <a:lnTo>
                          <a:pt x="399" y="290"/>
                        </a:lnTo>
                        <a:lnTo>
                          <a:pt x="397" y="291"/>
                        </a:lnTo>
                        <a:lnTo>
                          <a:pt x="396" y="293"/>
                        </a:lnTo>
                        <a:lnTo>
                          <a:pt x="396" y="294"/>
                        </a:lnTo>
                        <a:lnTo>
                          <a:pt x="396" y="296"/>
                        </a:lnTo>
                        <a:lnTo>
                          <a:pt x="397" y="297"/>
                        </a:lnTo>
                        <a:lnTo>
                          <a:pt x="399" y="297"/>
                        </a:lnTo>
                        <a:lnTo>
                          <a:pt x="399" y="299"/>
                        </a:lnTo>
                        <a:lnTo>
                          <a:pt x="399" y="301"/>
                        </a:lnTo>
                        <a:lnTo>
                          <a:pt x="401" y="301"/>
                        </a:lnTo>
                        <a:lnTo>
                          <a:pt x="399" y="302"/>
                        </a:lnTo>
                        <a:lnTo>
                          <a:pt x="397" y="302"/>
                        </a:lnTo>
                        <a:lnTo>
                          <a:pt x="397" y="301"/>
                        </a:lnTo>
                        <a:lnTo>
                          <a:pt x="396" y="302"/>
                        </a:lnTo>
                        <a:lnTo>
                          <a:pt x="394" y="302"/>
                        </a:lnTo>
                        <a:lnTo>
                          <a:pt x="393" y="302"/>
                        </a:lnTo>
                        <a:lnTo>
                          <a:pt x="391" y="302"/>
                        </a:lnTo>
                        <a:lnTo>
                          <a:pt x="389" y="302"/>
                        </a:lnTo>
                        <a:lnTo>
                          <a:pt x="389" y="304"/>
                        </a:lnTo>
                        <a:lnTo>
                          <a:pt x="389" y="302"/>
                        </a:lnTo>
                        <a:lnTo>
                          <a:pt x="388" y="302"/>
                        </a:lnTo>
                        <a:lnTo>
                          <a:pt x="386" y="304"/>
                        </a:lnTo>
                        <a:lnTo>
                          <a:pt x="385" y="304"/>
                        </a:lnTo>
                        <a:lnTo>
                          <a:pt x="385" y="305"/>
                        </a:lnTo>
                        <a:lnTo>
                          <a:pt x="386" y="305"/>
                        </a:lnTo>
                        <a:lnTo>
                          <a:pt x="386" y="307"/>
                        </a:lnTo>
                        <a:lnTo>
                          <a:pt x="385" y="309"/>
                        </a:lnTo>
                        <a:lnTo>
                          <a:pt x="383" y="309"/>
                        </a:lnTo>
                        <a:lnTo>
                          <a:pt x="383" y="310"/>
                        </a:lnTo>
                        <a:lnTo>
                          <a:pt x="382" y="310"/>
                        </a:lnTo>
                        <a:lnTo>
                          <a:pt x="382" y="312"/>
                        </a:lnTo>
                        <a:lnTo>
                          <a:pt x="380" y="312"/>
                        </a:lnTo>
                        <a:lnTo>
                          <a:pt x="380" y="313"/>
                        </a:lnTo>
                        <a:lnTo>
                          <a:pt x="382" y="313"/>
                        </a:lnTo>
                        <a:lnTo>
                          <a:pt x="382" y="315"/>
                        </a:lnTo>
                        <a:lnTo>
                          <a:pt x="383" y="315"/>
                        </a:lnTo>
                        <a:lnTo>
                          <a:pt x="383" y="316"/>
                        </a:lnTo>
                        <a:lnTo>
                          <a:pt x="385" y="316"/>
                        </a:lnTo>
                        <a:lnTo>
                          <a:pt x="386" y="315"/>
                        </a:lnTo>
                        <a:lnTo>
                          <a:pt x="388" y="315"/>
                        </a:lnTo>
                        <a:lnTo>
                          <a:pt x="389" y="313"/>
                        </a:lnTo>
                        <a:lnTo>
                          <a:pt x="389" y="312"/>
                        </a:lnTo>
                        <a:lnTo>
                          <a:pt x="391" y="312"/>
                        </a:lnTo>
                        <a:lnTo>
                          <a:pt x="391" y="313"/>
                        </a:lnTo>
                        <a:lnTo>
                          <a:pt x="393" y="313"/>
                        </a:lnTo>
                        <a:lnTo>
                          <a:pt x="393" y="315"/>
                        </a:lnTo>
                        <a:lnTo>
                          <a:pt x="393" y="316"/>
                        </a:lnTo>
                        <a:lnTo>
                          <a:pt x="394" y="318"/>
                        </a:lnTo>
                        <a:lnTo>
                          <a:pt x="394" y="320"/>
                        </a:lnTo>
                        <a:lnTo>
                          <a:pt x="394" y="321"/>
                        </a:lnTo>
                        <a:lnTo>
                          <a:pt x="394" y="323"/>
                        </a:lnTo>
                        <a:lnTo>
                          <a:pt x="394" y="324"/>
                        </a:lnTo>
                        <a:lnTo>
                          <a:pt x="393" y="324"/>
                        </a:lnTo>
                        <a:lnTo>
                          <a:pt x="391" y="326"/>
                        </a:lnTo>
                        <a:lnTo>
                          <a:pt x="389" y="326"/>
                        </a:lnTo>
                        <a:lnTo>
                          <a:pt x="389" y="328"/>
                        </a:lnTo>
                        <a:lnTo>
                          <a:pt x="389" y="329"/>
                        </a:lnTo>
                        <a:lnTo>
                          <a:pt x="389" y="331"/>
                        </a:lnTo>
                        <a:lnTo>
                          <a:pt x="389" y="332"/>
                        </a:lnTo>
                        <a:lnTo>
                          <a:pt x="388" y="332"/>
                        </a:lnTo>
                        <a:lnTo>
                          <a:pt x="388" y="334"/>
                        </a:lnTo>
                        <a:lnTo>
                          <a:pt x="386" y="334"/>
                        </a:lnTo>
                        <a:lnTo>
                          <a:pt x="385" y="334"/>
                        </a:lnTo>
                        <a:lnTo>
                          <a:pt x="383" y="335"/>
                        </a:lnTo>
                        <a:lnTo>
                          <a:pt x="383" y="337"/>
                        </a:lnTo>
                        <a:lnTo>
                          <a:pt x="385" y="337"/>
                        </a:lnTo>
                        <a:lnTo>
                          <a:pt x="383" y="339"/>
                        </a:lnTo>
                        <a:lnTo>
                          <a:pt x="380" y="340"/>
                        </a:lnTo>
                        <a:lnTo>
                          <a:pt x="378" y="339"/>
                        </a:lnTo>
                        <a:lnTo>
                          <a:pt x="377" y="339"/>
                        </a:lnTo>
                        <a:lnTo>
                          <a:pt x="377" y="342"/>
                        </a:lnTo>
                        <a:lnTo>
                          <a:pt x="378" y="343"/>
                        </a:lnTo>
                        <a:lnTo>
                          <a:pt x="382" y="347"/>
                        </a:lnTo>
                        <a:lnTo>
                          <a:pt x="380" y="348"/>
                        </a:lnTo>
                        <a:lnTo>
                          <a:pt x="380" y="350"/>
                        </a:lnTo>
                        <a:lnTo>
                          <a:pt x="380" y="351"/>
                        </a:lnTo>
                        <a:lnTo>
                          <a:pt x="378" y="354"/>
                        </a:lnTo>
                        <a:lnTo>
                          <a:pt x="378" y="353"/>
                        </a:lnTo>
                        <a:lnTo>
                          <a:pt x="377" y="353"/>
                        </a:lnTo>
                        <a:lnTo>
                          <a:pt x="374" y="351"/>
                        </a:lnTo>
                        <a:lnTo>
                          <a:pt x="374" y="353"/>
                        </a:lnTo>
                        <a:lnTo>
                          <a:pt x="372" y="353"/>
                        </a:lnTo>
                        <a:lnTo>
                          <a:pt x="372" y="358"/>
                        </a:lnTo>
                        <a:lnTo>
                          <a:pt x="372" y="359"/>
                        </a:lnTo>
                        <a:lnTo>
                          <a:pt x="372" y="361"/>
                        </a:lnTo>
                        <a:lnTo>
                          <a:pt x="370" y="362"/>
                        </a:lnTo>
                        <a:lnTo>
                          <a:pt x="372" y="362"/>
                        </a:lnTo>
                        <a:lnTo>
                          <a:pt x="372" y="364"/>
                        </a:lnTo>
                        <a:lnTo>
                          <a:pt x="370" y="364"/>
                        </a:lnTo>
                        <a:lnTo>
                          <a:pt x="366" y="364"/>
                        </a:lnTo>
                        <a:lnTo>
                          <a:pt x="364" y="364"/>
                        </a:lnTo>
                        <a:lnTo>
                          <a:pt x="359" y="364"/>
                        </a:lnTo>
                        <a:lnTo>
                          <a:pt x="359" y="361"/>
                        </a:lnTo>
                        <a:lnTo>
                          <a:pt x="359" y="359"/>
                        </a:lnTo>
                        <a:lnTo>
                          <a:pt x="356" y="361"/>
                        </a:lnTo>
                        <a:lnTo>
                          <a:pt x="355" y="361"/>
                        </a:lnTo>
                        <a:lnTo>
                          <a:pt x="355" y="359"/>
                        </a:lnTo>
                        <a:lnTo>
                          <a:pt x="353" y="358"/>
                        </a:lnTo>
                        <a:lnTo>
                          <a:pt x="353" y="359"/>
                        </a:lnTo>
                        <a:lnTo>
                          <a:pt x="351" y="361"/>
                        </a:lnTo>
                        <a:lnTo>
                          <a:pt x="351" y="362"/>
                        </a:lnTo>
                        <a:lnTo>
                          <a:pt x="351" y="364"/>
                        </a:lnTo>
                        <a:lnTo>
                          <a:pt x="353" y="367"/>
                        </a:lnTo>
                        <a:lnTo>
                          <a:pt x="353" y="369"/>
                        </a:lnTo>
                        <a:lnTo>
                          <a:pt x="351" y="370"/>
                        </a:lnTo>
                        <a:lnTo>
                          <a:pt x="350" y="372"/>
                        </a:lnTo>
                        <a:lnTo>
                          <a:pt x="347" y="373"/>
                        </a:lnTo>
                        <a:lnTo>
                          <a:pt x="345" y="375"/>
                        </a:lnTo>
                        <a:lnTo>
                          <a:pt x="347" y="377"/>
                        </a:lnTo>
                        <a:lnTo>
                          <a:pt x="347" y="375"/>
                        </a:lnTo>
                        <a:lnTo>
                          <a:pt x="348" y="377"/>
                        </a:lnTo>
                        <a:lnTo>
                          <a:pt x="348" y="380"/>
                        </a:lnTo>
                        <a:lnTo>
                          <a:pt x="347" y="380"/>
                        </a:lnTo>
                        <a:lnTo>
                          <a:pt x="347" y="383"/>
                        </a:lnTo>
                        <a:lnTo>
                          <a:pt x="345" y="383"/>
                        </a:lnTo>
                        <a:lnTo>
                          <a:pt x="343" y="381"/>
                        </a:lnTo>
                        <a:lnTo>
                          <a:pt x="342" y="381"/>
                        </a:lnTo>
                        <a:lnTo>
                          <a:pt x="342" y="383"/>
                        </a:lnTo>
                        <a:lnTo>
                          <a:pt x="342" y="388"/>
                        </a:lnTo>
                        <a:lnTo>
                          <a:pt x="345" y="391"/>
                        </a:lnTo>
                        <a:lnTo>
                          <a:pt x="345" y="393"/>
                        </a:lnTo>
                        <a:lnTo>
                          <a:pt x="347" y="393"/>
                        </a:lnTo>
                        <a:lnTo>
                          <a:pt x="348" y="391"/>
                        </a:lnTo>
                        <a:lnTo>
                          <a:pt x="348" y="389"/>
                        </a:lnTo>
                        <a:lnTo>
                          <a:pt x="348" y="388"/>
                        </a:lnTo>
                        <a:lnTo>
                          <a:pt x="350" y="388"/>
                        </a:lnTo>
                        <a:lnTo>
                          <a:pt x="351" y="388"/>
                        </a:lnTo>
                        <a:lnTo>
                          <a:pt x="350" y="391"/>
                        </a:lnTo>
                        <a:lnTo>
                          <a:pt x="350" y="393"/>
                        </a:lnTo>
                        <a:lnTo>
                          <a:pt x="350" y="396"/>
                        </a:lnTo>
                        <a:lnTo>
                          <a:pt x="351" y="396"/>
                        </a:lnTo>
                        <a:lnTo>
                          <a:pt x="351" y="397"/>
                        </a:lnTo>
                        <a:lnTo>
                          <a:pt x="350" y="399"/>
                        </a:lnTo>
                        <a:lnTo>
                          <a:pt x="350" y="400"/>
                        </a:lnTo>
                        <a:lnTo>
                          <a:pt x="351" y="402"/>
                        </a:lnTo>
                        <a:lnTo>
                          <a:pt x="353" y="405"/>
                        </a:lnTo>
                        <a:lnTo>
                          <a:pt x="353" y="407"/>
                        </a:lnTo>
                        <a:lnTo>
                          <a:pt x="351" y="408"/>
                        </a:lnTo>
                        <a:lnTo>
                          <a:pt x="348" y="408"/>
                        </a:lnTo>
                        <a:lnTo>
                          <a:pt x="347" y="408"/>
                        </a:lnTo>
                        <a:lnTo>
                          <a:pt x="345" y="405"/>
                        </a:lnTo>
                        <a:lnTo>
                          <a:pt x="343" y="405"/>
                        </a:lnTo>
                        <a:lnTo>
                          <a:pt x="342" y="405"/>
                        </a:lnTo>
                        <a:lnTo>
                          <a:pt x="340" y="405"/>
                        </a:lnTo>
                        <a:lnTo>
                          <a:pt x="339" y="405"/>
                        </a:lnTo>
                        <a:lnTo>
                          <a:pt x="337" y="405"/>
                        </a:lnTo>
                        <a:lnTo>
                          <a:pt x="337" y="408"/>
                        </a:lnTo>
                        <a:lnTo>
                          <a:pt x="337" y="412"/>
                        </a:lnTo>
                        <a:lnTo>
                          <a:pt x="336" y="412"/>
                        </a:lnTo>
                        <a:lnTo>
                          <a:pt x="334" y="412"/>
                        </a:lnTo>
                        <a:lnTo>
                          <a:pt x="332" y="410"/>
                        </a:lnTo>
                        <a:lnTo>
                          <a:pt x="331" y="410"/>
                        </a:lnTo>
                        <a:lnTo>
                          <a:pt x="331" y="408"/>
                        </a:lnTo>
                        <a:lnTo>
                          <a:pt x="331" y="407"/>
                        </a:lnTo>
                        <a:lnTo>
                          <a:pt x="331" y="405"/>
                        </a:lnTo>
                        <a:lnTo>
                          <a:pt x="331" y="404"/>
                        </a:lnTo>
                        <a:lnTo>
                          <a:pt x="329" y="404"/>
                        </a:lnTo>
                        <a:lnTo>
                          <a:pt x="328" y="402"/>
                        </a:lnTo>
                        <a:lnTo>
                          <a:pt x="326" y="402"/>
                        </a:lnTo>
                        <a:lnTo>
                          <a:pt x="326" y="404"/>
                        </a:lnTo>
                        <a:lnTo>
                          <a:pt x="324" y="404"/>
                        </a:lnTo>
                        <a:lnTo>
                          <a:pt x="324" y="405"/>
                        </a:lnTo>
                        <a:lnTo>
                          <a:pt x="323" y="408"/>
                        </a:lnTo>
                        <a:lnTo>
                          <a:pt x="321" y="410"/>
                        </a:lnTo>
                        <a:lnTo>
                          <a:pt x="321" y="412"/>
                        </a:lnTo>
                        <a:lnTo>
                          <a:pt x="321" y="415"/>
                        </a:lnTo>
                        <a:lnTo>
                          <a:pt x="321" y="416"/>
                        </a:lnTo>
                        <a:lnTo>
                          <a:pt x="320" y="416"/>
                        </a:lnTo>
                        <a:lnTo>
                          <a:pt x="318" y="415"/>
                        </a:lnTo>
                        <a:lnTo>
                          <a:pt x="317" y="413"/>
                        </a:lnTo>
                        <a:lnTo>
                          <a:pt x="315" y="410"/>
                        </a:lnTo>
                        <a:lnTo>
                          <a:pt x="313" y="408"/>
                        </a:lnTo>
                        <a:lnTo>
                          <a:pt x="312" y="408"/>
                        </a:lnTo>
                        <a:lnTo>
                          <a:pt x="312" y="407"/>
                        </a:lnTo>
                        <a:lnTo>
                          <a:pt x="310" y="407"/>
                        </a:lnTo>
                        <a:lnTo>
                          <a:pt x="309" y="407"/>
                        </a:lnTo>
                        <a:lnTo>
                          <a:pt x="307" y="407"/>
                        </a:lnTo>
                        <a:lnTo>
                          <a:pt x="307" y="408"/>
                        </a:lnTo>
                        <a:lnTo>
                          <a:pt x="309" y="412"/>
                        </a:lnTo>
                        <a:lnTo>
                          <a:pt x="310" y="412"/>
                        </a:lnTo>
                        <a:lnTo>
                          <a:pt x="310" y="413"/>
                        </a:lnTo>
                        <a:lnTo>
                          <a:pt x="310" y="415"/>
                        </a:lnTo>
                        <a:lnTo>
                          <a:pt x="310" y="416"/>
                        </a:lnTo>
                        <a:lnTo>
                          <a:pt x="309" y="418"/>
                        </a:lnTo>
                        <a:lnTo>
                          <a:pt x="307" y="419"/>
                        </a:lnTo>
                        <a:lnTo>
                          <a:pt x="305" y="419"/>
                        </a:lnTo>
                        <a:lnTo>
                          <a:pt x="304" y="419"/>
                        </a:lnTo>
                        <a:lnTo>
                          <a:pt x="302" y="418"/>
                        </a:lnTo>
                        <a:lnTo>
                          <a:pt x="301" y="418"/>
                        </a:lnTo>
                        <a:lnTo>
                          <a:pt x="299" y="419"/>
                        </a:lnTo>
                        <a:lnTo>
                          <a:pt x="299" y="421"/>
                        </a:lnTo>
                        <a:lnTo>
                          <a:pt x="301" y="421"/>
                        </a:lnTo>
                        <a:lnTo>
                          <a:pt x="301" y="423"/>
                        </a:lnTo>
                        <a:lnTo>
                          <a:pt x="302" y="424"/>
                        </a:lnTo>
                        <a:lnTo>
                          <a:pt x="304" y="426"/>
                        </a:lnTo>
                        <a:lnTo>
                          <a:pt x="305" y="426"/>
                        </a:lnTo>
                        <a:lnTo>
                          <a:pt x="307" y="427"/>
                        </a:lnTo>
                        <a:lnTo>
                          <a:pt x="309" y="429"/>
                        </a:lnTo>
                        <a:lnTo>
                          <a:pt x="309" y="431"/>
                        </a:lnTo>
                        <a:lnTo>
                          <a:pt x="309" y="432"/>
                        </a:lnTo>
                        <a:lnTo>
                          <a:pt x="310" y="432"/>
                        </a:lnTo>
                        <a:lnTo>
                          <a:pt x="312" y="434"/>
                        </a:lnTo>
                        <a:lnTo>
                          <a:pt x="312" y="435"/>
                        </a:lnTo>
                        <a:lnTo>
                          <a:pt x="312" y="437"/>
                        </a:lnTo>
                        <a:lnTo>
                          <a:pt x="310" y="437"/>
                        </a:lnTo>
                        <a:lnTo>
                          <a:pt x="309" y="437"/>
                        </a:lnTo>
                        <a:lnTo>
                          <a:pt x="309" y="438"/>
                        </a:lnTo>
                        <a:lnTo>
                          <a:pt x="307" y="438"/>
                        </a:lnTo>
                        <a:lnTo>
                          <a:pt x="304" y="438"/>
                        </a:lnTo>
                        <a:lnTo>
                          <a:pt x="304" y="440"/>
                        </a:lnTo>
                        <a:lnTo>
                          <a:pt x="302" y="440"/>
                        </a:lnTo>
                        <a:lnTo>
                          <a:pt x="301" y="440"/>
                        </a:lnTo>
                        <a:lnTo>
                          <a:pt x="299" y="442"/>
                        </a:lnTo>
                        <a:lnTo>
                          <a:pt x="298" y="442"/>
                        </a:lnTo>
                        <a:lnTo>
                          <a:pt x="296" y="442"/>
                        </a:lnTo>
                        <a:lnTo>
                          <a:pt x="294" y="442"/>
                        </a:lnTo>
                        <a:lnTo>
                          <a:pt x="293" y="442"/>
                        </a:lnTo>
                        <a:lnTo>
                          <a:pt x="291" y="442"/>
                        </a:lnTo>
                        <a:lnTo>
                          <a:pt x="290" y="442"/>
                        </a:lnTo>
                        <a:lnTo>
                          <a:pt x="288" y="440"/>
                        </a:lnTo>
                        <a:lnTo>
                          <a:pt x="288" y="438"/>
                        </a:lnTo>
                        <a:lnTo>
                          <a:pt x="288" y="437"/>
                        </a:lnTo>
                        <a:lnTo>
                          <a:pt x="288" y="434"/>
                        </a:lnTo>
                        <a:lnTo>
                          <a:pt x="288" y="431"/>
                        </a:lnTo>
                        <a:lnTo>
                          <a:pt x="286" y="431"/>
                        </a:lnTo>
                        <a:lnTo>
                          <a:pt x="285" y="431"/>
                        </a:lnTo>
                        <a:lnTo>
                          <a:pt x="280" y="432"/>
                        </a:lnTo>
                        <a:lnTo>
                          <a:pt x="279" y="432"/>
                        </a:lnTo>
                        <a:lnTo>
                          <a:pt x="277" y="434"/>
                        </a:lnTo>
                        <a:lnTo>
                          <a:pt x="275" y="434"/>
                        </a:lnTo>
                        <a:lnTo>
                          <a:pt x="275" y="432"/>
                        </a:lnTo>
                        <a:lnTo>
                          <a:pt x="274" y="431"/>
                        </a:lnTo>
                        <a:lnTo>
                          <a:pt x="272" y="429"/>
                        </a:lnTo>
                        <a:lnTo>
                          <a:pt x="271" y="431"/>
                        </a:lnTo>
                        <a:lnTo>
                          <a:pt x="269" y="432"/>
                        </a:lnTo>
                        <a:lnTo>
                          <a:pt x="267" y="434"/>
                        </a:lnTo>
                        <a:lnTo>
                          <a:pt x="266" y="435"/>
                        </a:lnTo>
                        <a:lnTo>
                          <a:pt x="266" y="437"/>
                        </a:lnTo>
                        <a:lnTo>
                          <a:pt x="264" y="437"/>
                        </a:lnTo>
                        <a:lnTo>
                          <a:pt x="264" y="435"/>
                        </a:lnTo>
                        <a:lnTo>
                          <a:pt x="263" y="435"/>
                        </a:lnTo>
                        <a:lnTo>
                          <a:pt x="263" y="437"/>
                        </a:lnTo>
                        <a:lnTo>
                          <a:pt x="261" y="437"/>
                        </a:lnTo>
                        <a:lnTo>
                          <a:pt x="261" y="438"/>
                        </a:lnTo>
                        <a:lnTo>
                          <a:pt x="260" y="442"/>
                        </a:lnTo>
                        <a:lnTo>
                          <a:pt x="261" y="442"/>
                        </a:lnTo>
                        <a:lnTo>
                          <a:pt x="261" y="443"/>
                        </a:lnTo>
                        <a:lnTo>
                          <a:pt x="261" y="446"/>
                        </a:lnTo>
                        <a:lnTo>
                          <a:pt x="261" y="448"/>
                        </a:lnTo>
                        <a:lnTo>
                          <a:pt x="258" y="450"/>
                        </a:lnTo>
                        <a:lnTo>
                          <a:pt x="255" y="453"/>
                        </a:lnTo>
                        <a:lnTo>
                          <a:pt x="255" y="454"/>
                        </a:lnTo>
                        <a:lnTo>
                          <a:pt x="253" y="454"/>
                        </a:lnTo>
                        <a:lnTo>
                          <a:pt x="252" y="456"/>
                        </a:lnTo>
                        <a:lnTo>
                          <a:pt x="250" y="459"/>
                        </a:lnTo>
                        <a:lnTo>
                          <a:pt x="250" y="462"/>
                        </a:lnTo>
                        <a:lnTo>
                          <a:pt x="248" y="464"/>
                        </a:lnTo>
                        <a:lnTo>
                          <a:pt x="248" y="465"/>
                        </a:lnTo>
                        <a:lnTo>
                          <a:pt x="247" y="465"/>
                        </a:lnTo>
                        <a:lnTo>
                          <a:pt x="244" y="469"/>
                        </a:lnTo>
                        <a:lnTo>
                          <a:pt x="242" y="472"/>
                        </a:lnTo>
                        <a:lnTo>
                          <a:pt x="242" y="473"/>
                        </a:lnTo>
                        <a:lnTo>
                          <a:pt x="242" y="475"/>
                        </a:lnTo>
                        <a:lnTo>
                          <a:pt x="244" y="476"/>
                        </a:lnTo>
                        <a:lnTo>
                          <a:pt x="245" y="476"/>
                        </a:lnTo>
                        <a:lnTo>
                          <a:pt x="245" y="478"/>
                        </a:lnTo>
                        <a:lnTo>
                          <a:pt x="244" y="480"/>
                        </a:lnTo>
                        <a:lnTo>
                          <a:pt x="241" y="483"/>
                        </a:lnTo>
                        <a:lnTo>
                          <a:pt x="237" y="483"/>
                        </a:lnTo>
                        <a:lnTo>
                          <a:pt x="237" y="484"/>
                        </a:lnTo>
                        <a:lnTo>
                          <a:pt x="236" y="486"/>
                        </a:lnTo>
                        <a:lnTo>
                          <a:pt x="234" y="486"/>
                        </a:lnTo>
                        <a:lnTo>
                          <a:pt x="233" y="486"/>
                        </a:lnTo>
                        <a:lnTo>
                          <a:pt x="231" y="486"/>
                        </a:lnTo>
                        <a:lnTo>
                          <a:pt x="231" y="488"/>
                        </a:lnTo>
                        <a:lnTo>
                          <a:pt x="231" y="489"/>
                        </a:lnTo>
                        <a:lnTo>
                          <a:pt x="233" y="489"/>
                        </a:lnTo>
                        <a:lnTo>
                          <a:pt x="234" y="491"/>
                        </a:lnTo>
                        <a:lnTo>
                          <a:pt x="236" y="492"/>
                        </a:lnTo>
                        <a:lnTo>
                          <a:pt x="234" y="494"/>
                        </a:lnTo>
                        <a:lnTo>
                          <a:pt x="233" y="495"/>
                        </a:lnTo>
                        <a:lnTo>
                          <a:pt x="231" y="495"/>
                        </a:lnTo>
                        <a:lnTo>
                          <a:pt x="229" y="497"/>
                        </a:lnTo>
                        <a:lnTo>
                          <a:pt x="233" y="500"/>
                        </a:lnTo>
                        <a:lnTo>
                          <a:pt x="233" y="502"/>
                        </a:lnTo>
                        <a:lnTo>
                          <a:pt x="234" y="502"/>
                        </a:lnTo>
                        <a:lnTo>
                          <a:pt x="236" y="500"/>
                        </a:lnTo>
                        <a:lnTo>
                          <a:pt x="237" y="500"/>
                        </a:lnTo>
                        <a:lnTo>
                          <a:pt x="239" y="503"/>
                        </a:lnTo>
                        <a:lnTo>
                          <a:pt x="237" y="505"/>
                        </a:lnTo>
                        <a:lnTo>
                          <a:pt x="236" y="505"/>
                        </a:lnTo>
                        <a:lnTo>
                          <a:pt x="234" y="505"/>
                        </a:lnTo>
                        <a:lnTo>
                          <a:pt x="233" y="503"/>
                        </a:lnTo>
                        <a:lnTo>
                          <a:pt x="231" y="503"/>
                        </a:lnTo>
                        <a:lnTo>
                          <a:pt x="229" y="503"/>
                        </a:lnTo>
                        <a:lnTo>
                          <a:pt x="228" y="505"/>
                        </a:lnTo>
                        <a:lnTo>
                          <a:pt x="228" y="503"/>
                        </a:lnTo>
                        <a:lnTo>
                          <a:pt x="226" y="503"/>
                        </a:lnTo>
                        <a:lnTo>
                          <a:pt x="226" y="505"/>
                        </a:lnTo>
                        <a:lnTo>
                          <a:pt x="225" y="507"/>
                        </a:lnTo>
                        <a:lnTo>
                          <a:pt x="225" y="508"/>
                        </a:lnTo>
                        <a:lnTo>
                          <a:pt x="226" y="508"/>
                        </a:lnTo>
                        <a:lnTo>
                          <a:pt x="226" y="510"/>
                        </a:lnTo>
                        <a:lnTo>
                          <a:pt x="228" y="510"/>
                        </a:lnTo>
                        <a:lnTo>
                          <a:pt x="228" y="511"/>
                        </a:lnTo>
                        <a:lnTo>
                          <a:pt x="228" y="513"/>
                        </a:lnTo>
                        <a:lnTo>
                          <a:pt x="229" y="514"/>
                        </a:lnTo>
                        <a:lnTo>
                          <a:pt x="229" y="516"/>
                        </a:lnTo>
                        <a:lnTo>
                          <a:pt x="228" y="518"/>
                        </a:lnTo>
                        <a:lnTo>
                          <a:pt x="225" y="521"/>
                        </a:lnTo>
                        <a:lnTo>
                          <a:pt x="223" y="519"/>
                        </a:lnTo>
                        <a:lnTo>
                          <a:pt x="222" y="519"/>
                        </a:lnTo>
                        <a:lnTo>
                          <a:pt x="222" y="521"/>
                        </a:lnTo>
                        <a:lnTo>
                          <a:pt x="220" y="521"/>
                        </a:lnTo>
                        <a:lnTo>
                          <a:pt x="220" y="522"/>
                        </a:lnTo>
                        <a:lnTo>
                          <a:pt x="220" y="524"/>
                        </a:lnTo>
                        <a:lnTo>
                          <a:pt x="218" y="524"/>
                        </a:lnTo>
                        <a:lnTo>
                          <a:pt x="217" y="524"/>
                        </a:lnTo>
                        <a:lnTo>
                          <a:pt x="215" y="524"/>
                        </a:lnTo>
                        <a:lnTo>
                          <a:pt x="214" y="522"/>
                        </a:lnTo>
                        <a:lnTo>
                          <a:pt x="212" y="522"/>
                        </a:lnTo>
                        <a:lnTo>
                          <a:pt x="210" y="522"/>
                        </a:lnTo>
                        <a:lnTo>
                          <a:pt x="210" y="524"/>
                        </a:lnTo>
                        <a:lnTo>
                          <a:pt x="209" y="524"/>
                        </a:lnTo>
                        <a:lnTo>
                          <a:pt x="207" y="526"/>
                        </a:lnTo>
                        <a:lnTo>
                          <a:pt x="206" y="524"/>
                        </a:lnTo>
                        <a:lnTo>
                          <a:pt x="204" y="524"/>
                        </a:lnTo>
                        <a:lnTo>
                          <a:pt x="203" y="524"/>
                        </a:lnTo>
                        <a:lnTo>
                          <a:pt x="201" y="524"/>
                        </a:lnTo>
                        <a:lnTo>
                          <a:pt x="199" y="526"/>
                        </a:lnTo>
                        <a:lnTo>
                          <a:pt x="196" y="526"/>
                        </a:lnTo>
                        <a:lnTo>
                          <a:pt x="196" y="527"/>
                        </a:lnTo>
                        <a:lnTo>
                          <a:pt x="196" y="529"/>
                        </a:lnTo>
                        <a:lnTo>
                          <a:pt x="196" y="530"/>
                        </a:lnTo>
                        <a:lnTo>
                          <a:pt x="195" y="530"/>
                        </a:lnTo>
                        <a:lnTo>
                          <a:pt x="193" y="530"/>
                        </a:lnTo>
                        <a:lnTo>
                          <a:pt x="191" y="530"/>
                        </a:lnTo>
                        <a:lnTo>
                          <a:pt x="190" y="530"/>
                        </a:lnTo>
                        <a:lnTo>
                          <a:pt x="188" y="530"/>
                        </a:lnTo>
                        <a:lnTo>
                          <a:pt x="190" y="532"/>
                        </a:lnTo>
                        <a:lnTo>
                          <a:pt x="190" y="533"/>
                        </a:lnTo>
                        <a:lnTo>
                          <a:pt x="188" y="535"/>
                        </a:lnTo>
                        <a:lnTo>
                          <a:pt x="187" y="537"/>
                        </a:lnTo>
                        <a:lnTo>
                          <a:pt x="187" y="540"/>
                        </a:lnTo>
                        <a:lnTo>
                          <a:pt x="185" y="541"/>
                        </a:lnTo>
                        <a:lnTo>
                          <a:pt x="184" y="541"/>
                        </a:lnTo>
                        <a:lnTo>
                          <a:pt x="182" y="541"/>
                        </a:lnTo>
                        <a:lnTo>
                          <a:pt x="182" y="540"/>
                        </a:lnTo>
                        <a:lnTo>
                          <a:pt x="180" y="538"/>
                        </a:lnTo>
                        <a:lnTo>
                          <a:pt x="182" y="537"/>
                        </a:lnTo>
                        <a:lnTo>
                          <a:pt x="182" y="535"/>
                        </a:lnTo>
                        <a:lnTo>
                          <a:pt x="184" y="532"/>
                        </a:lnTo>
                        <a:lnTo>
                          <a:pt x="184" y="530"/>
                        </a:lnTo>
                        <a:lnTo>
                          <a:pt x="180" y="527"/>
                        </a:lnTo>
                        <a:lnTo>
                          <a:pt x="180" y="526"/>
                        </a:lnTo>
                        <a:lnTo>
                          <a:pt x="179" y="526"/>
                        </a:lnTo>
                        <a:lnTo>
                          <a:pt x="177" y="526"/>
                        </a:lnTo>
                        <a:lnTo>
                          <a:pt x="176" y="526"/>
                        </a:lnTo>
                        <a:lnTo>
                          <a:pt x="174" y="524"/>
                        </a:lnTo>
                        <a:lnTo>
                          <a:pt x="172" y="522"/>
                        </a:lnTo>
                        <a:lnTo>
                          <a:pt x="172" y="521"/>
                        </a:lnTo>
                        <a:lnTo>
                          <a:pt x="171" y="519"/>
                        </a:lnTo>
                        <a:lnTo>
                          <a:pt x="169" y="519"/>
                        </a:lnTo>
                        <a:lnTo>
                          <a:pt x="168" y="518"/>
                        </a:lnTo>
                        <a:lnTo>
                          <a:pt x="168" y="516"/>
                        </a:lnTo>
                        <a:lnTo>
                          <a:pt x="168" y="514"/>
                        </a:lnTo>
                        <a:lnTo>
                          <a:pt x="166" y="514"/>
                        </a:lnTo>
                        <a:lnTo>
                          <a:pt x="165" y="514"/>
                        </a:lnTo>
                        <a:lnTo>
                          <a:pt x="163" y="514"/>
                        </a:lnTo>
                        <a:lnTo>
                          <a:pt x="161" y="514"/>
                        </a:lnTo>
                        <a:lnTo>
                          <a:pt x="160" y="514"/>
                        </a:lnTo>
                        <a:lnTo>
                          <a:pt x="158" y="514"/>
                        </a:lnTo>
                        <a:lnTo>
                          <a:pt x="157" y="514"/>
                        </a:lnTo>
                        <a:lnTo>
                          <a:pt x="155" y="514"/>
                        </a:lnTo>
                        <a:lnTo>
                          <a:pt x="153" y="514"/>
                        </a:lnTo>
                        <a:lnTo>
                          <a:pt x="153" y="516"/>
                        </a:lnTo>
                        <a:lnTo>
                          <a:pt x="150" y="516"/>
                        </a:lnTo>
                        <a:lnTo>
                          <a:pt x="149" y="516"/>
                        </a:lnTo>
                        <a:lnTo>
                          <a:pt x="149" y="514"/>
                        </a:lnTo>
                        <a:lnTo>
                          <a:pt x="145" y="514"/>
                        </a:lnTo>
                        <a:lnTo>
                          <a:pt x="144" y="514"/>
                        </a:lnTo>
                        <a:lnTo>
                          <a:pt x="142" y="513"/>
                        </a:lnTo>
                        <a:lnTo>
                          <a:pt x="141" y="511"/>
                        </a:lnTo>
                        <a:lnTo>
                          <a:pt x="141" y="510"/>
                        </a:lnTo>
                        <a:lnTo>
                          <a:pt x="141" y="507"/>
                        </a:lnTo>
                        <a:lnTo>
                          <a:pt x="139" y="505"/>
                        </a:lnTo>
                        <a:lnTo>
                          <a:pt x="138" y="505"/>
                        </a:lnTo>
                        <a:lnTo>
                          <a:pt x="138" y="507"/>
                        </a:lnTo>
                        <a:lnTo>
                          <a:pt x="134" y="505"/>
                        </a:lnTo>
                        <a:lnTo>
                          <a:pt x="133" y="505"/>
                        </a:lnTo>
                        <a:lnTo>
                          <a:pt x="133" y="507"/>
                        </a:lnTo>
                        <a:lnTo>
                          <a:pt x="131" y="507"/>
                        </a:lnTo>
                        <a:lnTo>
                          <a:pt x="130" y="507"/>
                        </a:lnTo>
                        <a:lnTo>
                          <a:pt x="130" y="505"/>
                        </a:lnTo>
                        <a:lnTo>
                          <a:pt x="128" y="505"/>
                        </a:lnTo>
                        <a:lnTo>
                          <a:pt x="126" y="503"/>
                        </a:lnTo>
                        <a:lnTo>
                          <a:pt x="125" y="503"/>
                        </a:lnTo>
                        <a:lnTo>
                          <a:pt x="125" y="502"/>
                        </a:lnTo>
                        <a:lnTo>
                          <a:pt x="125" y="500"/>
                        </a:lnTo>
                        <a:lnTo>
                          <a:pt x="125" y="499"/>
                        </a:lnTo>
                        <a:lnTo>
                          <a:pt x="123" y="497"/>
                        </a:lnTo>
                        <a:lnTo>
                          <a:pt x="122" y="497"/>
                        </a:lnTo>
                        <a:lnTo>
                          <a:pt x="122" y="499"/>
                        </a:lnTo>
                        <a:lnTo>
                          <a:pt x="122" y="500"/>
                        </a:lnTo>
                        <a:lnTo>
                          <a:pt x="120" y="502"/>
                        </a:lnTo>
                        <a:lnTo>
                          <a:pt x="120" y="500"/>
                        </a:lnTo>
                        <a:lnTo>
                          <a:pt x="119" y="500"/>
                        </a:lnTo>
                        <a:lnTo>
                          <a:pt x="117" y="500"/>
                        </a:lnTo>
                        <a:lnTo>
                          <a:pt x="117" y="502"/>
                        </a:lnTo>
                        <a:lnTo>
                          <a:pt x="115" y="502"/>
                        </a:lnTo>
                        <a:lnTo>
                          <a:pt x="115" y="500"/>
                        </a:lnTo>
                        <a:lnTo>
                          <a:pt x="115" y="499"/>
                        </a:lnTo>
                        <a:lnTo>
                          <a:pt x="114" y="499"/>
                        </a:lnTo>
                        <a:lnTo>
                          <a:pt x="114" y="500"/>
                        </a:lnTo>
                        <a:lnTo>
                          <a:pt x="112" y="500"/>
                        </a:lnTo>
                        <a:lnTo>
                          <a:pt x="112" y="499"/>
                        </a:lnTo>
                        <a:lnTo>
                          <a:pt x="111" y="499"/>
                        </a:lnTo>
                        <a:lnTo>
                          <a:pt x="109" y="497"/>
                        </a:lnTo>
                        <a:lnTo>
                          <a:pt x="107" y="497"/>
                        </a:lnTo>
                        <a:lnTo>
                          <a:pt x="107" y="495"/>
                        </a:lnTo>
                        <a:lnTo>
                          <a:pt x="106" y="495"/>
                        </a:lnTo>
                        <a:lnTo>
                          <a:pt x="104" y="494"/>
                        </a:lnTo>
                        <a:lnTo>
                          <a:pt x="103" y="494"/>
                        </a:lnTo>
                        <a:lnTo>
                          <a:pt x="103" y="492"/>
                        </a:lnTo>
                        <a:lnTo>
                          <a:pt x="101" y="491"/>
                        </a:lnTo>
                        <a:lnTo>
                          <a:pt x="101" y="489"/>
                        </a:lnTo>
                        <a:lnTo>
                          <a:pt x="100" y="489"/>
                        </a:lnTo>
                        <a:lnTo>
                          <a:pt x="100" y="488"/>
                        </a:lnTo>
                        <a:lnTo>
                          <a:pt x="98" y="488"/>
                        </a:lnTo>
                        <a:lnTo>
                          <a:pt x="98" y="486"/>
                        </a:lnTo>
                        <a:lnTo>
                          <a:pt x="98" y="484"/>
                        </a:lnTo>
                        <a:lnTo>
                          <a:pt x="96" y="484"/>
                        </a:lnTo>
                        <a:lnTo>
                          <a:pt x="96" y="483"/>
                        </a:lnTo>
                        <a:lnTo>
                          <a:pt x="95" y="481"/>
                        </a:lnTo>
                        <a:lnTo>
                          <a:pt x="93" y="480"/>
                        </a:lnTo>
                        <a:lnTo>
                          <a:pt x="93" y="478"/>
                        </a:lnTo>
                        <a:lnTo>
                          <a:pt x="92" y="478"/>
                        </a:lnTo>
                        <a:lnTo>
                          <a:pt x="92" y="476"/>
                        </a:lnTo>
                        <a:lnTo>
                          <a:pt x="92" y="475"/>
                        </a:lnTo>
                        <a:lnTo>
                          <a:pt x="90" y="473"/>
                        </a:lnTo>
                        <a:lnTo>
                          <a:pt x="90" y="472"/>
                        </a:lnTo>
                        <a:lnTo>
                          <a:pt x="88" y="472"/>
                        </a:lnTo>
                        <a:lnTo>
                          <a:pt x="88" y="470"/>
                        </a:lnTo>
                        <a:lnTo>
                          <a:pt x="88" y="469"/>
                        </a:lnTo>
                        <a:lnTo>
                          <a:pt x="87" y="469"/>
                        </a:lnTo>
                        <a:lnTo>
                          <a:pt x="87" y="467"/>
                        </a:lnTo>
                        <a:lnTo>
                          <a:pt x="87" y="465"/>
                        </a:lnTo>
                        <a:lnTo>
                          <a:pt x="85" y="465"/>
                        </a:lnTo>
                        <a:lnTo>
                          <a:pt x="85" y="464"/>
                        </a:lnTo>
                        <a:lnTo>
                          <a:pt x="84" y="464"/>
                        </a:lnTo>
                        <a:lnTo>
                          <a:pt x="82" y="465"/>
                        </a:lnTo>
                        <a:lnTo>
                          <a:pt x="82" y="464"/>
                        </a:lnTo>
                        <a:lnTo>
                          <a:pt x="81" y="465"/>
                        </a:lnTo>
                        <a:lnTo>
                          <a:pt x="81" y="467"/>
                        </a:lnTo>
                        <a:lnTo>
                          <a:pt x="79" y="467"/>
                        </a:lnTo>
                        <a:lnTo>
                          <a:pt x="79" y="469"/>
                        </a:lnTo>
                        <a:lnTo>
                          <a:pt x="79" y="470"/>
                        </a:lnTo>
                        <a:lnTo>
                          <a:pt x="77" y="470"/>
                        </a:lnTo>
                        <a:lnTo>
                          <a:pt x="76" y="472"/>
                        </a:lnTo>
                        <a:lnTo>
                          <a:pt x="74" y="472"/>
                        </a:lnTo>
                        <a:lnTo>
                          <a:pt x="73" y="473"/>
                        </a:lnTo>
                        <a:lnTo>
                          <a:pt x="71" y="473"/>
                        </a:lnTo>
                        <a:lnTo>
                          <a:pt x="69" y="473"/>
                        </a:lnTo>
                        <a:lnTo>
                          <a:pt x="69" y="475"/>
                        </a:lnTo>
                        <a:lnTo>
                          <a:pt x="68" y="475"/>
                        </a:lnTo>
                        <a:lnTo>
                          <a:pt x="68" y="476"/>
                        </a:lnTo>
                        <a:lnTo>
                          <a:pt x="66" y="478"/>
                        </a:lnTo>
                        <a:lnTo>
                          <a:pt x="66" y="480"/>
                        </a:lnTo>
                        <a:lnTo>
                          <a:pt x="65" y="480"/>
                        </a:lnTo>
                        <a:lnTo>
                          <a:pt x="63" y="481"/>
                        </a:lnTo>
                        <a:lnTo>
                          <a:pt x="62" y="481"/>
                        </a:lnTo>
                        <a:lnTo>
                          <a:pt x="62" y="483"/>
                        </a:lnTo>
                        <a:lnTo>
                          <a:pt x="60" y="483"/>
                        </a:lnTo>
                        <a:lnTo>
                          <a:pt x="58" y="483"/>
                        </a:lnTo>
                        <a:lnTo>
                          <a:pt x="57" y="483"/>
                        </a:lnTo>
                        <a:lnTo>
                          <a:pt x="55" y="484"/>
                        </a:lnTo>
                        <a:lnTo>
                          <a:pt x="54" y="486"/>
                        </a:lnTo>
                        <a:lnTo>
                          <a:pt x="52" y="486"/>
                        </a:lnTo>
                        <a:lnTo>
                          <a:pt x="52" y="488"/>
                        </a:lnTo>
                        <a:lnTo>
                          <a:pt x="50" y="489"/>
                        </a:lnTo>
                        <a:lnTo>
                          <a:pt x="49" y="489"/>
                        </a:lnTo>
                        <a:lnTo>
                          <a:pt x="47" y="489"/>
                        </a:lnTo>
                        <a:lnTo>
                          <a:pt x="46" y="489"/>
                        </a:lnTo>
                        <a:lnTo>
                          <a:pt x="44" y="489"/>
                        </a:lnTo>
                        <a:lnTo>
                          <a:pt x="43" y="489"/>
                        </a:lnTo>
                        <a:lnTo>
                          <a:pt x="41" y="489"/>
                        </a:lnTo>
                        <a:lnTo>
                          <a:pt x="39" y="489"/>
                        </a:lnTo>
                        <a:lnTo>
                          <a:pt x="39" y="491"/>
                        </a:lnTo>
                        <a:lnTo>
                          <a:pt x="38" y="491"/>
                        </a:lnTo>
                        <a:lnTo>
                          <a:pt x="36" y="492"/>
                        </a:lnTo>
                        <a:lnTo>
                          <a:pt x="35" y="492"/>
                        </a:lnTo>
                        <a:lnTo>
                          <a:pt x="33" y="492"/>
                        </a:lnTo>
                        <a:lnTo>
                          <a:pt x="31" y="492"/>
                        </a:lnTo>
                        <a:lnTo>
                          <a:pt x="28" y="492"/>
                        </a:lnTo>
                        <a:lnTo>
                          <a:pt x="27" y="492"/>
                        </a:lnTo>
                        <a:lnTo>
                          <a:pt x="25" y="492"/>
                        </a:lnTo>
                        <a:lnTo>
                          <a:pt x="24" y="492"/>
                        </a:lnTo>
                        <a:lnTo>
                          <a:pt x="22" y="494"/>
                        </a:lnTo>
                        <a:lnTo>
                          <a:pt x="20" y="494"/>
                        </a:lnTo>
                        <a:lnTo>
                          <a:pt x="19" y="494"/>
                        </a:lnTo>
                        <a:lnTo>
                          <a:pt x="17" y="494"/>
                        </a:lnTo>
                        <a:lnTo>
                          <a:pt x="16" y="494"/>
                        </a:lnTo>
                        <a:lnTo>
                          <a:pt x="14" y="494"/>
                        </a:lnTo>
                        <a:lnTo>
                          <a:pt x="12" y="494"/>
                        </a:lnTo>
                        <a:lnTo>
                          <a:pt x="11" y="495"/>
                        </a:lnTo>
                        <a:lnTo>
                          <a:pt x="9" y="495"/>
                        </a:lnTo>
                        <a:lnTo>
                          <a:pt x="8" y="495"/>
                        </a:lnTo>
                        <a:lnTo>
                          <a:pt x="6" y="497"/>
                        </a:lnTo>
                        <a:lnTo>
                          <a:pt x="6" y="499"/>
                        </a:lnTo>
                        <a:lnTo>
                          <a:pt x="5" y="500"/>
                        </a:lnTo>
                        <a:lnTo>
                          <a:pt x="5" y="502"/>
                        </a:lnTo>
                        <a:lnTo>
                          <a:pt x="5" y="503"/>
                        </a:lnTo>
                        <a:lnTo>
                          <a:pt x="3" y="505"/>
                        </a:lnTo>
                        <a:lnTo>
                          <a:pt x="3" y="507"/>
                        </a:lnTo>
                        <a:lnTo>
                          <a:pt x="1" y="508"/>
                        </a:lnTo>
                        <a:lnTo>
                          <a:pt x="1" y="510"/>
                        </a:lnTo>
                        <a:lnTo>
                          <a:pt x="0" y="511"/>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64" name="Freeform 63"/>
                  <p:cNvSpPr>
                    <a:spLocks/>
                  </p:cNvSpPr>
                  <p:nvPr/>
                </p:nvSpPr>
                <p:spPr bwMode="auto">
                  <a:xfrm>
                    <a:off x="1649" y="2496"/>
                    <a:ext cx="788" cy="841"/>
                  </a:xfrm>
                  <a:custGeom>
                    <a:avLst/>
                    <a:gdLst>
                      <a:gd name="T0" fmla="*/ 770 w 788"/>
                      <a:gd name="T1" fmla="*/ 841 h 841"/>
                      <a:gd name="T2" fmla="*/ 753 w 788"/>
                      <a:gd name="T3" fmla="*/ 833 h 841"/>
                      <a:gd name="T4" fmla="*/ 740 w 788"/>
                      <a:gd name="T5" fmla="*/ 817 h 841"/>
                      <a:gd name="T6" fmla="*/ 716 w 788"/>
                      <a:gd name="T7" fmla="*/ 814 h 841"/>
                      <a:gd name="T8" fmla="*/ 694 w 788"/>
                      <a:gd name="T9" fmla="*/ 817 h 841"/>
                      <a:gd name="T10" fmla="*/ 678 w 788"/>
                      <a:gd name="T11" fmla="*/ 803 h 841"/>
                      <a:gd name="T12" fmla="*/ 667 w 788"/>
                      <a:gd name="T13" fmla="*/ 781 h 841"/>
                      <a:gd name="T14" fmla="*/ 658 w 788"/>
                      <a:gd name="T15" fmla="*/ 760 h 841"/>
                      <a:gd name="T16" fmla="*/ 647 w 788"/>
                      <a:gd name="T17" fmla="*/ 736 h 841"/>
                      <a:gd name="T18" fmla="*/ 628 w 788"/>
                      <a:gd name="T19" fmla="*/ 733 h 841"/>
                      <a:gd name="T20" fmla="*/ 610 w 788"/>
                      <a:gd name="T21" fmla="*/ 736 h 841"/>
                      <a:gd name="T22" fmla="*/ 587 w 788"/>
                      <a:gd name="T23" fmla="*/ 738 h 841"/>
                      <a:gd name="T24" fmla="*/ 566 w 788"/>
                      <a:gd name="T25" fmla="*/ 748 h 841"/>
                      <a:gd name="T26" fmla="*/ 553 w 788"/>
                      <a:gd name="T27" fmla="*/ 765 h 841"/>
                      <a:gd name="T28" fmla="*/ 526 w 788"/>
                      <a:gd name="T29" fmla="*/ 784 h 841"/>
                      <a:gd name="T30" fmla="*/ 504 w 788"/>
                      <a:gd name="T31" fmla="*/ 792 h 841"/>
                      <a:gd name="T32" fmla="*/ 482 w 788"/>
                      <a:gd name="T33" fmla="*/ 779 h 841"/>
                      <a:gd name="T34" fmla="*/ 468 w 788"/>
                      <a:gd name="T35" fmla="*/ 763 h 841"/>
                      <a:gd name="T36" fmla="*/ 457 w 788"/>
                      <a:gd name="T37" fmla="*/ 741 h 841"/>
                      <a:gd name="T38" fmla="*/ 439 w 788"/>
                      <a:gd name="T39" fmla="*/ 732 h 841"/>
                      <a:gd name="T40" fmla="*/ 412 w 788"/>
                      <a:gd name="T41" fmla="*/ 729 h 841"/>
                      <a:gd name="T42" fmla="*/ 387 w 788"/>
                      <a:gd name="T43" fmla="*/ 733 h 841"/>
                      <a:gd name="T44" fmla="*/ 366 w 788"/>
                      <a:gd name="T45" fmla="*/ 729 h 841"/>
                      <a:gd name="T46" fmla="*/ 347 w 788"/>
                      <a:gd name="T47" fmla="*/ 727 h 841"/>
                      <a:gd name="T48" fmla="*/ 325 w 788"/>
                      <a:gd name="T49" fmla="*/ 727 h 841"/>
                      <a:gd name="T50" fmla="*/ 314 w 788"/>
                      <a:gd name="T51" fmla="*/ 744 h 841"/>
                      <a:gd name="T52" fmla="*/ 297 w 788"/>
                      <a:gd name="T53" fmla="*/ 755 h 841"/>
                      <a:gd name="T54" fmla="*/ 271 w 788"/>
                      <a:gd name="T55" fmla="*/ 763 h 841"/>
                      <a:gd name="T56" fmla="*/ 246 w 788"/>
                      <a:gd name="T57" fmla="*/ 763 h 841"/>
                      <a:gd name="T58" fmla="*/ 221 w 788"/>
                      <a:gd name="T59" fmla="*/ 770 h 841"/>
                      <a:gd name="T60" fmla="*/ 199 w 788"/>
                      <a:gd name="T61" fmla="*/ 781 h 841"/>
                      <a:gd name="T62" fmla="*/ 176 w 788"/>
                      <a:gd name="T63" fmla="*/ 771 h 841"/>
                      <a:gd name="T64" fmla="*/ 172 w 788"/>
                      <a:gd name="T65" fmla="*/ 746 h 841"/>
                      <a:gd name="T66" fmla="*/ 151 w 788"/>
                      <a:gd name="T67" fmla="*/ 744 h 841"/>
                      <a:gd name="T68" fmla="*/ 145 w 788"/>
                      <a:gd name="T69" fmla="*/ 721 h 841"/>
                      <a:gd name="T70" fmla="*/ 130 w 788"/>
                      <a:gd name="T71" fmla="*/ 698 h 841"/>
                      <a:gd name="T72" fmla="*/ 102 w 788"/>
                      <a:gd name="T73" fmla="*/ 683 h 841"/>
                      <a:gd name="T74" fmla="*/ 72 w 788"/>
                      <a:gd name="T75" fmla="*/ 665 h 841"/>
                      <a:gd name="T76" fmla="*/ 43 w 788"/>
                      <a:gd name="T77" fmla="*/ 641 h 841"/>
                      <a:gd name="T78" fmla="*/ 54 w 788"/>
                      <a:gd name="T79" fmla="*/ 597 h 841"/>
                      <a:gd name="T80" fmla="*/ 105 w 788"/>
                      <a:gd name="T81" fmla="*/ 534 h 841"/>
                      <a:gd name="T82" fmla="*/ 141 w 788"/>
                      <a:gd name="T83" fmla="*/ 439 h 841"/>
                      <a:gd name="T84" fmla="*/ 183 w 788"/>
                      <a:gd name="T85" fmla="*/ 385 h 841"/>
                      <a:gd name="T86" fmla="*/ 181 w 788"/>
                      <a:gd name="T87" fmla="*/ 328 h 841"/>
                      <a:gd name="T88" fmla="*/ 135 w 788"/>
                      <a:gd name="T89" fmla="*/ 283 h 841"/>
                      <a:gd name="T90" fmla="*/ 137 w 788"/>
                      <a:gd name="T91" fmla="*/ 217 h 841"/>
                      <a:gd name="T92" fmla="*/ 129 w 788"/>
                      <a:gd name="T93" fmla="*/ 185 h 841"/>
                      <a:gd name="T94" fmla="*/ 88 w 788"/>
                      <a:gd name="T95" fmla="*/ 163 h 841"/>
                      <a:gd name="T96" fmla="*/ 56 w 788"/>
                      <a:gd name="T97" fmla="*/ 147 h 841"/>
                      <a:gd name="T98" fmla="*/ 86 w 788"/>
                      <a:gd name="T99" fmla="*/ 147 h 841"/>
                      <a:gd name="T100" fmla="*/ 127 w 788"/>
                      <a:gd name="T101" fmla="*/ 128 h 841"/>
                      <a:gd name="T102" fmla="*/ 149 w 788"/>
                      <a:gd name="T103" fmla="*/ 133 h 841"/>
                      <a:gd name="T104" fmla="*/ 187 w 788"/>
                      <a:gd name="T105" fmla="*/ 100 h 841"/>
                      <a:gd name="T106" fmla="*/ 214 w 788"/>
                      <a:gd name="T107" fmla="*/ 70 h 841"/>
                      <a:gd name="T108" fmla="*/ 254 w 788"/>
                      <a:gd name="T109" fmla="*/ 52 h 841"/>
                      <a:gd name="T110" fmla="*/ 306 w 788"/>
                      <a:gd name="T111" fmla="*/ 49 h 841"/>
                      <a:gd name="T112" fmla="*/ 365 w 788"/>
                      <a:gd name="T113" fmla="*/ 35 h 841"/>
                      <a:gd name="T114" fmla="*/ 420 w 788"/>
                      <a:gd name="T115" fmla="*/ 33 h 841"/>
                      <a:gd name="T116" fmla="*/ 480 w 788"/>
                      <a:gd name="T117" fmla="*/ 19 h 841"/>
                      <a:gd name="T118" fmla="*/ 525 w 788"/>
                      <a:gd name="T119" fmla="*/ 3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88" h="841">
                        <a:moveTo>
                          <a:pt x="788" y="828"/>
                        </a:moveTo>
                        <a:lnTo>
                          <a:pt x="786" y="828"/>
                        </a:lnTo>
                        <a:lnTo>
                          <a:pt x="786" y="830"/>
                        </a:lnTo>
                        <a:lnTo>
                          <a:pt x="785" y="831"/>
                        </a:lnTo>
                        <a:lnTo>
                          <a:pt x="783" y="831"/>
                        </a:lnTo>
                        <a:lnTo>
                          <a:pt x="781" y="831"/>
                        </a:lnTo>
                        <a:lnTo>
                          <a:pt x="780" y="831"/>
                        </a:lnTo>
                        <a:lnTo>
                          <a:pt x="778" y="831"/>
                        </a:lnTo>
                        <a:lnTo>
                          <a:pt x="778" y="833"/>
                        </a:lnTo>
                        <a:lnTo>
                          <a:pt x="777" y="833"/>
                        </a:lnTo>
                        <a:lnTo>
                          <a:pt x="775" y="833"/>
                        </a:lnTo>
                        <a:lnTo>
                          <a:pt x="775" y="835"/>
                        </a:lnTo>
                        <a:lnTo>
                          <a:pt x="775" y="836"/>
                        </a:lnTo>
                        <a:lnTo>
                          <a:pt x="774" y="836"/>
                        </a:lnTo>
                        <a:lnTo>
                          <a:pt x="774" y="838"/>
                        </a:lnTo>
                        <a:lnTo>
                          <a:pt x="772" y="839"/>
                        </a:lnTo>
                        <a:lnTo>
                          <a:pt x="770" y="841"/>
                        </a:lnTo>
                        <a:lnTo>
                          <a:pt x="769" y="841"/>
                        </a:lnTo>
                        <a:lnTo>
                          <a:pt x="769" y="839"/>
                        </a:lnTo>
                        <a:lnTo>
                          <a:pt x="767" y="839"/>
                        </a:lnTo>
                        <a:lnTo>
                          <a:pt x="766" y="839"/>
                        </a:lnTo>
                        <a:lnTo>
                          <a:pt x="764" y="839"/>
                        </a:lnTo>
                        <a:lnTo>
                          <a:pt x="762" y="839"/>
                        </a:lnTo>
                        <a:lnTo>
                          <a:pt x="762" y="841"/>
                        </a:lnTo>
                        <a:lnTo>
                          <a:pt x="761" y="839"/>
                        </a:lnTo>
                        <a:lnTo>
                          <a:pt x="759" y="839"/>
                        </a:lnTo>
                        <a:lnTo>
                          <a:pt x="759" y="838"/>
                        </a:lnTo>
                        <a:lnTo>
                          <a:pt x="758" y="838"/>
                        </a:lnTo>
                        <a:lnTo>
                          <a:pt x="756" y="838"/>
                        </a:lnTo>
                        <a:lnTo>
                          <a:pt x="756" y="836"/>
                        </a:lnTo>
                        <a:lnTo>
                          <a:pt x="754" y="836"/>
                        </a:lnTo>
                        <a:lnTo>
                          <a:pt x="754" y="835"/>
                        </a:lnTo>
                        <a:lnTo>
                          <a:pt x="753" y="835"/>
                        </a:lnTo>
                        <a:lnTo>
                          <a:pt x="753" y="833"/>
                        </a:lnTo>
                        <a:lnTo>
                          <a:pt x="751" y="833"/>
                        </a:lnTo>
                        <a:lnTo>
                          <a:pt x="751" y="831"/>
                        </a:lnTo>
                        <a:lnTo>
                          <a:pt x="750" y="830"/>
                        </a:lnTo>
                        <a:lnTo>
                          <a:pt x="750" y="828"/>
                        </a:lnTo>
                        <a:lnTo>
                          <a:pt x="750" y="827"/>
                        </a:lnTo>
                        <a:lnTo>
                          <a:pt x="748" y="827"/>
                        </a:lnTo>
                        <a:lnTo>
                          <a:pt x="748" y="825"/>
                        </a:lnTo>
                        <a:lnTo>
                          <a:pt x="748" y="824"/>
                        </a:lnTo>
                        <a:lnTo>
                          <a:pt x="747" y="822"/>
                        </a:lnTo>
                        <a:lnTo>
                          <a:pt x="747" y="820"/>
                        </a:lnTo>
                        <a:lnTo>
                          <a:pt x="747" y="819"/>
                        </a:lnTo>
                        <a:lnTo>
                          <a:pt x="747" y="817"/>
                        </a:lnTo>
                        <a:lnTo>
                          <a:pt x="745" y="816"/>
                        </a:lnTo>
                        <a:lnTo>
                          <a:pt x="743" y="816"/>
                        </a:lnTo>
                        <a:lnTo>
                          <a:pt x="743" y="817"/>
                        </a:lnTo>
                        <a:lnTo>
                          <a:pt x="742" y="817"/>
                        </a:lnTo>
                        <a:lnTo>
                          <a:pt x="740" y="817"/>
                        </a:lnTo>
                        <a:lnTo>
                          <a:pt x="740" y="816"/>
                        </a:lnTo>
                        <a:lnTo>
                          <a:pt x="739" y="816"/>
                        </a:lnTo>
                        <a:lnTo>
                          <a:pt x="737" y="816"/>
                        </a:lnTo>
                        <a:lnTo>
                          <a:pt x="735" y="816"/>
                        </a:lnTo>
                        <a:lnTo>
                          <a:pt x="734" y="816"/>
                        </a:lnTo>
                        <a:lnTo>
                          <a:pt x="732" y="816"/>
                        </a:lnTo>
                        <a:lnTo>
                          <a:pt x="731" y="816"/>
                        </a:lnTo>
                        <a:lnTo>
                          <a:pt x="729" y="814"/>
                        </a:lnTo>
                        <a:lnTo>
                          <a:pt x="728" y="814"/>
                        </a:lnTo>
                        <a:lnTo>
                          <a:pt x="726" y="814"/>
                        </a:lnTo>
                        <a:lnTo>
                          <a:pt x="726" y="816"/>
                        </a:lnTo>
                        <a:lnTo>
                          <a:pt x="724" y="816"/>
                        </a:lnTo>
                        <a:lnTo>
                          <a:pt x="723" y="816"/>
                        </a:lnTo>
                        <a:lnTo>
                          <a:pt x="721" y="816"/>
                        </a:lnTo>
                        <a:lnTo>
                          <a:pt x="720" y="816"/>
                        </a:lnTo>
                        <a:lnTo>
                          <a:pt x="716" y="816"/>
                        </a:lnTo>
                        <a:lnTo>
                          <a:pt x="716" y="814"/>
                        </a:lnTo>
                        <a:lnTo>
                          <a:pt x="715" y="814"/>
                        </a:lnTo>
                        <a:lnTo>
                          <a:pt x="713" y="814"/>
                        </a:lnTo>
                        <a:lnTo>
                          <a:pt x="712" y="814"/>
                        </a:lnTo>
                        <a:lnTo>
                          <a:pt x="710" y="812"/>
                        </a:lnTo>
                        <a:lnTo>
                          <a:pt x="709" y="812"/>
                        </a:lnTo>
                        <a:lnTo>
                          <a:pt x="707" y="812"/>
                        </a:lnTo>
                        <a:lnTo>
                          <a:pt x="707" y="811"/>
                        </a:lnTo>
                        <a:lnTo>
                          <a:pt x="705" y="811"/>
                        </a:lnTo>
                        <a:lnTo>
                          <a:pt x="704" y="811"/>
                        </a:lnTo>
                        <a:lnTo>
                          <a:pt x="702" y="811"/>
                        </a:lnTo>
                        <a:lnTo>
                          <a:pt x="701" y="812"/>
                        </a:lnTo>
                        <a:lnTo>
                          <a:pt x="699" y="812"/>
                        </a:lnTo>
                        <a:lnTo>
                          <a:pt x="699" y="814"/>
                        </a:lnTo>
                        <a:lnTo>
                          <a:pt x="697" y="814"/>
                        </a:lnTo>
                        <a:lnTo>
                          <a:pt x="696" y="816"/>
                        </a:lnTo>
                        <a:lnTo>
                          <a:pt x="694" y="816"/>
                        </a:lnTo>
                        <a:lnTo>
                          <a:pt x="694" y="817"/>
                        </a:lnTo>
                        <a:lnTo>
                          <a:pt x="693" y="817"/>
                        </a:lnTo>
                        <a:lnTo>
                          <a:pt x="691" y="817"/>
                        </a:lnTo>
                        <a:lnTo>
                          <a:pt x="690" y="817"/>
                        </a:lnTo>
                        <a:lnTo>
                          <a:pt x="688" y="819"/>
                        </a:lnTo>
                        <a:lnTo>
                          <a:pt x="686" y="817"/>
                        </a:lnTo>
                        <a:lnTo>
                          <a:pt x="685" y="817"/>
                        </a:lnTo>
                        <a:lnTo>
                          <a:pt x="683" y="817"/>
                        </a:lnTo>
                        <a:lnTo>
                          <a:pt x="683" y="816"/>
                        </a:lnTo>
                        <a:lnTo>
                          <a:pt x="683" y="814"/>
                        </a:lnTo>
                        <a:lnTo>
                          <a:pt x="683" y="812"/>
                        </a:lnTo>
                        <a:lnTo>
                          <a:pt x="682" y="812"/>
                        </a:lnTo>
                        <a:lnTo>
                          <a:pt x="682" y="811"/>
                        </a:lnTo>
                        <a:lnTo>
                          <a:pt x="682" y="809"/>
                        </a:lnTo>
                        <a:lnTo>
                          <a:pt x="680" y="808"/>
                        </a:lnTo>
                        <a:lnTo>
                          <a:pt x="680" y="806"/>
                        </a:lnTo>
                        <a:lnTo>
                          <a:pt x="678" y="805"/>
                        </a:lnTo>
                        <a:lnTo>
                          <a:pt x="678" y="803"/>
                        </a:lnTo>
                        <a:lnTo>
                          <a:pt x="677" y="801"/>
                        </a:lnTo>
                        <a:lnTo>
                          <a:pt x="677" y="800"/>
                        </a:lnTo>
                        <a:lnTo>
                          <a:pt x="675" y="798"/>
                        </a:lnTo>
                        <a:lnTo>
                          <a:pt x="675" y="797"/>
                        </a:lnTo>
                        <a:lnTo>
                          <a:pt x="675" y="795"/>
                        </a:lnTo>
                        <a:lnTo>
                          <a:pt x="674" y="795"/>
                        </a:lnTo>
                        <a:lnTo>
                          <a:pt x="674" y="793"/>
                        </a:lnTo>
                        <a:lnTo>
                          <a:pt x="674" y="792"/>
                        </a:lnTo>
                        <a:lnTo>
                          <a:pt x="672" y="792"/>
                        </a:lnTo>
                        <a:lnTo>
                          <a:pt x="672" y="790"/>
                        </a:lnTo>
                        <a:lnTo>
                          <a:pt x="671" y="789"/>
                        </a:lnTo>
                        <a:lnTo>
                          <a:pt x="671" y="787"/>
                        </a:lnTo>
                        <a:lnTo>
                          <a:pt x="671" y="786"/>
                        </a:lnTo>
                        <a:lnTo>
                          <a:pt x="671" y="784"/>
                        </a:lnTo>
                        <a:lnTo>
                          <a:pt x="669" y="784"/>
                        </a:lnTo>
                        <a:lnTo>
                          <a:pt x="669" y="782"/>
                        </a:lnTo>
                        <a:lnTo>
                          <a:pt x="667" y="781"/>
                        </a:lnTo>
                        <a:lnTo>
                          <a:pt x="667" y="779"/>
                        </a:lnTo>
                        <a:lnTo>
                          <a:pt x="666" y="778"/>
                        </a:lnTo>
                        <a:lnTo>
                          <a:pt x="666" y="776"/>
                        </a:lnTo>
                        <a:lnTo>
                          <a:pt x="666" y="774"/>
                        </a:lnTo>
                        <a:lnTo>
                          <a:pt x="664" y="773"/>
                        </a:lnTo>
                        <a:lnTo>
                          <a:pt x="664" y="771"/>
                        </a:lnTo>
                        <a:lnTo>
                          <a:pt x="663" y="771"/>
                        </a:lnTo>
                        <a:lnTo>
                          <a:pt x="663" y="770"/>
                        </a:lnTo>
                        <a:lnTo>
                          <a:pt x="663" y="768"/>
                        </a:lnTo>
                        <a:lnTo>
                          <a:pt x="661" y="768"/>
                        </a:lnTo>
                        <a:lnTo>
                          <a:pt x="661" y="767"/>
                        </a:lnTo>
                        <a:lnTo>
                          <a:pt x="661" y="765"/>
                        </a:lnTo>
                        <a:lnTo>
                          <a:pt x="659" y="765"/>
                        </a:lnTo>
                        <a:lnTo>
                          <a:pt x="659" y="763"/>
                        </a:lnTo>
                        <a:lnTo>
                          <a:pt x="659" y="762"/>
                        </a:lnTo>
                        <a:lnTo>
                          <a:pt x="659" y="760"/>
                        </a:lnTo>
                        <a:lnTo>
                          <a:pt x="658" y="760"/>
                        </a:lnTo>
                        <a:lnTo>
                          <a:pt x="658" y="759"/>
                        </a:lnTo>
                        <a:lnTo>
                          <a:pt x="656" y="757"/>
                        </a:lnTo>
                        <a:lnTo>
                          <a:pt x="656" y="755"/>
                        </a:lnTo>
                        <a:lnTo>
                          <a:pt x="655" y="754"/>
                        </a:lnTo>
                        <a:lnTo>
                          <a:pt x="655" y="752"/>
                        </a:lnTo>
                        <a:lnTo>
                          <a:pt x="653" y="751"/>
                        </a:lnTo>
                        <a:lnTo>
                          <a:pt x="653" y="749"/>
                        </a:lnTo>
                        <a:lnTo>
                          <a:pt x="653" y="748"/>
                        </a:lnTo>
                        <a:lnTo>
                          <a:pt x="652" y="746"/>
                        </a:lnTo>
                        <a:lnTo>
                          <a:pt x="652" y="744"/>
                        </a:lnTo>
                        <a:lnTo>
                          <a:pt x="650" y="743"/>
                        </a:lnTo>
                        <a:lnTo>
                          <a:pt x="650" y="741"/>
                        </a:lnTo>
                        <a:lnTo>
                          <a:pt x="650" y="740"/>
                        </a:lnTo>
                        <a:lnTo>
                          <a:pt x="648" y="740"/>
                        </a:lnTo>
                        <a:lnTo>
                          <a:pt x="648" y="738"/>
                        </a:lnTo>
                        <a:lnTo>
                          <a:pt x="648" y="736"/>
                        </a:lnTo>
                        <a:lnTo>
                          <a:pt x="647" y="736"/>
                        </a:lnTo>
                        <a:lnTo>
                          <a:pt x="647" y="735"/>
                        </a:lnTo>
                        <a:lnTo>
                          <a:pt x="647" y="733"/>
                        </a:lnTo>
                        <a:lnTo>
                          <a:pt x="645" y="733"/>
                        </a:lnTo>
                        <a:lnTo>
                          <a:pt x="644" y="733"/>
                        </a:lnTo>
                        <a:lnTo>
                          <a:pt x="642" y="733"/>
                        </a:lnTo>
                        <a:lnTo>
                          <a:pt x="640" y="733"/>
                        </a:lnTo>
                        <a:lnTo>
                          <a:pt x="640" y="732"/>
                        </a:lnTo>
                        <a:lnTo>
                          <a:pt x="639" y="732"/>
                        </a:lnTo>
                        <a:lnTo>
                          <a:pt x="637" y="730"/>
                        </a:lnTo>
                        <a:lnTo>
                          <a:pt x="636" y="730"/>
                        </a:lnTo>
                        <a:lnTo>
                          <a:pt x="634" y="730"/>
                        </a:lnTo>
                        <a:lnTo>
                          <a:pt x="633" y="730"/>
                        </a:lnTo>
                        <a:lnTo>
                          <a:pt x="631" y="730"/>
                        </a:lnTo>
                        <a:lnTo>
                          <a:pt x="631" y="732"/>
                        </a:lnTo>
                        <a:lnTo>
                          <a:pt x="629" y="732"/>
                        </a:lnTo>
                        <a:lnTo>
                          <a:pt x="628" y="732"/>
                        </a:lnTo>
                        <a:lnTo>
                          <a:pt x="628" y="733"/>
                        </a:lnTo>
                        <a:lnTo>
                          <a:pt x="628" y="735"/>
                        </a:lnTo>
                        <a:lnTo>
                          <a:pt x="626" y="735"/>
                        </a:lnTo>
                        <a:lnTo>
                          <a:pt x="626" y="736"/>
                        </a:lnTo>
                        <a:lnTo>
                          <a:pt x="625" y="736"/>
                        </a:lnTo>
                        <a:lnTo>
                          <a:pt x="626" y="736"/>
                        </a:lnTo>
                        <a:lnTo>
                          <a:pt x="625" y="736"/>
                        </a:lnTo>
                        <a:lnTo>
                          <a:pt x="623" y="736"/>
                        </a:lnTo>
                        <a:lnTo>
                          <a:pt x="623" y="735"/>
                        </a:lnTo>
                        <a:lnTo>
                          <a:pt x="621" y="735"/>
                        </a:lnTo>
                        <a:lnTo>
                          <a:pt x="620" y="735"/>
                        </a:lnTo>
                        <a:lnTo>
                          <a:pt x="620" y="733"/>
                        </a:lnTo>
                        <a:lnTo>
                          <a:pt x="617" y="735"/>
                        </a:lnTo>
                        <a:lnTo>
                          <a:pt x="615" y="735"/>
                        </a:lnTo>
                        <a:lnTo>
                          <a:pt x="614" y="735"/>
                        </a:lnTo>
                        <a:lnTo>
                          <a:pt x="614" y="736"/>
                        </a:lnTo>
                        <a:lnTo>
                          <a:pt x="612" y="736"/>
                        </a:lnTo>
                        <a:lnTo>
                          <a:pt x="610" y="736"/>
                        </a:lnTo>
                        <a:lnTo>
                          <a:pt x="610" y="738"/>
                        </a:lnTo>
                        <a:lnTo>
                          <a:pt x="609" y="738"/>
                        </a:lnTo>
                        <a:lnTo>
                          <a:pt x="607" y="738"/>
                        </a:lnTo>
                        <a:lnTo>
                          <a:pt x="606" y="738"/>
                        </a:lnTo>
                        <a:lnTo>
                          <a:pt x="604" y="738"/>
                        </a:lnTo>
                        <a:lnTo>
                          <a:pt x="602" y="736"/>
                        </a:lnTo>
                        <a:lnTo>
                          <a:pt x="601" y="736"/>
                        </a:lnTo>
                        <a:lnTo>
                          <a:pt x="599" y="736"/>
                        </a:lnTo>
                        <a:lnTo>
                          <a:pt x="599" y="735"/>
                        </a:lnTo>
                        <a:lnTo>
                          <a:pt x="596" y="735"/>
                        </a:lnTo>
                        <a:lnTo>
                          <a:pt x="595" y="735"/>
                        </a:lnTo>
                        <a:lnTo>
                          <a:pt x="593" y="735"/>
                        </a:lnTo>
                        <a:lnTo>
                          <a:pt x="591" y="735"/>
                        </a:lnTo>
                        <a:lnTo>
                          <a:pt x="590" y="735"/>
                        </a:lnTo>
                        <a:lnTo>
                          <a:pt x="588" y="736"/>
                        </a:lnTo>
                        <a:lnTo>
                          <a:pt x="587" y="736"/>
                        </a:lnTo>
                        <a:lnTo>
                          <a:pt x="587" y="738"/>
                        </a:lnTo>
                        <a:lnTo>
                          <a:pt x="585" y="738"/>
                        </a:lnTo>
                        <a:lnTo>
                          <a:pt x="583" y="740"/>
                        </a:lnTo>
                        <a:lnTo>
                          <a:pt x="582" y="740"/>
                        </a:lnTo>
                        <a:lnTo>
                          <a:pt x="582" y="741"/>
                        </a:lnTo>
                        <a:lnTo>
                          <a:pt x="580" y="741"/>
                        </a:lnTo>
                        <a:lnTo>
                          <a:pt x="579" y="741"/>
                        </a:lnTo>
                        <a:lnTo>
                          <a:pt x="579" y="743"/>
                        </a:lnTo>
                        <a:lnTo>
                          <a:pt x="577" y="743"/>
                        </a:lnTo>
                        <a:lnTo>
                          <a:pt x="576" y="743"/>
                        </a:lnTo>
                        <a:lnTo>
                          <a:pt x="574" y="744"/>
                        </a:lnTo>
                        <a:lnTo>
                          <a:pt x="572" y="744"/>
                        </a:lnTo>
                        <a:lnTo>
                          <a:pt x="571" y="744"/>
                        </a:lnTo>
                        <a:lnTo>
                          <a:pt x="571" y="746"/>
                        </a:lnTo>
                        <a:lnTo>
                          <a:pt x="569" y="746"/>
                        </a:lnTo>
                        <a:lnTo>
                          <a:pt x="568" y="746"/>
                        </a:lnTo>
                        <a:lnTo>
                          <a:pt x="568" y="748"/>
                        </a:lnTo>
                        <a:lnTo>
                          <a:pt x="566" y="748"/>
                        </a:lnTo>
                        <a:lnTo>
                          <a:pt x="566" y="749"/>
                        </a:lnTo>
                        <a:lnTo>
                          <a:pt x="564" y="749"/>
                        </a:lnTo>
                        <a:lnTo>
                          <a:pt x="564" y="751"/>
                        </a:lnTo>
                        <a:lnTo>
                          <a:pt x="563" y="751"/>
                        </a:lnTo>
                        <a:lnTo>
                          <a:pt x="561" y="752"/>
                        </a:lnTo>
                        <a:lnTo>
                          <a:pt x="561" y="754"/>
                        </a:lnTo>
                        <a:lnTo>
                          <a:pt x="561" y="755"/>
                        </a:lnTo>
                        <a:lnTo>
                          <a:pt x="563" y="757"/>
                        </a:lnTo>
                        <a:lnTo>
                          <a:pt x="563" y="759"/>
                        </a:lnTo>
                        <a:lnTo>
                          <a:pt x="563" y="760"/>
                        </a:lnTo>
                        <a:lnTo>
                          <a:pt x="561" y="762"/>
                        </a:lnTo>
                        <a:lnTo>
                          <a:pt x="560" y="762"/>
                        </a:lnTo>
                        <a:lnTo>
                          <a:pt x="560" y="763"/>
                        </a:lnTo>
                        <a:lnTo>
                          <a:pt x="558" y="763"/>
                        </a:lnTo>
                        <a:lnTo>
                          <a:pt x="556" y="763"/>
                        </a:lnTo>
                        <a:lnTo>
                          <a:pt x="555" y="765"/>
                        </a:lnTo>
                        <a:lnTo>
                          <a:pt x="553" y="765"/>
                        </a:lnTo>
                        <a:lnTo>
                          <a:pt x="552" y="767"/>
                        </a:lnTo>
                        <a:lnTo>
                          <a:pt x="550" y="767"/>
                        </a:lnTo>
                        <a:lnTo>
                          <a:pt x="549" y="767"/>
                        </a:lnTo>
                        <a:lnTo>
                          <a:pt x="547" y="768"/>
                        </a:lnTo>
                        <a:lnTo>
                          <a:pt x="545" y="770"/>
                        </a:lnTo>
                        <a:lnTo>
                          <a:pt x="542" y="771"/>
                        </a:lnTo>
                        <a:lnTo>
                          <a:pt x="541" y="773"/>
                        </a:lnTo>
                        <a:lnTo>
                          <a:pt x="541" y="774"/>
                        </a:lnTo>
                        <a:lnTo>
                          <a:pt x="539" y="774"/>
                        </a:lnTo>
                        <a:lnTo>
                          <a:pt x="537" y="776"/>
                        </a:lnTo>
                        <a:lnTo>
                          <a:pt x="537" y="778"/>
                        </a:lnTo>
                        <a:lnTo>
                          <a:pt x="536" y="778"/>
                        </a:lnTo>
                        <a:lnTo>
                          <a:pt x="534" y="779"/>
                        </a:lnTo>
                        <a:lnTo>
                          <a:pt x="533" y="779"/>
                        </a:lnTo>
                        <a:lnTo>
                          <a:pt x="530" y="782"/>
                        </a:lnTo>
                        <a:lnTo>
                          <a:pt x="528" y="784"/>
                        </a:lnTo>
                        <a:lnTo>
                          <a:pt x="526" y="784"/>
                        </a:lnTo>
                        <a:lnTo>
                          <a:pt x="526" y="786"/>
                        </a:lnTo>
                        <a:lnTo>
                          <a:pt x="525" y="786"/>
                        </a:lnTo>
                        <a:lnTo>
                          <a:pt x="525" y="787"/>
                        </a:lnTo>
                        <a:lnTo>
                          <a:pt x="523" y="789"/>
                        </a:lnTo>
                        <a:lnTo>
                          <a:pt x="522" y="789"/>
                        </a:lnTo>
                        <a:lnTo>
                          <a:pt x="520" y="790"/>
                        </a:lnTo>
                        <a:lnTo>
                          <a:pt x="518" y="790"/>
                        </a:lnTo>
                        <a:lnTo>
                          <a:pt x="518" y="792"/>
                        </a:lnTo>
                        <a:lnTo>
                          <a:pt x="517" y="792"/>
                        </a:lnTo>
                        <a:lnTo>
                          <a:pt x="515" y="792"/>
                        </a:lnTo>
                        <a:lnTo>
                          <a:pt x="514" y="792"/>
                        </a:lnTo>
                        <a:lnTo>
                          <a:pt x="512" y="792"/>
                        </a:lnTo>
                        <a:lnTo>
                          <a:pt x="511" y="792"/>
                        </a:lnTo>
                        <a:lnTo>
                          <a:pt x="509" y="792"/>
                        </a:lnTo>
                        <a:lnTo>
                          <a:pt x="507" y="792"/>
                        </a:lnTo>
                        <a:lnTo>
                          <a:pt x="506" y="792"/>
                        </a:lnTo>
                        <a:lnTo>
                          <a:pt x="504" y="792"/>
                        </a:lnTo>
                        <a:lnTo>
                          <a:pt x="503" y="792"/>
                        </a:lnTo>
                        <a:lnTo>
                          <a:pt x="501" y="792"/>
                        </a:lnTo>
                        <a:lnTo>
                          <a:pt x="499" y="792"/>
                        </a:lnTo>
                        <a:lnTo>
                          <a:pt x="498" y="790"/>
                        </a:lnTo>
                        <a:lnTo>
                          <a:pt x="496" y="789"/>
                        </a:lnTo>
                        <a:lnTo>
                          <a:pt x="496" y="787"/>
                        </a:lnTo>
                        <a:lnTo>
                          <a:pt x="495" y="787"/>
                        </a:lnTo>
                        <a:lnTo>
                          <a:pt x="495" y="786"/>
                        </a:lnTo>
                        <a:lnTo>
                          <a:pt x="493" y="784"/>
                        </a:lnTo>
                        <a:lnTo>
                          <a:pt x="492" y="784"/>
                        </a:lnTo>
                        <a:lnTo>
                          <a:pt x="490" y="784"/>
                        </a:lnTo>
                        <a:lnTo>
                          <a:pt x="490" y="782"/>
                        </a:lnTo>
                        <a:lnTo>
                          <a:pt x="488" y="781"/>
                        </a:lnTo>
                        <a:lnTo>
                          <a:pt x="487" y="781"/>
                        </a:lnTo>
                        <a:lnTo>
                          <a:pt x="485" y="779"/>
                        </a:lnTo>
                        <a:lnTo>
                          <a:pt x="484" y="779"/>
                        </a:lnTo>
                        <a:lnTo>
                          <a:pt x="482" y="779"/>
                        </a:lnTo>
                        <a:lnTo>
                          <a:pt x="480" y="779"/>
                        </a:lnTo>
                        <a:lnTo>
                          <a:pt x="479" y="779"/>
                        </a:lnTo>
                        <a:lnTo>
                          <a:pt x="477" y="779"/>
                        </a:lnTo>
                        <a:lnTo>
                          <a:pt x="476" y="778"/>
                        </a:lnTo>
                        <a:lnTo>
                          <a:pt x="474" y="778"/>
                        </a:lnTo>
                        <a:lnTo>
                          <a:pt x="474" y="776"/>
                        </a:lnTo>
                        <a:lnTo>
                          <a:pt x="473" y="776"/>
                        </a:lnTo>
                        <a:lnTo>
                          <a:pt x="471" y="774"/>
                        </a:lnTo>
                        <a:lnTo>
                          <a:pt x="469" y="774"/>
                        </a:lnTo>
                        <a:lnTo>
                          <a:pt x="469" y="773"/>
                        </a:lnTo>
                        <a:lnTo>
                          <a:pt x="468" y="771"/>
                        </a:lnTo>
                        <a:lnTo>
                          <a:pt x="469" y="770"/>
                        </a:lnTo>
                        <a:lnTo>
                          <a:pt x="469" y="768"/>
                        </a:lnTo>
                        <a:lnTo>
                          <a:pt x="469" y="767"/>
                        </a:lnTo>
                        <a:lnTo>
                          <a:pt x="469" y="765"/>
                        </a:lnTo>
                        <a:lnTo>
                          <a:pt x="468" y="765"/>
                        </a:lnTo>
                        <a:lnTo>
                          <a:pt x="468" y="763"/>
                        </a:lnTo>
                        <a:lnTo>
                          <a:pt x="468" y="762"/>
                        </a:lnTo>
                        <a:lnTo>
                          <a:pt x="466" y="760"/>
                        </a:lnTo>
                        <a:lnTo>
                          <a:pt x="466" y="759"/>
                        </a:lnTo>
                        <a:lnTo>
                          <a:pt x="465" y="759"/>
                        </a:lnTo>
                        <a:lnTo>
                          <a:pt x="463" y="757"/>
                        </a:lnTo>
                        <a:lnTo>
                          <a:pt x="461" y="757"/>
                        </a:lnTo>
                        <a:lnTo>
                          <a:pt x="461" y="755"/>
                        </a:lnTo>
                        <a:lnTo>
                          <a:pt x="460" y="754"/>
                        </a:lnTo>
                        <a:lnTo>
                          <a:pt x="460" y="752"/>
                        </a:lnTo>
                        <a:lnTo>
                          <a:pt x="458" y="752"/>
                        </a:lnTo>
                        <a:lnTo>
                          <a:pt x="458" y="751"/>
                        </a:lnTo>
                        <a:lnTo>
                          <a:pt x="458" y="749"/>
                        </a:lnTo>
                        <a:lnTo>
                          <a:pt x="458" y="748"/>
                        </a:lnTo>
                        <a:lnTo>
                          <a:pt x="458" y="746"/>
                        </a:lnTo>
                        <a:lnTo>
                          <a:pt x="458" y="744"/>
                        </a:lnTo>
                        <a:lnTo>
                          <a:pt x="458" y="743"/>
                        </a:lnTo>
                        <a:lnTo>
                          <a:pt x="457" y="741"/>
                        </a:lnTo>
                        <a:lnTo>
                          <a:pt x="457" y="740"/>
                        </a:lnTo>
                        <a:lnTo>
                          <a:pt x="455" y="740"/>
                        </a:lnTo>
                        <a:lnTo>
                          <a:pt x="454" y="740"/>
                        </a:lnTo>
                        <a:lnTo>
                          <a:pt x="454" y="738"/>
                        </a:lnTo>
                        <a:lnTo>
                          <a:pt x="452" y="738"/>
                        </a:lnTo>
                        <a:lnTo>
                          <a:pt x="452" y="736"/>
                        </a:lnTo>
                        <a:lnTo>
                          <a:pt x="452" y="735"/>
                        </a:lnTo>
                        <a:lnTo>
                          <a:pt x="452" y="733"/>
                        </a:lnTo>
                        <a:lnTo>
                          <a:pt x="450" y="733"/>
                        </a:lnTo>
                        <a:lnTo>
                          <a:pt x="450" y="732"/>
                        </a:lnTo>
                        <a:lnTo>
                          <a:pt x="449" y="732"/>
                        </a:lnTo>
                        <a:lnTo>
                          <a:pt x="447" y="732"/>
                        </a:lnTo>
                        <a:lnTo>
                          <a:pt x="446" y="732"/>
                        </a:lnTo>
                        <a:lnTo>
                          <a:pt x="444" y="732"/>
                        </a:lnTo>
                        <a:lnTo>
                          <a:pt x="442" y="732"/>
                        </a:lnTo>
                        <a:lnTo>
                          <a:pt x="441" y="732"/>
                        </a:lnTo>
                        <a:lnTo>
                          <a:pt x="439" y="732"/>
                        </a:lnTo>
                        <a:lnTo>
                          <a:pt x="439" y="730"/>
                        </a:lnTo>
                        <a:lnTo>
                          <a:pt x="438" y="730"/>
                        </a:lnTo>
                        <a:lnTo>
                          <a:pt x="436" y="730"/>
                        </a:lnTo>
                        <a:lnTo>
                          <a:pt x="435" y="730"/>
                        </a:lnTo>
                        <a:lnTo>
                          <a:pt x="431" y="730"/>
                        </a:lnTo>
                        <a:lnTo>
                          <a:pt x="430" y="730"/>
                        </a:lnTo>
                        <a:lnTo>
                          <a:pt x="428" y="730"/>
                        </a:lnTo>
                        <a:lnTo>
                          <a:pt x="427" y="730"/>
                        </a:lnTo>
                        <a:lnTo>
                          <a:pt x="425" y="730"/>
                        </a:lnTo>
                        <a:lnTo>
                          <a:pt x="423" y="730"/>
                        </a:lnTo>
                        <a:lnTo>
                          <a:pt x="422" y="730"/>
                        </a:lnTo>
                        <a:lnTo>
                          <a:pt x="420" y="730"/>
                        </a:lnTo>
                        <a:lnTo>
                          <a:pt x="419" y="729"/>
                        </a:lnTo>
                        <a:lnTo>
                          <a:pt x="417" y="729"/>
                        </a:lnTo>
                        <a:lnTo>
                          <a:pt x="416" y="729"/>
                        </a:lnTo>
                        <a:lnTo>
                          <a:pt x="414" y="729"/>
                        </a:lnTo>
                        <a:lnTo>
                          <a:pt x="412" y="729"/>
                        </a:lnTo>
                        <a:lnTo>
                          <a:pt x="411" y="729"/>
                        </a:lnTo>
                        <a:lnTo>
                          <a:pt x="409" y="729"/>
                        </a:lnTo>
                        <a:lnTo>
                          <a:pt x="408" y="729"/>
                        </a:lnTo>
                        <a:lnTo>
                          <a:pt x="406" y="729"/>
                        </a:lnTo>
                        <a:lnTo>
                          <a:pt x="404" y="729"/>
                        </a:lnTo>
                        <a:lnTo>
                          <a:pt x="403" y="729"/>
                        </a:lnTo>
                        <a:lnTo>
                          <a:pt x="401" y="729"/>
                        </a:lnTo>
                        <a:lnTo>
                          <a:pt x="400" y="729"/>
                        </a:lnTo>
                        <a:lnTo>
                          <a:pt x="398" y="729"/>
                        </a:lnTo>
                        <a:lnTo>
                          <a:pt x="395" y="729"/>
                        </a:lnTo>
                        <a:lnTo>
                          <a:pt x="395" y="730"/>
                        </a:lnTo>
                        <a:lnTo>
                          <a:pt x="393" y="730"/>
                        </a:lnTo>
                        <a:lnTo>
                          <a:pt x="392" y="732"/>
                        </a:lnTo>
                        <a:lnTo>
                          <a:pt x="390" y="732"/>
                        </a:lnTo>
                        <a:lnTo>
                          <a:pt x="390" y="733"/>
                        </a:lnTo>
                        <a:lnTo>
                          <a:pt x="389" y="733"/>
                        </a:lnTo>
                        <a:lnTo>
                          <a:pt x="387" y="733"/>
                        </a:lnTo>
                        <a:lnTo>
                          <a:pt x="387" y="732"/>
                        </a:lnTo>
                        <a:lnTo>
                          <a:pt x="385" y="732"/>
                        </a:lnTo>
                        <a:lnTo>
                          <a:pt x="385" y="730"/>
                        </a:lnTo>
                        <a:lnTo>
                          <a:pt x="385" y="729"/>
                        </a:lnTo>
                        <a:lnTo>
                          <a:pt x="384" y="729"/>
                        </a:lnTo>
                        <a:lnTo>
                          <a:pt x="382" y="729"/>
                        </a:lnTo>
                        <a:lnTo>
                          <a:pt x="381" y="729"/>
                        </a:lnTo>
                        <a:lnTo>
                          <a:pt x="379" y="729"/>
                        </a:lnTo>
                        <a:lnTo>
                          <a:pt x="377" y="729"/>
                        </a:lnTo>
                        <a:lnTo>
                          <a:pt x="376" y="729"/>
                        </a:lnTo>
                        <a:lnTo>
                          <a:pt x="374" y="729"/>
                        </a:lnTo>
                        <a:lnTo>
                          <a:pt x="373" y="730"/>
                        </a:lnTo>
                        <a:lnTo>
                          <a:pt x="371" y="730"/>
                        </a:lnTo>
                        <a:lnTo>
                          <a:pt x="371" y="729"/>
                        </a:lnTo>
                        <a:lnTo>
                          <a:pt x="370" y="729"/>
                        </a:lnTo>
                        <a:lnTo>
                          <a:pt x="368" y="729"/>
                        </a:lnTo>
                        <a:lnTo>
                          <a:pt x="366" y="729"/>
                        </a:lnTo>
                        <a:lnTo>
                          <a:pt x="365" y="729"/>
                        </a:lnTo>
                        <a:lnTo>
                          <a:pt x="363" y="730"/>
                        </a:lnTo>
                        <a:lnTo>
                          <a:pt x="362" y="730"/>
                        </a:lnTo>
                        <a:lnTo>
                          <a:pt x="360" y="730"/>
                        </a:lnTo>
                        <a:lnTo>
                          <a:pt x="358" y="730"/>
                        </a:lnTo>
                        <a:lnTo>
                          <a:pt x="357" y="730"/>
                        </a:lnTo>
                        <a:lnTo>
                          <a:pt x="355" y="730"/>
                        </a:lnTo>
                        <a:lnTo>
                          <a:pt x="355" y="732"/>
                        </a:lnTo>
                        <a:lnTo>
                          <a:pt x="354" y="732"/>
                        </a:lnTo>
                        <a:lnTo>
                          <a:pt x="354" y="730"/>
                        </a:lnTo>
                        <a:lnTo>
                          <a:pt x="352" y="730"/>
                        </a:lnTo>
                        <a:lnTo>
                          <a:pt x="352" y="732"/>
                        </a:lnTo>
                        <a:lnTo>
                          <a:pt x="351" y="730"/>
                        </a:lnTo>
                        <a:lnTo>
                          <a:pt x="349" y="730"/>
                        </a:lnTo>
                        <a:lnTo>
                          <a:pt x="349" y="729"/>
                        </a:lnTo>
                        <a:lnTo>
                          <a:pt x="347" y="729"/>
                        </a:lnTo>
                        <a:lnTo>
                          <a:pt x="347" y="727"/>
                        </a:lnTo>
                        <a:lnTo>
                          <a:pt x="346" y="727"/>
                        </a:lnTo>
                        <a:lnTo>
                          <a:pt x="344" y="727"/>
                        </a:lnTo>
                        <a:lnTo>
                          <a:pt x="344" y="725"/>
                        </a:lnTo>
                        <a:lnTo>
                          <a:pt x="343" y="725"/>
                        </a:lnTo>
                        <a:lnTo>
                          <a:pt x="341" y="724"/>
                        </a:lnTo>
                        <a:lnTo>
                          <a:pt x="339" y="724"/>
                        </a:lnTo>
                        <a:lnTo>
                          <a:pt x="338" y="724"/>
                        </a:lnTo>
                        <a:lnTo>
                          <a:pt x="336" y="724"/>
                        </a:lnTo>
                        <a:lnTo>
                          <a:pt x="335" y="722"/>
                        </a:lnTo>
                        <a:lnTo>
                          <a:pt x="333" y="722"/>
                        </a:lnTo>
                        <a:lnTo>
                          <a:pt x="332" y="722"/>
                        </a:lnTo>
                        <a:lnTo>
                          <a:pt x="330" y="722"/>
                        </a:lnTo>
                        <a:lnTo>
                          <a:pt x="328" y="722"/>
                        </a:lnTo>
                        <a:lnTo>
                          <a:pt x="327" y="724"/>
                        </a:lnTo>
                        <a:lnTo>
                          <a:pt x="327" y="725"/>
                        </a:lnTo>
                        <a:lnTo>
                          <a:pt x="325" y="725"/>
                        </a:lnTo>
                        <a:lnTo>
                          <a:pt x="325" y="727"/>
                        </a:lnTo>
                        <a:lnTo>
                          <a:pt x="324" y="729"/>
                        </a:lnTo>
                        <a:lnTo>
                          <a:pt x="322" y="729"/>
                        </a:lnTo>
                        <a:lnTo>
                          <a:pt x="322" y="730"/>
                        </a:lnTo>
                        <a:lnTo>
                          <a:pt x="320" y="730"/>
                        </a:lnTo>
                        <a:lnTo>
                          <a:pt x="320" y="732"/>
                        </a:lnTo>
                        <a:lnTo>
                          <a:pt x="320" y="733"/>
                        </a:lnTo>
                        <a:lnTo>
                          <a:pt x="319" y="733"/>
                        </a:lnTo>
                        <a:lnTo>
                          <a:pt x="319" y="735"/>
                        </a:lnTo>
                        <a:lnTo>
                          <a:pt x="319" y="736"/>
                        </a:lnTo>
                        <a:lnTo>
                          <a:pt x="317" y="736"/>
                        </a:lnTo>
                        <a:lnTo>
                          <a:pt x="317" y="738"/>
                        </a:lnTo>
                        <a:lnTo>
                          <a:pt x="317" y="740"/>
                        </a:lnTo>
                        <a:lnTo>
                          <a:pt x="316" y="740"/>
                        </a:lnTo>
                        <a:lnTo>
                          <a:pt x="316" y="741"/>
                        </a:lnTo>
                        <a:lnTo>
                          <a:pt x="316" y="743"/>
                        </a:lnTo>
                        <a:lnTo>
                          <a:pt x="314" y="743"/>
                        </a:lnTo>
                        <a:lnTo>
                          <a:pt x="314" y="744"/>
                        </a:lnTo>
                        <a:lnTo>
                          <a:pt x="313" y="744"/>
                        </a:lnTo>
                        <a:lnTo>
                          <a:pt x="313" y="746"/>
                        </a:lnTo>
                        <a:lnTo>
                          <a:pt x="313" y="748"/>
                        </a:lnTo>
                        <a:lnTo>
                          <a:pt x="311" y="749"/>
                        </a:lnTo>
                        <a:lnTo>
                          <a:pt x="311" y="751"/>
                        </a:lnTo>
                        <a:lnTo>
                          <a:pt x="311" y="752"/>
                        </a:lnTo>
                        <a:lnTo>
                          <a:pt x="309" y="754"/>
                        </a:lnTo>
                        <a:lnTo>
                          <a:pt x="308" y="755"/>
                        </a:lnTo>
                        <a:lnTo>
                          <a:pt x="306" y="755"/>
                        </a:lnTo>
                        <a:lnTo>
                          <a:pt x="306" y="757"/>
                        </a:lnTo>
                        <a:lnTo>
                          <a:pt x="305" y="757"/>
                        </a:lnTo>
                        <a:lnTo>
                          <a:pt x="303" y="757"/>
                        </a:lnTo>
                        <a:lnTo>
                          <a:pt x="301" y="757"/>
                        </a:lnTo>
                        <a:lnTo>
                          <a:pt x="301" y="755"/>
                        </a:lnTo>
                        <a:lnTo>
                          <a:pt x="300" y="755"/>
                        </a:lnTo>
                        <a:lnTo>
                          <a:pt x="298" y="755"/>
                        </a:lnTo>
                        <a:lnTo>
                          <a:pt x="297" y="755"/>
                        </a:lnTo>
                        <a:lnTo>
                          <a:pt x="295" y="755"/>
                        </a:lnTo>
                        <a:lnTo>
                          <a:pt x="294" y="755"/>
                        </a:lnTo>
                        <a:lnTo>
                          <a:pt x="292" y="755"/>
                        </a:lnTo>
                        <a:lnTo>
                          <a:pt x="290" y="755"/>
                        </a:lnTo>
                        <a:lnTo>
                          <a:pt x="289" y="755"/>
                        </a:lnTo>
                        <a:lnTo>
                          <a:pt x="287" y="757"/>
                        </a:lnTo>
                        <a:lnTo>
                          <a:pt x="286" y="757"/>
                        </a:lnTo>
                        <a:lnTo>
                          <a:pt x="286" y="759"/>
                        </a:lnTo>
                        <a:lnTo>
                          <a:pt x="284" y="759"/>
                        </a:lnTo>
                        <a:lnTo>
                          <a:pt x="282" y="760"/>
                        </a:lnTo>
                        <a:lnTo>
                          <a:pt x="281" y="760"/>
                        </a:lnTo>
                        <a:lnTo>
                          <a:pt x="279" y="760"/>
                        </a:lnTo>
                        <a:lnTo>
                          <a:pt x="278" y="760"/>
                        </a:lnTo>
                        <a:lnTo>
                          <a:pt x="276" y="760"/>
                        </a:lnTo>
                        <a:lnTo>
                          <a:pt x="275" y="762"/>
                        </a:lnTo>
                        <a:lnTo>
                          <a:pt x="273" y="762"/>
                        </a:lnTo>
                        <a:lnTo>
                          <a:pt x="271" y="763"/>
                        </a:lnTo>
                        <a:lnTo>
                          <a:pt x="270" y="763"/>
                        </a:lnTo>
                        <a:lnTo>
                          <a:pt x="268" y="763"/>
                        </a:lnTo>
                        <a:lnTo>
                          <a:pt x="267" y="763"/>
                        </a:lnTo>
                        <a:lnTo>
                          <a:pt x="265" y="763"/>
                        </a:lnTo>
                        <a:lnTo>
                          <a:pt x="263" y="763"/>
                        </a:lnTo>
                        <a:lnTo>
                          <a:pt x="262" y="762"/>
                        </a:lnTo>
                        <a:lnTo>
                          <a:pt x="260" y="762"/>
                        </a:lnTo>
                        <a:lnTo>
                          <a:pt x="259" y="762"/>
                        </a:lnTo>
                        <a:lnTo>
                          <a:pt x="257" y="762"/>
                        </a:lnTo>
                        <a:lnTo>
                          <a:pt x="256" y="762"/>
                        </a:lnTo>
                        <a:lnTo>
                          <a:pt x="254" y="762"/>
                        </a:lnTo>
                        <a:lnTo>
                          <a:pt x="252" y="762"/>
                        </a:lnTo>
                        <a:lnTo>
                          <a:pt x="251" y="762"/>
                        </a:lnTo>
                        <a:lnTo>
                          <a:pt x="249" y="762"/>
                        </a:lnTo>
                        <a:lnTo>
                          <a:pt x="248" y="762"/>
                        </a:lnTo>
                        <a:lnTo>
                          <a:pt x="246" y="762"/>
                        </a:lnTo>
                        <a:lnTo>
                          <a:pt x="246" y="763"/>
                        </a:lnTo>
                        <a:lnTo>
                          <a:pt x="244" y="763"/>
                        </a:lnTo>
                        <a:lnTo>
                          <a:pt x="243" y="763"/>
                        </a:lnTo>
                        <a:lnTo>
                          <a:pt x="241" y="763"/>
                        </a:lnTo>
                        <a:lnTo>
                          <a:pt x="240" y="763"/>
                        </a:lnTo>
                        <a:lnTo>
                          <a:pt x="238" y="763"/>
                        </a:lnTo>
                        <a:lnTo>
                          <a:pt x="238" y="765"/>
                        </a:lnTo>
                        <a:lnTo>
                          <a:pt x="237" y="765"/>
                        </a:lnTo>
                        <a:lnTo>
                          <a:pt x="235" y="765"/>
                        </a:lnTo>
                        <a:lnTo>
                          <a:pt x="233" y="767"/>
                        </a:lnTo>
                        <a:lnTo>
                          <a:pt x="232" y="767"/>
                        </a:lnTo>
                        <a:lnTo>
                          <a:pt x="230" y="767"/>
                        </a:lnTo>
                        <a:lnTo>
                          <a:pt x="229" y="767"/>
                        </a:lnTo>
                        <a:lnTo>
                          <a:pt x="227" y="768"/>
                        </a:lnTo>
                        <a:lnTo>
                          <a:pt x="225" y="768"/>
                        </a:lnTo>
                        <a:lnTo>
                          <a:pt x="224" y="768"/>
                        </a:lnTo>
                        <a:lnTo>
                          <a:pt x="222" y="770"/>
                        </a:lnTo>
                        <a:lnTo>
                          <a:pt x="221" y="770"/>
                        </a:lnTo>
                        <a:lnTo>
                          <a:pt x="221" y="771"/>
                        </a:lnTo>
                        <a:lnTo>
                          <a:pt x="219" y="771"/>
                        </a:lnTo>
                        <a:lnTo>
                          <a:pt x="218" y="773"/>
                        </a:lnTo>
                        <a:lnTo>
                          <a:pt x="216" y="773"/>
                        </a:lnTo>
                        <a:lnTo>
                          <a:pt x="214" y="773"/>
                        </a:lnTo>
                        <a:lnTo>
                          <a:pt x="213" y="774"/>
                        </a:lnTo>
                        <a:lnTo>
                          <a:pt x="211" y="774"/>
                        </a:lnTo>
                        <a:lnTo>
                          <a:pt x="211" y="776"/>
                        </a:lnTo>
                        <a:lnTo>
                          <a:pt x="210" y="776"/>
                        </a:lnTo>
                        <a:lnTo>
                          <a:pt x="208" y="776"/>
                        </a:lnTo>
                        <a:lnTo>
                          <a:pt x="208" y="778"/>
                        </a:lnTo>
                        <a:lnTo>
                          <a:pt x="206" y="778"/>
                        </a:lnTo>
                        <a:lnTo>
                          <a:pt x="205" y="778"/>
                        </a:lnTo>
                        <a:lnTo>
                          <a:pt x="203" y="779"/>
                        </a:lnTo>
                        <a:lnTo>
                          <a:pt x="202" y="779"/>
                        </a:lnTo>
                        <a:lnTo>
                          <a:pt x="200" y="779"/>
                        </a:lnTo>
                        <a:lnTo>
                          <a:pt x="199" y="781"/>
                        </a:lnTo>
                        <a:lnTo>
                          <a:pt x="197" y="781"/>
                        </a:lnTo>
                        <a:lnTo>
                          <a:pt x="195" y="782"/>
                        </a:lnTo>
                        <a:lnTo>
                          <a:pt x="194" y="782"/>
                        </a:lnTo>
                        <a:lnTo>
                          <a:pt x="192" y="784"/>
                        </a:lnTo>
                        <a:lnTo>
                          <a:pt x="191" y="784"/>
                        </a:lnTo>
                        <a:lnTo>
                          <a:pt x="189" y="784"/>
                        </a:lnTo>
                        <a:lnTo>
                          <a:pt x="187" y="786"/>
                        </a:lnTo>
                        <a:lnTo>
                          <a:pt x="187" y="784"/>
                        </a:lnTo>
                        <a:lnTo>
                          <a:pt x="186" y="782"/>
                        </a:lnTo>
                        <a:lnTo>
                          <a:pt x="186" y="781"/>
                        </a:lnTo>
                        <a:lnTo>
                          <a:pt x="184" y="781"/>
                        </a:lnTo>
                        <a:lnTo>
                          <a:pt x="184" y="779"/>
                        </a:lnTo>
                        <a:lnTo>
                          <a:pt x="183" y="778"/>
                        </a:lnTo>
                        <a:lnTo>
                          <a:pt x="181" y="776"/>
                        </a:lnTo>
                        <a:lnTo>
                          <a:pt x="179" y="774"/>
                        </a:lnTo>
                        <a:lnTo>
                          <a:pt x="178" y="773"/>
                        </a:lnTo>
                        <a:lnTo>
                          <a:pt x="176" y="771"/>
                        </a:lnTo>
                        <a:lnTo>
                          <a:pt x="176" y="770"/>
                        </a:lnTo>
                        <a:lnTo>
                          <a:pt x="176" y="768"/>
                        </a:lnTo>
                        <a:lnTo>
                          <a:pt x="176" y="767"/>
                        </a:lnTo>
                        <a:lnTo>
                          <a:pt x="175" y="765"/>
                        </a:lnTo>
                        <a:lnTo>
                          <a:pt x="175" y="763"/>
                        </a:lnTo>
                        <a:lnTo>
                          <a:pt x="173" y="763"/>
                        </a:lnTo>
                        <a:lnTo>
                          <a:pt x="173" y="762"/>
                        </a:lnTo>
                        <a:lnTo>
                          <a:pt x="173" y="760"/>
                        </a:lnTo>
                        <a:lnTo>
                          <a:pt x="173" y="759"/>
                        </a:lnTo>
                        <a:lnTo>
                          <a:pt x="173" y="757"/>
                        </a:lnTo>
                        <a:lnTo>
                          <a:pt x="173" y="755"/>
                        </a:lnTo>
                        <a:lnTo>
                          <a:pt x="173" y="754"/>
                        </a:lnTo>
                        <a:lnTo>
                          <a:pt x="173" y="752"/>
                        </a:lnTo>
                        <a:lnTo>
                          <a:pt x="173" y="751"/>
                        </a:lnTo>
                        <a:lnTo>
                          <a:pt x="173" y="749"/>
                        </a:lnTo>
                        <a:lnTo>
                          <a:pt x="173" y="748"/>
                        </a:lnTo>
                        <a:lnTo>
                          <a:pt x="172" y="746"/>
                        </a:lnTo>
                        <a:lnTo>
                          <a:pt x="172" y="744"/>
                        </a:lnTo>
                        <a:lnTo>
                          <a:pt x="170" y="743"/>
                        </a:lnTo>
                        <a:lnTo>
                          <a:pt x="170" y="741"/>
                        </a:lnTo>
                        <a:lnTo>
                          <a:pt x="168" y="741"/>
                        </a:lnTo>
                        <a:lnTo>
                          <a:pt x="168" y="740"/>
                        </a:lnTo>
                        <a:lnTo>
                          <a:pt x="167" y="740"/>
                        </a:lnTo>
                        <a:lnTo>
                          <a:pt x="165" y="738"/>
                        </a:lnTo>
                        <a:lnTo>
                          <a:pt x="165" y="740"/>
                        </a:lnTo>
                        <a:lnTo>
                          <a:pt x="164" y="738"/>
                        </a:lnTo>
                        <a:lnTo>
                          <a:pt x="162" y="740"/>
                        </a:lnTo>
                        <a:lnTo>
                          <a:pt x="160" y="740"/>
                        </a:lnTo>
                        <a:lnTo>
                          <a:pt x="159" y="740"/>
                        </a:lnTo>
                        <a:lnTo>
                          <a:pt x="157" y="740"/>
                        </a:lnTo>
                        <a:lnTo>
                          <a:pt x="156" y="741"/>
                        </a:lnTo>
                        <a:lnTo>
                          <a:pt x="154" y="743"/>
                        </a:lnTo>
                        <a:lnTo>
                          <a:pt x="153" y="743"/>
                        </a:lnTo>
                        <a:lnTo>
                          <a:pt x="151" y="744"/>
                        </a:lnTo>
                        <a:lnTo>
                          <a:pt x="149" y="744"/>
                        </a:lnTo>
                        <a:lnTo>
                          <a:pt x="148" y="744"/>
                        </a:lnTo>
                        <a:lnTo>
                          <a:pt x="146" y="744"/>
                        </a:lnTo>
                        <a:lnTo>
                          <a:pt x="146" y="743"/>
                        </a:lnTo>
                        <a:lnTo>
                          <a:pt x="146" y="741"/>
                        </a:lnTo>
                        <a:lnTo>
                          <a:pt x="146" y="738"/>
                        </a:lnTo>
                        <a:lnTo>
                          <a:pt x="146" y="736"/>
                        </a:lnTo>
                        <a:lnTo>
                          <a:pt x="146" y="735"/>
                        </a:lnTo>
                        <a:lnTo>
                          <a:pt x="146" y="733"/>
                        </a:lnTo>
                        <a:lnTo>
                          <a:pt x="145" y="732"/>
                        </a:lnTo>
                        <a:lnTo>
                          <a:pt x="145" y="730"/>
                        </a:lnTo>
                        <a:lnTo>
                          <a:pt x="145" y="729"/>
                        </a:lnTo>
                        <a:lnTo>
                          <a:pt x="145" y="727"/>
                        </a:lnTo>
                        <a:lnTo>
                          <a:pt x="145" y="725"/>
                        </a:lnTo>
                        <a:lnTo>
                          <a:pt x="145" y="724"/>
                        </a:lnTo>
                        <a:lnTo>
                          <a:pt x="145" y="722"/>
                        </a:lnTo>
                        <a:lnTo>
                          <a:pt x="145" y="721"/>
                        </a:lnTo>
                        <a:lnTo>
                          <a:pt x="145" y="719"/>
                        </a:lnTo>
                        <a:lnTo>
                          <a:pt x="145" y="717"/>
                        </a:lnTo>
                        <a:lnTo>
                          <a:pt x="143" y="716"/>
                        </a:lnTo>
                        <a:lnTo>
                          <a:pt x="143" y="714"/>
                        </a:lnTo>
                        <a:lnTo>
                          <a:pt x="143" y="713"/>
                        </a:lnTo>
                        <a:lnTo>
                          <a:pt x="143" y="711"/>
                        </a:lnTo>
                        <a:lnTo>
                          <a:pt x="141" y="710"/>
                        </a:lnTo>
                        <a:lnTo>
                          <a:pt x="141" y="708"/>
                        </a:lnTo>
                        <a:lnTo>
                          <a:pt x="140" y="706"/>
                        </a:lnTo>
                        <a:lnTo>
                          <a:pt x="140" y="705"/>
                        </a:lnTo>
                        <a:lnTo>
                          <a:pt x="138" y="703"/>
                        </a:lnTo>
                        <a:lnTo>
                          <a:pt x="137" y="703"/>
                        </a:lnTo>
                        <a:lnTo>
                          <a:pt x="135" y="702"/>
                        </a:lnTo>
                        <a:lnTo>
                          <a:pt x="134" y="700"/>
                        </a:lnTo>
                        <a:lnTo>
                          <a:pt x="132" y="700"/>
                        </a:lnTo>
                        <a:lnTo>
                          <a:pt x="132" y="698"/>
                        </a:lnTo>
                        <a:lnTo>
                          <a:pt x="130" y="698"/>
                        </a:lnTo>
                        <a:lnTo>
                          <a:pt x="129" y="697"/>
                        </a:lnTo>
                        <a:lnTo>
                          <a:pt x="127" y="697"/>
                        </a:lnTo>
                        <a:lnTo>
                          <a:pt x="126" y="695"/>
                        </a:lnTo>
                        <a:lnTo>
                          <a:pt x="124" y="694"/>
                        </a:lnTo>
                        <a:lnTo>
                          <a:pt x="122" y="692"/>
                        </a:lnTo>
                        <a:lnTo>
                          <a:pt x="121" y="692"/>
                        </a:lnTo>
                        <a:lnTo>
                          <a:pt x="119" y="690"/>
                        </a:lnTo>
                        <a:lnTo>
                          <a:pt x="118" y="690"/>
                        </a:lnTo>
                        <a:lnTo>
                          <a:pt x="116" y="689"/>
                        </a:lnTo>
                        <a:lnTo>
                          <a:pt x="113" y="689"/>
                        </a:lnTo>
                        <a:lnTo>
                          <a:pt x="111" y="687"/>
                        </a:lnTo>
                        <a:lnTo>
                          <a:pt x="110" y="686"/>
                        </a:lnTo>
                        <a:lnTo>
                          <a:pt x="108" y="686"/>
                        </a:lnTo>
                        <a:lnTo>
                          <a:pt x="107" y="686"/>
                        </a:lnTo>
                        <a:lnTo>
                          <a:pt x="105" y="684"/>
                        </a:lnTo>
                        <a:lnTo>
                          <a:pt x="103" y="683"/>
                        </a:lnTo>
                        <a:lnTo>
                          <a:pt x="102" y="683"/>
                        </a:lnTo>
                        <a:lnTo>
                          <a:pt x="100" y="681"/>
                        </a:lnTo>
                        <a:lnTo>
                          <a:pt x="97" y="681"/>
                        </a:lnTo>
                        <a:lnTo>
                          <a:pt x="96" y="681"/>
                        </a:lnTo>
                        <a:lnTo>
                          <a:pt x="94" y="679"/>
                        </a:lnTo>
                        <a:lnTo>
                          <a:pt x="92" y="679"/>
                        </a:lnTo>
                        <a:lnTo>
                          <a:pt x="91" y="678"/>
                        </a:lnTo>
                        <a:lnTo>
                          <a:pt x="89" y="676"/>
                        </a:lnTo>
                        <a:lnTo>
                          <a:pt x="88" y="675"/>
                        </a:lnTo>
                        <a:lnTo>
                          <a:pt x="86" y="675"/>
                        </a:lnTo>
                        <a:lnTo>
                          <a:pt x="84" y="675"/>
                        </a:lnTo>
                        <a:lnTo>
                          <a:pt x="83" y="673"/>
                        </a:lnTo>
                        <a:lnTo>
                          <a:pt x="81" y="671"/>
                        </a:lnTo>
                        <a:lnTo>
                          <a:pt x="78" y="670"/>
                        </a:lnTo>
                        <a:lnTo>
                          <a:pt x="77" y="670"/>
                        </a:lnTo>
                        <a:lnTo>
                          <a:pt x="75" y="668"/>
                        </a:lnTo>
                        <a:lnTo>
                          <a:pt x="73" y="667"/>
                        </a:lnTo>
                        <a:lnTo>
                          <a:pt x="72" y="665"/>
                        </a:lnTo>
                        <a:lnTo>
                          <a:pt x="70" y="664"/>
                        </a:lnTo>
                        <a:lnTo>
                          <a:pt x="69" y="664"/>
                        </a:lnTo>
                        <a:lnTo>
                          <a:pt x="69" y="662"/>
                        </a:lnTo>
                        <a:lnTo>
                          <a:pt x="67" y="660"/>
                        </a:lnTo>
                        <a:lnTo>
                          <a:pt x="65" y="659"/>
                        </a:lnTo>
                        <a:lnTo>
                          <a:pt x="64" y="659"/>
                        </a:lnTo>
                        <a:lnTo>
                          <a:pt x="64" y="657"/>
                        </a:lnTo>
                        <a:lnTo>
                          <a:pt x="62" y="656"/>
                        </a:lnTo>
                        <a:lnTo>
                          <a:pt x="62" y="654"/>
                        </a:lnTo>
                        <a:lnTo>
                          <a:pt x="67" y="654"/>
                        </a:lnTo>
                        <a:lnTo>
                          <a:pt x="65" y="652"/>
                        </a:lnTo>
                        <a:lnTo>
                          <a:pt x="62" y="649"/>
                        </a:lnTo>
                        <a:lnTo>
                          <a:pt x="59" y="648"/>
                        </a:lnTo>
                        <a:lnTo>
                          <a:pt x="54" y="645"/>
                        </a:lnTo>
                        <a:lnTo>
                          <a:pt x="51" y="643"/>
                        </a:lnTo>
                        <a:lnTo>
                          <a:pt x="45" y="643"/>
                        </a:lnTo>
                        <a:lnTo>
                          <a:pt x="43" y="641"/>
                        </a:lnTo>
                        <a:lnTo>
                          <a:pt x="39" y="641"/>
                        </a:lnTo>
                        <a:lnTo>
                          <a:pt x="32" y="641"/>
                        </a:lnTo>
                        <a:lnTo>
                          <a:pt x="15" y="641"/>
                        </a:lnTo>
                        <a:lnTo>
                          <a:pt x="2" y="643"/>
                        </a:lnTo>
                        <a:lnTo>
                          <a:pt x="2" y="640"/>
                        </a:lnTo>
                        <a:lnTo>
                          <a:pt x="2" y="626"/>
                        </a:lnTo>
                        <a:lnTo>
                          <a:pt x="0" y="619"/>
                        </a:lnTo>
                        <a:lnTo>
                          <a:pt x="0" y="616"/>
                        </a:lnTo>
                        <a:lnTo>
                          <a:pt x="4" y="611"/>
                        </a:lnTo>
                        <a:lnTo>
                          <a:pt x="5" y="611"/>
                        </a:lnTo>
                        <a:lnTo>
                          <a:pt x="8" y="610"/>
                        </a:lnTo>
                        <a:lnTo>
                          <a:pt x="12" y="608"/>
                        </a:lnTo>
                        <a:lnTo>
                          <a:pt x="16" y="607"/>
                        </a:lnTo>
                        <a:lnTo>
                          <a:pt x="20" y="605"/>
                        </a:lnTo>
                        <a:lnTo>
                          <a:pt x="24" y="605"/>
                        </a:lnTo>
                        <a:lnTo>
                          <a:pt x="53" y="599"/>
                        </a:lnTo>
                        <a:lnTo>
                          <a:pt x="54" y="597"/>
                        </a:lnTo>
                        <a:lnTo>
                          <a:pt x="56" y="597"/>
                        </a:lnTo>
                        <a:lnTo>
                          <a:pt x="58" y="597"/>
                        </a:lnTo>
                        <a:lnTo>
                          <a:pt x="64" y="594"/>
                        </a:lnTo>
                        <a:lnTo>
                          <a:pt x="83" y="583"/>
                        </a:lnTo>
                        <a:lnTo>
                          <a:pt x="84" y="581"/>
                        </a:lnTo>
                        <a:lnTo>
                          <a:pt x="92" y="575"/>
                        </a:lnTo>
                        <a:lnTo>
                          <a:pt x="94" y="573"/>
                        </a:lnTo>
                        <a:lnTo>
                          <a:pt x="96" y="572"/>
                        </a:lnTo>
                        <a:lnTo>
                          <a:pt x="97" y="570"/>
                        </a:lnTo>
                        <a:lnTo>
                          <a:pt x="99" y="565"/>
                        </a:lnTo>
                        <a:lnTo>
                          <a:pt x="100" y="561"/>
                        </a:lnTo>
                        <a:lnTo>
                          <a:pt x="100" y="559"/>
                        </a:lnTo>
                        <a:lnTo>
                          <a:pt x="102" y="548"/>
                        </a:lnTo>
                        <a:lnTo>
                          <a:pt x="102" y="545"/>
                        </a:lnTo>
                        <a:lnTo>
                          <a:pt x="102" y="543"/>
                        </a:lnTo>
                        <a:lnTo>
                          <a:pt x="102" y="542"/>
                        </a:lnTo>
                        <a:lnTo>
                          <a:pt x="105" y="534"/>
                        </a:lnTo>
                        <a:lnTo>
                          <a:pt x="108" y="531"/>
                        </a:lnTo>
                        <a:lnTo>
                          <a:pt x="111" y="529"/>
                        </a:lnTo>
                        <a:lnTo>
                          <a:pt x="113" y="527"/>
                        </a:lnTo>
                        <a:lnTo>
                          <a:pt x="130" y="519"/>
                        </a:lnTo>
                        <a:lnTo>
                          <a:pt x="134" y="516"/>
                        </a:lnTo>
                        <a:lnTo>
                          <a:pt x="135" y="515"/>
                        </a:lnTo>
                        <a:lnTo>
                          <a:pt x="138" y="511"/>
                        </a:lnTo>
                        <a:lnTo>
                          <a:pt x="140" y="510"/>
                        </a:lnTo>
                        <a:lnTo>
                          <a:pt x="141" y="505"/>
                        </a:lnTo>
                        <a:lnTo>
                          <a:pt x="141" y="502"/>
                        </a:lnTo>
                        <a:lnTo>
                          <a:pt x="143" y="491"/>
                        </a:lnTo>
                        <a:lnTo>
                          <a:pt x="145" y="486"/>
                        </a:lnTo>
                        <a:lnTo>
                          <a:pt x="143" y="478"/>
                        </a:lnTo>
                        <a:lnTo>
                          <a:pt x="143" y="470"/>
                        </a:lnTo>
                        <a:lnTo>
                          <a:pt x="141" y="448"/>
                        </a:lnTo>
                        <a:lnTo>
                          <a:pt x="141" y="442"/>
                        </a:lnTo>
                        <a:lnTo>
                          <a:pt x="141" y="439"/>
                        </a:lnTo>
                        <a:lnTo>
                          <a:pt x="143" y="434"/>
                        </a:lnTo>
                        <a:lnTo>
                          <a:pt x="145" y="432"/>
                        </a:lnTo>
                        <a:lnTo>
                          <a:pt x="148" y="428"/>
                        </a:lnTo>
                        <a:lnTo>
                          <a:pt x="156" y="421"/>
                        </a:lnTo>
                        <a:lnTo>
                          <a:pt x="162" y="420"/>
                        </a:lnTo>
                        <a:lnTo>
                          <a:pt x="162" y="418"/>
                        </a:lnTo>
                        <a:lnTo>
                          <a:pt x="164" y="418"/>
                        </a:lnTo>
                        <a:lnTo>
                          <a:pt x="172" y="413"/>
                        </a:lnTo>
                        <a:lnTo>
                          <a:pt x="173" y="412"/>
                        </a:lnTo>
                        <a:lnTo>
                          <a:pt x="176" y="405"/>
                        </a:lnTo>
                        <a:lnTo>
                          <a:pt x="179" y="397"/>
                        </a:lnTo>
                        <a:lnTo>
                          <a:pt x="179" y="396"/>
                        </a:lnTo>
                        <a:lnTo>
                          <a:pt x="183" y="393"/>
                        </a:lnTo>
                        <a:lnTo>
                          <a:pt x="183" y="391"/>
                        </a:lnTo>
                        <a:lnTo>
                          <a:pt x="184" y="388"/>
                        </a:lnTo>
                        <a:lnTo>
                          <a:pt x="183" y="386"/>
                        </a:lnTo>
                        <a:lnTo>
                          <a:pt x="183" y="385"/>
                        </a:lnTo>
                        <a:lnTo>
                          <a:pt x="183" y="383"/>
                        </a:lnTo>
                        <a:lnTo>
                          <a:pt x="181" y="382"/>
                        </a:lnTo>
                        <a:lnTo>
                          <a:pt x="181" y="380"/>
                        </a:lnTo>
                        <a:lnTo>
                          <a:pt x="179" y="378"/>
                        </a:lnTo>
                        <a:lnTo>
                          <a:pt x="176" y="375"/>
                        </a:lnTo>
                        <a:lnTo>
                          <a:pt x="176" y="372"/>
                        </a:lnTo>
                        <a:lnTo>
                          <a:pt x="175" y="371"/>
                        </a:lnTo>
                        <a:lnTo>
                          <a:pt x="175" y="367"/>
                        </a:lnTo>
                        <a:lnTo>
                          <a:pt x="175" y="366"/>
                        </a:lnTo>
                        <a:lnTo>
                          <a:pt x="178" y="358"/>
                        </a:lnTo>
                        <a:lnTo>
                          <a:pt x="176" y="355"/>
                        </a:lnTo>
                        <a:lnTo>
                          <a:pt x="176" y="353"/>
                        </a:lnTo>
                        <a:lnTo>
                          <a:pt x="175" y="339"/>
                        </a:lnTo>
                        <a:lnTo>
                          <a:pt x="176" y="337"/>
                        </a:lnTo>
                        <a:lnTo>
                          <a:pt x="178" y="334"/>
                        </a:lnTo>
                        <a:lnTo>
                          <a:pt x="181" y="329"/>
                        </a:lnTo>
                        <a:lnTo>
                          <a:pt x="181" y="328"/>
                        </a:lnTo>
                        <a:lnTo>
                          <a:pt x="181" y="326"/>
                        </a:lnTo>
                        <a:lnTo>
                          <a:pt x="176" y="318"/>
                        </a:lnTo>
                        <a:lnTo>
                          <a:pt x="175" y="317"/>
                        </a:lnTo>
                        <a:lnTo>
                          <a:pt x="173" y="313"/>
                        </a:lnTo>
                        <a:lnTo>
                          <a:pt x="172" y="310"/>
                        </a:lnTo>
                        <a:lnTo>
                          <a:pt x="170" y="302"/>
                        </a:lnTo>
                        <a:lnTo>
                          <a:pt x="170" y="299"/>
                        </a:lnTo>
                        <a:lnTo>
                          <a:pt x="170" y="294"/>
                        </a:lnTo>
                        <a:lnTo>
                          <a:pt x="167" y="291"/>
                        </a:lnTo>
                        <a:lnTo>
                          <a:pt x="165" y="290"/>
                        </a:lnTo>
                        <a:lnTo>
                          <a:pt x="162" y="288"/>
                        </a:lnTo>
                        <a:lnTo>
                          <a:pt x="159" y="283"/>
                        </a:lnTo>
                        <a:lnTo>
                          <a:pt x="159" y="282"/>
                        </a:lnTo>
                        <a:lnTo>
                          <a:pt x="154" y="282"/>
                        </a:lnTo>
                        <a:lnTo>
                          <a:pt x="149" y="282"/>
                        </a:lnTo>
                        <a:lnTo>
                          <a:pt x="145" y="282"/>
                        </a:lnTo>
                        <a:lnTo>
                          <a:pt x="135" y="283"/>
                        </a:lnTo>
                        <a:lnTo>
                          <a:pt x="132" y="282"/>
                        </a:lnTo>
                        <a:lnTo>
                          <a:pt x="130" y="280"/>
                        </a:lnTo>
                        <a:lnTo>
                          <a:pt x="126" y="279"/>
                        </a:lnTo>
                        <a:lnTo>
                          <a:pt x="122" y="274"/>
                        </a:lnTo>
                        <a:lnTo>
                          <a:pt x="122" y="272"/>
                        </a:lnTo>
                        <a:lnTo>
                          <a:pt x="122" y="269"/>
                        </a:lnTo>
                        <a:lnTo>
                          <a:pt x="126" y="263"/>
                        </a:lnTo>
                        <a:lnTo>
                          <a:pt x="127" y="258"/>
                        </a:lnTo>
                        <a:lnTo>
                          <a:pt x="129" y="256"/>
                        </a:lnTo>
                        <a:lnTo>
                          <a:pt x="129" y="255"/>
                        </a:lnTo>
                        <a:lnTo>
                          <a:pt x="137" y="239"/>
                        </a:lnTo>
                        <a:lnTo>
                          <a:pt x="140" y="233"/>
                        </a:lnTo>
                        <a:lnTo>
                          <a:pt x="140" y="231"/>
                        </a:lnTo>
                        <a:lnTo>
                          <a:pt x="140" y="228"/>
                        </a:lnTo>
                        <a:lnTo>
                          <a:pt x="138" y="225"/>
                        </a:lnTo>
                        <a:lnTo>
                          <a:pt x="138" y="223"/>
                        </a:lnTo>
                        <a:lnTo>
                          <a:pt x="137" y="217"/>
                        </a:lnTo>
                        <a:lnTo>
                          <a:pt x="138" y="214"/>
                        </a:lnTo>
                        <a:lnTo>
                          <a:pt x="140" y="211"/>
                        </a:lnTo>
                        <a:lnTo>
                          <a:pt x="140" y="206"/>
                        </a:lnTo>
                        <a:lnTo>
                          <a:pt x="140" y="204"/>
                        </a:lnTo>
                        <a:lnTo>
                          <a:pt x="141" y="199"/>
                        </a:lnTo>
                        <a:lnTo>
                          <a:pt x="143" y="196"/>
                        </a:lnTo>
                        <a:lnTo>
                          <a:pt x="143" y="195"/>
                        </a:lnTo>
                        <a:lnTo>
                          <a:pt x="143" y="193"/>
                        </a:lnTo>
                        <a:lnTo>
                          <a:pt x="141" y="190"/>
                        </a:lnTo>
                        <a:lnTo>
                          <a:pt x="145" y="184"/>
                        </a:lnTo>
                        <a:lnTo>
                          <a:pt x="141" y="184"/>
                        </a:lnTo>
                        <a:lnTo>
                          <a:pt x="140" y="182"/>
                        </a:lnTo>
                        <a:lnTo>
                          <a:pt x="138" y="184"/>
                        </a:lnTo>
                        <a:lnTo>
                          <a:pt x="135" y="185"/>
                        </a:lnTo>
                        <a:lnTo>
                          <a:pt x="134" y="187"/>
                        </a:lnTo>
                        <a:lnTo>
                          <a:pt x="130" y="187"/>
                        </a:lnTo>
                        <a:lnTo>
                          <a:pt x="129" y="185"/>
                        </a:lnTo>
                        <a:lnTo>
                          <a:pt x="124" y="180"/>
                        </a:lnTo>
                        <a:lnTo>
                          <a:pt x="126" y="177"/>
                        </a:lnTo>
                        <a:lnTo>
                          <a:pt x="124" y="174"/>
                        </a:lnTo>
                        <a:lnTo>
                          <a:pt x="124" y="173"/>
                        </a:lnTo>
                        <a:lnTo>
                          <a:pt x="122" y="171"/>
                        </a:lnTo>
                        <a:lnTo>
                          <a:pt x="121" y="171"/>
                        </a:lnTo>
                        <a:lnTo>
                          <a:pt x="116" y="171"/>
                        </a:lnTo>
                        <a:lnTo>
                          <a:pt x="115" y="169"/>
                        </a:lnTo>
                        <a:lnTo>
                          <a:pt x="113" y="166"/>
                        </a:lnTo>
                        <a:lnTo>
                          <a:pt x="107" y="166"/>
                        </a:lnTo>
                        <a:lnTo>
                          <a:pt x="100" y="163"/>
                        </a:lnTo>
                        <a:lnTo>
                          <a:pt x="100" y="161"/>
                        </a:lnTo>
                        <a:lnTo>
                          <a:pt x="99" y="161"/>
                        </a:lnTo>
                        <a:lnTo>
                          <a:pt x="92" y="160"/>
                        </a:lnTo>
                        <a:lnTo>
                          <a:pt x="91" y="158"/>
                        </a:lnTo>
                        <a:lnTo>
                          <a:pt x="89" y="160"/>
                        </a:lnTo>
                        <a:lnTo>
                          <a:pt x="88" y="163"/>
                        </a:lnTo>
                        <a:lnTo>
                          <a:pt x="86" y="165"/>
                        </a:lnTo>
                        <a:lnTo>
                          <a:pt x="84" y="163"/>
                        </a:lnTo>
                        <a:lnTo>
                          <a:pt x="83" y="161"/>
                        </a:lnTo>
                        <a:lnTo>
                          <a:pt x="81" y="160"/>
                        </a:lnTo>
                        <a:lnTo>
                          <a:pt x="80" y="160"/>
                        </a:lnTo>
                        <a:lnTo>
                          <a:pt x="77" y="155"/>
                        </a:lnTo>
                        <a:lnTo>
                          <a:pt x="72" y="154"/>
                        </a:lnTo>
                        <a:lnTo>
                          <a:pt x="70" y="154"/>
                        </a:lnTo>
                        <a:lnTo>
                          <a:pt x="69" y="152"/>
                        </a:lnTo>
                        <a:lnTo>
                          <a:pt x="67" y="150"/>
                        </a:lnTo>
                        <a:lnTo>
                          <a:pt x="65" y="152"/>
                        </a:lnTo>
                        <a:lnTo>
                          <a:pt x="64" y="152"/>
                        </a:lnTo>
                        <a:lnTo>
                          <a:pt x="64" y="154"/>
                        </a:lnTo>
                        <a:lnTo>
                          <a:pt x="62" y="154"/>
                        </a:lnTo>
                        <a:lnTo>
                          <a:pt x="62" y="152"/>
                        </a:lnTo>
                        <a:lnTo>
                          <a:pt x="61" y="150"/>
                        </a:lnTo>
                        <a:lnTo>
                          <a:pt x="56" y="147"/>
                        </a:lnTo>
                        <a:lnTo>
                          <a:pt x="54" y="146"/>
                        </a:lnTo>
                        <a:lnTo>
                          <a:pt x="54" y="144"/>
                        </a:lnTo>
                        <a:lnTo>
                          <a:pt x="54" y="142"/>
                        </a:lnTo>
                        <a:lnTo>
                          <a:pt x="56" y="141"/>
                        </a:lnTo>
                        <a:lnTo>
                          <a:pt x="56" y="139"/>
                        </a:lnTo>
                        <a:lnTo>
                          <a:pt x="58" y="139"/>
                        </a:lnTo>
                        <a:lnTo>
                          <a:pt x="62" y="139"/>
                        </a:lnTo>
                        <a:lnTo>
                          <a:pt x="67" y="138"/>
                        </a:lnTo>
                        <a:lnTo>
                          <a:pt x="67" y="136"/>
                        </a:lnTo>
                        <a:lnTo>
                          <a:pt x="72" y="136"/>
                        </a:lnTo>
                        <a:lnTo>
                          <a:pt x="73" y="139"/>
                        </a:lnTo>
                        <a:lnTo>
                          <a:pt x="75" y="139"/>
                        </a:lnTo>
                        <a:lnTo>
                          <a:pt x="77" y="139"/>
                        </a:lnTo>
                        <a:lnTo>
                          <a:pt x="80" y="141"/>
                        </a:lnTo>
                        <a:lnTo>
                          <a:pt x="81" y="142"/>
                        </a:lnTo>
                        <a:lnTo>
                          <a:pt x="84" y="147"/>
                        </a:lnTo>
                        <a:lnTo>
                          <a:pt x="86" y="147"/>
                        </a:lnTo>
                        <a:lnTo>
                          <a:pt x="89" y="147"/>
                        </a:lnTo>
                        <a:lnTo>
                          <a:pt x="92" y="146"/>
                        </a:lnTo>
                        <a:lnTo>
                          <a:pt x="100" y="139"/>
                        </a:lnTo>
                        <a:lnTo>
                          <a:pt x="102" y="139"/>
                        </a:lnTo>
                        <a:lnTo>
                          <a:pt x="102" y="138"/>
                        </a:lnTo>
                        <a:lnTo>
                          <a:pt x="105" y="134"/>
                        </a:lnTo>
                        <a:lnTo>
                          <a:pt x="107" y="136"/>
                        </a:lnTo>
                        <a:lnTo>
                          <a:pt x="108" y="136"/>
                        </a:lnTo>
                        <a:lnTo>
                          <a:pt x="108" y="138"/>
                        </a:lnTo>
                        <a:lnTo>
                          <a:pt x="113" y="138"/>
                        </a:lnTo>
                        <a:lnTo>
                          <a:pt x="116" y="138"/>
                        </a:lnTo>
                        <a:lnTo>
                          <a:pt x="118" y="138"/>
                        </a:lnTo>
                        <a:lnTo>
                          <a:pt x="119" y="133"/>
                        </a:lnTo>
                        <a:lnTo>
                          <a:pt x="121" y="131"/>
                        </a:lnTo>
                        <a:lnTo>
                          <a:pt x="122" y="131"/>
                        </a:lnTo>
                        <a:lnTo>
                          <a:pt x="126" y="128"/>
                        </a:lnTo>
                        <a:lnTo>
                          <a:pt x="127" y="128"/>
                        </a:lnTo>
                        <a:lnTo>
                          <a:pt x="130" y="128"/>
                        </a:lnTo>
                        <a:lnTo>
                          <a:pt x="132" y="130"/>
                        </a:lnTo>
                        <a:lnTo>
                          <a:pt x="132" y="131"/>
                        </a:lnTo>
                        <a:lnTo>
                          <a:pt x="132" y="133"/>
                        </a:lnTo>
                        <a:lnTo>
                          <a:pt x="132" y="134"/>
                        </a:lnTo>
                        <a:lnTo>
                          <a:pt x="134" y="136"/>
                        </a:lnTo>
                        <a:lnTo>
                          <a:pt x="135" y="136"/>
                        </a:lnTo>
                        <a:lnTo>
                          <a:pt x="135" y="138"/>
                        </a:lnTo>
                        <a:lnTo>
                          <a:pt x="137" y="138"/>
                        </a:lnTo>
                        <a:lnTo>
                          <a:pt x="138" y="138"/>
                        </a:lnTo>
                        <a:lnTo>
                          <a:pt x="140" y="139"/>
                        </a:lnTo>
                        <a:lnTo>
                          <a:pt x="141" y="139"/>
                        </a:lnTo>
                        <a:lnTo>
                          <a:pt x="145" y="136"/>
                        </a:lnTo>
                        <a:lnTo>
                          <a:pt x="149" y="136"/>
                        </a:lnTo>
                        <a:lnTo>
                          <a:pt x="151" y="136"/>
                        </a:lnTo>
                        <a:lnTo>
                          <a:pt x="151" y="134"/>
                        </a:lnTo>
                        <a:lnTo>
                          <a:pt x="149" y="133"/>
                        </a:lnTo>
                        <a:lnTo>
                          <a:pt x="151" y="133"/>
                        </a:lnTo>
                        <a:lnTo>
                          <a:pt x="151" y="131"/>
                        </a:lnTo>
                        <a:lnTo>
                          <a:pt x="151" y="130"/>
                        </a:lnTo>
                        <a:lnTo>
                          <a:pt x="149" y="128"/>
                        </a:lnTo>
                        <a:lnTo>
                          <a:pt x="153" y="123"/>
                        </a:lnTo>
                        <a:lnTo>
                          <a:pt x="157" y="119"/>
                        </a:lnTo>
                        <a:lnTo>
                          <a:pt x="159" y="119"/>
                        </a:lnTo>
                        <a:lnTo>
                          <a:pt x="162" y="119"/>
                        </a:lnTo>
                        <a:lnTo>
                          <a:pt x="168" y="114"/>
                        </a:lnTo>
                        <a:lnTo>
                          <a:pt x="170" y="111"/>
                        </a:lnTo>
                        <a:lnTo>
                          <a:pt x="172" y="109"/>
                        </a:lnTo>
                        <a:lnTo>
                          <a:pt x="173" y="108"/>
                        </a:lnTo>
                        <a:lnTo>
                          <a:pt x="176" y="103"/>
                        </a:lnTo>
                        <a:lnTo>
                          <a:pt x="178" y="103"/>
                        </a:lnTo>
                        <a:lnTo>
                          <a:pt x="179" y="103"/>
                        </a:lnTo>
                        <a:lnTo>
                          <a:pt x="186" y="101"/>
                        </a:lnTo>
                        <a:lnTo>
                          <a:pt x="187" y="100"/>
                        </a:lnTo>
                        <a:lnTo>
                          <a:pt x="187" y="98"/>
                        </a:lnTo>
                        <a:lnTo>
                          <a:pt x="191" y="98"/>
                        </a:lnTo>
                        <a:lnTo>
                          <a:pt x="192" y="95"/>
                        </a:lnTo>
                        <a:lnTo>
                          <a:pt x="194" y="93"/>
                        </a:lnTo>
                        <a:lnTo>
                          <a:pt x="195" y="87"/>
                        </a:lnTo>
                        <a:lnTo>
                          <a:pt x="195" y="84"/>
                        </a:lnTo>
                        <a:lnTo>
                          <a:pt x="197" y="82"/>
                        </a:lnTo>
                        <a:lnTo>
                          <a:pt x="199" y="81"/>
                        </a:lnTo>
                        <a:lnTo>
                          <a:pt x="203" y="79"/>
                        </a:lnTo>
                        <a:lnTo>
                          <a:pt x="206" y="81"/>
                        </a:lnTo>
                        <a:lnTo>
                          <a:pt x="210" y="81"/>
                        </a:lnTo>
                        <a:lnTo>
                          <a:pt x="210" y="77"/>
                        </a:lnTo>
                        <a:lnTo>
                          <a:pt x="210" y="71"/>
                        </a:lnTo>
                        <a:lnTo>
                          <a:pt x="211" y="71"/>
                        </a:lnTo>
                        <a:lnTo>
                          <a:pt x="211" y="70"/>
                        </a:lnTo>
                        <a:lnTo>
                          <a:pt x="213" y="70"/>
                        </a:lnTo>
                        <a:lnTo>
                          <a:pt x="214" y="70"/>
                        </a:lnTo>
                        <a:lnTo>
                          <a:pt x="216" y="71"/>
                        </a:lnTo>
                        <a:lnTo>
                          <a:pt x="218" y="71"/>
                        </a:lnTo>
                        <a:lnTo>
                          <a:pt x="219" y="71"/>
                        </a:lnTo>
                        <a:lnTo>
                          <a:pt x="221" y="70"/>
                        </a:lnTo>
                        <a:lnTo>
                          <a:pt x="227" y="65"/>
                        </a:lnTo>
                        <a:lnTo>
                          <a:pt x="229" y="65"/>
                        </a:lnTo>
                        <a:lnTo>
                          <a:pt x="229" y="63"/>
                        </a:lnTo>
                        <a:lnTo>
                          <a:pt x="237" y="62"/>
                        </a:lnTo>
                        <a:lnTo>
                          <a:pt x="238" y="62"/>
                        </a:lnTo>
                        <a:lnTo>
                          <a:pt x="243" y="60"/>
                        </a:lnTo>
                        <a:lnTo>
                          <a:pt x="244" y="58"/>
                        </a:lnTo>
                        <a:lnTo>
                          <a:pt x="249" y="57"/>
                        </a:lnTo>
                        <a:lnTo>
                          <a:pt x="251" y="57"/>
                        </a:lnTo>
                        <a:lnTo>
                          <a:pt x="252" y="55"/>
                        </a:lnTo>
                        <a:lnTo>
                          <a:pt x="252" y="54"/>
                        </a:lnTo>
                        <a:lnTo>
                          <a:pt x="252" y="52"/>
                        </a:lnTo>
                        <a:lnTo>
                          <a:pt x="254" y="52"/>
                        </a:lnTo>
                        <a:lnTo>
                          <a:pt x="256" y="52"/>
                        </a:lnTo>
                        <a:lnTo>
                          <a:pt x="256" y="51"/>
                        </a:lnTo>
                        <a:lnTo>
                          <a:pt x="257" y="51"/>
                        </a:lnTo>
                        <a:lnTo>
                          <a:pt x="259" y="51"/>
                        </a:lnTo>
                        <a:lnTo>
                          <a:pt x="260" y="52"/>
                        </a:lnTo>
                        <a:lnTo>
                          <a:pt x="262" y="52"/>
                        </a:lnTo>
                        <a:lnTo>
                          <a:pt x="268" y="52"/>
                        </a:lnTo>
                        <a:lnTo>
                          <a:pt x="270" y="52"/>
                        </a:lnTo>
                        <a:lnTo>
                          <a:pt x="276" y="51"/>
                        </a:lnTo>
                        <a:lnTo>
                          <a:pt x="286" y="49"/>
                        </a:lnTo>
                        <a:lnTo>
                          <a:pt x="294" y="51"/>
                        </a:lnTo>
                        <a:lnTo>
                          <a:pt x="295" y="49"/>
                        </a:lnTo>
                        <a:lnTo>
                          <a:pt x="297" y="49"/>
                        </a:lnTo>
                        <a:lnTo>
                          <a:pt x="300" y="47"/>
                        </a:lnTo>
                        <a:lnTo>
                          <a:pt x="303" y="47"/>
                        </a:lnTo>
                        <a:lnTo>
                          <a:pt x="305" y="47"/>
                        </a:lnTo>
                        <a:lnTo>
                          <a:pt x="306" y="49"/>
                        </a:lnTo>
                        <a:lnTo>
                          <a:pt x="309" y="49"/>
                        </a:lnTo>
                        <a:lnTo>
                          <a:pt x="313" y="49"/>
                        </a:lnTo>
                        <a:lnTo>
                          <a:pt x="314" y="49"/>
                        </a:lnTo>
                        <a:lnTo>
                          <a:pt x="316" y="47"/>
                        </a:lnTo>
                        <a:lnTo>
                          <a:pt x="319" y="44"/>
                        </a:lnTo>
                        <a:lnTo>
                          <a:pt x="320" y="44"/>
                        </a:lnTo>
                        <a:lnTo>
                          <a:pt x="320" y="46"/>
                        </a:lnTo>
                        <a:lnTo>
                          <a:pt x="324" y="44"/>
                        </a:lnTo>
                        <a:lnTo>
                          <a:pt x="325" y="43"/>
                        </a:lnTo>
                        <a:lnTo>
                          <a:pt x="327" y="43"/>
                        </a:lnTo>
                        <a:lnTo>
                          <a:pt x="332" y="41"/>
                        </a:lnTo>
                        <a:lnTo>
                          <a:pt x="336" y="38"/>
                        </a:lnTo>
                        <a:lnTo>
                          <a:pt x="343" y="38"/>
                        </a:lnTo>
                        <a:lnTo>
                          <a:pt x="354" y="38"/>
                        </a:lnTo>
                        <a:lnTo>
                          <a:pt x="355" y="38"/>
                        </a:lnTo>
                        <a:lnTo>
                          <a:pt x="357" y="38"/>
                        </a:lnTo>
                        <a:lnTo>
                          <a:pt x="365" y="35"/>
                        </a:lnTo>
                        <a:lnTo>
                          <a:pt x="368" y="36"/>
                        </a:lnTo>
                        <a:lnTo>
                          <a:pt x="368" y="38"/>
                        </a:lnTo>
                        <a:lnTo>
                          <a:pt x="373" y="36"/>
                        </a:lnTo>
                        <a:lnTo>
                          <a:pt x="376" y="38"/>
                        </a:lnTo>
                        <a:lnTo>
                          <a:pt x="379" y="38"/>
                        </a:lnTo>
                        <a:lnTo>
                          <a:pt x="381" y="38"/>
                        </a:lnTo>
                        <a:lnTo>
                          <a:pt x="389" y="35"/>
                        </a:lnTo>
                        <a:lnTo>
                          <a:pt x="392" y="32"/>
                        </a:lnTo>
                        <a:lnTo>
                          <a:pt x="395" y="30"/>
                        </a:lnTo>
                        <a:lnTo>
                          <a:pt x="401" y="30"/>
                        </a:lnTo>
                        <a:lnTo>
                          <a:pt x="404" y="28"/>
                        </a:lnTo>
                        <a:lnTo>
                          <a:pt x="406" y="28"/>
                        </a:lnTo>
                        <a:lnTo>
                          <a:pt x="408" y="28"/>
                        </a:lnTo>
                        <a:lnTo>
                          <a:pt x="409" y="32"/>
                        </a:lnTo>
                        <a:lnTo>
                          <a:pt x="411" y="33"/>
                        </a:lnTo>
                        <a:lnTo>
                          <a:pt x="414" y="35"/>
                        </a:lnTo>
                        <a:lnTo>
                          <a:pt x="420" y="33"/>
                        </a:lnTo>
                        <a:lnTo>
                          <a:pt x="425" y="33"/>
                        </a:lnTo>
                        <a:lnTo>
                          <a:pt x="427" y="33"/>
                        </a:lnTo>
                        <a:lnTo>
                          <a:pt x="435" y="33"/>
                        </a:lnTo>
                        <a:lnTo>
                          <a:pt x="438" y="35"/>
                        </a:lnTo>
                        <a:lnTo>
                          <a:pt x="452" y="35"/>
                        </a:lnTo>
                        <a:lnTo>
                          <a:pt x="455" y="35"/>
                        </a:lnTo>
                        <a:lnTo>
                          <a:pt x="458" y="38"/>
                        </a:lnTo>
                        <a:lnTo>
                          <a:pt x="460" y="38"/>
                        </a:lnTo>
                        <a:lnTo>
                          <a:pt x="461" y="39"/>
                        </a:lnTo>
                        <a:lnTo>
                          <a:pt x="463" y="38"/>
                        </a:lnTo>
                        <a:lnTo>
                          <a:pt x="463" y="39"/>
                        </a:lnTo>
                        <a:lnTo>
                          <a:pt x="471" y="41"/>
                        </a:lnTo>
                        <a:lnTo>
                          <a:pt x="471" y="39"/>
                        </a:lnTo>
                        <a:lnTo>
                          <a:pt x="473" y="39"/>
                        </a:lnTo>
                        <a:lnTo>
                          <a:pt x="476" y="35"/>
                        </a:lnTo>
                        <a:lnTo>
                          <a:pt x="477" y="35"/>
                        </a:lnTo>
                        <a:lnTo>
                          <a:pt x="480" y="19"/>
                        </a:lnTo>
                        <a:lnTo>
                          <a:pt x="480" y="17"/>
                        </a:lnTo>
                        <a:lnTo>
                          <a:pt x="480" y="16"/>
                        </a:lnTo>
                        <a:lnTo>
                          <a:pt x="484" y="13"/>
                        </a:lnTo>
                        <a:lnTo>
                          <a:pt x="484" y="11"/>
                        </a:lnTo>
                        <a:lnTo>
                          <a:pt x="485" y="9"/>
                        </a:lnTo>
                        <a:lnTo>
                          <a:pt x="487" y="8"/>
                        </a:lnTo>
                        <a:lnTo>
                          <a:pt x="492" y="6"/>
                        </a:lnTo>
                        <a:lnTo>
                          <a:pt x="493" y="5"/>
                        </a:lnTo>
                        <a:lnTo>
                          <a:pt x="498" y="3"/>
                        </a:lnTo>
                        <a:lnTo>
                          <a:pt x="503" y="3"/>
                        </a:lnTo>
                        <a:lnTo>
                          <a:pt x="511" y="6"/>
                        </a:lnTo>
                        <a:lnTo>
                          <a:pt x="517" y="6"/>
                        </a:lnTo>
                        <a:lnTo>
                          <a:pt x="522" y="1"/>
                        </a:lnTo>
                        <a:lnTo>
                          <a:pt x="522" y="0"/>
                        </a:lnTo>
                        <a:lnTo>
                          <a:pt x="523" y="0"/>
                        </a:lnTo>
                        <a:lnTo>
                          <a:pt x="523" y="3"/>
                        </a:lnTo>
                        <a:lnTo>
                          <a:pt x="525" y="3"/>
                        </a:lnTo>
                        <a:lnTo>
                          <a:pt x="526" y="3"/>
                        </a:lnTo>
                        <a:lnTo>
                          <a:pt x="530" y="5"/>
                        </a:lnTo>
                        <a:lnTo>
                          <a:pt x="534" y="3"/>
                        </a:lnTo>
                        <a:lnTo>
                          <a:pt x="544" y="3"/>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65" name="Freeform 64"/>
                  <p:cNvSpPr>
                    <a:spLocks/>
                  </p:cNvSpPr>
                  <p:nvPr/>
                </p:nvSpPr>
                <p:spPr bwMode="auto">
                  <a:xfrm>
                    <a:off x="2193" y="2469"/>
                    <a:ext cx="81" cy="32"/>
                  </a:xfrm>
                  <a:custGeom>
                    <a:avLst/>
                    <a:gdLst>
                      <a:gd name="T0" fmla="*/ 0 w 81"/>
                      <a:gd name="T1" fmla="*/ 30 h 32"/>
                      <a:gd name="T2" fmla="*/ 3 w 81"/>
                      <a:gd name="T3" fmla="*/ 32 h 32"/>
                      <a:gd name="T4" fmla="*/ 5 w 81"/>
                      <a:gd name="T5" fmla="*/ 32 h 32"/>
                      <a:gd name="T6" fmla="*/ 6 w 81"/>
                      <a:gd name="T7" fmla="*/ 30 h 32"/>
                      <a:gd name="T8" fmla="*/ 9 w 81"/>
                      <a:gd name="T9" fmla="*/ 28 h 32"/>
                      <a:gd name="T10" fmla="*/ 12 w 81"/>
                      <a:gd name="T11" fmla="*/ 27 h 32"/>
                      <a:gd name="T12" fmla="*/ 19 w 81"/>
                      <a:gd name="T13" fmla="*/ 22 h 32"/>
                      <a:gd name="T14" fmla="*/ 24 w 81"/>
                      <a:gd name="T15" fmla="*/ 21 h 32"/>
                      <a:gd name="T16" fmla="*/ 28 w 81"/>
                      <a:gd name="T17" fmla="*/ 21 h 32"/>
                      <a:gd name="T18" fmla="*/ 33 w 81"/>
                      <a:gd name="T19" fmla="*/ 19 h 32"/>
                      <a:gd name="T20" fmla="*/ 39 w 81"/>
                      <a:gd name="T21" fmla="*/ 19 h 32"/>
                      <a:gd name="T22" fmla="*/ 44 w 81"/>
                      <a:gd name="T23" fmla="*/ 21 h 32"/>
                      <a:gd name="T24" fmla="*/ 46 w 81"/>
                      <a:gd name="T25" fmla="*/ 21 h 32"/>
                      <a:gd name="T26" fmla="*/ 47 w 81"/>
                      <a:gd name="T27" fmla="*/ 21 h 32"/>
                      <a:gd name="T28" fmla="*/ 49 w 81"/>
                      <a:gd name="T29" fmla="*/ 19 h 32"/>
                      <a:gd name="T30" fmla="*/ 51 w 81"/>
                      <a:gd name="T31" fmla="*/ 19 h 32"/>
                      <a:gd name="T32" fmla="*/ 54 w 81"/>
                      <a:gd name="T33" fmla="*/ 16 h 32"/>
                      <a:gd name="T34" fmla="*/ 55 w 81"/>
                      <a:gd name="T35" fmla="*/ 14 h 32"/>
                      <a:gd name="T36" fmla="*/ 57 w 81"/>
                      <a:gd name="T37" fmla="*/ 13 h 32"/>
                      <a:gd name="T38" fmla="*/ 58 w 81"/>
                      <a:gd name="T39" fmla="*/ 11 h 32"/>
                      <a:gd name="T40" fmla="*/ 58 w 81"/>
                      <a:gd name="T41" fmla="*/ 9 h 32"/>
                      <a:gd name="T42" fmla="*/ 60 w 81"/>
                      <a:gd name="T43" fmla="*/ 8 h 32"/>
                      <a:gd name="T44" fmla="*/ 60 w 81"/>
                      <a:gd name="T45" fmla="*/ 6 h 32"/>
                      <a:gd name="T46" fmla="*/ 62 w 81"/>
                      <a:gd name="T47" fmla="*/ 3 h 32"/>
                      <a:gd name="T48" fmla="*/ 63 w 81"/>
                      <a:gd name="T49" fmla="*/ 3 h 32"/>
                      <a:gd name="T50" fmla="*/ 65 w 81"/>
                      <a:gd name="T51" fmla="*/ 2 h 32"/>
                      <a:gd name="T52" fmla="*/ 70 w 81"/>
                      <a:gd name="T53" fmla="*/ 0 h 32"/>
                      <a:gd name="T54" fmla="*/ 71 w 81"/>
                      <a:gd name="T55" fmla="*/ 0 h 32"/>
                      <a:gd name="T56" fmla="*/ 73 w 81"/>
                      <a:gd name="T57" fmla="*/ 0 h 32"/>
                      <a:gd name="T58" fmla="*/ 74 w 81"/>
                      <a:gd name="T59" fmla="*/ 0 h 32"/>
                      <a:gd name="T60" fmla="*/ 76 w 81"/>
                      <a:gd name="T61" fmla="*/ 3 h 32"/>
                      <a:gd name="T62" fmla="*/ 77 w 81"/>
                      <a:gd name="T63" fmla="*/ 3 h 32"/>
                      <a:gd name="T64" fmla="*/ 79 w 81"/>
                      <a:gd name="T65" fmla="*/ 5 h 32"/>
                      <a:gd name="T66" fmla="*/ 81 w 81"/>
                      <a:gd name="T67"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1" h="32">
                        <a:moveTo>
                          <a:pt x="0" y="30"/>
                        </a:moveTo>
                        <a:lnTo>
                          <a:pt x="3" y="32"/>
                        </a:lnTo>
                        <a:lnTo>
                          <a:pt x="5" y="32"/>
                        </a:lnTo>
                        <a:lnTo>
                          <a:pt x="6" y="30"/>
                        </a:lnTo>
                        <a:lnTo>
                          <a:pt x="9" y="28"/>
                        </a:lnTo>
                        <a:lnTo>
                          <a:pt x="12" y="27"/>
                        </a:lnTo>
                        <a:lnTo>
                          <a:pt x="19" y="22"/>
                        </a:lnTo>
                        <a:lnTo>
                          <a:pt x="24" y="21"/>
                        </a:lnTo>
                        <a:lnTo>
                          <a:pt x="28" y="21"/>
                        </a:lnTo>
                        <a:lnTo>
                          <a:pt x="33" y="19"/>
                        </a:lnTo>
                        <a:lnTo>
                          <a:pt x="39" y="19"/>
                        </a:lnTo>
                        <a:lnTo>
                          <a:pt x="44" y="21"/>
                        </a:lnTo>
                        <a:lnTo>
                          <a:pt x="46" y="21"/>
                        </a:lnTo>
                        <a:lnTo>
                          <a:pt x="47" y="21"/>
                        </a:lnTo>
                        <a:lnTo>
                          <a:pt x="49" y="19"/>
                        </a:lnTo>
                        <a:lnTo>
                          <a:pt x="51" y="19"/>
                        </a:lnTo>
                        <a:lnTo>
                          <a:pt x="54" y="16"/>
                        </a:lnTo>
                        <a:lnTo>
                          <a:pt x="55" y="14"/>
                        </a:lnTo>
                        <a:lnTo>
                          <a:pt x="57" y="13"/>
                        </a:lnTo>
                        <a:lnTo>
                          <a:pt x="58" y="11"/>
                        </a:lnTo>
                        <a:lnTo>
                          <a:pt x="58" y="9"/>
                        </a:lnTo>
                        <a:lnTo>
                          <a:pt x="60" y="8"/>
                        </a:lnTo>
                        <a:lnTo>
                          <a:pt x="60" y="6"/>
                        </a:lnTo>
                        <a:lnTo>
                          <a:pt x="62" y="3"/>
                        </a:lnTo>
                        <a:lnTo>
                          <a:pt x="63" y="3"/>
                        </a:lnTo>
                        <a:lnTo>
                          <a:pt x="65" y="2"/>
                        </a:lnTo>
                        <a:lnTo>
                          <a:pt x="70" y="0"/>
                        </a:lnTo>
                        <a:lnTo>
                          <a:pt x="71" y="0"/>
                        </a:lnTo>
                        <a:lnTo>
                          <a:pt x="73" y="0"/>
                        </a:lnTo>
                        <a:lnTo>
                          <a:pt x="74" y="0"/>
                        </a:lnTo>
                        <a:lnTo>
                          <a:pt x="76" y="3"/>
                        </a:lnTo>
                        <a:lnTo>
                          <a:pt x="77" y="3"/>
                        </a:lnTo>
                        <a:lnTo>
                          <a:pt x="79" y="5"/>
                        </a:lnTo>
                        <a:lnTo>
                          <a:pt x="81" y="6"/>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66" name="Freeform 65"/>
                  <p:cNvSpPr>
                    <a:spLocks/>
                  </p:cNvSpPr>
                  <p:nvPr/>
                </p:nvSpPr>
                <p:spPr bwMode="auto">
                  <a:xfrm>
                    <a:off x="3216" y="1119"/>
                    <a:ext cx="876" cy="1036"/>
                  </a:xfrm>
                  <a:custGeom>
                    <a:avLst/>
                    <a:gdLst>
                      <a:gd name="T0" fmla="*/ 534 w 876"/>
                      <a:gd name="T1" fmla="*/ 99 h 1036"/>
                      <a:gd name="T2" fmla="*/ 664 w 876"/>
                      <a:gd name="T3" fmla="*/ 200 h 1036"/>
                      <a:gd name="T4" fmla="*/ 653 w 876"/>
                      <a:gd name="T5" fmla="*/ 230 h 1036"/>
                      <a:gd name="T6" fmla="*/ 716 w 876"/>
                      <a:gd name="T7" fmla="*/ 311 h 1036"/>
                      <a:gd name="T8" fmla="*/ 751 w 876"/>
                      <a:gd name="T9" fmla="*/ 349 h 1036"/>
                      <a:gd name="T10" fmla="*/ 743 w 876"/>
                      <a:gd name="T11" fmla="*/ 371 h 1036"/>
                      <a:gd name="T12" fmla="*/ 688 w 876"/>
                      <a:gd name="T13" fmla="*/ 390 h 1036"/>
                      <a:gd name="T14" fmla="*/ 650 w 876"/>
                      <a:gd name="T15" fmla="*/ 434 h 1036"/>
                      <a:gd name="T16" fmla="*/ 670 w 876"/>
                      <a:gd name="T17" fmla="*/ 464 h 1036"/>
                      <a:gd name="T18" fmla="*/ 665 w 876"/>
                      <a:gd name="T19" fmla="*/ 479 h 1036"/>
                      <a:gd name="T20" fmla="*/ 678 w 876"/>
                      <a:gd name="T21" fmla="*/ 502 h 1036"/>
                      <a:gd name="T22" fmla="*/ 681 w 876"/>
                      <a:gd name="T23" fmla="*/ 552 h 1036"/>
                      <a:gd name="T24" fmla="*/ 688 w 876"/>
                      <a:gd name="T25" fmla="*/ 578 h 1036"/>
                      <a:gd name="T26" fmla="*/ 694 w 876"/>
                      <a:gd name="T27" fmla="*/ 593 h 1036"/>
                      <a:gd name="T28" fmla="*/ 710 w 876"/>
                      <a:gd name="T29" fmla="*/ 612 h 1036"/>
                      <a:gd name="T30" fmla="*/ 734 w 876"/>
                      <a:gd name="T31" fmla="*/ 610 h 1036"/>
                      <a:gd name="T32" fmla="*/ 735 w 876"/>
                      <a:gd name="T33" fmla="*/ 637 h 1036"/>
                      <a:gd name="T34" fmla="*/ 740 w 876"/>
                      <a:gd name="T35" fmla="*/ 647 h 1036"/>
                      <a:gd name="T36" fmla="*/ 753 w 876"/>
                      <a:gd name="T37" fmla="*/ 677 h 1036"/>
                      <a:gd name="T38" fmla="*/ 754 w 876"/>
                      <a:gd name="T39" fmla="*/ 697 h 1036"/>
                      <a:gd name="T40" fmla="*/ 751 w 876"/>
                      <a:gd name="T41" fmla="*/ 719 h 1036"/>
                      <a:gd name="T42" fmla="*/ 767 w 876"/>
                      <a:gd name="T43" fmla="*/ 740 h 1036"/>
                      <a:gd name="T44" fmla="*/ 806 w 876"/>
                      <a:gd name="T45" fmla="*/ 754 h 1036"/>
                      <a:gd name="T46" fmla="*/ 830 w 876"/>
                      <a:gd name="T47" fmla="*/ 764 h 1036"/>
                      <a:gd name="T48" fmla="*/ 836 w 876"/>
                      <a:gd name="T49" fmla="*/ 786 h 1036"/>
                      <a:gd name="T50" fmla="*/ 851 w 876"/>
                      <a:gd name="T51" fmla="*/ 797 h 1036"/>
                      <a:gd name="T52" fmla="*/ 868 w 876"/>
                      <a:gd name="T53" fmla="*/ 815 h 1036"/>
                      <a:gd name="T54" fmla="*/ 871 w 876"/>
                      <a:gd name="T55" fmla="*/ 862 h 1036"/>
                      <a:gd name="T56" fmla="*/ 827 w 876"/>
                      <a:gd name="T57" fmla="*/ 843 h 1036"/>
                      <a:gd name="T58" fmla="*/ 759 w 876"/>
                      <a:gd name="T59" fmla="*/ 857 h 1036"/>
                      <a:gd name="T60" fmla="*/ 686 w 876"/>
                      <a:gd name="T61" fmla="*/ 870 h 1036"/>
                      <a:gd name="T62" fmla="*/ 661 w 876"/>
                      <a:gd name="T63" fmla="*/ 905 h 1036"/>
                      <a:gd name="T64" fmla="*/ 629 w 876"/>
                      <a:gd name="T65" fmla="*/ 914 h 1036"/>
                      <a:gd name="T66" fmla="*/ 602 w 876"/>
                      <a:gd name="T67" fmla="*/ 968 h 1036"/>
                      <a:gd name="T68" fmla="*/ 621 w 876"/>
                      <a:gd name="T69" fmla="*/ 990 h 1036"/>
                      <a:gd name="T70" fmla="*/ 599 w 876"/>
                      <a:gd name="T71" fmla="*/ 984 h 1036"/>
                      <a:gd name="T72" fmla="*/ 548 w 876"/>
                      <a:gd name="T73" fmla="*/ 979 h 1036"/>
                      <a:gd name="T74" fmla="*/ 526 w 876"/>
                      <a:gd name="T75" fmla="*/ 992 h 1036"/>
                      <a:gd name="T76" fmla="*/ 464 w 876"/>
                      <a:gd name="T77" fmla="*/ 986 h 1036"/>
                      <a:gd name="T78" fmla="*/ 292 w 876"/>
                      <a:gd name="T79" fmla="*/ 1003 h 1036"/>
                      <a:gd name="T80" fmla="*/ 312 w 876"/>
                      <a:gd name="T81" fmla="*/ 982 h 1036"/>
                      <a:gd name="T82" fmla="*/ 263 w 876"/>
                      <a:gd name="T83" fmla="*/ 987 h 1036"/>
                      <a:gd name="T84" fmla="*/ 285 w 876"/>
                      <a:gd name="T85" fmla="*/ 933 h 1036"/>
                      <a:gd name="T86" fmla="*/ 249 w 876"/>
                      <a:gd name="T87" fmla="*/ 897 h 1036"/>
                      <a:gd name="T88" fmla="*/ 189 w 876"/>
                      <a:gd name="T89" fmla="*/ 948 h 1036"/>
                      <a:gd name="T90" fmla="*/ 149 w 876"/>
                      <a:gd name="T91" fmla="*/ 930 h 1036"/>
                      <a:gd name="T92" fmla="*/ 136 w 876"/>
                      <a:gd name="T93" fmla="*/ 889 h 1036"/>
                      <a:gd name="T94" fmla="*/ 143 w 876"/>
                      <a:gd name="T95" fmla="*/ 829 h 1036"/>
                      <a:gd name="T96" fmla="*/ 154 w 876"/>
                      <a:gd name="T97" fmla="*/ 781 h 1036"/>
                      <a:gd name="T98" fmla="*/ 168 w 876"/>
                      <a:gd name="T99" fmla="*/ 726 h 1036"/>
                      <a:gd name="T100" fmla="*/ 241 w 876"/>
                      <a:gd name="T101" fmla="*/ 716 h 1036"/>
                      <a:gd name="T102" fmla="*/ 263 w 876"/>
                      <a:gd name="T103" fmla="*/ 686 h 1036"/>
                      <a:gd name="T104" fmla="*/ 285 w 876"/>
                      <a:gd name="T105" fmla="*/ 658 h 1036"/>
                      <a:gd name="T106" fmla="*/ 315 w 876"/>
                      <a:gd name="T107" fmla="*/ 624 h 1036"/>
                      <a:gd name="T108" fmla="*/ 258 w 876"/>
                      <a:gd name="T109" fmla="*/ 624 h 1036"/>
                      <a:gd name="T110" fmla="*/ 201 w 876"/>
                      <a:gd name="T111" fmla="*/ 582 h 1036"/>
                      <a:gd name="T112" fmla="*/ 187 w 876"/>
                      <a:gd name="T113" fmla="*/ 504 h 1036"/>
                      <a:gd name="T114" fmla="*/ 155 w 876"/>
                      <a:gd name="T115" fmla="*/ 496 h 1036"/>
                      <a:gd name="T116" fmla="*/ 94 w 876"/>
                      <a:gd name="T117" fmla="*/ 469 h 1036"/>
                      <a:gd name="T118" fmla="*/ 48 w 876"/>
                      <a:gd name="T119" fmla="*/ 455 h 1036"/>
                      <a:gd name="T120" fmla="*/ 21 w 876"/>
                      <a:gd name="T121" fmla="*/ 434 h 1036"/>
                      <a:gd name="T122" fmla="*/ 35 w 876"/>
                      <a:gd name="T123" fmla="*/ 306 h 1036"/>
                      <a:gd name="T124" fmla="*/ 236 w 876"/>
                      <a:gd name="T125" fmla="*/ 46 h 1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76" h="1036">
                        <a:moveTo>
                          <a:pt x="295" y="0"/>
                        </a:moveTo>
                        <a:lnTo>
                          <a:pt x="342" y="15"/>
                        </a:lnTo>
                        <a:lnTo>
                          <a:pt x="342" y="13"/>
                        </a:lnTo>
                        <a:lnTo>
                          <a:pt x="345" y="13"/>
                        </a:lnTo>
                        <a:lnTo>
                          <a:pt x="409" y="27"/>
                        </a:lnTo>
                        <a:lnTo>
                          <a:pt x="428" y="38"/>
                        </a:lnTo>
                        <a:lnTo>
                          <a:pt x="440" y="46"/>
                        </a:lnTo>
                        <a:lnTo>
                          <a:pt x="507" y="81"/>
                        </a:lnTo>
                        <a:lnTo>
                          <a:pt x="523" y="91"/>
                        </a:lnTo>
                        <a:lnTo>
                          <a:pt x="526" y="94"/>
                        </a:lnTo>
                        <a:lnTo>
                          <a:pt x="528" y="94"/>
                        </a:lnTo>
                        <a:lnTo>
                          <a:pt x="529" y="94"/>
                        </a:lnTo>
                        <a:lnTo>
                          <a:pt x="531" y="95"/>
                        </a:lnTo>
                        <a:lnTo>
                          <a:pt x="532" y="95"/>
                        </a:lnTo>
                        <a:lnTo>
                          <a:pt x="534" y="97"/>
                        </a:lnTo>
                        <a:lnTo>
                          <a:pt x="534" y="99"/>
                        </a:lnTo>
                        <a:lnTo>
                          <a:pt x="532" y="99"/>
                        </a:lnTo>
                        <a:lnTo>
                          <a:pt x="534" y="100"/>
                        </a:lnTo>
                        <a:lnTo>
                          <a:pt x="556" y="119"/>
                        </a:lnTo>
                        <a:lnTo>
                          <a:pt x="569" y="129"/>
                        </a:lnTo>
                        <a:lnTo>
                          <a:pt x="574" y="135"/>
                        </a:lnTo>
                        <a:lnTo>
                          <a:pt x="588" y="148"/>
                        </a:lnTo>
                        <a:lnTo>
                          <a:pt x="605" y="162"/>
                        </a:lnTo>
                        <a:lnTo>
                          <a:pt x="643" y="179"/>
                        </a:lnTo>
                        <a:lnTo>
                          <a:pt x="669" y="181"/>
                        </a:lnTo>
                        <a:lnTo>
                          <a:pt x="670" y="182"/>
                        </a:lnTo>
                        <a:lnTo>
                          <a:pt x="670" y="186"/>
                        </a:lnTo>
                        <a:lnTo>
                          <a:pt x="670" y="189"/>
                        </a:lnTo>
                        <a:lnTo>
                          <a:pt x="670" y="194"/>
                        </a:lnTo>
                        <a:lnTo>
                          <a:pt x="665" y="197"/>
                        </a:lnTo>
                        <a:lnTo>
                          <a:pt x="664" y="198"/>
                        </a:lnTo>
                        <a:lnTo>
                          <a:pt x="664" y="200"/>
                        </a:lnTo>
                        <a:lnTo>
                          <a:pt x="662" y="200"/>
                        </a:lnTo>
                        <a:lnTo>
                          <a:pt x="661" y="203"/>
                        </a:lnTo>
                        <a:lnTo>
                          <a:pt x="659" y="205"/>
                        </a:lnTo>
                        <a:lnTo>
                          <a:pt x="657" y="208"/>
                        </a:lnTo>
                        <a:lnTo>
                          <a:pt x="656" y="209"/>
                        </a:lnTo>
                        <a:lnTo>
                          <a:pt x="656" y="211"/>
                        </a:lnTo>
                        <a:lnTo>
                          <a:pt x="654" y="214"/>
                        </a:lnTo>
                        <a:lnTo>
                          <a:pt x="654" y="216"/>
                        </a:lnTo>
                        <a:lnTo>
                          <a:pt x="654" y="217"/>
                        </a:lnTo>
                        <a:lnTo>
                          <a:pt x="654" y="219"/>
                        </a:lnTo>
                        <a:lnTo>
                          <a:pt x="656" y="221"/>
                        </a:lnTo>
                        <a:lnTo>
                          <a:pt x="656" y="222"/>
                        </a:lnTo>
                        <a:lnTo>
                          <a:pt x="654" y="224"/>
                        </a:lnTo>
                        <a:lnTo>
                          <a:pt x="654" y="225"/>
                        </a:lnTo>
                        <a:lnTo>
                          <a:pt x="653" y="228"/>
                        </a:lnTo>
                        <a:lnTo>
                          <a:pt x="653" y="230"/>
                        </a:lnTo>
                        <a:lnTo>
                          <a:pt x="653" y="233"/>
                        </a:lnTo>
                        <a:lnTo>
                          <a:pt x="654" y="236"/>
                        </a:lnTo>
                        <a:lnTo>
                          <a:pt x="656" y="243"/>
                        </a:lnTo>
                        <a:lnTo>
                          <a:pt x="657" y="251"/>
                        </a:lnTo>
                        <a:lnTo>
                          <a:pt x="659" y="254"/>
                        </a:lnTo>
                        <a:lnTo>
                          <a:pt x="661" y="257"/>
                        </a:lnTo>
                        <a:lnTo>
                          <a:pt x="664" y="259"/>
                        </a:lnTo>
                        <a:lnTo>
                          <a:pt x="667" y="262"/>
                        </a:lnTo>
                        <a:lnTo>
                          <a:pt x="670" y="265"/>
                        </a:lnTo>
                        <a:lnTo>
                          <a:pt x="675" y="268"/>
                        </a:lnTo>
                        <a:lnTo>
                          <a:pt x="680" y="273"/>
                        </a:lnTo>
                        <a:lnTo>
                          <a:pt x="683" y="276"/>
                        </a:lnTo>
                        <a:lnTo>
                          <a:pt x="688" y="281"/>
                        </a:lnTo>
                        <a:lnTo>
                          <a:pt x="699" y="292"/>
                        </a:lnTo>
                        <a:lnTo>
                          <a:pt x="708" y="303"/>
                        </a:lnTo>
                        <a:lnTo>
                          <a:pt x="716" y="311"/>
                        </a:lnTo>
                        <a:lnTo>
                          <a:pt x="727" y="320"/>
                        </a:lnTo>
                        <a:lnTo>
                          <a:pt x="734" y="325"/>
                        </a:lnTo>
                        <a:lnTo>
                          <a:pt x="738" y="330"/>
                        </a:lnTo>
                        <a:lnTo>
                          <a:pt x="737" y="331"/>
                        </a:lnTo>
                        <a:lnTo>
                          <a:pt x="738" y="333"/>
                        </a:lnTo>
                        <a:lnTo>
                          <a:pt x="740" y="336"/>
                        </a:lnTo>
                        <a:lnTo>
                          <a:pt x="741" y="338"/>
                        </a:lnTo>
                        <a:lnTo>
                          <a:pt x="743" y="338"/>
                        </a:lnTo>
                        <a:lnTo>
                          <a:pt x="746" y="339"/>
                        </a:lnTo>
                        <a:lnTo>
                          <a:pt x="748" y="341"/>
                        </a:lnTo>
                        <a:lnTo>
                          <a:pt x="749" y="342"/>
                        </a:lnTo>
                        <a:lnTo>
                          <a:pt x="751" y="342"/>
                        </a:lnTo>
                        <a:lnTo>
                          <a:pt x="751" y="344"/>
                        </a:lnTo>
                        <a:lnTo>
                          <a:pt x="751" y="346"/>
                        </a:lnTo>
                        <a:lnTo>
                          <a:pt x="751" y="347"/>
                        </a:lnTo>
                        <a:lnTo>
                          <a:pt x="751" y="349"/>
                        </a:lnTo>
                        <a:lnTo>
                          <a:pt x="751" y="350"/>
                        </a:lnTo>
                        <a:lnTo>
                          <a:pt x="753" y="352"/>
                        </a:lnTo>
                        <a:lnTo>
                          <a:pt x="753" y="354"/>
                        </a:lnTo>
                        <a:lnTo>
                          <a:pt x="753" y="355"/>
                        </a:lnTo>
                        <a:lnTo>
                          <a:pt x="754" y="355"/>
                        </a:lnTo>
                        <a:lnTo>
                          <a:pt x="756" y="355"/>
                        </a:lnTo>
                        <a:lnTo>
                          <a:pt x="756" y="357"/>
                        </a:lnTo>
                        <a:lnTo>
                          <a:pt x="754" y="357"/>
                        </a:lnTo>
                        <a:lnTo>
                          <a:pt x="753" y="360"/>
                        </a:lnTo>
                        <a:lnTo>
                          <a:pt x="753" y="361"/>
                        </a:lnTo>
                        <a:lnTo>
                          <a:pt x="751" y="363"/>
                        </a:lnTo>
                        <a:lnTo>
                          <a:pt x="751" y="365"/>
                        </a:lnTo>
                        <a:lnTo>
                          <a:pt x="751" y="366"/>
                        </a:lnTo>
                        <a:lnTo>
                          <a:pt x="749" y="369"/>
                        </a:lnTo>
                        <a:lnTo>
                          <a:pt x="746" y="371"/>
                        </a:lnTo>
                        <a:lnTo>
                          <a:pt x="743" y="371"/>
                        </a:lnTo>
                        <a:lnTo>
                          <a:pt x="740" y="373"/>
                        </a:lnTo>
                        <a:lnTo>
                          <a:pt x="735" y="373"/>
                        </a:lnTo>
                        <a:lnTo>
                          <a:pt x="729" y="373"/>
                        </a:lnTo>
                        <a:lnTo>
                          <a:pt x="726" y="373"/>
                        </a:lnTo>
                        <a:lnTo>
                          <a:pt x="722" y="374"/>
                        </a:lnTo>
                        <a:lnTo>
                          <a:pt x="718" y="379"/>
                        </a:lnTo>
                        <a:lnTo>
                          <a:pt x="713" y="384"/>
                        </a:lnTo>
                        <a:lnTo>
                          <a:pt x="708" y="387"/>
                        </a:lnTo>
                        <a:lnTo>
                          <a:pt x="705" y="388"/>
                        </a:lnTo>
                        <a:lnTo>
                          <a:pt x="703" y="388"/>
                        </a:lnTo>
                        <a:lnTo>
                          <a:pt x="702" y="388"/>
                        </a:lnTo>
                        <a:lnTo>
                          <a:pt x="699" y="388"/>
                        </a:lnTo>
                        <a:lnTo>
                          <a:pt x="697" y="387"/>
                        </a:lnTo>
                        <a:lnTo>
                          <a:pt x="695" y="387"/>
                        </a:lnTo>
                        <a:lnTo>
                          <a:pt x="692" y="388"/>
                        </a:lnTo>
                        <a:lnTo>
                          <a:pt x="688" y="390"/>
                        </a:lnTo>
                        <a:lnTo>
                          <a:pt x="683" y="395"/>
                        </a:lnTo>
                        <a:lnTo>
                          <a:pt x="673" y="400"/>
                        </a:lnTo>
                        <a:lnTo>
                          <a:pt x="667" y="404"/>
                        </a:lnTo>
                        <a:lnTo>
                          <a:pt x="657" y="411"/>
                        </a:lnTo>
                        <a:lnTo>
                          <a:pt x="653" y="414"/>
                        </a:lnTo>
                        <a:lnTo>
                          <a:pt x="650" y="417"/>
                        </a:lnTo>
                        <a:lnTo>
                          <a:pt x="648" y="419"/>
                        </a:lnTo>
                        <a:lnTo>
                          <a:pt x="646" y="420"/>
                        </a:lnTo>
                        <a:lnTo>
                          <a:pt x="646" y="422"/>
                        </a:lnTo>
                        <a:lnTo>
                          <a:pt x="646" y="423"/>
                        </a:lnTo>
                        <a:lnTo>
                          <a:pt x="648" y="426"/>
                        </a:lnTo>
                        <a:lnTo>
                          <a:pt x="650" y="428"/>
                        </a:lnTo>
                        <a:lnTo>
                          <a:pt x="650" y="430"/>
                        </a:lnTo>
                        <a:lnTo>
                          <a:pt x="650" y="431"/>
                        </a:lnTo>
                        <a:lnTo>
                          <a:pt x="650" y="433"/>
                        </a:lnTo>
                        <a:lnTo>
                          <a:pt x="650" y="434"/>
                        </a:lnTo>
                        <a:lnTo>
                          <a:pt x="650" y="438"/>
                        </a:lnTo>
                        <a:lnTo>
                          <a:pt x="651" y="441"/>
                        </a:lnTo>
                        <a:lnTo>
                          <a:pt x="651" y="444"/>
                        </a:lnTo>
                        <a:lnTo>
                          <a:pt x="651" y="445"/>
                        </a:lnTo>
                        <a:lnTo>
                          <a:pt x="651" y="447"/>
                        </a:lnTo>
                        <a:lnTo>
                          <a:pt x="654" y="449"/>
                        </a:lnTo>
                        <a:lnTo>
                          <a:pt x="657" y="452"/>
                        </a:lnTo>
                        <a:lnTo>
                          <a:pt x="657" y="453"/>
                        </a:lnTo>
                        <a:lnTo>
                          <a:pt x="659" y="453"/>
                        </a:lnTo>
                        <a:lnTo>
                          <a:pt x="661" y="453"/>
                        </a:lnTo>
                        <a:lnTo>
                          <a:pt x="661" y="455"/>
                        </a:lnTo>
                        <a:lnTo>
                          <a:pt x="662" y="457"/>
                        </a:lnTo>
                        <a:lnTo>
                          <a:pt x="664" y="460"/>
                        </a:lnTo>
                        <a:lnTo>
                          <a:pt x="665" y="461"/>
                        </a:lnTo>
                        <a:lnTo>
                          <a:pt x="667" y="463"/>
                        </a:lnTo>
                        <a:lnTo>
                          <a:pt x="670" y="464"/>
                        </a:lnTo>
                        <a:lnTo>
                          <a:pt x="670" y="466"/>
                        </a:lnTo>
                        <a:lnTo>
                          <a:pt x="672" y="466"/>
                        </a:lnTo>
                        <a:lnTo>
                          <a:pt x="672" y="468"/>
                        </a:lnTo>
                        <a:lnTo>
                          <a:pt x="673" y="468"/>
                        </a:lnTo>
                        <a:lnTo>
                          <a:pt x="673" y="469"/>
                        </a:lnTo>
                        <a:lnTo>
                          <a:pt x="673" y="471"/>
                        </a:lnTo>
                        <a:lnTo>
                          <a:pt x="673" y="472"/>
                        </a:lnTo>
                        <a:lnTo>
                          <a:pt x="675" y="472"/>
                        </a:lnTo>
                        <a:lnTo>
                          <a:pt x="673" y="474"/>
                        </a:lnTo>
                        <a:lnTo>
                          <a:pt x="672" y="474"/>
                        </a:lnTo>
                        <a:lnTo>
                          <a:pt x="672" y="476"/>
                        </a:lnTo>
                        <a:lnTo>
                          <a:pt x="670" y="476"/>
                        </a:lnTo>
                        <a:lnTo>
                          <a:pt x="669" y="476"/>
                        </a:lnTo>
                        <a:lnTo>
                          <a:pt x="667" y="476"/>
                        </a:lnTo>
                        <a:lnTo>
                          <a:pt x="667" y="477"/>
                        </a:lnTo>
                        <a:lnTo>
                          <a:pt x="665" y="479"/>
                        </a:lnTo>
                        <a:lnTo>
                          <a:pt x="665" y="480"/>
                        </a:lnTo>
                        <a:lnTo>
                          <a:pt x="664" y="480"/>
                        </a:lnTo>
                        <a:lnTo>
                          <a:pt x="665" y="483"/>
                        </a:lnTo>
                        <a:lnTo>
                          <a:pt x="665" y="485"/>
                        </a:lnTo>
                        <a:lnTo>
                          <a:pt x="665" y="487"/>
                        </a:lnTo>
                        <a:lnTo>
                          <a:pt x="667" y="487"/>
                        </a:lnTo>
                        <a:lnTo>
                          <a:pt x="667" y="488"/>
                        </a:lnTo>
                        <a:lnTo>
                          <a:pt x="669" y="488"/>
                        </a:lnTo>
                        <a:lnTo>
                          <a:pt x="669" y="490"/>
                        </a:lnTo>
                        <a:lnTo>
                          <a:pt x="670" y="490"/>
                        </a:lnTo>
                        <a:lnTo>
                          <a:pt x="672" y="490"/>
                        </a:lnTo>
                        <a:lnTo>
                          <a:pt x="673" y="491"/>
                        </a:lnTo>
                        <a:lnTo>
                          <a:pt x="675" y="491"/>
                        </a:lnTo>
                        <a:lnTo>
                          <a:pt x="675" y="493"/>
                        </a:lnTo>
                        <a:lnTo>
                          <a:pt x="676" y="498"/>
                        </a:lnTo>
                        <a:lnTo>
                          <a:pt x="678" y="502"/>
                        </a:lnTo>
                        <a:lnTo>
                          <a:pt x="680" y="507"/>
                        </a:lnTo>
                        <a:lnTo>
                          <a:pt x="680" y="510"/>
                        </a:lnTo>
                        <a:lnTo>
                          <a:pt x="681" y="512"/>
                        </a:lnTo>
                        <a:lnTo>
                          <a:pt x="680" y="515"/>
                        </a:lnTo>
                        <a:lnTo>
                          <a:pt x="678" y="518"/>
                        </a:lnTo>
                        <a:lnTo>
                          <a:pt x="676" y="523"/>
                        </a:lnTo>
                        <a:lnTo>
                          <a:pt x="675" y="525"/>
                        </a:lnTo>
                        <a:lnTo>
                          <a:pt x="675" y="528"/>
                        </a:lnTo>
                        <a:lnTo>
                          <a:pt x="675" y="531"/>
                        </a:lnTo>
                        <a:lnTo>
                          <a:pt x="676" y="536"/>
                        </a:lnTo>
                        <a:lnTo>
                          <a:pt x="680" y="539"/>
                        </a:lnTo>
                        <a:lnTo>
                          <a:pt x="680" y="540"/>
                        </a:lnTo>
                        <a:lnTo>
                          <a:pt x="681" y="542"/>
                        </a:lnTo>
                        <a:lnTo>
                          <a:pt x="681" y="544"/>
                        </a:lnTo>
                        <a:lnTo>
                          <a:pt x="681" y="547"/>
                        </a:lnTo>
                        <a:lnTo>
                          <a:pt x="681" y="552"/>
                        </a:lnTo>
                        <a:lnTo>
                          <a:pt x="680" y="555"/>
                        </a:lnTo>
                        <a:lnTo>
                          <a:pt x="681" y="556"/>
                        </a:lnTo>
                        <a:lnTo>
                          <a:pt x="681" y="559"/>
                        </a:lnTo>
                        <a:lnTo>
                          <a:pt x="681" y="561"/>
                        </a:lnTo>
                        <a:lnTo>
                          <a:pt x="683" y="563"/>
                        </a:lnTo>
                        <a:lnTo>
                          <a:pt x="684" y="564"/>
                        </a:lnTo>
                        <a:lnTo>
                          <a:pt x="686" y="566"/>
                        </a:lnTo>
                        <a:lnTo>
                          <a:pt x="686" y="567"/>
                        </a:lnTo>
                        <a:lnTo>
                          <a:pt x="688" y="567"/>
                        </a:lnTo>
                        <a:lnTo>
                          <a:pt x="688" y="569"/>
                        </a:lnTo>
                        <a:lnTo>
                          <a:pt x="688" y="571"/>
                        </a:lnTo>
                        <a:lnTo>
                          <a:pt x="688" y="574"/>
                        </a:lnTo>
                        <a:lnTo>
                          <a:pt x="686" y="575"/>
                        </a:lnTo>
                        <a:lnTo>
                          <a:pt x="686" y="577"/>
                        </a:lnTo>
                        <a:lnTo>
                          <a:pt x="688" y="577"/>
                        </a:lnTo>
                        <a:lnTo>
                          <a:pt x="688" y="578"/>
                        </a:lnTo>
                        <a:lnTo>
                          <a:pt x="689" y="578"/>
                        </a:lnTo>
                        <a:lnTo>
                          <a:pt x="689" y="580"/>
                        </a:lnTo>
                        <a:lnTo>
                          <a:pt x="688" y="580"/>
                        </a:lnTo>
                        <a:lnTo>
                          <a:pt x="688" y="582"/>
                        </a:lnTo>
                        <a:lnTo>
                          <a:pt x="686" y="582"/>
                        </a:lnTo>
                        <a:lnTo>
                          <a:pt x="684" y="583"/>
                        </a:lnTo>
                        <a:lnTo>
                          <a:pt x="684" y="585"/>
                        </a:lnTo>
                        <a:lnTo>
                          <a:pt x="684" y="586"/>
                        </a:lnTo>
                        <a:lnTo>
                          <a:pt x="686" y="588"/>
                        </a:lnTo>
                        <a:lnTo>
                          <a:pt x="686" y="590"/>
                        </a:lnTo>
                        <a:lnTo>
                          <a:pt x="686" y="591"/>
                        </a:lnTo>
                        <a:lnTo>
                          <a:pt x="688" y="591"/>
                        </a:lnTo>
                        <a:lnTo>
                          <a:pt x="689" y="591"/>
                        </a:lnTo>
                        <a:lnTo>
                          <a:pt x="691" y="593"/>
                        </a:lnTo>
                        <a:lnTo>
                          <a:pt x="692" y="593"/>
                        </a:lnTo>
                        <a:lnTo>
                          <a:pt x="694" y="593"/>
                        </a:lnTo>
                        <a:lnTo>
                          <a:pt x="695" y="594"/>
                        </a:lnTo>
                        <a:lnTo>
                          <a:pt x="695" y="593"/>
                        </a:lnTo>
                        <a:lnTo>
                          <a:pt x="697" y="594"/>
                        </a:lnTo>
                        <a:lnTo>
                          <a:pt x="699" y="594"/>
                        </a:lnTo>
                        <a:lnTo>
                          <a:pt x="702" y="596"/>
                        </a:lnTo>
                        <a:lnTo>
                          <a:pt x="703" y="598"/>
                        </a:lnTo>
                        <a:lnTo>
                          <a:pt x="703" y="599"/>
                        </a:lnTo>
                        <a:lnTo>
                          <a:pt x="705" y="599"/>
                        </a:lnTo>
                        <a:lnTo>
                          <a:pt x="705" y="601"/>
                        </a:lnTo>
                        <a:lnTo>
                          <a:pt x="707" y="602"/>
                        </a:lnTo>
                        <a:lnTo>
                          <a:pt x="708" y="604"/>
                        </a:lnTo>
                        <a:lnTo>
                          <a:pt x="710" y="605"/>
                        </a:lnTo>
                        <a:lnTo>
                          <a:pt x="710" y="607"/>
                        </a:lnTo>
                        <a:lnTo>
                          <a:pt x="710" y="609"/>
                        </a:lnTo>
                        <a:lnTo>
                          <a:pt x="710" y="610"/>
                        </a:lnTo>
                        <a:lnTo>
                          <a:pt x="710" y="612"/>
                        </a:lnTo>
                        <a:lnTo>
                          <a:pt x="710" y="613"/>
                        </a:lnTo>
                        <a:lnTo>
                          <a:pt x="710" y="615"/>
                        </a:lnTo>
                        <a:lnTo>
                          <a:pt x="710" y="617"/>
                        </a:lnTo>
                        <a:lnTo>
                          <a:pt x="710" y="618"/>
                        </a:lnTo>
                        <a:lnTo>
                          <a:pt x="711" y="618"/>
                        </a:lnTo>
                        <a:lnTo>
                          <a:pt x="711" y="620"/>
                        </a:lnTo>
                        <a:lnTo>
                          <a:pt x="713" y="620"/>
                        </a:lnTo>
                        <a:lnTo>
                          <a:pt x="715" y="621"/>
                        </a:lnTo>
                        <a:lnTo>
                          <a:pt x="715" y="620"/>
                        </a:lnTo>
                        <a:lnTo>
                          <a:pt x="716" y="618"/>
                        </a:lnTo>
                        <a:lnTo>
                          <a:pt x="718" y="618"/>
                        </a:lnTo>
                        <a:lnTo>
                          <a:pt x="721" y="615"/>
                        </a:lnTo>
                        <a:lnTo>
                          <a:pt x="724" y="613"/>
                        </a:lnTo>
                        <a:lnTo>
                          <a:pt x="729" y="612"/>
                        </a:lnTo>
                        <a:lnTo>
                          <a:pt x="730" y="612"/>
                        </a:lnTo>
                        <a:lnTo>
                          <a:pt x="734" y="610"/>
                        </a:lnTo>
                        <a:lnTo>
                          <a:pt x="735" y="612"/>
                        </a:lnTo>
                        <a:lnTo>
                          <a:pt x="734" y="613"/>
                        </a:lnTo>
                        <a:lnTo>
                          <a:pt x="734" y="615"/>
                        </a:lnTo>
                        <a:lnTo>
                          <a:pt x="734" y="617"/>
                        </a:lnTo>
                        <a:lnTo>
                          <a:pt x="734" y="618"/>
                        </a:lnTo>
                        <a:lnTo>
                          <a:pt x="734" y="621"/>
                        </a:lnTo>
                        <a:lnTo>
                          <a:pt x="734" y="623"/>
                        </a:lnTo>
                        <a:lnTo>
                          <a:pt x="734" y="624"/>
                        </a:lnTo>
                        <a:lnTo>
                          <a:pt x="735" y="626"/>
                        </a:lnTo>
                        <a:lnTo>
                          <a:pt x="735" y="628"/>
                        </a:lnTo>
                        <a:lnTo>
                          <a:pt x="735" y="629"/>
                        </a:lnTo>
                        <a:lnTo>
                          <a:pt x="735" y="631"/>
                        </a:lnTo>
                        <a:lnTo>
                          <a:pt x="735" y="632"/>
                        </a:lnTo>
                        <a:lnTo>
                          <a:pt x="737" y="634"/>
                        </a:lnTo>
                        <a:lnTo>
                          <a:pt x="735" y="636"/>
                        </a:lnTo>
                        <a:lnTo>
                          <a:pt x="735" y="637"/>
                        </a:lnTo>
                        <a:lnTo>
                          <a:pt x="735" y="639"/>
                        </a:lnTo>
                        <a:lnTo>
                          <a:pt x="735" y="640"/>
                        </a:lnTo>
                        <a:lnTo>
                          <a:pt x="737" y="639"/>
                        </a:lnTo>
                        <a:lnTo>
                          <a:pt x="738" y="640"/>
                        </a:lnTo>
                        <a:lnTo>
                          <a:pt x="741" y="640"/>
                        </a:lnTo>
                        <a:lnTo>
                          <a:pt x="743" y="640"/>
                        </a:lnTo>
                        <a:lnTo>
                          <a:pt x="743" y="642"/>
                        </a:lnTo>
                        <a:lnTo>
                          <a:pt x="745" y="642"/>
                        </a:lnTo>
                        <a:lnTo>
                          <a:pt x="746" y="643"/>
                        </a:lnTo>
                        <a:lnTo>
                          <a:pt x="745" y="645"/>
                        </a:lnTo>
                        <a:lnTo>
                          <a:pt x="745" y="647"/>
                        </a:lnTo>
                        <a:lnTo>
                          <a:pt x="743" y="647"/>
                        </a:lnTo>
                        <a:lnTo>
                          <a:pt x="741" y="647"/>
                        </a:lnTo>
                        <a:lnTo>
                          <a:pt x="741" y="645"/>
                        </a:lnTo>
                        <a:lnTo>
                          <a:pt x="740" y="645"/>
                        </a:lnTo>
                        <a:lnTo>
                          <a:pt x="740" y="647"/>
                        </a:lnTo>
                        <a:lnTo>
                          <a:pt x="740" y="648"/>
                        </a:lnTo>
                        <a:lnTo>
                          <a:pt x="740" y="650"/>
                        </a:lnTo>
                        <a:lnTo>
                          <a:pt x="741" y="651"/>
                        </a:lnTo>
                        <a:lnTo>
                          <a:pt x="741" y="653"/>
                        </a:lnTo>
                        <a:lnTo>
                          <a:pt x="741" y="655"/>
                        </a:lnTo>
                        <a:lnTo>
                          <a:pt x="743" y="656"/>
                        </a:lnTo>
                        <a:lnTo>
                          <a:pt x="743" y="659"/>
                        </a:lnTo>
                        <a:lnTo>
                          <a:pt x="745" y="661"/>
                        </a:lnTo>
                        <a:lnTo>
                          <a:pt x="748" y="662"/>
                        </a:lnTo>
                        <a:lnTo>
                          <a:pt x="749" y="666"/>
                        </a:lnTo>
                        <a:lnTo>
                          <a:pt x="751" y="667"/>
                        </a:lnTo>
                        <a:lnTo>
                          <a:pt x="751" y="669"/>
                        </a:lnTo>
                        <a:lnTo>
                          <a:pt x="753" y="670"/>
                        </a:lnTo>
                        <a:lnTo>
                          <a:pt x="753" y="672"/>
                        </a:lnTo>
                        <a:lnTo>
                          <a:pt x="753" y="675"/>
                        </a:lnTo>
                        <a:lnTo>
                          <a:pt x="753" y="677"/>
                        </a:lnTo>
                        <a:lnTo>
                          <a:pt x="753" y="678"/>
                        </a:lnTo>
                        <a:lnTo>
                          <a:pt x="753" y="680"/>
                        </a:lnTo>
                        <a:lnTo>
                          <a:pt x="751" y="681"/>
                        </a:lnTo>
                        <a:lnTo>
                          <a:pt x="749" y="683"/>
                        </a:lnTo>
                        <a:lnTo>
                          <a:pt x="748" y="685"/>
                        </a:lnTo>
                        <a:lnTo>
                          <a:pt x="748" y="686"/>
                        </a:lnTo>
                        <a:lnTo>
                          <a:pt x="748" y="688"/>
                        </a:lnTo>
                        <a:lnTo>
                          <a:pt x="748" y="689"/>
                        </a:lnTo>
                        <a:lnTo>
                          <a:pt x="749" y="689"/>
                        </a:lnTo>
                        <a:lnTo>
                          <a:pt x="749" y="691"/>
                        </a:lnTo>
                        <a:lnTo>
                          <a:pt x="751" y="691"/>
                        </a:lnTo>
                        <a:lnTo>
                          <a:pt x="751" y="693"/>
                        </a:lnTo>
                        <a:lnTo>
                          <a:pt x="753" y="694"/>
                        </a:lnTo>
                        <a:lnTo>
                          <a:pt x="754" y="694"/>
                        </a:lnTo>
                        <a:lnTo>
                          <a:pt x="754" y="696"/>
                        </a:lnTo>
                        <a:lnTo>
                          <a:pt x="754" y="697"/>
                        </a:lnTo>
                        <a:lnTo>
                          <a:pt x="753" y="699"/>
                        </a:lnTo>
                        <a:lnTo>
                          <a:pt x="751" y="699"/>
                        </a:lnTo>
                        <a:lnTo>
                          <a:pt x="749" y="700"/>
                        </a:lnTo>
                        <a:lnTo>
                          <a:pt x="748" y="700"/>
                        </a:lnTo>
                        <a:lnTo>
                          <a:pt x="746" y="702"/>
                        </a:lnTo>
                        <a:lnTo>
                          <a:pt x="745" y="704"/>
                        </a:lnTo>
                        <a:lnTo>
                          <a:pt x="745" y="705"/>
                        </a:lnTo>
                        <a:lnTo>
                          <a:pt x="743" y="708"/>
                        </a:lnTo>
                        <a:lnTo>
                          <a:pt x="745" y="710"/>
                        </a:lnTo>
                        <a:lnTo>
                          <a:pt x="746" y="712"/>
                        </a:lnTo>
                        <a:lnTo>
                          <a:pt x="746" y="713"/>
                        </a:lnTo>
                        <a:lnTo>
                          <a:pt x="748" y="715"/>
                        </a:lnTo>
                        <a:lnTo>
                          <a:pt x="749" y="715"/>
                        </a:lnTo>
                        <a:lnTo>
                          <a:pt x="749" y="716"/>
                        </a:lnTo>
                        <a:lnTo>
                          <a:pt x="749" y="718"/>
                        </a:lnTo>
                        <a:lnTo>
                          <a:pt x="751" y="719"/>
                        </a:lnTo>
                        <a:lnTo>
                          <a:pt x="753" y="721"/>
                        </a:lnTo>
                        <a:lnTo>
                          <a:pt x="754" y="723"/>
                        </a:lnTo>
                        <a:lnTo>
                          <a:pt x="756" y="723"/>
                        </a:lnTo>
                        <a:lnTo>
                          <a:pt x="757" y="724"/>
                        </a:lnTo>
                        <a:lnTo>
                          <a:pt x="759" y="724"/>
                        </a:lnTo>
                        <a:lnTo>
                          <a:pt x="760" y="724"/>
                        </a:lnTo>
                        <a:lnTo>
                          <a:pt x="760" y="726"/>
                        </a:lnTo>
                        <a:lnTo>
                          <a:pt x="762" y="727"/>
                        </a:lnTo>
                        <a:lnTo>
                          <a:pt x="762" y="729"/>
                        </a:lnTo>
                        <a:lnTo>
                          <a:pt x="762" y="731"/>
                        </a:lnTo>
                        <a:lnTo>
                          <a:pt x="764" y="732"/>
                        </a:lnTo>
                        <a:lnTo>
                          <a:pt x="765" y="734"/>
                        </a:lnTo>
                        <a:lnTo>
                          <a:pt x="765" y="735"/>
                        </a:lnTo>
                        <a:lnTo>
                          <a:pt x="765" y="737"/>
                        </a:lnTo>
                        <a:lnTo>
                          <a:pt x="765" y="738"/>
                        </a:lnTo>
                        <a:lnTo>
                          <a:pt x="767" y="740"/>
                        </a:lnTo>
                        <a:lnTo>
                          <a:pt x="768" y="742"/>
                        </a:lnTo>
                        <a:lnTo>
                          <a:pt x="770" y="745"/>
                        </a:lnTo>
                        <a:lnTo>
                          <a:pt x="772" y="746"/>
                        </a:lnTo>
                        <a:lnTo>
                          <a:pt x="772" y="748"/>
                        </a:lnTo>
                        <a:lnTo>
                          <a:pt x="773" y="748"/>
                        </a:lnTo>
                        <a:lnTo>
                          <a:pt x="773" y="750"/>
                        </a:lnTo>
                        <a:lnTo>
                          <a:pt x="775" y="751"/>
                        </a:lnTo>
                        <a:lnTo>
                          <a:pt x="779" y="751"/>
                        </a:lnTo>
                        <a:lnTo>
                          <a:pt x="787" y="753"/>
                        </a:lnTo>
                        <a:lnTo>
                          <a:pt x="792" y="754"/>
                        </a:lnTo>
                        <a:lnTo>
                          <a:pt x="797" y="756"/>
                        </a:lnTo>
                        <a:lnTo>
                          <a:pt x="798" y="754"/>
                        </a:lnTo>
                        <a:lnTo>
                          <a:pt x="800" y="754"/>
                        </a:lnTo>
                        <a:lnTo>
                          <a:pt x="802" y="754"/>
                        </a:lnTo>
                        <a:lnTo>
                          <a:pt x="805" y="753"/>
                        </a:lnTo>
                        <a:lnTo>
                          <a:pt x="806" y="754"/>
                        </a:lnTo>
                        <a:lnTo>
                          <a:pt x="808" y="754"/>
                        </a:lnTo>
                        <a:lnTo>
                          <a:pt x="814" y="759"/>
                        </a:lnTo>
                        <a:lnTo>
                          <a:pt x="816" y="761"/>
                        </a:lnTo>
                        <a:lnTo>
                          <a:pt x="817" y="761"/>
                        </a:lnTo>
                        <a:lnTo>
                          <a:pt x="819" y="761"/>
                        </a:lnTo>
                        <a:lnTo>
                          <a:pt x="819" y="759"/>
                        </a:lnTo>
                        <a:lnTo>
                          <a:pt x="821" y="759"/>
                        </a:lnTo>
                        <a:lnTo>
                          <a:pt x="822" y="759"/>
                        </a:lnTo>
                        <a:lnTo>
                          <a:pt x="824" y="757"/>
                        </a:lnTo>
                        <a:lnTo>
                          <a:pt x="824" y="759"/>
                        </a:lnTo>
                        <a:lnTo>
                          <a:pt x="825" y="759"/>
                        </a:lnTo>
                        <a:lnTo>
                          <a:pt x="827" y="759"/>
                        </a:lnTo>
                        <a:lnTo>
                          <a:pt x="829" y="761"/>
                        </a:lnTo>
                        <a:lnTo>
                          <a:pt x="830" y="761"/>
                        </a:lnTo>
                        <a:lnTo>
                          <a:pt x="830" y="762"/>
                        </a:lnTo>
                        <a:lnTo>
                          <a:pt x="830" y="764"/>
                        </a:lnTo>
                        <a:lnTo>
                          <a:pt x="832" y="765"/>
                        </a:lnTo>
                        <a:lnTo>
                          <a:pt x="832" y="767"/>
                        </a:lnTo>
                        <a:lnTo>
                          <a:pt x="832" y="770"/>
                        </a:lnTo>
                        <a:lnTo>
                          <a:pt x="832" y="772"/>
                        </a:lnTo>
                        <a:lnTo>
                          <a:pt x="833" y="773"/>
                        </a:lnTo>
                        <a:lnTo>
                          <a:pt x="835" y="773"/>
                        </a:lnTo>
                        <a:lnTo>
                          <a:pt x="836" y="773"/>
                        </a:lnTo>
                        <a:lnTo>
                          <a:pt x="838" y="775"/>
                        </a:lnTo>
                        <a:lnTo>
                          <a:pt x="840" y="777"/>
                        </a:lnTo>
                        <a:lnTo>
                          <a:pt x="840" y="778"/>
                        </a:lnTo>
                        <a:lnTo>
                          <a:pt x="840" y="780"/>
                        </a:lnTo>
                        <a:lnTo>
                          <a:pt x="840" y="781"/>
                        </a:lnTo>
                        <a:lnTo>
                          <a:pt x="840" y="783"/>
                        </a:lnTo>
                        <a:lnTo>
                          <a:pt x="840" y="784"/>
                        </a:lnTo>
                        <a:lnTo>
                          <a:pt x="838" y="784"/>
                        </a:lnTo>
                        <a:lnTo>
                          <a:pt x="836" y="786"/>
                        </a:lnTo>
                        <a:lnTo>
                          <a:pt x="838" y="786"/>
                        </a:lnTo>
                        <a:lnTo>
                          <a:pt x="838" y="788"/>
                        </a:lnTo>
                        <a:lnTo>
                          <a:pt x="840" y="789"/>
                        </a:lnTo>
                        <a:lnTo>
                          <a:pt x="840" y="788"/>
                        </a:lnTo>
                        <a:lnTo>
                          <a:pt x="840" y="786"/>
                        </a:lnTo>
                        <a:lnTo>
                          <a:pt x="841" y="784"/>
                        </a:lnTo>
                        <a:lnTo>
                          <a:pt x="843" y="784"/>
                        </a:lnTo>
                        <a:lnTo>
                          <a:pt x="843" y="786"/>
                        </a:lnTo>
                        <a:lnTo>
                          <a:pt x="844" y="788"/>
                        </a:lnTo>
                        <a:lnTo>
                          <a:pt x="844" y="789"/>
                        </a:lnTo>
                        <a:lnTo>
                          <a:pt x="844" y="791"/>
                        </a:lnTo>
                        <a:lnTo>
                          <a:pt x="846" y="792"/>
                        </a:lnTo>
                        <a:lnTo>
                          <a:pt x="846" y="794"/>
                        </a:lnTo>
                        <a:lnTo>
                          <a:pt x="848" y="796"/>
                        </a:lnTo>
                        <a:lnTo>
                          <a:pt x="849" y="797"/>
                        </a:lnTo>
                        <a:lnTo>
                          <a:pt x="851" y="797"/>
                        </a:lnTo>
                        <a:lnTo>
                          <a:pt x="852" y="797"/>
                        </a:lnTo>
                        <a:lnTo>
                          <a:pt x="854" y="797"/>
                        </a:lnTo>
                        <a:lnTo>
                          <a:pt x="855" y="797"/>
                        </a:lnTo>
                        <a:lnTo>
                          <a:pt x="857" y="797"/>
                        </a:lnTo>
                        <a:lnTo>
                          <a:pt x="859" y="796"/>
                        </a:lnTo>
                        <a:lnTo>
                          <a:pt x="860" y="797"/>
                        </a:lnTo>
                        <a:lnTo>
                          <a:pt x="862" y="799"/>
                        </a:lnTo>
                        <a:lnTo>
                          <a:pt x="859" y="799"/>
                        </a:lnTo>
                        <a:lnTo>
                          <a:pt x="860" y="800"/>
                        </a:lnTo>
                        <a:lnTo>
                          <a:pt x="862" y="802"/>
                        </a:lnTo>
                        <a:lnTo>
                          <a:pt x="865" y="803"/>
                        </a:lnTo>
                        <a:lnTo>
                          <a:pt x="867" y="807"/>
                        </a:lnTo>
                        <a:lnTo>
                          <a:pt x="867" y="808"/>
                        </a:lnTo>
                        <a:lnTo>
                          <a:pt x="867" y="810"/>
                        </a:lnTo>
                        <a:lnTo>
                          <a:pt x="867" y="813"/>
                        </a:lnTo>
                        <a:lnTo>
                          <a:pt x="868" y="815"/>
                        </a:lnTo>
                        <a:lnTo>
                          <a:pt x="870" y="818"/>
                        </a:lnTo>
                        <a:lnTo>
                          <a:pt x="873" y="819"/>
                        </a:lnTo>
                        <a:lnTo>
                          <a:pt x="874" y="822"/>
                        </a:lnTo>
                        <a:lnTo>
                          <a:pt x="876" y="826"/>
                        </a:lnTo>
                        <a:lnTo>
                          <a:pt x="876" y="827"/>
                        </a:lnTo>
                        <a:lnTo>
                          <a:pt x="876" y="832"/>
                        </a:lnTo>
                        <a:lnTo>
                          <a:pt x="876" y="837"/>
                        </a:lnTo>
                        <a:lnTo>
                          <a:pt x="876" y="840"/>
                        </a:lnTo>
                        <a:lnTo>
                          <a:pt x="874" y="843"/>
                        </a:lnTo>
                        <a:lnTo>
                          <a:pt x="874" y="845"/>
                        </a:lnTo>
                        <a:lnTo>
                          <a:pt x="871" y="853"/>
                        </a:lnTo>
                        <a:lnTo>
                          <a:pt x="871" y="856"/>
                        </a:lnTo>
                        <a:lnTo>
                          <a:pt x="870" y="857"/>
                        </a:lnTo>
                        <a:lnTo>
                          <a:pt x="871" y="859"/>
                        </a:lnTo>
                        <a:lnTo>
                          <a:pt x="871" y="860"/>
                        </a:lnTo>
                        <a:lnTo>
                          <a:pt x="871" y="862"/>
                        </a:lnTo>
                        <a:lnTo>
                          <a:pt x="870" y="862"/>
                        </a:lnTo>
                        <a:lnTo>
                          <a:pt x="868" y="864"/>
                        </a:lnTo>
                        <a:lnTo>
                          <a:pt x="867" y="862"/>
                        </a:lnTo>
                        <a:lnTo>
                          <a:pt x="857" y="860"/>
                        </a:lnTo>
                        <a:lnTo>
                          <a:pt x="852" y="859"/>
                        </a:lnTo>
                        <a:lnTo>
                          <a:pt x="851" y="859"/>
                        </a:lnTo>
                        <a:lnTo>
                          <a:pt x="849" y="859"/>
                        </a:lnTo>
                        <a:lnTo>
                          <a:pt x="848" y="857"/>
                        </a:lnTo>
                        <a:lnTo>
                          <a:pt x="844" y="854"/>
                        </a:lnTo>
                        <a:lnTo>
                          <a:pt x="841" y="851"/>
                        </a:lnTo>
                        <a:lnTo>
                          <a:pt x="838" y="846"/>
                        </a:lnTo>
                        <a:lnTo>
                          <a:pt x="835" y="843"/>
                        </a:lnTo>
                        <a:lnTo>
                          <a:pt x="833" y="841"/>
                        </a:lnTo>
                        <a:lnTo>
                          <a:pt x="832" y="841"/>
                        </a:lnTo>
                        <a:lnTo>
                          <a:pt x="830" y="841"/>
                        </a:lnTo>
                        <a:lnTo>
                          <a:pt x="827" y="843"/>
                        </a:lnTo>
                        <a:lnTo>
                          <a:pt x="824" y="843"/>
                        </a:lnTo>
                        <a:lnTo>
                          <a:pt x="821" y="843"/>
                        </a:lnTo>
                        <a:lnTo>
                          <a:pt x="817" y="843"/>
                        </a:lnTo>
                        <a:lnTo>
                          <a:pt x="814" y="843"/>
                        </a:lnTo>
                        <a:lnTo>
                          <a:pt x="810" y="843"/>
                        </a:lnTo>
                        <a:lnTo>
                          <a:pt x="805" y="845"/>
                        </a:lnTo>
                        <a:lnTo>
                          <a:pt x="800" y="845"/>
                        </a:lnTo>
                        <a:lnTo>
                          <a:pt x="795" y="845"/>
                        </a:lnTo>
                        <a:lnTo>
                          <a:pt x="789" y="843"/>
                        </a:lnTo>
                        <a:lnTo>
                          <a:pt x="787" y="843"/>
                        </a:lnTo>
                        <a:lnTo>
                          <a:pt x="786" y="843"/>
                        </a:lnTo>
                        <a:lnTo>
                          <a:pt x="779" y="848"/>
                        </a:lnTo>
                        <a:lnTo>
                          <a:pt x="772" y="851"/>
                        </a:lnTo>
                        <a:lnTo>
                          <a:pt x="767" y="854"/>
                        </a:lnTo>
                        <a:lnTo>
                          <a:pt x="760" y="856"/>
                        </a:lnTo>
                        <a:lnTo>
                          <a:pt x="759" y="857"/>
                        </a:lnTo>
                        <a:lnTo>
                          <a:pt x="753" y="860"/>
                        </a:lnTo>
                        <a:lnTo>
                          <a:pt x="749" y="862"/>
                        </a:lnTo>
                        <a:lnTo>
                          <a:pt x="746" y="864"/>
                        </a:lnTo>
                        <a:lnTo>
                          <a:pt x="741" y="865"/>
                        </a:lnTo>
                        <a:lnTo>
                          <a:pt x="735" y="867"/>
                        </a:lnTo>
                        <a:lnTo>
                          <a:pt x="730" y="867"/>
                        </a:lnTo>
                        <a:lnTo>
                          <a:pt x="726" y="865"/>
                        </a:lnTo>
                        <a:lnTo>
                          <a:pt x="719" y="864"/>
                        </a:lnTo>
                        <a:lnTo>
                          <a:pt x="713" y="864"/>
                        </a:lnTo>
                        <a:lnTo>
                          <a:pt x="710" y="864"/>
                        </a:lnTo>
                        <a:lnTo>
                          <a:pt x="708" y="864"/>
                        </a:lnTo>
                        <a:lnTo>
                          <a:pt x="705" y="864"/>
                        </a:lnTo>
                        <a:lnTo>
                          <a:pt x="699" y="865"/>
                        </a:lnTo>
                        <a:lnTo>
                          <a:pt x="692" y="868"/>
                        </a:lnTo>
                        <a:lnTo>
                          <a:pt x="689" y="868"/>
                        </a:lnTo>
                        <a:lnTo>
                          <a:pt x="686" y="870"/>
                        </a:lnTo>
                        <a:lnTo>
                          <a:pt x="681" y="872"/>
                        </a:lnTo>
                        <a:lnTo>
                          <a:pt x="678" y="873"/>
                        </a:lnTo>
                        <a:lnTo>
                          <a:pt x="675" y="875"/>
                        </a:lnTo>
                        <a:lnTo>
                          <a:pt x="672" y="876"/>
                        </a:lnTo>
                        <a:lnTo>
                          <a:pt x="669" y="879"/>
                        </a:lnTo>
                        <a:lnTo>
                          <a:pt x="665" y="884"/>
                        </a:lnTo>
                        <a:lnTo>
                          <a:pt x="664" y="886"/>
                        </a:lnTo>
                        <a:lnTo>
                          <a:pt x="664" y="889"/>
                        </a:lnTo>
                        <a:lnTo>
                          <a:pt x="664" y="891"/>
                        </a:lnTo>
                        <a:lnTo>
                          <a:pt x="664" y="892"/>
                        </a:lnTo>
                        <a:lnTo>
                          <a:pt x="664" y="895"/>
                        </a:lnTo>
                        <a:lnTo>
                          <a:pt x="665" y="895"/>
                        </a:lnTo>
                        <a:lnTo>
                          <a:pt x="665" y="897"/>
                        </a:lnTo>
                        <a:lnTo>
                          <a:pt x="664" y="898"/>
                        </a:lnTo>
                        <a:lnTo>
                          <a:pt x="664" y="902"/>
                        </a:lnTo>
                        <a:lnTo>
                          <a:pt x="661" y="905"/>
                        </a:lnTo>
                        <a:lnTo>
                          <a:pt x="659" y="906"/>
                        </a:lnTo>
                        <a:lnTo>
                          <a:pt x="656" y="908"/>
                        </a:lnTo>
                        <a:lnTo>
                          <a:pt x="654" y="908"/>
                        </a:lnTo>
                        <a:lnTo>
                          <a:pt x="653" y="910"/>
                        </a:lnTo>
                        <a:lnTo>
                          <a:pt x="651" y="910"/>
                        </a:lnTo>
                        <a:lnTo>
                          <a:pt x="650" y="910"/>
                        </a:lnTo>
                        <a:lnTo>
                          <a:pt x="650" y="908"/>
                        </a:lnTo>
                        <a:lnTo>
                          <a:pt x="648" y="910"/>
                        </a:lnTo>
                        <a:lnTo>
                          <a:pt x="646" y="910"/>
                        </a:lnTo>
                        <a:lnTo>
                          <a:pt x="645" y="910"/>
                        </a:lnTo>
                        <a:lnTo>
                          <a:pt x="643" y="911"/>
                        </a:lnTo>
                        <a:lnTo>
                          <a:pt x="640" y="913"/>
                        </a:lnTo>
                        <a:lnTo>
                          <a:pt x="637" y="913"/>
                        </a:lnTo>
                        <a:lnTo>
                          <a:pt x="635" y="913"/>
                        </a:lnTo>
                        <a:lnTo>
                          <a:pt x="632" y="913"/>
                        </a:lnTo>
                        <a:lnTo>
                          <a:pt x="629" y="914"/>
                        </a:lnTo>
                        <a:lnTo>
                          <a:pt x="627" y="916"/>
                        </a:lnTo>
                        <a:lnTo>
                          <a:pt x="626" y="917"/>
                        </a:lnTo>
                        <a:lnTo>
                          <a:pt x="624" y="919"/>
                        </a:lnTo>
                        <a:lnTo>
                          <a:pt x="623" y="924"/>
                        </a:lnTo>
                        <a:lnTo>
                          <a:pt x="623" y="929"/>
                        </a:lnTo>
                        <a:lnTo>
                          <a:pt x="623" y="932"/>
                        </a:lnTo>
                        <a:lnTo>
                          <a:pt x="621" y="935"/>
                        </a:lnTo>
                        <a:lnTo>
                          <a:pt x="618" y="938"/>
                        </a:lnTo>
                        <a:lnTo>
                          <a:pt x="615" y="941"/>
                        </a:lnTo>
                        <a:lnTo>
                          <a:pt x="610" y="946"/>
                        </a:lnTo>
                        <a:lnTo>
                          <a:pt x="607" y="948"/>
                        </a:lnTo>
                        <a:lnTo>
                          <a:pt x="605" y="951"/>
                        </a:lnTo>
                        <a:lnTo>
                          <a:pt x="604" y="955"/>
                        </a:lnTo>
                        <a:lnTo>
                          <a:pt x="602" y="960"/>
                        </a:lnTo>
                        <a:lnTo>
                          <a:pt x="602" y="963"/>
                        </a:lnTo>
                        <a:lnTo>
                          <a:pt x="602" y="968"/>
                        </a:lnTo>
                        <a:lnTo>
                          <a:pt x="604" y="971"/>
                        </a:lnTo>
                        <a:lnTo>
                          <a:pt x="605" y="973"/>
                        </a:lnTo>
                        <a:lnTo>
                          <a:pt x="607" y="976"/>
                        </a:lnTo>
                        <a:lnTo>
                          <a:pt x="610" y="978"/>
                        </a:lnTo>
                        <a:lnTo>
                          <a:pt x="612" y="979"/>
                        </a:lnTo>
                        <a:lnTo>
                          <a:pt x="612" y="981"/>
                        </a:lnTo>
                        <a:lnTo>
                          <a:pt x="613" y="981"/>
                        </a:lnTo>
                        <a:lnTo>
                          <a:pt x="615" y="981"/>
                        </a:lnTo>
                        <a:lnTo>
                          <a:pt x="616" y="982"/>
                        </a:lnTo>
                        <a:lnTo>
                          <a:pt x="618" y="982"/>
                        </a:lnTo>
                        <a:lnTo>
                          <a:pt x="619" y="984"/>
                        </a:lnTo>
                        <a:lnTo>
                          <a:pt x="619" y="986"/>
                        </a:lnTo>
                        <a:lnTo>
                          <a:pt x="621" y="987"/>
                        </a:lnTo>
                        <a:lnTo>
                          <a:pt x="621" y="989"/>
                        </a:lnTo>
                        <a:lnTo>
                          <a:pt x="623" y="989"/>
                        </a:lnTo>
                        <a:lnTo>
                          <a:pt x="621" y="990"/>
                        </a:lnTo>
                        <a:lnTo>
                          <a:pt x="618" y="994"/>
                        </a:lnTo>
                        <a:lnTo>
                          <a:pt x="615" y="995"/>
                        </a:lnTo>
                        <a:lnTo>
                          <a:pt x="613" y="997"/>
                        </a:lnTo>
                        <a:lnTo>
                          <a:pt x="610" y="998"/>
                        </a:lnTo>
                        <a:lnTo>
                          <a:pt x="607" y="1000"/>
                        </a:lnTo>
                        <a:lnTo>
                          <a:pt x="604" y="1000"/>
                        </a:lnTo>
                        <a:lnTo>
                          <a:pt x="602" y="1001"/>
                        </a:lnTo>
                        <a:lnTo>
                          <a:pt x="600" y="1001"/>
                        </a:lnTo>
                        <a:lnTo>
                          <a:pt x="600" y="1000"/>
                        </a:lnTo>
                        <a:lnTo>
                          <a:pt x="599" y="1000"/>
                        </a:lnTo>
                        <a:lnTo>
                          <a:pt x="597" y="998"/>
                        </a:lnTo>
                        <a:lnTo>
                          <a:pt x="599" y="995"/>
                        </a:lnTo>
                        <a:lnTo>
                          <a:pt x="600" y="990"/>
                        </a:lnTo>
                        <a:lnTo>
                          <a:pt x="602" y="987"/>
                        </a:lnTo>
                        <a:lnTo>
                          <a:pt x="602" y="986"/>
                        </a:lnTo>
                        <a:lnTo>
                          <a:pt x="599" y="984"/>
                        </a:lnTo>
                        <a:lnTo>
                          <a:pt x="599" y="982"/>
                        </a:lnTo>
                        <a:lnTo>
                          <a:pt x="597" y="982"/>
                        </a:lnTo>
                        <a:lnTo>
                          <a:pt x="597" y="981"/>
                        </a:lnTo>
                        <a:lnTo>
                          <a:pt x="596" y="981"/>
                        </a:lnTo>
                        <a:lnTo>
                          <a:pt x="594" y="981"/>
                        </a:lnTo>
                        <a:lnTo>
                          <a:pt x="593" y="981"/>
                        </a:lnTo>
                        <a:lnTo>
                          <a:pt x="591" y="981"/>
                        </a:lnTo>
                        <a:lnTo>
                          <a:pt x="588" y="981"/>
                        </a:lnTo>
                        <a:lnTo>
                          <a:pt x="586" y="981"/>
                        </a:lnTo>
                        <a:lnTo>
                          <a:pt x="580" y="981"/>
                        </a:lnTo>
                        <a:lnTo>
                          <a:pt x="574" y="982"/>
                        </a:lnTo>
                        <a:lnTo>
                          <a:pt x="569" y="982"/>
                        </a:lnTo>
                        <a:lnTo>
                          <a:pt x="562" y="981"/>
                        </a:lnTo>
                        <a:lnTo>
                          <a:pt x="559" y="981"/>
                        </a:lnTo>
                        <a:lnTo>
                          <a:pt x="553" y="979"/>
                        </a:lnTo>
                        <a:lnTo>
                          <a:pt x="548" y="979"/>
                        </a:lnTo>
                        <a:lnTo>
                          <a:pt x="547" y="981"/>
                        </a:lnTo>
                        <a:lnTo>
                          <a:pt x="543" y="981"/>
                        </a:lnTo>
                        <a:lnTo>
                          <a:pt x="542" y="982"/>
                        </a:lnTo>
                        <a:lnTo>
                          <a:pt x="542" y="984"/>
                        </a:lnTo>
                        <a:lnTo>
                          <a:pt x="542" y="986"/>
                        </a:lnTo>
                        <a:lnTo>
                          <a:pt x="542" y="987"/>
                        </a:lnTo>
                        <a:lnTo>
                          <a:pt x="542" y="989"/>
                        </a:lnTo>
                        <a:lnTo>
                          <a:pt x="540" y="989"/>
                        </a:lnTo>
                        <a:lnTo>
                          <a:pt x="536" y="990"/>
                        </a:lnTo>
                        <a:lnTo>
                          <a:pt x="534" y="992"/>
                        </a:lnTo>
                        <a:lnTo>
                          <a:pt x="532" y="992"/>
                        </a:lnTo>
                        <a:lnTo>
                          <a:pt x="532" y="990"/>
                        </a:lnTo>
                        <a:lnTo>
                          <a:pt x="531" y="990"/>
                        </a:lnTo>
                        <a:lnTo>
                          <a:pt x="529" y="992"/>
                        </a:lnTo>
                        <a:lnTo>
                          <a:pt x="528" y="990"/>
                        </a:lnTo>
                        <a:lnTo>
                          <a:pt x="526" y="992"/>
                        </a:lnTo>
                        <a:lnTo>
                          <a:pt x="524" y="992"/>
                        </a:lnTo>
                        <a:lnTo>
                          <a:pt x="521" y="990"/>
                        </a:lnTo>
                        <a:lnTo>
                          <a:pt x="518" y="989"/>
                        </a:lnTo>
                        <a:lnTo>
                          <a:pt x="510" y="984"/>
                        </a:lnTo>
                        <a:lnTo>
                          <a:pt x="505" y="982"/>
                        </a:lnTo>
                        <a:lnTo>
                          <a:pt x="501" y="981"/>
                        </a:lnTo>
                        <a:lnTo>
                          <a:pt x="499" y="979"/>
                        </a:lnTo>
                        <a:lnTo>
                          <a:pt x="497" y="979"/>
                        </a:lnTo>
                        <a:lnTo>
                          <a:pt x="496" y="979"/>
                        </a:lnTo>
                        <a:lnTo>
                          <a:pt x="493" y="981"/>
                        </a:lnTo>
                        <a:lnTo>
                          <a:pt x="491" y="982"/>
                        </a:lnTo>
                        <a:lnTo>
                          <a:pt x="491" y="984"/>
                        </a:lnTo>
                        <a:lnTo>
                          <a:pt x="490" y="984"/>
                        </a:lnTo>
                        <a:lnTo>
                          <a:pt x="485" y="984"/>
                        </a:lnTo>
                        <a:lnTo>
                          <a:pt x="478" y="986"/>
                        </a:lnTo>
                        <a:lnTo>
                          <a:pt x="464" y="986"/>
                        </a:lnTo>
                        <a:lnTo>
                          <a:pt x="439" y="994"/>
                        </a:lnTo>
                        <a:lnTo>
                          <a:pt x="412" y="1001"/>
                        </a:lnTo>
                        <a:lnTo>
                          <a:pt x="404" y="1005"/>
                        </a:lnTo>
                        <a:lnTo>
                          <a:pt x="388" y="1011"/>
                        </a:lnTo>
                        <a:lnTo>
                          <a:pt x="338" y="1025"/>
                        </a:lnTo>
                        <a:lnTo>
                          <a:pt x="322" y="1028"/>
                        </a:lnTo>
                        <a:lnTo>
                          <a:pt x="309" y="1032"/>
                        </a:lnTo>
                        <a:lnTo>
                          <a:pt x="292" y="1036"/>
                        </a:lnTo>
                        <a:lnTo>
                          <a:pt x="292" y="1033"/>
                        </a:lnTo>
                        <a:lnTo>
                          <a:pt x="292" y="1030"/>
                        </a:lnTo>
                        <a:lnTo>
                          <a:pt x="292" y="1025"/>
                        </a:lnTo>
                        <a:lnTo>
                          <a:pt x="292" y="1024"/>
                        </a:lnTo>
                        <a:lnTo>
                          <a:pt x="292" y="1022"/>
                        </a:lnTo>
                        <a:lnTo>
                          <a:pt x="292" y="1017"/>
                        </a:lnTo>
                        <a:lnTo>
                          <a:pt x="292" y="1011"/>
                        </a:lnTo>
                        <a:lnTo>
                          <a:pt x="292" y="1003"/>
                        </a:lnTo>
                        <a:lnTo>
                          <a:pt x="295" y="1003"/>
                        </a:lnTo>
                        <a:lnTo>
                          <a:pt x="296" y="1003"/>
                        </a:lnTo>
                        <a:lnTo>
                          <a:pt x="298" y="1003"/>
                        </a:lnTo>
                        <a:lnTo>
                          <a:pt x="303" y="1001"/>
                        </a:lnTo>
                        <a:lnTo>
                          <a:pt x="306" y="1001"/>
                        </a:lnTo>
                        <a:lnTo>
                          <a:pt x="311" y="1001"/>
                        </a:lnTo>
                        <a:lnTo>
                          <a:pt x="312" y="1000"/>
                        </a:lnTo>
                        <a:lnTo>
                          <a:pt x="314" y="1000"/>
                        </a:lnTo>
                        <a:lnTo>
                          <a:pt x="315" y="998"/>
                        </a:lnTo>
                        <a:lnTo>
                          <a:pt x="317" y="997"/>
                        </a:lnTo>
                        <a:lnTo>
                          <a:pt x="318" y="995"/>
                        </a:lnTo>
                        <a:lnTo>
                          <a:pt x="320" y="992"/>
                        </a:lnTo>
                        <a:lnTo>
                          <a:pt x="322" y="986"/>
                        </a:lnTo>
                        <a:lnTo>
                          <a:pt x="320" y="982"/>
                        </a:lnTo>
                        <a:lnTo>
                          <a:pt x="317" y="982"/>
                        </a:lnTo>
                        <a:lnTo>
                          <a:pt x="312" y="982"/>
                        </a:lnTo>
                        <a:lnTo>
                          <a:pt x="306" y="984"/>
                        </a:lnTo>
                        <a:lnTo>
                          <a:pt x="298" y="984"/>
                        </a:lnTo>
                        <a:lnTo>
                          <a:pt x="292" y="986"/>
                        </a:lnTo>
                        <a:lnTo>
                          <a:pt x="288" y="986"/>
                        </a:lnTo>
                        <a:lnTo>
                          <a:pt x="285" y="986"/>
                        </a:lnTo>
                        <a:lnTo>
                          <a:pt x="280" y="986"/>
                        </a:lnTo>
                        <a:lnTo>
                          <a:pt x="277" y="986"/>
                        </a:lnTo>
                        <a:lnTo>
                          <a:pt x="274" y="986"/>
                        </a:lnTo>
                        <a:lnTo>
                          <a:pt x="273" y="986"/>
                        </a:lnTo>
                        <a:lnTo>
                          <a:pt x="273" y="987"/>
                        </a:lnTo>
                        <a:lnTo>
                          <a:pt x="271" y="987"/>
                        </a:lnTo>
                        <a:lnTo>
                          <a:pt x="269" y="987"/>
                        </a:lnTo>
                        <a:lnTo>
                          <a:pt x="268" y="989"/>
                        </a:lnTo>
                        <a:lnTo>
                          <a:pt x="266" y="989"/>
                        </a:lnTo>
                        <a:lnTo>
                          <a:pt x="265" y="989"/>
                        </a:lnTo>
                        <a:lnTo>
                          <a:pt x="263" y="987"/>
                        </a:lnTo>
                        <a:lnTo>
                          <a:pt x="261" y="984"/>
                        </a:lnTo>
                        <a:lnTo>
                          <a:pt x="260" y="982"/>
                        </a:lnTo>
                        <a:lnTo>
                          <a:pt x="260" y="979"/>
                        </a:lnTo>
                        <a:lnTo>
                          <a:pt x="260" y="978"/>
                        </a:lnTo>
                        <a:lnTo>
                          <a:pt x="260" y="973"/>
                        </a:lnTo>
                        <a:lnTo>
                          <a:pt x="260" y="962"/>
                        </a:lnTo>
                        <a:lnTo>
                          <a:pt x="261" y="952"/>
                        </a:lnTo>
                        <a:lnTo>
                          <a:pt x="261" y="951"/>
                        </a:lnTo>
                        <a:lnTo>
                          <a:pt x="263" y="951"/>
                        </a:lnTo>
                        <a:lnTo>
                          <a:pt x="265" y="949"/>
                        </a:lnTo>
                        <a:lnTo>
                          <a:pt x="269" y="946"/>
                        </a:lnTo>
                        <a:lnTo>
                          <a:pt x="276" y="944"/>
                        </a:lnTo>
                        <a:lnTo>
                          <a:pt x="282" y="941"/>
                        </a:lnTo>
                        <a:lnTo>
                          <a:pt x="287" y="938"/>
                        </a:lnTo>
                        <a:lnTo>
                          <a:pt x="285" y="936"/>
                        </a:lnTo>
                        <a:lnTo>
                          <a:pt x="285" y="933"/>
                        </a:lnTo>
                        <a:lnTo>
                          <a:pt x="282" y="927"/>
                        </a:lnTo>
                        <a:lnTo>
                          <a:pt x="279" y="921"/>
                        </a:lnTo>
                        <a:lnTo>
                          <a:pt x="277" y="917"/>
                        </a:lnTo>
                        <a:lnTo>
                          <a:pt x="276" y="916"/>
                        </a:lnTo>
                        <a:lnTo>
                          <a:pt x="276" y="913"/>
                        </a:lnTo>
                        <a:lnTo>
                          <a:pt x="274" y="908"/>
                        </a:lnTo>
                        <a:lnTo>
                          <a:pt x="273" y="906"/>
                        </a:lnTo>
                        <a:lnTo>
                          <a:pt x="271" y="905"/>
                        </a:lnTo>
                        <a:lnTo>
                          <a:pt x="268" y="902"/>
                        </a:lnTo>
                        <a:lnTo>
                          <a:pt x="263" y="902"/>
                        </a:lnTo>
                        <a:lnTo>
                          <a:pt x="258" y="900"/>
                        </a:lnTo>
                        <a:lnTo>
                          <a:pt x="257" y="898"/>
                        </a:lnTo>
                        <a:lnTo>
                          <a:pt x="254" y="898"/>
                        </a:lnTo>
                        <a:lnTo>
                          <a:pt x="252" y="897"/>
                        </a:lnTo>
                        <a:lnTo>
                          <a:pt x="250" y="897"/>
                        </a:lnTo>
                        <a:lnTo>
                          <a:pt x="249" y="897"/>
                        </a:lnTo>
                        <a:lnTo>
                          <a:pt x="249" y="898"/>
                        </a:lnTo>
                        <a:lnTo>
                          <a:pt x="247" y="900"/>
                        </a:lnTo>
                        <a:lnTo>
                          <a:pt x="247" y="902"/>
                        </a:lnTo>
                        <a:lnTo>
                          <a:pt x="246" y="903"/>
                        </a:lnTo>
                        <a:lnTo>
                          <a:pt x="242" y="905"/>
                        </a:lnTo>
                        <a:lnTo>
                          <a:pt x="241" y="908"/>
                        </a:lnTo>
                        <a:lnTo>
                          <a:pt x="241" y="910"/>
                        </a:lnTo>
                        <a:lnTo>
                          <a:pt x="241" y="911"/>
                        </a:lnTo>
                        <a:lnTo>
                          <a:pt x="239" y="913"/>
                        </a:lnTo>
                        <a:lnTo>
                          <a:pt x="238" y="916"/>
                        </a:lnTo>
                        <a:lnTo>
                          <a:pt x="227" y="925"/>
                        </a:lnTo>
                        <a:lnTo>
                          <a:pt x="216" y="935"/>
                        </a:lnTo>
                        <a:lnTo>
                          <a:pt x="201" y="946"/>
                        </a:lnTo>
                        <a:lnTo>
                          <a:pt x="193" y="952"/>
                        </a:lnTo>
                        <a:lnTo>
                          <a:pt x="192" y="951"/>
                        </a:lnTo>
                        <a:lnTo>
                          <a:pt x="189" y="948"/>
                        </a:lnTo>
                        <a:lnTo>
                          <a:pt x="185" y="943"/>
                        </a:lnTo>
                        <a:lnTo>
                          <a:pt x="179" y="938"/>
                        </a:lnTo>
                        <a:lnTo>
                          <a:pt x="174" y="933"/>
                        </a:lnTo>
                        <a:lnTo>
                          <a:pt x="170" y="930"/>
                        </a:lnTo>
                        <a:lnTo>
                          <a:pt x="166" y="927"/>
                        </a:lnTo>
                        <a:lnTo>
                          <a:pt x="165" y="927"/>
                        </a:lnTo>
                        <a:lnTo>
                          <a:pt x="163" y="927"/>
                        </a:lnTo>
                        <a:lnTo>
                          <a:pt x="162" y="927"/>
                        </a:lnTo>
                        <a:lnTo>
                          <a:pt x="160" y="927"/>
                        </a:lnTo>
                        <a:lnTo>
                          <a:pt x="160" y="929"/>
                        </a:lnTo>
                        <a:lnTo>
                          <a:pt x="159" y="929"/>
                        </a:lnTo>
                        <a:lnTo>
                          <a:pt x="157" y="929"/>
                        </a:lnTo>
                        <a:lnTo>
                          <a:pt x="155" y="929"/>
                        </a:lnTo>
                        <a:lnTo>
                          <a:pt x="154" y="929"/>
                        </a:lnTo>
                        <a:lnTo>
                          <a:pt x="151" y="930"/>
                        </a:lnTo>
                        <a:lnTo>
                          <a:pt x="149" y="930"/>
                        </a:lnTo>
                        <a:lnTo>
                          <a:pt x="146" y="929"/>
                        </a:lnTo>
                        <a:lnTo>
                          <a:pt x="144" y="929"/>
                        </a:lnTo>
                        <a:lnTo>
                          <a:pt x="143" y="927"/>
                        </a:lnTo>
                        <a:lnTo>
                          <a:pt x="141" y="925"/>
                        </a:lnTo>
                        <a:lnTo>
                          <a:pt x="140" y="922"/>
                        </a:lnTo>
                        <a:lnTo>
                          <a:pt x="140" y="919"/>
                        </a:lnTo>
                        <a:lnTo>
                          <a:pt x="140" y="917"/>
                        </a:lnTo>
                        <a:lnTo>
                          <a:pt x="141" y="914"/>
                        </a:lnTo>
                        <a:lnTo>
                          <a:pt x="143" y="911"/>
                        </a:lnTo>
                        <a:lnTo>
                          <a:pt x="143" y="908"/>
                        </a:lnTo>
                        <a:lnTo>
                          <a:pt x="140" y="905"/>
                        </a:lnTo>
                        <a:lnTo>
                          <a:pt x="138" y="900"/>
                        </a:lnTo>
                        <a:lnTo>
                          <a:pt x="136" y="897"/>
                        </a:lnTo>
                        <a:lnTo>
                          <a:pt x="136" y="895"/>
                        </a:lnTo>
                        <a:lnTo>
                          <a:pt x="136" y="892"/>
                        </a:lnTo>
                        <a:lnTo>
                          <a:pt x="136" y="889"/>
                        </a:lnTo>
                        <a:lnTo>
                          <a:pt x="138" y="883"/>
                        </a:lnTo>
                        <a:lnTo>
                          <a:pt x="140" y="878"/>
                        </a:lnTo>
                        <a:lnTo>
                          <a:pt x="140" y="876"/>
                        </a:lnTo>
                        <a:lnTo>
                          <a:pt x="138" y="875"/>
                        </a:lnTo>
                        <a:lnTo>
                          <a:pt x="138" y="870"/>
                        </a:lnTo>
                        <a:lnTo>
                          <a:pt x="138" y="867"/>
                        </a:lnTo>
                        <a:lnTo>
                          <a:pt x="140" y="857"/>
                        </a:lnTo>
                        <a:lnTo>
                          <a:pt x="141" y="853"/>
                        </a:lnTo>
                        <a:lnTo>
                          <a:pt x="141" y="849"/>
                        </a:lnTo>
                        <a:lnTo>
                          <a:pt x="140" y="848"/>
                        </a:lnTo>
                        <a:lnTo>
                          <a:pt x="140" y="845"/>
                        </a:lnTo>
                        <a:lnTo>
                          <a:pt x="138" y="841"/>
                        </a:lnTo>
                        <a:lnTo>
                          <a:pt x="138" y="838"/>
                        </a:lnTo>
                        <a:lnTo>
                          <a:pt x="138" y="835"/>
                        </a:lnTo>
                        <a:lnTo>
                          <a:pt x="140" y="832"/>
                        </a:lnTo>
                        <a:lnTo>
                          <a:pt x="143" y="829"/>
                        </a:lnTo>
                        <a:lnTo>
                          <a:pt x="144" y="827"/>
                        </a:lnTo>
                        <a:lnTo>
                          <a:pt x="147" y="826"/>
                        </a:lnTo>
                        <a:lnTo>
                          <a:pt x="147" y="824"/>
                        </a:lnTo>
                        <a:lnTo>
                          <a:pt x="147" y="822"/>
                        </a:lnTo>
                        <a:lnTo>
                          <a:pt x="149" y="821"/>
                        </a:lnTo>
                        <a:lnTo>
                          <a:pt x="149" y="818"/>
                        </a:lnTo>
                        <a:lnTo>
                          <a:pt x="152" y="818"/>
                        </a:lnTo>
                        <a:lnTo>
                          <a:pt x="154" y="816"/>
                        </a:lnTo>
                        <a:lnTo>
                          <a:pt x="157" y="816"/>
                        </a:lnTo>
                        <a:lnTo>
                          <a:pt x="157" y="813"/>
                        </a:lnTo>
                        <a:lnTo>
                          <a:pt x="157" y="808"/>
                        </a:lnTo>
                        <a:lnTo>
                          <a:pt x="157" y="805"/>
                        </a:lnTo>
                        <a:lnTo>
                          <a:pt x="157" y="799"/>
                        </a:lnTo>
                        <a:lnTo>
                          <a:pt x="155" y="796"/>
                        </a:lnTo>
                        <a:lnTo>
                          <a:pt x="155" y="789"/>
                        </a:lnTo>
                        <a:lnTo>
                          <a:pt x="154" y="781"/>
                        </a:lnTo>
                        <a:lnTo>
                          <a:pt x="152" y="775"/>
                        </a:lnTo>
                        <a:lnTo>
                          <a:pt x="149" y="770"/>
                        </a:lnTo>
                        <a:lnTo>
                          <a:pt x="147" y="765"/>
                        </a:lnTo>
                        <a:lnTo>
                          <a:pt x="147" y="762"/>
                        </a:lnTo>
                        <a:lnTo>
                          <a:pt x="147" y="757"/>
                        </a:lnTo>
                        <a:lnTo>
                          <a:pt x="147" y="750"/>
                        </a:lnTo>
                        <a:lnTo>
                          <a:pt x="147" y="743"/>
                        </a:lnTo>
                        <a:lnTo>
                          <a:pt x="147" y="740"/>
                        </a:lnTo>
                        <a:lnTo>
                          <a:pt x="149" y="735"/>
                        </a:lnTo>
                        <a:lnTo>
                          <a:pt x="151" y="732"/>
                        </a:lnTo>
                        <a:lnTo>
                          <a:pt x="154" y="727"/>
                        </a:lnTo>
                        <a:lnTo>
                          <a:pt x="155" y="726"/>
                        </a:lnTo>
                        <a:lnTo>
                          <a:pt x="157" y="724"/>
                        </a:lnTo>
                        <a:lnTo>
                          <a:pt x="159" y="724"/>
                        </a:lnTo>
                        <a:lnTo>
                          <a:pt x="160" y="724"/>
                        </a:lnTo>
                        <a:lnTo>
                          <a:pt x="168" y="726"/>
                        </a:lnTo>
                        <a:lnTo>
                          <a:pt x="195" y="731"/>
                        </a:lnTo>
                        <a:lnTo>
                          <a:pt x="204" y="732"/>
                        </a:lnTo>
                        <a:lnTo>
                          <a:pt x="212" y="734"/>
                        </a:lnTo>
                        <a:lnTo>
                          <a:pt x="216" y="734"/>
                        </a:lnTo>
                        <a:lnTo>
                          <a:pt x="219" y="735"/>
                        </a:lnTo>
                        <a:lnTo>
                          <a:pt x="222" y="734"/>
                        </a:lnTo>
                        <a:lnTo>
                          <a:pt x="225" y="734"/>
                        </a:lnTo>
                        <a:lnTo>
                          <a:pt x="228" y="731"/>
                        </a:lnTo>
                        <a:lnTo>
                          <a:pt x="231" y="731"/>
                        </a:lnTo>
                        <a:lnTo>
                          <a:pt x="231" y="729"/>
                        </a:lnTo>
                        <a:lnTo>
                          <a:pt x="235" y="724"/>
                        </a:lnTo>
                        <a:lnTo>
                          <a:pt x="236" y="721"/>
                        </a:lnTo>
                        <a:lnTo>
                          <a:pt x="236" y="719"/>
                        </a:lnTo>
                        <a:lnTo>
                          <a:pt x="238" y="719"/>
                        </a:lnTo>
                        <a:lnTo>
                          <a:pt x="239" y="718"/>
                        </a:lnTo>
                        <a:lnTo>
                          <a:pt x="241" y="716"/>
                        </a:lnTo>
                        <a:lnTo>
                          <a:pt x="242" y="715"/>
                        </a:lnTo>
                        <a:lnTo>
                          <a:pt x="244" y="712"/>
                        </a:lnTo>
                        <a:lnTo>
                          <a:pt x="244" y="710"/>
                        </a:lnTo>
                        <a:lnTo>
                          <a:pt x="246" y="708"/>
                        </a:lnTo>
                        <a:lnTo>
                          <a:pt x="249" y="707"/>
                        </a:lnTo>
                        <a:lnTo>
                          <a:pt x="249" y="705"/>
                        </a:lnTo>
                        <a:lnTo>
                          <a:pt x="250" y="704"/>
                        </a:lnTo>
                        <a:lnTo>
                          <a:pt x="252" y="700"/>
                        </a:lnTo>
                        <a:lnTo>
                          <a:pt x="252" y="697"/>
                        </a:lnTo>
                        <a:lnTo>
                          <a:pt x="254" y="696"/>
                        </a:lnTo>
                        <a:lnTo>
                          <a:pt x="255" y="694"/>
                        </a:lnTo>
                        <a:lnTo>
                          <a:pt x="257" y="691"/>
                        </a:lnTo>
                        <a:lnTo>
                          <a:pt x="258" y="689"/>
                        </a:lnTo>
                        <a:lnTo>
                          <a:pt x="260" y="689"/>
                        </a:lnTo>
                        <a:lnTo>
                          <a:pt x="263" y="691"/>
                        </a:lnTo>
                        <a:lnTo>
                          <a:pt x="263" y="686"/>
                        </a:lnTo>
                        <a:lnTo>
                          <a:pt x="265" y="686"/>
                        </a:lnTo>
                        <a:lnTo>
                          <a:pt x="265" y="685"/>
                        </a:lnTo>
                        <a:lnTo>
                          <a:pt x="268" y="681"/>
                        </a:lnTo>
                        <a:lnTo>
                          <a:pt x="269" y="680"/>
                        </a:lnTo>
                        <a:lnTo>
                          <a:pt x="269" y="677"/>
                        </a:lnTo>
                        <a:lnTo>
                          <a:pt x="269" y="675"/>
                        </a:lnTo>
                        <a:lnTo>
                          <a:pt x="269" y="674"/>
                        </a:lnTo>
                        <a:lnTo>
                          <a:pt x="271" y="672"/>
                        </a:lnTo>
                        <a:lnTo>
                          <a:pt x="273" y="669"/>
                        </a:lnTo>
                        <a:lnTo>
                          <a:pt x="274" y="667"/>
                        </a:lnTo>
                        <a:lnTo>
                          <a:pt x="274" y="666"/>
                        </a:lnTo>
                        <a:lnTo>
                          <a:pt x="276" y="662"/>
                        </a:lnTo>
                        <a:lnTo>
                          <a:pt x="277" y="661"/>
                        </a:lnTo>
                        <a:lnTo>
                          <a:pt x="280" y="661"/>
                        </a:lnTo>
                        <a:lnTo>
                          <a:pt x="284" y="659"/>
                        </a:lnTo>
                        <a:lnTo>
                          <a:pt x="285" y="658"/>
                        </a:lnTo>
                        <a:lnTo>
                          <a:pt x="288" y="656"/>
                        </a:lnTo>
                        <a:lnTo>
                          <a:pt x="290" y="655"/>
                        </a:lnTo>
                        <a:lnTo>
                          <a:pt x="292" y="651"/>
                        </a:lnTo>
                        <a:lnTo>
                          <a:pt x="295" y="647"/>
                        </a:lnTo>
                        <a:lnTo>
                          <a:pt x="296" y="643"/>
                        </a:lnTo>
                        <a:lnTo>
                          <a:pt x="301" y="637"/>
                        </a:lnTo>
                        <a:lnTo>
                          <a:pt x="301" y="636"/>
                        </a:lnTo>
                        <a:lnTo>
                          <a:pt x="303" y="634"/>
                        </a:lnTo>
                        <a:lnTo>
                          <a:pt x="304" y="634"/>
                        </a:lnTo>
                        <a:lnTo>
                          <a:pt x="306" y="634"/>
                        </a:lnTo>
                        <a:lnTo>
                          <a:pt x="307" y="632"/>
                        </a:lnTo>
                        <a:lnTo>
                          <a:pt x="317" y="634"/>
                        </a:lnTo>
                        <a:lnTo>
                          <a:pt x="315" y="632"/>
                        </a:lnTo>
                        <a:lnTo>
                          <a:pt x="315" y="628"/>
                        </a:lnTo>
                        <a:lnTo>
                          <a:pt x="315" y="626"/>
                        </a:lnTo>
                        <a:lnTo>
                          <a:pt x="315" y="624"/>
                        </a:lnTo>
                        <a:lnTo>
                          <a:pt x="314" y="624"/>
                        </a:lnTo>
                        <a:lnTo>
                          <a:pt x="306" y="621"/>
                        </a:lnTo>
                        <a:lnTo>
                          <a:pt x="293" y="615"/>
                        </a:lnTo>
                        <a:lnTo>
                          <a:pt x="271" y="605"/>
                        </a:lnTo>
                        <a:lnTo>
                          <a:pt x="269" y="605"/>
                        </a:lnTo>
                        <a:lnTo>
                          <a:pt x="268" y="604"/>
                        </a:lnTo>
                        <a:lnTo>
                          <a:pt x="266" y="604"/>
                        </a:lnTo>
                        <a:lnTo>
                          <a:pt x="266" y="605"/>
                        </a:lnTo>
                        <a:lnTo>
                          <a:pt x="266" y="607"/>
                        </a:lnTo>
                        <a:lnTo>
                          <a:pt x="265" y="610"/>
                        </a:lnTo>
                        <a:lnTo>
                          <a:pt x="265" y="613"/>
                        </a:lnTo>
                        <a:lnTo>
                          <a:pt x="263" y="615"/>
                        </a:lnTo>
                        <a:lnTo>
                          <a:pt x="263" y="617"/>
                        </a:lnTo>
                        <a:lnTo>
                          <a:pt x="261" y="618"/>
                        </a:lnTo>
                        <a:lnTo>
                          <a:pt x="261" y="623"/>
                        </a:lnTo>
                        <a:lnTo>
                          <a:pt x="258" y="624"/>
                        </a:lnTo>
                        <a:lnTo>
                          <a:pt x="255" y="624"/>
                        </a:lnTo>
                        <a:lnTo>
                          <a:pt x="246" y="621"/>
                        </a:lnTo>
                        <a:lnTo>
                          <a:pt x="228" y="613"/>
                        </a:lnTo>
                        <a:lnTo>
                          <a:pt x="214" y="607"/>
                        </a:lnTo>
                        <a:lnTo>
                          <a:pt x="212" y="607"/>
                        </a:lnTo>
                        <a:lnTo>
                          <a:pt x="212" y="605"/>
                        </a:lnTo>
                        <a:lnTo>
                          <a:pt x="211" y="604"/>
                        </a:lnTo>
                        <a:lnTo>
                          <a:pt x="211" y="602"/>
                        </a:lnTo>
                        <a:lnTo>
                          <a:pt x="209" y="599"/>
                        </a:lnTo>
                        <a:lnTo>
                          <a:pt x="209" y="598"/>
                        </a:lnTo>
                        <a:lnTo>
                          <a:pt x="209" y="594"/>
                        </a:lnTo>
                        <a:lnTo>
                          <a:pt x="208" y="593"/>
                        </a:lnTo>
                        <a:lnTo>
                          <a:pt x="208" y="590"/>
                        </a:lnTo>
                        <a:lnTo>
                          <a:pt x="206" y="588"/>
                        </a:lnTo>
                        <a:lnTo>
                          <a:pt x="204" y="583"/>
                        </a:lnTo>
                        <a:lnTo>
                          <a:pt x="201" y="582"/>
                        </a:lnTo>
                        <a:lnTo>
                          <a:pt x="201" y="580"/>
                        </a:lnTo>
                        <a:lnTo>
                          <a:pt x="200" y="575"/>
                        </a:lnTo>
                        <a:lnTo>
                          <a:pt x="198" y="574"/>
                        </a:lnTo>
                        <a:lnTo>
                          <a:pt x="198" y="572"/>
                        </a:lnTo>
                        <a:lnTo>
                          <a:pt x="197" y="572"/>
                        </a:lnTo>
                        <a:lnTo>
                          <a:pt x="195" y="572"/>
                        </a:lnTo>
                        <a:lnTo>
                          <a:pt x="193" y="571"/>
                        </a:lnTo>
                        <a:lnTo>
                          <a:pt x="190" y="571"/>
                        </a:lnTo>
                        <a:lnTo>
                          <a:pt x="190" y="569"/>
                        </a:lnTo>
                        <a:lnTo>
                          <a:pt x="190" y="564"/>
                        </a:lnTo>
                        <a:lnTo>
                          <a:pt x="190" y="545"/>
                        </a:lnTo>
                        <a:lnTo>
                          <a:pt x="190" y="518"/>
                        </a:lnTo>
                        <a:lnTo>
                          <a:pt x="190" y="507"/>
                        </a:lnTo>
                        <a:lnTo>
                          <a:pt x="190" y="506"/>
                        </a:lnTo>
                        <a:lnTo>
                          <a:pt x="189" y="506"/>
                        </a:lnTo>
                        <a:lnTo>
                          <a:pt x="187" y="504"/>
                        </a:lnTo>
                        <a:lnTo>
                          <a:pt x="185" y="504"/>
                        </a:lnTo>
                        <a:lnTo>
                          <a:pt x="184" y="502"/>
                        </a:lnTo>
                        <a:lnTo>
                          <a:pt x="182" y="504"/>
                        </a:lnTo>
                        <a:lnTo>
                          <a:pt x="181" y="504"/>
                        </a:lnTo>
                        <a:lnTo>
                          <a:pt x="179" y="504"/>
                        </a:lnTo>
                        <a:lnTo>
                          <a:pt x="176" y="506"/>
                        </a:lnTo>
                        <a:lnTo>
                          <a:pt x="174" y="504"/>
                        </a:lnTo>
                        <a:lnTo>
                          <a:pt x="171" y="504"/>
                        </a:lnTo>
                        <a:lnTo>
                          <a:pt x="166" y="504"/>
                        </a:lnTo>
                        <a:lnTo>
                          <a:pt x="165" y="504"/>
                        </a:lnTo>
                        <a:lnTo>
                          <a:pt x="163" y="504"/>
                        </a:lnTo>
                        <a:lnTo>
                          <a:pt x="162" y="502"/>
                        </a:lnTo>
                        <a:lnTo>
                          <a:pt x="160" y="501"/>
                        </a:lnTo>
                        <a:lnTo>
                          <a:pt x="159" y="499"/>
                        </a:lnTo>
                        <a:lnTo>
                          <a:pt x="155" y="498"/>
                        </a:lnTo>
                        <a:lnTo>
                          <a:pt x="155" y="496"/>
                        </a:lnTo>
                        <a:lnTo>
                          <a:pt x="152" y="495"/>
                        </a:lnTo>
                        <a:lnTo>
                          <a:pt x="152" y="493"/>
                        </a:lnTo>
                        <a:lnTo>
                          <a:pt x="152" y="490"/>
                        </a:lnTo>
                        <a:lnTo>
                          <a:pt x="151" y="488"/>
                        </a:lnTo>
                        <a:lnTo>
                          <a:pt x="151" y="485"/>
                        </a:lnTo>
                        <a:lnTo>
                          <a:pt x="151" y="482"/>
                        </a:lnTo>
                        <a:lnTo>
                          <a:pt x="151" y="480"/>
                        </a:lnTo>
                        <a:lnTo>
                          <a:pt x="149" y="480"/>
                        </a:lnTo>
                        <a:lnTo>
                          <a:pt x="147" y="480"/>
                        </a:lnTo>
                        <a:lnTo>
                          <a:pt x="144" y="479"/>
                        </a:lnTo>
                        <a:lnTo>
                          <a:pt x="138" y="479"/>
                        </a:lnTo>
                        <a:lnTo>
                          <a:pt x="128" y="477"/>
                        </a:lnTo>
                        <a:lnTo>
                          <a:pt x="119" y="474"/>
                        </a:lnTo>
                        <a:lnTo>
                          <a:pt x="108" y="472"/>
                        </a:lnTo>
                        <a:lnTo>
                          <a:pt x="100" y="471"/>
                        </a:lnTo>
                        <a:lnTo>
                          <a:pt x="94" y="469"/>
                        </a:lnTo>
                        <a:lnTo>
                          <a:pt x="89" y="469"/>
                        </a:lnTo>
                        <a:lnTo>
                          <a:pt x="84" y="468"/>
                        </a:lnTo>
                        <a:lnTo>
                          <a:pt x="82" y="468"/>
                        </a:lnTo>
                        <a:lnTo>
                          <a:pt x="81" y="468"/>
                        </a:lnTo>
                        <a:lnTo>
                          <a:pt x="79" y="468"/>
                        </a:lnTo>
                        <a:lnTo>
                          <a:pt x="78" y="466"/>
                        </a:lnTo>
                        <a:lnTo>
                          <a:pt x="76" y="464"/>
                        </a:lnTo>
                        <a:lnTo>
                          <a:pt x="71" y="464"/>
                        </a:lnTo>
                        <a:lnTo>
                          <a:pt x="68" y="464"/>
                        </a:lnTo>
                        <a:lnTo>
                          <a:pt x="63" y="464"/>
                        </a:lnTo>
                        <a:lnTo>
                          <a:pt x="59" y="463"/>
                        </a:lnTo>
                        <a:lnTo>
                          <a:pt x="56" y="461"/>
                        </a:lnTo>
                        <a:lnTo>
                          <a:pt x="52" y="458"/>
                        </a:lnTo>
                        <a:lnTo>
                          <a:pt x="49" y="457"/>
                        </a:lnTo>
                        <a:lnTo>
                          <a:pt x="48" y="457"/>
                        </a:lnTo>
                        <a:lnTo>
                          <a:pt x="48" y="455"/>
                        </a:lnTo>
                        <a:lnTo>
                          <a:pt x="44" y="453"/>
                        </a:lnTo>
                        <a:lnTo>
                          <a:pt x="41" y="452"/>
                        </a:lnTo>
                        <a:lnTo>
                          <a:pt x="37" y="449"/>
                        </a:lnTo>
                        <a:lnTo>
                          <a:pt x="35" y="447"/>
                        </a:lnTo>
                        <a:lnTo>
                          <a:pt x="33" y="447"/>
                        </a:lnTo>
                        <a:lnTo>
                          <a:pt x="33" y="445"/>
                        </a:lnTo>
                        <a:lnTo>
                          <a:pt x="32" y="444"/>
                        </a:lnTo>
                        <a:lnTo>
                          <a:pt x="30" y="442"/>
                        </a:lnTo>
                        <a:lnTo>
                          <a:pt x="30" y="441"/>
                        </a:lnTo>
                        <a:lnTo>
                          <a:pt x="29" y="441"/>
                        </a:lnTo>
                        <a:lnTo>
                          <a:pt x="29" y="439"/>
                        </a:lnTo>
                        <a:lnTo>
                          <a:pt x="27" y="438"/>
                        </a:lnTo>
                        <a:lnTo>
                          <a:pt x="25" y="438"/>
                        </a:lnTo>
                        <a:lnTo>
                          <a:pt x="22" y="438"/>
                        </a:lnTo>
                        <a:lnTo>
                          <a:pt x="21" y="436"/>
                        </a:lnTo>
                        <a:lnTo>
                          <a:pt x="21" y="434"/>
                        </a:lnTo>
                        <a:lnTo>
                          <a:pt x="18" y="431"/>
                        </a:lnTo>
                        <a:lnTo>
                          <a:pt x="8" y="422"/>
                        </a:lnTo>
                        <a:lnTo>
                          <a:pt x="3" y="415"/>
                        </a:lnTo>
                        <a:lnTo>
                          <a:pt x="2" y="415"/>
                        </a:lnTo>
                        <a:lnTo>
                          <a:pt x="0" y="414"/>
                        </a:lnTo>
                        <a:lnTo>
                          <a:pt x="3" y="412"/>
                        </a:lnTo>
                        <a:lnTo>
                          <a:pt x="5" y="412"/>
                        </a:lnTo>
                        <a:lnTo>
                          <a:pt x="6" y="412"/>
                        </a:lnTo>
                        <a:lnTo>
                          <a:pt x="8" y="411"/>
                        </a:lnTo>
                        <a:lnTo>
                          <a:pt x="11" y="409"/>
                        </a:lnTo>
                        <a:lnTo>
                          <a:pt x="16" y="407"/>
                        </a:lnTo>
                        <a:lnTo>
                          <a:pt x="51" y="396"/>
                        </a:lnTo>
                        <a:lnTo>
                          <a:pt x="32" y="354"/>
                        </a:lnTo>
                        <a:lnTo>
                          <a:pt x="33" y="342"/>
                        </a:lnTo>
                        <a:lnTo>
                          <a:pt x="35" y="312"/>
                        </a:lnTo>
                        <a:lnTo>
                          <a:pt x="35" y="306"/>
                        </a:lnTo>
                        <a:lnTo>
                          <a:pt x="37" y="298"/>
                        </a:lnTo>
                        <a:lnTo>
                          <a:pt x="37" y="290"/>
                        </a:lnTo>
                        <a:lnTo>
                          <a:pt x="38" y="285"/>
                        </a:lnTo>
                        <a:lnTo>
                          <a:pt x="46" y="265"/>
                        </a:lnTo>
                        <a:lnTo>
                          <a:pt x="62" y="222"/>
                        </a:lnTo>
                        <a:lnTo>
                          <a:pt x="76" y="184"/>
                        </a:lnTo>
                        <a:lnTo>
                          <a:pt x="65" y="182"/>
                        </a:lnTo>
                        <a:lnTo>
                          <a:pt x="63" y="182"/>
                        </a:lnTo>
                        <a:lnTo>
                          <a:pt x="68" y="165"/>
                        </a:lnTo>
                        <a:lnTo>
                          <a:pt x="73" y="146"/>
                        </a:lnTo>
                        <a:lnTo>
                          <a:pt x="84" y="140"/>
                        </a:lnTo>
                        <a:lnTo>
                          <a:pt x="84" y="141"/>
                        </a:lnTo>
                        <a:lnTo>
                          <a:pt x="94" y="137"/>
                        </a:lnTo>
                        <a:lnTo>
                          <a:pt x="174" y="100"/>
                        </a:lnTo>
                        <a:lnTo>
                          <a:pt x="181" y="95"/>
                        </a:lnTo>
                        <a:lnTo>
                          <a:pt x="236" y="46"/>
                        </a:lnTo>
                        <a:lnTo>
                          <a:pt x="236" y="45"/>
                        </a:lnTo>
                        <a:lnTo>
                          <a:pt x="233" y="42"/>
                        </a:lnTo>
                        <a:lnTo>
                          <a:pt x="295" y="0"/>
                        </a:lnTo>
                        <a:close/>
                      </a:path>
                    </a:pathLst>
                  </a:custGeom>
                  <a:solidFill>
                    <a:srgbClr val="E1E1E1"/>
                  </a:solid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67" name="Freeform 66"/>
                  <p:cNvSpPr>
                    <a:spLocks/>
                  </p:cNvSpPr>
                  <p:nvPr/>
                </p:nvSpPr>
                <p:spPr bwMode="auto">
                  <a:xfrm>
                    <a:off x="3753" y="1960"/>
                    <a:ext cx="1030" cy="653"/>
                  </a:xfrm>
                  <a:custGeom>
                    <a:avLst/>
                    <a:gdLst>
                      <a:gd name="T0" fmla="*/ 364 w 1030"/>
                      <a:gd name="T1" fmla="*/ 13 h 653"/>
                      <a:gd name="T2" fmla="*/ 414 w 1030"/>
                      <a:gd name="T3" fmla="*/ 34 h 653"/>
                      <a:gd name="T4" fmla="*/ 445 w 1030"/>
                      <a:gd name="T5" fmla="*/ 50 h 653"/>
                      <a:gd name="T6" fmla="*/ 502 w 1030"/>
                      <a:gd name="T7" fmla="*/ 67 h 653"/>
                      <a:gd name="T8" fmla="*/ 575 w 1030"/>
                      <a:gd name="T9" fmla="*/ 114 h 653"/>
                      <a:gd name="T10" fmla="*/ 586 w 1030"/>
                      <a:gd name="T11" fmla="*/ 151 h 653"/>
                      <a:gd name="T12" fmla="*/ 583 w 1030"/>
                      <a:gd name="T13" fmla="*/ 186 h 653"/>
                      <a:gd name="T14" fmla="*/ 607 w 1030"/>
                      <a:gd name="T15" fmla="*/ 148 h 653"/>
                      <a:gd name="T16" fmla="*/ 676 w 1030"/>
                      <a:gd name="T17" fmla="*/ 167 h 653"/>
                      <a:gd name="T18" fmla="*/ 692 w 1030"/>
                      <a:gd name="T19" fmla="*/ 186 h 653"/>
                      <a:gd name="T20" fmla="*/ 718 w 1030"/>
                      <a:gd name="T21" fmla="*/ 216 h 653"/>
                      <a:gd name="T22" fmla="*/ 756 w 1030"/>
                      <a:gd name="T23" fmla="*/ 236 h 653"/>
                      <a:gd name="T24" fmla="*/ 800 w 1030"/>
                      <a:gd name="T25" fmla="*/ 211 h 653"/>
                      <a:gd name="T26" fmla="*/ 816 w 1030"/>
                      <a:gd name="T27" fmla="*/ 175 h 653"/>
                      <a:gd name="T28" fmla="*/ 833 w 1030"/>
                      <a:gd name="T29" fmla="*/ 141 h 653"/>
                      <a:gd name="T30" fmla="*/ 874 w 1030"/>
                      <a:gd name="T31" fmla="*/ 153 h 653"/>
                      <a:gd name="T32" fmla="*/ 881 w 1030"/>
                      <a:gd name="T33" fmla="*/ 191 h 653"/>
                      <a:gd name="T34" fmla="*/ 882 w 1030"/>
                      <a:gd name="T35" fmla="*/ 225 h 653"/>
                      <a:gd name="T36" fmla="*/ 893 w 1030"/>
                      <a:gd name="T37" fmla="*/ 262 h 653"/>
                      <a:gd name="T38" fmla="*/ 944 w 1030"/>
                      <a:gd name="T39" fmla="*/ 287 h 653"/>
                      <a:gd name="T40" fmla="*/ 963 w 1030"/>
                      <a:gd name="T41" fmla="*/ 324 h 653"/>
                      <a:gd name="T42" fmla="*/ 958 w 1030"/>
                      <a:gd name="T43" fmla="*/ 377 h 653"/>
                      <a:gd name="T44" fmla="*/ 981 w 1030"/>
                      <a:gd name="T45" fmla="*/ 419 h 653"/>
                      <a:gd name="T46" fmla="*/ 1011 w 1030"/>
                      <a:gd name="T47" fmla="*/ 458 h 653"/>
                      <a:gd name="T48" fmla="*/ 1015 w 1030"/>
                      <a:gd name="T49" fmla="*/ 484 h 653"/>
                      <a:gd name="T50" fmla="*/ 1028 w 1030"/>
                      <a:gd name="T51" fmla="*/ 515 h 653"/>
                      <a:gd name="T52" fmla="*/ 1017 w 1030"/>
                      <a:gd name="T53" fmla="*/ 547 h 653"/>
                      <a:gd name="T54" fmla="*/ 993 w 1030"/>
                      <a:gd name="T55" fmla="*/ 569 h 653"/>
                      <a:gd name="T56" fmla="*/ 938 w 1030"/>
                      <a:gd name="T57" fmla="*/ 563 h 653"/>
                      <a:gd name="T58" fmla="*/ 881 w 1030"/>
                      <a:gd name="T59" fmla="*/ 613 h 653"/>
                      <a:gd name="T60" fmla="*/ 860 w 1030"/>
                      <a:gd name="T61" fmla="*/ 637 h 653"/>
                      <a:gd name="T62" fmla="*/ 824 w 1030"/>
                      <a:gd name="T63" fmla="*/ 651 h 653"/>
                      <a:gd name="T64" fmla="*/ 756 w 1030"/>
                      <a:gd name="T65" fmla="*/ 650 h 653"/>
                      <a:gd name="T66" fmla="*/ 737 w 1030"/>
                      <a:gd name="T67" fmla="*/ 626 h 653"/>
                      <a:gd name="T68" fmla="*/ 730 w 1030"/>
                      <a:gd name="T69" fmla="*/ 599 h 653"/>
                      <a:gd name="T70" fmla="*/ 707 w 1030"/>
                      <a:gd name="T71" fmla="*/ 582 h 653"/>
                      <a:gd name="T72" fmla="*/ 680 w 1030"/>
                      <a:gd name="T73" fmla="*/ 558 h 653"/>
                      <a:gd name="T74" fmla="*/ 656 w 1030"/>
                      <a:gd name="T75" fmla="*/ 525 h 653"/>
                      <a:gd name="T76" fmla="*/ 646 w 1030"/>
                      <a:gd name="T77" fmla="*/ 484 h 653"/>
                      <a:gd name="T78" fmla="*/ 624 w 1030"/>
                      <a:gd name="T79" fmla="*/ 442 h 653"/>
                      <a:gd name="T80" fmla="*/ 602 w 1030"/>
                      <a:gd name="T81" fmla="*/ 408 h 653"/>
                      <a:gd name="T82" fmla="*/ 566 w 1030"/>
                      <a:gd name="T83" fmla="*/ 401 h 653"/>
                      <a:gd name="T84" fmla="*/ 545 w 1030"/>
                      <a:gd name="T85" fmla="*/ 381 h 653"/>
                      <a:gd name="T86" fmla="*/ 515 w 1030"/>
                      <a:gd name="T87" fmla="*/ 368 h 653"/>
                      <a:gd name="T88" fmla="*/ 501 w 1030"/>
                      <a:gd name="T89" fmla="*/ 333 h 653"/>
                      <a:gd name="T90" fmla="*/ 488 w 1030"/>
                      <a:gd name="T91" fmla="*/ 267 h 653"/>
                      <a:gd name="T92" fmla="*/ 395 w 1030"/>
                      <a:gd name="T93" fmla="*/ 287 h 653"/>
                      <a:gd name="T94" fmla="*/ 374 w 1030"/>
                      <a:gd name="T95" fmla="*/ 224 h 653"/>
                      <a:gd name="T96" fmla="*/ 311 w 1030"/>
                      <a:gd name="T97" fmla="*/ 219 h 653"/>
                      <a:gd name="T98" fmla="*/ 295 w 1030"/>
                      <a:gd name="T99" fmla="*/ 160 h 653"/>
                      <a:gd name="T100" fmla="*/ 252 w 1030"/>
                      <a:gd name="T101" fmla="*/ 202 h 653"/>
                      <a:gd name="T102" fmla="*/ 233 w 1030"/>
                      <a:gd name="T103" fmla="*/ 274 h 653"/>
                      <a:gd name="T104" fmla="*/ 203 w 1030"/>
                      <a:gd name="T105" fmla="*/ 325 h 653"/>
                      <a:gd name="T106" fmla="*/ 63 w 1030"/>
                      <a:gd name="T107" fmla="*/ 379 h 653"/>
                      <a:gd name="T108" fmla="*/ 16 w 1030"/>
                      <a:gd name="T109" fmla="*/ 389 h 653"/>
                      <a:gd name="T110" fmla="*/ 49 w 1030"/>
                      <a:gd name="T111" fmla="*/ 289 h 653"/>
                      <a:gd name="T112" fmla="*/ 125 w 1030"/>
                      <a:gd name="T113" fmla="*/ 293 h 653"/>
                      <a:gd name="T114" fmla="*/ 162 w 1030"/>
                      <a:gd name="T115" fmla="*/ 224 h 653"/>
                      <a:gd name="T116" fmla="*/ 95 w 1030"/>
                      <a:gd name="T117" fmla="*/ 176 h 653"/>
                      <a:gd name="T118" fmla="*/ 78 w 1030"/>
                      <a:gd name="T119" fmla="*/ 140 h 653"/>
                      <a:gd name="T120" fmla="*/ 98 w 1030"/>
                      <a:gd name="T121" fmla="*/ 72 h 653"/>
                      <a:gd name="T122" fmla="*/ 135 w 1030"/>
                      <a:gd name="T123" fmla="*/ 35 h 653"/>
                      <a:gd name="T124" fmla="*/ 250 w 1030"/>
                      <a:gd name="T125" fmla="*/ 2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30" h="653">
                        <a:moveTo>
                          <a:pt x="296" y="0"/>
                        </a:moveTo>
                        <a:lnTo>
                          <a:pt x="298" y="2"/>
                        </a:lnTo>
                        <a:lnTo>
                          <a:pt x="301" y="5"/>
                        </a:lnTo>
                        <a:lnTo>
                          <a:pt x="304" y="10"/>
                        </a:lnTo>
                        <a:lnTo>
                          <a:pt x="307" y="13"/>
                        </a:lnTo>
                        <a:lnTo>
                          <a:pt x="311" y="16"/>
                        </a:lnTo>
                        <a:lnTo>
                          <a:pt x="312" y="18"/>
                        </a:lnTo>
                        <a:lnTo>
                          <a:pt x="314" y="18"/>
                        </a:lnTo>
                        <a:lnTo>
                          <a:pt x="315" y="18"/>
                        </a:lnTo>
                        <a:lnTo>
                          <a:pt x="320" y="19"/>
                        </a:lnTo>
                        <a:lnTo>
                          <a:pt x="330" y="21"/>
                        </a:lnTo>
                        <a:lnTo>
                          <a:pt x="331" y="23"/>
                        </a:lnTo>
                        <a:lnTo>
                          <a:pt x="333" y="21"/>
                        </a:lnTo>
                        <a:lnTo>
                          <a:pt x="334" y="21"/>
                        </a:lnTo>
                        <a:lnTo>
                          <a:pt x="334" y="19"/>
                        </a:lnTo>
                        <a:lnTo>
                          <a:pt x="334" y="18"/>
                        </a:lnTo>
                        <a:lnTo>
                          <a:pt x="333" y="16"/>
                        </a:lnTo>
                        <a:lnTo>
                          <a:pt x="334" y="15"/>
                        </a:lnTo>
                        <a:lnTo>
                          <a:pt x="334" y="12"/>
                        </a:lnTo>
                        <a:lnTo>
                          <a:pt x="337" y="4"/>
                        </a:lnTo>
                        <a:lnTo>
                          <a:pt x="342" y="7"/>
                        </a:lnTo>
                        <a:lnTo>
                          <a:pt x="349" y="8"/>
                        </a:lnTo>
                        <a:lnTo>
                          <a:pt x="355" y="8"/>
                        </a:lnTo>
                        <a:lnTo>
                          <a:pt x="360" y="10"/>
                        </a:lnTo>
                        <a:lnTo>
                          <a:pt x="361" y="12"/>
                        </a:lnTo>
                        <a:lnTo>
                          <a:pt x="364" y="13"/>
                        </a:lnTo>
                        <a:lnTo>
                          <a:pt x="366" y="16"/>
                        </a:lnTo>
                        <a:lnTo>
                          <a:pt x="368" y="19"/>
                        </a:lnTo>
                        <a:lnTo>
                          <a:pt x="369" y="24"/>
                        </a:lnTo>
                        <a:lnTo>
                          <a:pt x="369" y="27"/>
                        </a:lnTo>
                        <a:lnTo>
                          <a:pt x="371" y="29"/>
                        </a:lnTo>
                        <a:lnTo>
                          <a:pt x="372" y="31"/>
                        </a:lnTo>
                        <a:lnTo>
                          <a:pt x="374" y="31"/>
                        </a:lnTo>
                        <a:lnTo>
                          <a:pt x="380" y="31"/>
                        </a:lnTo>
                        <a:lnTo>
                          <a:pt x="382" y="31"/>
                        </a:lnTo>
                        <a:lnTo>
                          <a:pt x="383" y="31"/>
                        </a:lnTo>
                        <a:lnTo>
                          <a:pt x="387" y="31"/>
                        </a:lnTo>
                        <a:lnTo>
                          <a:pt x="390" y="31"/>
                        </a:lnTo>
                        <a:lnTo>
                          <a:pt x="395" y="29"/>
                        </a:lnTo>
                        <a:lnTo>
                          <a:pt x="398" y="29"/>
                        </a:lnTo>
                        <a:lnTo>
                          <a:pt x="399" y="29"/>
                        </a:lnTo>
                        <a:lnTo>
                          <a:pt x="401" y="29"/>
                        </a:lnTo>
                        <a:lnTo>
                          <a:pt x="402" y="31"/>
                        </a:lnTo>
                        <a:lnTo>
                          <a:pt x="404" y="32"/>
                        </a:lnTo>
                        <a:lnTo>
                          <a:pt x="404" y="35"/>
                        </a:lnTo>
                        <a:lnTo>
                          <a:pt x="406" y="35"/>
                        </a:lnTo>
                        <a:lnTo>
                          <a:pt x="406" y="37"/>
                        </a:lnTo>
                        <a:lnTo>
                          <a:pt x="407" y="37"/>
                        </a:lnTo>
                        <a:lnTo>
                          <a:pt x="410" y="37"/>
                        </a:lnTo>
                        <a:lnTo>
                          <a:pt x="410" y="35"/>
                        </a:lnTo>
                        <a:lnTo>
                          <a:pt x="412" y="35"/>
                        </a:lnTo>
                        <a:lnTo>
                          <a:pt x="414" y="34"/>
                        </a:lnTo>
                        <a:lnTo>
                          <a:pt x="415" y="32"/>
                        </a:lnTo>
                        <a:lnTo>
                          <a:pt x="417" y="31"/>
                        </a:lnTo>
                        <a:lnTo>
                          <a:pt x="420" y="31"/>
                        </a:lnTo>
                        <a:lnTo>
                          <a:pt x="420" y="29"/>
                        </a:lnTo>
                        <a:lnTo>
                          <a:pt x="421" y="27"/>
                        </a:lnTo>
                        <a:lnTo>
                          <a:pt x="423" y="27"/>
                        </a:lnTo>
                        <a:lnTo>
                          <a:pt x="425" y="27"/>
                        </a:lnTo>
                        <a:lnTo>
                          <a:pt x="426" y="27"/>
                        </a:lnTo>
                        <a:lnTo>
                          <a:pt x="429" y="29"/>
                        </a:lnTo>
                        <a:lnTo>
                          <a:pt x="431" y="29"/>
                        </a:lnTo>
                        <a:lnTo>
                          <a:pt x="431" y="31"/>
                        </a:lnTo>
                        <a:lnTo>
                          <a:pt x="431" y="32"/>
                        </a:lnTo>
                        <a:lnTo>
                          <a:pt x="433" y="32"/>
                        </a:lnTo>
                        <a:lnTo>
                          <a:pt x="434" y="32"/>
                        </a:lnTo>
                        <a:lnTo>
                          <a:pt x="436" y="32"/>
                        </a:lnTo>
                        <a:lnTo>
                          <a:pt x="437" y="32"/>
                        </a:lnTo>
                        <a:lnTo>
                          <a:pt x="437" y="34"/>
                        </a:lnTo>
                        <a:lnTo>
                          <a:pt x="440" y="34"/>
                        </a:lnTo>
                        <a:lnTo>
                          <a:pt x="442" y="34"/>
                        </a:lnTo>
                        <a:lnTo>
                          <a:pt x="445" y="37"/>
                        </a:lnTo>
                        <a:lnTo>
                          <a:pt x="445" y="38"/>
                        </a:lnTo>
                        <a:lnTo>
                          <a:pt x="445" y="40"/>
                        </a:lnTo>
                        <a:lnTo>
                          <a:pt x="447" y="42"/>
                        </a:lnTo>
                        <a:lnTo>
                          <a:pt x="445" y="43"/>
                        </a:lnTo>
                        <a:lnTo>
                          <a:pt x="447" y="46"/>
                        </a:lnTo>
                        <a:lnTo>
                          <a:pt x="445" y="50"/>
                        </a:lnTo>
                        <a:lnTo>
                          <a:pt x="444" y="51"/>
                        </a:lnTo>
                        <a:lnTo>
                          <a:pt x="442" y="51"/>
                        </a:lnTo>
                        <a:lnTo>
                          <a:pt x="440" y="53"/>
                        </a:lnTo>
                        <a:lnTo>
                          <a:pt x="439" y="54"/>
                        </a:lnTo>
                        <a:lnTo>
                          <a:pt x="439" y="56"/>
                        </a:lnTo>
                        <a:lnTo>
                          <a:pt x="439" y="59"/>
                        </a:lnTo>
                        <a:lnTo>
                          <a:pt x="440" y="59"/>
                        </a:lnTo>
                        <a:lnTo>
                          <a:pt x="442" y="61"/>
                        </a:lnTo>
                        <a:lnTo>
                          <a:pt x="445" y="61"/>
                        </a:lnTo>
                        <a:lnTo>
                          <a:pt x="448" y="61"/>
                        </a:lnTo>
                        <a:lnTo>
                          <a:pt x="450" y="61"/>
                        </a:lnTo>
                        <a:lnTo>
                          <a:pt x="452" y="59"/>
                        </a:lnTo>
                        <a:lnTo>
                          <a:pt x="455" y="59"/>
                        </a:lnTo>
                        <a:lnTo>
                          <a:pt x="458" y="57"/>
                        </a:lnTo>
                        <a:lnTo>
                          <a:pt x="459" y="57"/>
                        </a:lnTo>
                        <a:lnTo>
                          <a:pt x="461" y="57"/>
                        </a:lnTo>
                        <a:lnTo>
                          <a:pt x="463" y="57"/>
                        </a:lnTo>
                        <a:lnTo>
                          <a:pt x="467" y="59"/>
                        </a:lnTo>
                        <a:lnTo>
                          <a:pt x="472" y="62"/>
                        </a:lnTo>
                        <a:lnTo>
                          <a:pt x="477" y="65"/>
                        </a:lnTo>
                        <a:lnTo>
                          <a:pt x="482" y="67"/>
                        </a:lnTo>
                        <a:lnTo>
                          <a:pt x="485" y="69"/>
                        </a:lnTo>
                        <a:lnTo>
                          <a:pt x="488" y="69"/>
                        </a:lnTo>
                        <a:lnTo>
                          <a:pt x="491" y="69"/>
                        </a:lnTo>
                        <a:lnTo>
                          <a:pt x="497" y="69"/>
                        </a:lnTo>
                        <a:lnTo>
                          <a:pt x="502" y="67"/>
                        </a:lnTo>
                        <a:lnTo>
                          <a:pt x="507" y="67"/>
                        </a:lnTo>
                        <a:lnTo>
                          <a:pt x="512" y="65"/>
                        </a:lnTo>
                        <a:lnTo>
                          <a:pt x="516" y="65"/>
                        </a:lnTo>
                        <a:lnTo>
                          <a:pt x="521" y="65"/>
                        </a:lnTo>
                        <a:lnTo>
                          <a:pt x="526" y="67"/>
                        </a:lnTo>
                        <a:lnTo>
                          <a:pt x="531" y="70"/>
                        </a:lnTo>
                        <a:lnTo>
                          <a:pt x="534" y="72"/>
                        </a:lnTo>
                        <a:lnTo>
                          <a:pt x="537" y="75"/>
                        </a:lnTo>
                        <a:lnTo>
                          <a:pt x="542" y="76"/>
                        </a:lnTo>
                        <a:lnTo>
                          <a:pt x="548" y="80"/>
                        </a:lnTo>
                        <a:lnTo>
                          <a:pt x="553" y="81"/>
                        </a:lnTo>
                        <a:lnTo>
                          <a:pt x="558" y="84"/>
                        </a:lnTo>
                        <a:lnTo>
                          <a:pt x="562" y="88"/>
                        </a:lnTo>
                        <a:lnTo>
                          <a:pt x="567" y="89"/>
                        </a:lnTo>
                        <a:lnTo>
                          <a:pt x="569" y="91"/>
                        </a:lnTo>
                        <a:lnTo>
                          <a:pt x="570" y="91"/>
                        </a:lnTo>
                        <a:lnTo>
                          <a:pt x="572" y="92"/>
                        </a:lnTo>
                        <a:lnTo>
                          <a:pt x="574" y="92"/>
                        </a:lnTo>
                        <a:lnTo>
                          <a:pt x="574" y="94"/>
                        </a:lnTo>
                        <a:lnTo>
                          <a:pt x="572" y="95"/>
                        </a:lnTo>
                        <a:lnTo>
                          <a:pt x="574" y="99"/>
                        </a:lnTo>
                        <a:lnTo>
                          <a:pt x="574" y="102"/>
                        </a:lnTo>
                        <a:lnTo>
                          <a:pt x="572" y="105"/>
                        </a:lnTo>
                        <a:lnTo>
                          <a:pt x="572" y="110"/>
                        </a:lnTo>
                        <a:lnTo>
                          <a:pt x="574" y="111"/>
                        </a:lnTo>
                        <a:lnTo>
                          <a:pt x="575" y="114"/>
                        </a:lnTo>
                        <a:lnTo>
                          <a:pt x="575" y="118"/>
                        </a:lnTo>
                        <a:lnTo>
                          <a:pt x="575" y="119"/>
                        </a:lnTo>
                        <a:lnTo>
                          <a:pt x="575" y="124"/>
                        </a:lnTo>
                        <a:lnTo>
                          <a:pt x="575" y="126"/>
                        </a:lnTo>
                        <a:lnTo>
                          <a:pt x="575" y="129"/>
                        </a:lnTo>
                        <a:lnTo>
                          <a:pt x="575" y="130"/>
                        </a:lnTo>
                        <a:lnTo>
                          <a:pt x="577" y="132"/>
                        </a:lnTo>
                        <a:lnTo>
                          <a:pt x="575" y="134"/>
                        </a:lnTo>
                        <a:lnTo>
                          <a:pt x="574" y="135"/>
                        </a:lnTo>
                        <a:lnTo>
                          <a:pt x="570" y="135"/>
                        </a:lnTo>
                        <a:lnTo>
                          <a:pt x="567" y="137"/>
                        </a:lnTo>
                        <a:lnTo>
                          <a:pt x="569" y="138"/>
                        </a:lnTo>
                        <a:lnTo>
                          <a:pt x="570" y="141"/>
                        </a:lnTo>
                        <a:lnTo>
                          <a:pt x="572" y="141"/>
                        </a:lnTo>
                        <a:lnTo>
                          <a:pt x="574" y="143"/>
                        </a:lnTo>
                        <a:lnTo>
                          <a:pt x="574" y="145"/>
                        </a:lnTo>
                        <a:lnTo>
                          <a:pt x="574" y="146"/>
                        </a:lnTo>
                        <a:lnTo>
                          <a:pt x="574" y="149"/>
                        </a:lnTo>
                        <a:lnTo>
                          <a:pt x="574" y="151"/>
                        </a:lnTo>
                        <a:lnTo>
                          <a:pt x="575" y="151"/>
                        </a:lnTo>
                        <a:lnTo>
                          <a:pt x="577" y="151"/>
                        </a:lnTo>
                        <a:lnTo>
                          <a:pt x="580" y="151"/>
                        </a:lnTo>
                        <a:lnTo>
                          <a:pt x="581" y="151"/>
                        </a:lnTo>
                        <a:lnTo>
                          <a:pt x="583" y="151"/>
                        </a:lnTo>
                        <a:lnTo>
                          <a:pt x="585" y="151"/>
                        </a:lnTo>
                        <a:lnTo>
                          <a:pt x="586" y="151"/>
                        </a:lnTo>
                        <a:lnTo>
                          <a:pt x="588" y="151"/>
                        </a:lnTo>
                        <a:lnTo>
                          <a:pt x="591" y="151"/>
                        </a:lnTo>
                        <a:lnTo>
                          <a:pt x="593" y="153"/>
                        </a:lnTo>
                        <a:lnTo>
                          <a:pt x="593" y="154"/>
                        </a:lnTo>
                        <a:lnTo>
                          <a:pt x="593" y="156"/>
                        </a:lnTo>
                        <a:lnTo>
                          <a:pt x="591" y="160"/>
                        </a:lnTo>
                        <a:lnTo>
                          <a:pt x="589" y="162"/>
                        </a:lnTo>
                        <a:lnTo>
                          <a:pt x="588" y="164"/>
                        </a:lnTo>
                        <a:lnTo>
                          <a:pt x="586" y="164"/>
                        </a:lnTo>
                        <a:lnTo>
                          <a:pt x="585" y="165"/>
                        </a:lnTo>
                        <a:lnTo>
                          <a:pt x="583" y="165"/>
                        </a:lnTo>
                        <a:lnTo>
                          <a:pt x="581" y="167"/>
                        </a:lnTo>
                        <a:lnTo>
                          <a:pt x="580" y="168"/>
                        </a:lnTo>
                        <a:lnTo>
                          <a:pt x="577" y="168"/>
                        </a:lnTo>
                        <a:lnTo>
                          <a:pt x="575" y="172"/>
                        </a:lnTo>
                        <a:lnTo>
                          <a:pt x="575" y="173"/>
                        </a:lnTo>
                        <a:lnTo>
                          <a:pt x="574" y="175"/>
                        </a:lnTo>
                        <a:lnTo>
                          <a:pt x="575" y="176"/>
                        </a:lnTo>
                        <a:lnTo>
                          <a:pt x="575" y="178"/>
                        </a:lnTo>
                        <a:lnTo>
                          <a:pt x="578" y="178"/>
                        </a:lnTo>
                        <a:lnTo>
                          <a:pt x="578" y="179"/>
                        </a:lnTo>
                        <a:lnTo>
                          <a:pt x="577" y="181"/>
                        </a:lnTo>
                        <a:lnTo>
                          <a:pt x="580" y="181"/>
                        </a:lnTo>
                        <a:lnTo>
                          <a:pt x="580" y="183"/>
                        </a:lnTo>
                        <a:lnTo>
                          <a:pt x="581" y="183"/>
                        </a:lnTo>
                        <a:lnTo>
                          <a:pt x="583" y="186"/>
                        </a:lnTo>
                        <a:lnTo>
                          <a:pt x="585" y="186"/>
                        </a:lnTo>
                        <a:lnTo>
                          <a:pt x="586" y="186"/>
                        </a:lnTo>
                        <a:lnTo>
                          <a:pt x="588" y="186"/>
                        </a:lnTo>
                        <a:lnTo>
                          <a:pt x="589" y="184"/>
                        </a:lnTo>
                        <a:lnTo>
                          <a:pt x="589" y="183"/>
                        </a:lnTo>
                        <a:lnTo>
                          <a:pt x="591" y="181"/>
                        </a:lnTo>
                        <a:lnTo>
                          <a:pt x="593" y="179"/>
                        </a:lnTo>
                        <a:lnTo>
                          <a:pt x="593" y="178"/>
                        </a:lnTo>
                        <a:lnTo>
                          <a:pt x="594" y="176"/>
                        </a:lnTo>
                        <a:lnTo>
                          <a:pt x="594" y="175"/>
                        </a:lnTo>
                        <a:lnTo>
                          <a:pt x="594" y="173"/>
                        </a:lnTo>
                        <a:lnTo>
                          <a:pt x="594" y="172"/>
                        </a:lnTo>
                        <a:lnTo>
                          <a:pt x="594" y="168"/>
                        </a:lnTo>
                        <a:lnTo>
                          <a:pt x="594" y="167"/>
                        </a:lnTo>
                        <a:lnTo>
                          <a:pt x="596" y="165"/>
                        </a:lnTo>
                        <a:lnTo>
                          <a:pt x="597" y="164"/>
                        </a:lnTo>
                        <a:lnTo>
                          <a:pt x="597" y="162"/>
                        </a:lnTo>
                        <a:lnTo>
                          <a:pt x="599" y="162"/>
                        </a:lnTo>
                        <a:lnTo>
                          <a:pt x="599" y="160"/>
                        </a:lnTo>
                        <a:lnTo>
                          <a:pt x="599" y="157"/>
                        </a:lnTo>
                        <a:lnTo>
                          <a:pt x="599" y="153"/>
                        </a:lnTo>
                        <a:lnTo>
                          <a:pt x="599" y="151"/>
                        </a:lnTo>
                        <a:lnTo>
                          <a:pt x="600" y="149"/>
                        </a:lnTo>
                        <a:lnTo>
                          <a:pt x="602" y="148"/>
                        </a:lnTo>
                        <a:lnTo>
                          <a:pt x="604" y="148"/>
                        </a:lnTo>
                        <a:lnTo>
                          <a:pt x="607" y="148"/>
                        </a:lnTo>
                        <a:lnTo>
                          <a:pt x="610" y="149"/>
                        </a:lnTo>
                        <a:lnTo>
                          <a:pt x="613" y="149"/>
                        </a:lnTo>
                        <a:lnTo>
                          <a:pt x="618" y="151"/>
                        </a:lnTo>
                        <a:lnTo>
                          <a:pt x="619" y="151"/>
                        </a:lnTo>
                        <a:lnTo>
                          <a:pt x="623" y="153"/>
                        </a:lnTo>
                        <a:lnTo>
                          <a:pt x="632" y="154"/>
                        </a:lnTo>
                        <a:lnTo>
                          <a:pt x="637" y="156"/>
                        </a:lnTo>
                        <a:lnTo>
                          <a:pt x="640" y="157"/>
                        </a:lnTo>
                        <a:lnTo>
                          <a:pt x="643" y="157"/>
                        </a:lnTo>
                        <a:lnTo>
                          <a:pt x="650" y="157"/>
                        </a:lnTo>
                        <a:lnTo>
                          <a:pt x="653" y="159"/>
                        </a:lnTo>
                        <a:lnTo>
                          <a:pt x="654" y="159"/>
                        </a:lnTo>
                        <a:lnTo>
                          <a:pt x="657" y="160"/>
                        </a:lnTo>
                        <a:lnTo>
                          <a:pt x="659" y="160"/>
                        </a:lnTo>
                        <a:lnTo>
                          <a:pt x="664" y="160"/>
                        </a:lnTo>
                        <a:lnTo>
                          <a:pt x="667" y="159"/>
                        </a:lnTo>
                        <a:lnTo>
                          <a:pt x="667" y="157"/>
                        </a:lnTo>
                        <a:lnTo>
                          <a:pt x="669" y="157"/>
                        </a:lnTo>
                        <a:lnTo>
                          <a:pt x="670" y="157"/>
                        </a:lnTo>
                        <a:lnTo>
                          <a:pt x="670" y="156"/>
                        </a:lnTo>
                        <a:lnTo>
                          <a:pt x="672" y="159"/>
                        </a:lnTo>
                        <a:lnTo>
                          <a:pt x="672" y="160"/>
                        </a:lnTo>
                        <a:lnTo>
                          <a:pt x="673" y="162"/>
                        </a:lnTo>
                        <a:lnTo>
                          <a:pt x="673" y="164"/>
                        </a:lnTo>
                        <a:lnTo>
                          <a:pt x="675" y="165"/>
                        </a:lnTo>
                        <a:lnTo>
                          <a:pt x="676" y="167"/>
                        </a:lnTo>
                        <a:lnTo>
                          <a:pt x="678" y="168"/>
                        </a:lnTo>
                        <a:lnTo>
                          <a:pt x="680" y="170"/>
                        </a:lnTo>
                        <a:lnTo>
                          <a:pt x="681" y="172"/>
                        </a:lnTo>
                        <a:lnTo>
                          <a:pt x="683" y="172"/>
                        </a:lnTo>
                        <a:lnTo>
                          <a:pt x="684" y="172"/>
                        </a:lnTo>
                        <a:lnTo>
                          <a:pt x="686" y="170"/>
                        </a:lnTo>
                        <a:lnTo>
                          <a:pt x="688" y="170"/>
                        </a:lnTo>
                        <a:lnTo>
                          <a:pt x="689" y="170"/>
                        </a:lnTo>
                        <a:lnTo>
                          <a:pt x="691" y="170"/>
                        </a:lnTo>
                        <a:lnTo>
                          <a:pt x="691" y="172"/>
                        </a:lnTo>
                        <a:lnTo>
                          <a:pt x="691" y="173"/>
                        </a:lnTo>
                        <a:lnTo>
                          <a:pt x="691" y="175"/>
                        </a:lnTo>
                        <a:lnTo>
                          <a:pt x="691" y="176"/>
                        </a:lnTo>
                        <a:lnTo>
                          <a:pt x="689" y="178"/>
                        </a:lnTo>
                        <a:lnTo>
                          <a:pt x="689" y="179"/>
                        </a:lnTo>
                        <a:lnTo>
                          <a:pt x="688" y="181"/>
                        </a:lnTo>
                        <a:lnTo>
                          <a:pt x="686" y="181"/>
                        </a:lnTo>
                        <a:lnTo>
                          <a:pt x="684" y="181"/>
                        </a:lnTo>
                        <a:lnTo>
                          <a:pt x="684" y="183"/>
                        </a:lnTo>
                        <a:lnTo>
                          <a:pt x="683" y="183"/>
                        </a:lnTo>
                        <a:lnTo>
                          <a:pt x="684" y="184"/>
                        </a:lnTo>
                        <a:lnTo>
                          <a:pt x="688" y="184"/>
                        </a:lnTo>
                        <a:lnTo>
                          <a:pt x="688" y="186"/>
                        </a:lnTo>
                        <a:lnTo>
                          <a:pt x="689" y="186"/>
                        </a:lnTo>
                        <a:lnTo>
                          <a:pt x="691" y="186"/>
                        </a:lnTo>
                        <a:lnTo>
                          <a:pt x="692" y="186"/>
                        </a:lnTo>
                        <a:lnTo>
                          <a:pt x="695" y="186"/>
                        </a:lnTo>
                        <a:lnTo>
                          <a:pt x="697" y="186"/>
                        </a:lnTo>
                        <a:lnTo>
                          <a:pt x="697" y="187"/>
                        </a:lnTo>
                        <a:lnTo>
                          <a:pt x="697" y="189"/>
                        </a:lnTo>
                        <a:lnTo>
                          <a:pt x="699" y="189"/>
                        </a:lnTo>
                        <a:lnTo>
                          <a:pt x="699" y="191"/>
                        </a:lnTo>
                        <a:lnTo>
                          <a:pt x="699" y="192"/>
                        </a:lnTo>
                        <a:lnTo>
                          <a:pt x="699" y="194"/>
                        </a:lnTo>
                        <a:lnTo>
                          <a:pt x="700" y="195"/>
                        </a:lnTo>
                        <a:lnTo>
                          <a:pt x="700" y="197"/>
                        </a:lnTo>
                        <a:lnTo>
                          <a:pt x="700" y="198"/>
                        </a:lnTo>
                        <a:lnTo>
                          <a:pt x="702" y="200"/>
                        </a:lnTo>
                        <a:lnTo>
                          <a:pt x="703" y="200"/>
                        </a:lnTo>
                        <a:lnTo>
                          <a:pt x="703" y="202"/>
                        </a:lnTo>
                        <a:lnTo>
                          <a:pt x="705" y="202"/>
                        </a:lnTo>
                        <a:lnTo>
                          <a:pt x="705" y="203"/>
                        </a:lnTo>
                        <a:lnTo>
                          <a:pt x="707" y="203"/>
                        </a:lnTo>
                        <a:lnTo>
                          <a:pt x="708" y="205"/>
                        </a:lnTo>
                        <a:lnTo>
                          <a:pt x="710" y="206"/>
                        </a:lnTo>
                        <a:lnTo>
                          <a:pt x="711" y="208"/>
                        </a:lnTo>
                        <a:lnTo>
                          <a:pt x="711" y="210"/>
                        </a:lnTo>
                        <a:lnTo>
                          <a:pt x="713" y="211"/>
                        </a:lnTo>
                        <a:lnTo>
                          <a:pt x="714" y="213"/>
                        </a:lnTo>
                        <a:lnTo>
                          <a:pt x="716" y="213"/>
                        </a:lnTo>
                        <a:lnTo>
                          <a:pt x="716" y="214"/>
                        </a:lnTo>
                        <a:lnTo>
                          <a:pt x="718" y="216"/>
                        </a:lnTo>
                        <a:lnTo>
                          <a:pt x="718" y="217"/>
                        </a:lnTo>
                        <a:lnTo>
                          <a:pt x="718" y="221"/>
                        </a:lnTo>
                        <a:lnTo>
                          <a:pt x="718" y="222"/>
                        </a:lnTo>
                        <a:lnTo>
                          <a:pt x="718" y="224"/>
                        </a:lnTo>
                        <a:lnTo>
                          <a:pt x="719" y="225"/>
                        </a:lnTo>
                        <a:lnTo>
                          <a:pt x="721" y="227"/>
                        </a:lnTo>
                        <a:lnTo>
                          <a:pt x="722" y="227"/>
                        </a:lnTo>
                        <a:lnTo>
                          <a:pt x="722" y="229"/>
                        </a:lnTo>
                        <a:lnTo>
                          <a:pt x="724" y="229"/>
                        </a:lnTo>
                        <a:lnTo>
                          <a:pt x="726" y="229"/>
                        </a:lnTo>
                        <a:lnTo>
                          <a:pt x="729" y="229"/>
                        </a:lnTo>
                        <a:lnTo>
                          <a:pt x="730" y="229"/>
                        </a:lnTo>
                        <a:lnTo>
                          <a:pt x="732" y="229"/>
                        </a:lnTo>
                        <a:lnTo>
                          <a:pt x="734" y="230"/>
                        </a:lnTo>
                        <a:lnTo>
                          <a:pt x="735" y="232"/>
                        </a:lnTo>
                        <a:lnTo>
                          <a:pt x="737" y="233"/>
                        </a:lnTo>
                        <a:lnTo>
                          <a:pt x="738" y="235"/>
                        </a:lnTo>
                        <a:lnTo>
                          <a:pt x="741" y="236"/>
                        </a:lnTo>
                        <a:lnTo>
                          <a:pt x="743" y="236"/>
                        </a:lnTo>
                        <a:lnTo>
                          <a:pt x="745" y="238"/>
                        </a:lnTo>
                        <a:lnTo>
                          <a:pt x="746" y="240"/>
                        </a:lnTo>
                        <a:lnTo>
                          <a:pt x="748" y="240"/>
                        </a:lnTo>
                        <a:lnTo>
                          <a:pt x="749" y="240"/>
                        </a:lnTo>
                        <a:lnTo>
                          <a:pt x="751" y="240"/>
                        </a:lnTo>
                        <a:lnTo>
                          <a:pt x="753" y="238"/>
                        </a:lnTo>
                        <a:lnTo>
                          <a:pt x="756" y="236"/>
                        </a:lnTo>
                        <a:lnTo>
                          <a:pt x="757" y="236"/>
                        </a:lnTo>
                        <a:lnTo>
                          <a:pt x="759" y="235"/>
                        </a:lnTo>
                        <a:lnTo>
                          <a:pt x="762" y="233"/>
                        </a:lnTo>
                        <a:lnTo>
                          <a:pt x="764" y="232"/>
                        </a:lnTo>
                        <a:lnTo>
                          <a:pt x="764" y="230"/>
                        </a:lnTo>
                        <a:lnTo>
                          <a:pt x="765" y="230"/>
                        </a:lnTo>
                        <a:lnTo>
                          <a:pt x="765" y="229"/>
                        </a:lnTo>
                        <a:lnTo>
                          <a:pt x="765" y="227"/>
                        </a:lnTo>
                        <a:lnTo>
                          <a:pt x="767" y="225"/>
                        </a:lnTo>
                        <a:lnTo>
                          <a:pt x="768" y="225"/>
                        </a:lnTo>
                        <a:lnTo>
                          <a:pt x="770" y="224"/>
                        </a:lnTo>
                        <a:lnTo>
                          <a:pt x="772" y="222"/>
                        </a:lnTo>
                        <a:lnTo>
                          <a:pt x="773" y="221"/>
                        </a:lnTo>
                        <a:lnTo>
                          <a:pt x="775" y="221"/>
                        </a:lnTo>
                        <a:lnTo>
                          <a:pt x="776" y="221"/>
                        </a:lnTo>
                        <a:lnTo>
                          <a:pt x="779" y="219"/>
                        </a:lnTo>
                        <a:lnTo>
                          <a:pt x="781" y="219"/>
                        </a:lnTo>
                        <a:lnTo>
                          <a:pt x="784" y="219"/>
                        </a:lnTo>
                        <a:lnTo>
                          <a:pt x="786" y="219"/>
                        </a:lnTo>
                        <a:lnTo>
                          <a:pt x="789" y="217"/>
                        </a:lnTo>
                        <a:lnTo>
                          <a:pt x="791" y="217"/>
                        </a:lnTo>
                        <a:lnTo>
                          <a:pt x="792" y="216"/>
                        </a:lnTo>
                        <a:lnTo>
                          <a:pt x="795" y="216"/>
                        </a:lnTo>
                        <a:lnTo>
                          <a:pt x="797" y="214"/>
                        </a:lnTo>
                        <a:lnTo>
                          <a:pt x="798" y="213"/>
                        </a:lnTo>
                        <a:lnTo>
                          <a:pt x="800" y="211"/>
                        </a:lnTo>
                        <a:lnTo>
                          <a:pt x="802" y="210"/>
                        </a:lnTo>
                        <a:lnTo>
                          <a:pt x="802" y="208"/>
                        </a:lnTo>
                        <a:lnTo>
                          <a:pt x="802" y="206"/>
                        </a:lnTo>
                        <a:lnTo>
                          <a:pt x="802" y="205"/>
                        </a:lnTo>
                        <a:lnTo>
                          <a:pt x="803" y="203"/>
                        </a:lnTo>
                        <a:lnTo>
                          <a:pt x="805" y="202"/>
                        </a:lnTo>
                        <a:lnTo>
                          <a:pt x="806" y="202"/>
                        </a:lnTo>
                        <a:lnTo>
                          <a:pt x="810" y="202"/>
                        </a:lnTo>
                        <a:lnTo>
                          <a:pt x="811" y="202"/>
                        </a:lnTo>
                        <a:lnTo>
                          <a:pt x="814" y="202"/>
                        </a:lnTo>
                        <a:lnTo>
                          <a:pt x="816" y="200"/>
                        </a:lnTo>
                        <a:lnTo>
                          <a:pt x="819" y="198"/>
                        </a:lnTo>
                        <a:lnTo>
                          <a:pt x="821" y="197"/>
                        </a:lnTo>
                        <a:lnTo>
                          <a:pt x="822" y="195"/>
                        </a:lnTo>
                        <a:lnTo>
                          <a:pt x="824" y="194"/>
                        </a:lnTo>
                        <a:lnTo>
                          <a:pt x="825" y="192"/>
                        </a:lnTo>
                        <a:lnTo>
                          <a:pt x="824" y="192"/>
                        </a:lnTo>
                        <a:lnTo>
                          <a:pt x="824" y="191"/>
                        </a:lnTo>
                        <a:lnTo>
                          <a:pt x="825" y="189"/>
                        </a:lnTo>
                        <a:lnTo>
                          <a:pt x="824" y="187"/>
                        </a:lnTo>
                        <a:lnTo>
                          <a:pt x="822" y="186"/>
                        </a:lnTo>
                        <a:lnTo>
                          <a:pt x="821" y="183"/>
                        </a:lnTo>
                        <a:lnTo>
                          <a:pt x="821" y="181"/>
                        </a:lnTo>
                        <a:lnTo>
                          <a:pt x="819" y="179"/>
                        </a:lnTo>
                        <a:lnTo>
                          <a:pt x="817" y="176"/>
                        </a:lnTo>
                        <a:lnTo>
                          <a:pt x="816" y="175"/>
                        </a:lnTo>
                        <a:lnTo>
                          <a:pt x="816" y="173"/>
                        </a:lnTo>
                        <a:lnTo>
                          <a:pt x="814" y="172"/>
                        </a:lnTo>
                        <a:lnTo>
                          <a:pt x="811" y="170"/>
                        </a:lnTo>
                        <a:lnTo>
                          <a:pt x="810" y="168"/>
                        </a:lnTo>
                        <a:lnTo>
                          <a:pt x="808" y="167"/>
                        </a:lnTo>
                        <a:lnTo>
                          <a:pt x="806" y="165"/>
                        </a:lnTo>
                        <a:lnTo>
                          <a:pt x="805" y="162"/>
                        </a:lnTo>
                        <a:lnTo>
                          <a:pt x="803" y="160"/>
                        </a:lnTo>
                        <a:lnTo>
                          <a:pt x="803" y="159"/>
                        </a:lnTo>
                        <a:lnTo>
                          <a:pt x="803" y="156"/>
                        </a:lnTo>
                        <a:lnTo>
                          <a:pt x="803" y="154"/>
                        </a:lnTo>
                        <a:lnTo>
                          <a:pt x="805" y="153"/>
                        </a:lnTo>
                        <a:lnTo>
                          <a:pt x="806" y="151"/>
                        </a:lnTo>
                        <a:lnTo>
                          <a:pt x="810" y="149"/>
                        </a:lnTo>
                        <a:lnTo>
                          <a:pt x="813" y="149"/>
                        </a:lnTo>
                        <a:lnTo>
                          <a:pt x="814" y="148"/>
                        </a:lnTo>
                        <a:lnTo>
                          <a:pt x="816" y="146"/>
                        </a:lnTo>
                        <a:lnTo>
                          <a:pt x="817" y="146"/>
                        </a:lnTo>
                        <a:lnTo>
                          <a:pt x="817" y="145"/>
                        </a:lnTo>
                        <a:lnTo>
                          <a:pt x="821" y="143"/>
                        </a:lnTo>
                        <a:lnTo>
                          <a:pt x="822" y="143"/>
                        </a:lnTo>
                        <a:lnTo>
                          <a:pt x="824" y="143"/>
                        </a:lnTo>
                        <a:lnTo>
                          <a:pt x="827" y="141"/>
                        </a:lnTo>
                        <a:lnTo>
                          <a:pt x="829" y="141"/>
                        </a:lnTo>
                        <a:lnTo>
                          <a:pt x="832" y="141"/>
                        </a:lnTo>
                        <a:lnTo>
                          <a:pt x="833" y="141"/>
                        </a:lnTo>
                        <a:lnTo>
                          <a:pt x="836" y="141"/>
                        </a:lnTo>
                        <a:lnTo>
                          <a:pt x="838" y="141"/>
                        </a:lnTo>
                        <a:lnTo>
                          <a:pt x="840" y="141"/>
                        </a:lnTo>
                        <a:lnTo>
                          <a:pt x="841" y="141"/>
                        </a:lnTo>
                        <a:lnTo>
                          <a:pt x="843" y="141"/>
                        </a:lnTo>
                        <a:lnTo>
                          <a:pt x="844" y="141"/>
                        </a:lnTo>
                        <a:lnTo>
                          <a:pt x="846" y="140"/>
                        </a:lnTo>
                        <a:lnTo>
                          <a:pt x="848" y="140"/>
                        </a:lnTo>
                        <a:lnTo>
                          <a:pt x="851" y="140"/>
                        </a:lnTo>
                        <a:lnTo>
                          <a:pt x="852" y="140"/>
                        </a:lnTo>
                        <a:lnTo>
                          <a:pt x="855" y="141"/>
                        </a:lnTo>
                        <a:lnTo>
                          <a:pt x="857" y="141"/>
                        </a:lnTo>
                        <a:lnTo>
                          <a:pt x="859" y="141"/>
                        </a:lnTo>
                        <a:lnTo>
                          <a:pt x="862" y="141"/>
                        </a:lnTo>
                        <a:lnTo>
                          <a:pt x="865" y="141"/>
                        </a:lnTo>
                        <a:lnTo>
                          <a:pt x="865" y="143"/>
                        </a:lnTo>
                        <a:lnTo>
                          <a:pt x="867" y="143"/>
                        </a:lnTo>
                        <a:lnTo>
                          <a:pt x="867" y="145"/>
                        </a:lnTo>
                        <a:lnTo>
                          <a:pt x="867" y="146"/>
                        </a:lnTo>
                        <a:lnTo>
                          <a:pt x="867" y="148"/>
                        </a:lnTo>
                        <a:lnTo>
                          <a:pt x="868" y="148"/>
                        </a:lnTo>
                        <a:lnTo>
                          <a:pt x="868" y="149"/>
                        </a:lnTo>
                        <a:lnTo>
                          <a:pt x="870" y="151"/>
                        </a:lnTo>
                        <a:lnTo>
                          <a:pt x="871" y="151"/>
                        </a:lnTo>
                        <a:lnTo>
                          <a:pt x="873" y="151"/>
                        </a:lnTo>
                        <a:lnTo>
                          <a:pt x="874" y="153"/>
                        </a:lnTo>
                        <a:lnTo>
                          <a:pt x="876" y="153"/>
                        </a:lnTo>
                        <a:lnTo>
                          <a:pt x="878" y="154"/>
                        </a:lnTo>
                        <a:lnTo>
                          <a:pt x="879" y="154"/>
                        </a:lnTo>
                        <a:lnTo>
                          <a:pt x="879" y="156"/>
                        </a:lnTo>
                        <a:lnTo>
                          <a:pt x="879" y="157"/>
                        </a:lnTo>
                        <a:lnTo>
                          <a:pt x="881" y="159"/>
                        </a:lnTo>
                        <a:lnTo>
                          <a:pt x="881" y="160"/>
                        </a:lnTo>
                        <a:lnTo>
                          <a:pt x="882" y="160"/>
                        </a:lnTo>
                        <a:lnTo>
                          <a:pt x="882" y="162"/>
                        </a:lnTo>
                        <a:lnTo>
                          <a:pt x="882" y="164"/>
                        </a:lnTo>
                        <a:lnTo>
                          <a:pt x="882" y="165"/>
                        </a:lnTo>
                        <a:lnTo>
                          <a:pt x="884" y="167"/>
                        </a:lnTo>
                        <a:lnTo>
                          <a:pt x="882" y="168"/>
                        </a:lnTo>
                        <a:lnTo>
                          <a:pt x="884" y="170"/>
                        </a:lnTo>
                        <a:lnTo>
                          <a:pt x="884" y="172"/>
                        </a:lnTo>
                        <a:lnTo>
                          <a:pt x="886" y="173"/>
                        </a:lnTo>
                        <a:lnTo>
                          <a:pt x="886" y="175"/>
                        </a:lnTo>
                        <a:lnTo>
                          <a:pt x="886" y="176"/>
                        </a:lnTo>
                        <a:lnTo>
                          <a:pt x="886" y="178"/>
                        </a:lnTo>
                        <a:lnTo>
                          <a:pt x="886" y="181"/>
                        </a:lnTo>
                        <a:lnTo>
                          <a:pt x="886" y="184"/>
                        </a:lnTo>
                        <a:lnTo>
                          <a:pt x="884" y="186"/>
                        </a:lnTo>
                        <a:lnTo>
                          <a:pt x="882" y="187"/>
                        </a:lnTo>
                        <a:lnTo>
                          <a:pt x="882" y="189"/>
                        </a:lnTo>
                        <a:lnTo>
                          <a:pt x="881" y="189"/>
                        </a:lnTo>
                        <a:lnTo>
                          <a:pt x="881" y="191"/>
                        </a:lnTo>
                        <a:lnTo>
                          <a:pt x="881" y="192"/>
                        </a:lnTo>
                        <a:lnTo>
                          <a:pt x="879" y="192"/>
                        </a:lnTo>
                        <a:lnTo>
                          <a:pt x="879" y="194"/>
                        </a:lnTo>
                        <a:lnTo>
                          <a:pt x="881" y="195"/>
                        </a:lnTo>
                        <a:lnTo>
                          <a:pt x="879" y="197"/>
                        </a:lnTo>
                        <a:lnTo>
                          <a:pt x="881" y="198"/>
                        </a:lnTo>
                        <a:lnTo>
                          <a:pt x="881" y="200"/>
                        </a:lnTo>
                        <a:lnTo>
                          <a:pt x="881" y="202"/>
                        </a:lnTo>
                        <a:lnTo>
                          <a:pt x="879" y="203"/>
                        </a:lnTo>
                        <a:lnTo>
                          <a:pt x="878" y="203"/>
                        </a:lnTo>
                        <a:lnTo>
                          <a:pt x="878" y="205"/>
                        </a:lnTo>
                        <a:lnTo>
                          <a:pt x="878" y="206"/>
                        </a:lnTo>
                        <a:lnTo>
                          <a:pt x="878" y="208"/>
                        </a:lnTo>
                        <a:lnTo>
                          <a:pt x="879" y="208"/>
                        </a:lnTo>
                        <a:lnTo>
                          <a:pt x="879" y="210"/>
                        </a:lnTo>
                        <a:lnTo>
                          <a:pt x="881" y="211"/>
                        </a:lnTo>
                        <a:lnTo>
                          <a:pt x="879" y="211"/>
                        </a:lnTo>
                        <a:lnTo>
                          <a:pt x="879" y="213"/>
                        </a:lnTo>
                        <a:lnTo>
                          <a:pt x="879" y="214"/>
                        </a:lnTo>
                        <a:lnTo>
                          <a:pt x="881" y="216"/>
                        </a:lnTo>
                        <a:lnTo>
                          <a:pt x="882" y="217"/>
                        </a:lnTo>
                        <a:lnTo>
                          <a:pt x="881" y="219"/>
                        </a:lnTo>
                        <a:lnTo>
                          <a:pt x="881" y="221"/>
                        </a:lnTo>
                        <a:lnTo>
                          <a:pt x="881" y="222"/>
                        </a:lnTo>
                        <a:lnTo>
                          <a:pt x="882" y="224"/>
                        </a:lnTo>
                        <a:lnTo>
                          <a:pt x="882" y="225"/>
                        </a:lnTo>
                        <a:lnTo>
                          <a:pt x="884" y="227"/>
                        </a:lnTo>
                        <a:lnTo>
                          <a:pt x="884" y="229"/>
                        </a:lnTo>
                        <a:lnTo>
                          <a:pt x="884" y="230"/>
                        </a:lnTo>
                        <a:lnTo>
                          <a:pt x="884" y="232"/>
                        </a:lnTo>
                        <a:lnTo>
                          <a:pt x="884" y="233"/>
                        </a:lnTo>
                        <a:lnTo>
                          <a:pt x="886" y="233"/>
                        </a:lnTo>
                        <a:lnTo>
                          <a:pt x="887" y="233"/>
                        </a:lnTo>
                        <a:lnTo>
                          <a:pt x="887" y="235"/>
                        </a:lnTo>
                        <a:lnTo>
                          <a:pt x="887" y="236"/>
                        </a:lnTo>
                        <a:lnTo>
                          <a:pt x="889" y="238"/>
                        </a:lnTo>
                        <a:lnTo>
                          <a:pt x="889" y="240"/>
                        </a:lnTo>
                        <a:lnTo>
                          <a:pt x="890" y="240"/>
                        </a:lnTo>
                        <a:lnTo>
                          <a:pt x="892" y="240"/>
                        </a:lnTo>
                        <a:lnTo>
                          <a:pt x="892" y="241"/>
                        </a:lnTo>
                        <a:lnTo>
                          <a:pt x="893" y="241"/>
                        </a:lnTo>
                        <a:lnTo>
                          <a:pt x="895" y="241"/>
                        </a:lnTo>
                        <a:lnTo>
                          <a:pt x="895" y="243"/>
                        </a:lnTo>
                        <a:lnTo>
                          <a:pt x="895" y="246"/>
                        </a:lnTo>
                        <a:lnTo>
                          <a:pt x="895" y="248"/>
                        </a:lnTo>
                        <a:lnTo>
                          <a:pt x="895" y="249"/>
                        </a:lnTo>
                        <a:lnTo>
                          <a:pt x="893" y="251"/>
                        </a:lnTo>
                        <a:lnTo>
                          <a:pt x="893" y="252"/>
                        </a:lnTo>
                        <a:lnTo>
                          <a:pt x="893" y="255"/>
                        </a:lnTo>
                        <a:lnTo>
                          <a:pt x="893" y="257"/>
                        </a:lnTo>
                        <a:lnTo>
                          <a:pt x="893" y="260"/>
                        </a:lnTo>
                        <a:lnTo>
                          <a:pt x="893" y="262"/>
                        </a:lnTo>
                        <a:lnTo>
                          <a:pt x="893" y="265"/>
                        </a:lnTo>
                        <a:lnTo>
                          <a:pt x="893" y="268"/>
                        </a:lnTo>
                        <a:lnTo>
                          <a:pt x="893" y="270"/>
                        </a:lnTo>
                        <a:lnTo>
                          <a:pt x="893" y="273"/>
                        </a:lnTo>
                        <a:lnTo>
                          <a:pt x="895" y="274"/>
                        </a:lnTo>
                        <a:lnTo>
                          <a:pt x="895" y="276"/>
                        </a:lnTo>
                        <a:lnTo>
                          <a:pt x="897" y="278"/>
                        </a:lnTo>
                        <a:lnTo>
                          <a:pt x="898" y="279"/>
                        </a:lnTo>
                        <a:lnTo>
                          <a:pt x="901" y="282"/>
                        </a:lnTo>
                        <a:lnTo>
                          <a:pt x="903" y="284"/>
                        </a:lnTo>
                        <a:lnTo>
                          <a:pt x="905" y="286"/>
                        </a:lnTo>
                        <a:lnTo>
                          <a:pt x="909" y="286"/>
                        </a:lnTo>
                        <a:lnTo>
                          <a:pt x="912" y="286"/>
                        </a:lnTo>
                        <a:lnTo>
                          <a:pt x="914" y="286"/>
                        </a:lnTo>
                        <a:lnTo>
                          <a:pt x="916" y="286"/>
                        </a:lnTo>
                        <a:lnTo>
                          <a:pt x="919" y="284"/>
                        </a:lnTo>
                        <a:lnTo>
                          <a:pt x="922" y="284"/>
                        </a:lnTo>
                        <a:lnTo>
                          <a:pt x="925" y="284"/>
                        </a:lnTo>
                        <a:lnTo>
                          <a:pt x="928" y="284"/>
                        </a:lnTo>
                        <a:lnTo>
                          <a:pt x="930" y="284"/>
                        </a:lnTo>
                        <a:lnTo>
                          <a:pt x="932" y="282"/>
                        </a:lnTo>
                        <a:lnTo>
                          <a:pt x="935" y="282"/>
                        </a:lnTo>
                        <a:lnTo>
                          <a:pt x="936" y="284"/>
                        </a:lnTo>
                        <a:lnTo>
                          <a:pt x="939" y="284"/>
                        </a:lnTo>
                        <a:lnTo>
                          <a:pt x="943" y="286"/>
                        </a:lnTo>
                        <a:lnTo>
                          <a:pt x="944" y="287"/>
                        </a:lnTo>
                        <a:lnTo>
                          <a:pt x="944" y="289"/>
                        </a:lnTo>
                        <a:lnTo>
                          <a:pt x="944" y="292"/>
                        </a:lnTo>
                        <a:lnTo>
                          <a:pt x="944" y="293"/>
                        </a:lnTo>
                        <a:lnTo>
                          <a:pt x="944" y="295"/>
                        </a:lnTo>
                        <a:lnTo>
                          <a:pt x="944" y="298"/>
                        </a:lnTo>
                        <a:lnTo>
                          <a:pt x="946" y="300"/>
                        </a:lnTo>
                        <a:lnTo>
                          <a:pt x="946" y="305"/>
                        </a:lnTo>
                        <a:lnTo>
                          <a:pt x="944" y="306"/>
                        </a:lnTo>
                        <a:lnTo>
                          <a:pt x="944" y="309"/>
                        </a:lnTo>
                        <a:lnTo>
                          <a:pt x="944" y="311"/>
                        </a:lnTo>
                        <a:lnTo>
                          <a:pt x="946" y="313"/>
                        </a:lnTo>
                        <a:lnTo>
                          <a:pt x="946" y="316"/>
                        </a:lnTo>
                        <a:lnTo>
                          <a:pt x="944" y="319"/>
                        </a:lnTo>
                        <a:lnTo>
                          <a:pt x="944" y="320"/>
                        </a:lnTo>
                        <a:lnTo>
                          <a:pt x="946" y="324"/>
                        </a:lnTo>
                        <a:lnTo>
                          <a:pt x="949" y="324"/>
                        </a:lnTo>
                        <a:lnTo>
                          <a:pt x="951" y="324"/>
                        </a:lnTo>
                        <a:lnTo>
                          <a:pt x="952" y="324"/>
                        </a:lnTo>
                        <a:lnTo>
                          <a:pt x="954" y="324"/>
                        </a:lnTo>
                        <a:lnTo>
                          <a:pt x="955" y="324"/>
                        </a:lnTo>
                        <a:lnTo>
                          <a:pt x="957" y="324"/>
                        </a:lnTo>
                        <a:lnTo>
                          <a:pt x="958" y="324"/>
                        </a:lnTo>
                        <a:lnTo>
                          <a:pt x="960" y="324"/>
                        </a:lnTo>
                        <a:lnTo>
                          <a:pt x="962" y="322"/>
                        </a:lnTo>
                        <a:lnTo>
                          <a:pt x="963" y="322"/>
                        </a:lnTo>
                        <a:lnTo>
                          <a:pt x="963" y="324"/>
                        </a:lnTo>
                        <a:lnTo>
                          <a:pt x="965" y="324"/>
                        </a:lnTo>
                        <a:lnTo>
                          <a:pt x="966" y="324"/>
                        </a:lnTo>
                        <a:lnTo>
                          <a:pt x="966" y="327"/>
                        </a:lnTo>
                        <a:lnTo>
                          <a:pt x="966" y="332"/>
                        </a:lnTo>
                        <a:lnTo>
                          <a:pt x="966" y="335"/>
                        </a:lnTo>
                        <a:lnTo>
                          <a:pt x="966" y="338"/>
                        </a:lnTo>
                        <a:lnTo>
                          <a:pt x="966" y="339"/>
                        </a:lnTo>
                        <a:lnTo>
                          <a:pt x="966" y="343"/>
                        </a:lnTo>
                        <a:lnTo>
                          <a:pt x="965" y="344"/>
                        </a:lnTo>
                        <a:lnTo>
                          <a:pt x="963" y="346"/>
                        </a:lnTo>
                        <a:lnTo>
                          <a:pt x="962" y="347"/>
                        </a:lnTo>
                        <a:lnTo>
                          <a:pt x="958" y="347"/>
                        </a:lnTo>
                        <a:lnTo>
                          <a:pt x="957" y="349"/>
                        </a:lnTo>
                        <a:lnTo>
                          <a:pt x="955" y="349"/>
                        </a:lnTo>
                        <a:lnTo>
                          <a:pt x="955" y="352"/>
                        </a:lnTo>
                        <a:lnTo>
                          <a:pt x="955" y="355"/>
                        </a:lnTo>
                        <a:lnTo>
                          <a:pt x="955" y="358"/>
                        </a:lnTo>
                        <a:lnTo>
                          <a:pt x="954" y="360"/>
                        </a:lnTo>
                        <a:lnTo>
                          <a:pt x="954" y="362"/>
                        </a:lnTo>
                        <a:lnTo>
                          <a:pt x="952" y="365"/>
                        </a:lnTo>
                        <a:lnTo>
                          <a:pt x="952" y="366"/>
                        </a:lnTo>
                        <a:lnTo>
                          <a:pt x="951" y="368"/>
                        </a:lnTo>
                        <a:lnTo>
                          <a:pt x="951" y="370"/>
                        </a:lnTo>
                        <a:lnTo>
                          <a:pt x="952" y="371"/>
                        </a:lnTo>
                        <a:lnTo>
                          <a:pt x="955" y="374"/>
                        </a:lnTo>
                        <a:lnTo>
                          <a:pt x="958" y="377"/>
                        </a:lnTo>
                        <a:lnTo>
                          <a:pt x="960" y="379"/>
                        </a:lnTo>
                        <a:lnTo>
                          <a:pt x="962" y="382"/>
                        </a:lnTo>
                        <a:lnTo>
                          <a:pt x="965" y="382"/>
                        </a:lnTo>
                        <a:lnTo>
                          <a:pt x="965" y="384"/>
                        </a:lnTo>
                        <a:lnTo>
                          <a:pt x="963" y="385"/>
                        </a:lnTo>
                        <a:lnTo>
                          <a:pt x="963" y="387"/>
                        </a:lnTo>
                        <a:lnTo>
                          <a:pt x="963" y="389"/>
                        </a:lnTo>
                        <a:lnTo>
                          <a:pt x="963" y="390"/>
                        </a:lnTo>
                        <a:lnTo>
                          <a:pt x="963" y="392"/>
                        </a:lnTo>
                        <a:lnTo>
                          <a:pt x="963" y="393"/>
                        </a:lnTo>
                        <a:lnTo>
                          <a:pt x="963" y="395"/>
                        </a:lnTo>
                        <a:lnTo>
                          <a:pt x="965" y="395"/>
                        </a:lnTo>
                        <a:lnTo>
                          <a:pt x="965" y="396"/>
                        </a:lnTo>
                        <a:lnTo>
                          <a:pt x="966" y="396"/>
                        </a:lnTo>
                        <a:lnTo>
                          <a:pt x="966" y="398"/>
                        </a:lnTo>
                        <a:lnTo>
                          <a:pt x="968" y="398"/>
                        </a:lnTo>
                        <a:lnTo>
                          <a:pt x="970" y="398"/>
                        </a:lnTo>
                        <a:lnTo>
                          <a:pt x="971" y="398"/>
                        </a:lnTo>
                        <a:lnTo>
                          <a:pt x="973" y="400"/>
                        </a:lnTo>
                        <a:lnTo>
                          <a:pt x="974" y="400"/>
                        </a:lnTo>
                        <a:lnTo>
                          <a:pt x="976" y="401"/>
                        </a:lnTo>
                        <a:lnTo>
                          <a:pt x="977" y="403"/>
                        </a:lnTo>
                        <a:lnTo>
                          <a:pt x="979" y="408"/>
                        </a:lnTo>
                        <a:lnTo>
                          <a:pt x="979" y="411"/>
                        </a:lnTo>
                        <a:lnTo>
                          <a:pt x="981" y="415"/>
                        </a:lnTo>
                        <a:lnTo>
                          <a:pt x="981" y="419"/>
                        </a:lnTo>
                        <a:lnTo>
                          <a:pt x="981" y="420"/>
                        </a:lnTo>
                        <a:lnTo>
                          <a:pt x="981" y="423"/>
                        </a:lnTo>
                        <a:lnTo>
                          <a:pt x="981" y="425"/>
                        </a:lnTo>
                        <a:lnTo>
                          <a:pt x="981" y="428"/>
                        </a:lnTo>
                        <a:lnTo>
                          <a:pt x="979" y="430"/>
                        </a:lnTo>
                        <a:lnTo>
                          <a:pt x="979" y="433"/>
                        </a:lnTo>
                        <a:lnTo>
                          <a:pt x="979" y="434"/>
                        </a:lnTo>
                        <a:lnTo>
                          <a:pt x="979" y="438"/>
                        </a:lnTo>
                        <a:lnTo>
                          <a:pt x="981" y="438"/>
                        </a:lnTo>
                        <a:lnTo>
                          <a:pt x="981" y="439"/>
                        </a:lnTo>
                        <a:lnTo>
                          <a:pt x="984" y="441"/>
                        </a:lnTo>
                        <a:lnTo>
                          <a:pt x="985" y="441"/>
                        </a:lnTo>
                        <a:lnTo>
                          <a:pt x="990" y="441"/>
                        </a:lnTo>
                        <a:lnTo>
                          <a:pt x="993" y="442"/>
                        </a:lnTo>
                        <a:lnTo>
                          <a:pt x="996" y="442"/>
                        </a:lnTo>
                        <a:lnTo>
                          <a:pt x="1000" y="444"/>
                        </a:lnTo>
                        <a:lnTo>
                          <a:pt x="1001" y="447"/>
                        </a:lnTo>
                        <a:lnTo>
                          <a:pt x="1001" y="449"/>
                        </a:lnTo>
                        <a:lnTo>
                          <a:pt x="1001" y="452"/>
                        </a:lnTo>
                        <a:lnTo>
                          <a:pt x="1003" y="452"/>
                        </a:lnTo>
                        <a:lnTo>
                          <a:pt x="1004" y="453"/>
                        </a:lnTo>
                        <a:lnTo>
                          <a:pt x="1004" y="455"/>
                        </a:lnTo>
                        <a:lnTo>
                          <a:pt x="1006" y="457"/>
                        </a:lnTo>
                        <a:lnTo>
                          <a:pt x="1008" y="458"/>
                        </a:lnTo>
                        <a:lnTo>
                          <a:pt x="1009" y="458"/>
                        </a:lnTo>
                        <a:lnTo>
                          <a:pt x="1011" y="458"/>
                        </a:lnTo>
                        <a:lnTo>
                          <a:pt x="1012" y="458"/>
                        </a:lnTo>
                        <a:lnTo>
                          <a:pt x="1014" y="460"/>
                        </a:lnTo>
                        <a:lnTo>
                          <a:pt x="1014" y="461"/>
                        </a:lnTo>
                        <a:lnTo>
                          <a:pt x="1015" y="463"/>
                        </a:lnTo>
                        <a:lnTo>
                          <a:pt x="1017" y="465"/>
                        </a:lnTo>
                        <a:lnTo>
                          <a:pt x="1017" y="466"/>
                        </a:lnTo>
                        <a:lnTo>
                          <a:pt x="1019" y="468"/>
                        </a:lnTo>
                        <a:lnTo>
                          <a:pt x="1020" y="469"/>
                        </a:lnTo>
                        <a:lnTo>
                          <a:pt x="1022" y="471"/>
                        </a:lnTo>
                        <a:lnTo>
                          <a:pt x="1022" y="472"/>
                        </a:lnTo>
                        <a:lnTo>
                          <a:pt x="1023" y="472"/>
                        </a:lnTo>
                        <a:lnTo>
                          <a:pt x="1022" y="474"/>
                        </a:lnTo>
                        <a:lnTo>
                          <a:pt x="1020" y="474"/>
                        </a:lnTo>
                        <a:lnTo>
                          <a:pt x="1020" y="472"/>
                        </a:lnTo>
                        <a:lnTo>
                          <a:pt x="1019" y="472"/>
                        </a:lnTo>
                        <a:lnTo>
                          <a:pt x="1017" y="472"/>
                        </a:lnTo>
                        <a:lnTo>
                          <a:pt x="1015" y="472"/>
                        </a:lnTo>
                        <a:lnTo>
                          <a:pt x="1014" y="472"/>
                        </a:lnTo>
                        <a:lnTo>
                          <a:pt x="1012" y="472"/>
                        </a:lnTo>
                        <a:lnTo>
                          <a:pt x="1012" y="474"/>
                        </a:lnTo>
                        <a:lnTo>
                          <a:pt x="1012" y="476"/>
                        </a:lnTo>
                        <a:lnTo>
                          <a:pt x="1012" y="477"/>
                        </a:lnTo>
                        <a:lnTo>
                          <a:pt x="1012" y="479"/>
                        </a:lnTo>
                        <a:lnTo>
                          <a:pt x="1014" y="480"/>
                        </a:lnTo>
                        <a:lnTo>
                          <a:pt x="1014" y="482"/>
                        </a:lnTo>
                        <a:lnTo>
                          <a:pt x="1015" y="484"/>
                        </a:lnTo>
                        <a:lnTo>
                          <a:pt x="1017" y="485"/>
                        </a:lnTo>
                        <a:lnTo>
                          <a:pt x="1017" y="487"/>
                        </a:lnTo>
                        <a:lnTo>
                          <a:pt x="1019" y="488"/>
                        </a:lnTo>
                        <a:lnTo>
                          <a:pt x="1020" y="490"/>
                        </a:lnTo>
                        <a:lnTo>
                          <a:pt x="1020" y="492"/>
                        </a:lnTo>
                        <a:lnTo>
                          <a:pt x="1020" y="493"/>
                        </a:lnTo>
                        <a:lnTo>
                          <a:pt x="1022" y="495"/>
                        </a:lnTo>
                        <a:lnTo>
                          <a:pt x="1020" y="496"/>
                        </a:lnTo>
                        <a:lnTo>
                          <a:pt x="1020" y="498"/>
                        </a:lnTo>
                        <a:lnTo>
                          <a:pt x="1020" y="499"/>
                        </a:lnTo>
                        <a:lnTo>
                          <a:pt x="1020" y="501"/>
                        </a:lnTo>
                        <a:lnTo>
                          <a:pt x="1020" y="503"/>
                        </a:lnTo>
                        <a:lnTo>
                          <a:pt x="1019" y="504"/>
                        </a:lnTo>
                        <a:lnTo>
                          <a:pt x="1019" y="506"/>
                        </a:lnTo>
                        <a:lnTo>
                          <a:pt x="1019" y="507"/>
                        </a:lnTo>
                        <a:lnTo>
                          <a:pt x="1019" y="509"/>
                        </a:lnTo>
                        <a:lnTo>
                          <a:pt x="1020" y="507"/>
                        </a:lnTo>
                        <a:lnTo>
                          <a:pt x="1022" y="507"/>
                        </a:lnTo>
                        <a:lnTo>
                          <a:pt x="1022" y="509"/>
                        </a:lnTo>
                        <a:lnTo>
                          <a:pt x="1023" y="511"/>
                        </a:lnTo>
                        <a:lnTo>
                          <a:pt x="1025" y="511"/>
                        </a:lnTo>
                        <a:lnTo>
                          <a:pt x="1025" y="512"/>
                        </a:lnTo>
                        <a:lnTo>
                          <a:pt x="1027" y="512"/>
                        </a:lnTo>
                        <a:lnTo>
                          <a:pt x="1027" y="514"/>
                        </a:lnTo>
                        <a:lnTo>
                          <a:pt x="1028" y="514"/>
                        </a:lnTo>
                        <a:lnTo>
                          <a:pt x="1028" y="515"/>
                        </a:lnTo>
                        <a:lnTo>
                          <a:pt x="1030" y="515"/>
                        </a:lnTo>
                        <a:lnTo>
                          <a:pt x="1030" y="517"/>
                        </a:lnTo>
                        <a:lnTo>
                          <a:pt x="1030" y="518"/>
                        </a:lnTo>
                        <a:lnTo>
                          <a:pt x="1030" y="520"/>
                        </a:lnTo>
                        <a:lnTo>
                          <a:pt x="1028" y="522"/>
                        </a:lnTo>
                        <a:lnTo>
                          <a:pt x="1028" y="523"/>
                        </a:lnTo>
                        <a:lnTo>
                          <a:pt x="1028" y="525"/>
                        </a:lnTo>
                        <a:lnTo>
                          <a:pt x="1027" y="525"/>
                        </a:lnTo>
                        <a:lnTo>
                          <a:pt x="1027" y="526"/>
                        </a:lnTo>
                        <a:lnTo>
                          <a:pt x="1025" y="528"/>
                        </a:lnTo>
                        <a:lnTo>
                          <a:pt x="1025" y="530"/>
                        </a:lnTo>
                        <a:lnTo>
                          <a:pt x="1023" y="530"/>
                        </a:lnTo>
                        <a:lnTo>
                          <a:pt x="1023" y="531"/>
                        </a:lnTo>
                        <a:lnTo>
                          <a:pt x="1023" y="533"/>
                        </a:lnTo>
                        <a:lnTo>
                          <a:pt x="1023" y="534"/>
                        </a:lnTo>
                        <a:lnTo>
                          <a:pt x="1022" y="534"/>
                        </a:lnTo>
                        <a:lnTo>
                          <a:pt x="1022" y="536"/>
                        </a:lnTo>
                        <a:lnTo>
                          <a:pt x="1022" y="537"/>
                        </a:lnTo>
                        <a:lnTo>
                          <a:pt x="1020" y="537"/>
                        </a:lnTo>
                        <a:lnTo>
                          <a:pt x="1020" y="539"/>
                        </a:lnTo>
                        <a:lnTo>
                          <a:pt x="1020" y="541"/>
                        </a:lnTo>
                        <a:lnTo>
                          <a:pt x="1019" y="542"/>
                        </a:lnTo>
                        <a:lnTo>
                          <a:pt x="1017" y="542"/>
                        </a:lnTo>
                        <a:lnTo>
                          <a:pt x="1017" y="544"/>
                        </a:lnTo>
                        <a:lnTo>
                          <a:pt x="1017" y="545"/>
                        </a:lnTo>
                        <a:lnTo>
                          <a:pt x="1017" y="547"/>
                        </a:lnTo>
                        <a:lnTo>
                          <a:pt x="1015" y="547"/>
                        </a:lnTo>
                        <a:lnTo>
                          <a:pt x="1015" y="549"/>
                        </a:lnTo>
                        <a:lnTo>
                          <a:pt x="1014" y="550"/>
                        </a:lnTo>
                        <a:lnTo>
                          <a:pt x="1014" y="552"/>
                        </a:lnTo>
                        <a:lnTo>
                          <a:pt x="1014" y="550"/>
                        </a:lnTo>
                        <a:lnTo>
                          <a:pt x="1014" y="552"/>
                        </a:lnTo>
                        <a:lnTo>
                          <a:pt x="1012" y="552"/>
                        </a:lnTo>
                        <a:lnTo>
                          <a:pt x="1012" y="553"/>
                        </a:lnTo>
                        <a:lnTo>
                          <a:pt x="1011" y="553"/>
                        </a:lnTo>
                        <a:lnTo>
                          <a:pt x="1011" y="555"/>
                        </a:lnTo>
                        <a:lnTo>
                          <a:pt x="1009" y="555"/>
                        </a:lnTo>
                        <a:lnTo>
                          <a:pt x="1008" y="556"/>
                        </a:lnTo>
                        <a:lnTo>
                          <a:pt x="1006" y="558"/>
                        </a:lnTo>
                        <a:lnTo>
                          <a:pt x="1006" y="560"/>
                        </a:lnTo>
                        <a:lnTo>
                          <a:pt x="1004" y="560"/>
                        </a:lnTo>
                        <a:lnTo>
                          <a:pt x="1004" y="561"/>
                        </a:lnTo>
                        <a:lnTo>
                          <a:pt x="1004" y="563"/>
                        </a:lnTo>
                        <a:lnTo>
                          <a:pt x="1004" y="564"/>
                        </a:lnTo>
                        <a:lnTo>
                          <a:pt x="1003" y="564"/>
                        </a:lnTo>
                        <a:lnTo>
                          <a:pt x="1001" y="564"/>
                        </a:lnTo>
                        <a:lnTo>
                          <a:pt x="1000" y="564"/>
                        </a:lnTo>
                        <a:lnTo>
                          <a:pt x="998" y="566"/>
                        </a:lnTo>
                        <a:lnTo>
                          <a:pt x="996" y="566"/>
                        </a:lnTo>
                        <a:lnTo>
                          <a:pt x="996" y="568"/>
                        </a:lnTo>
                        <a:lnTo>
                          <a:pt x="995" y="568"/>
                        </a:lnTo>
                        <a:lnTo>
                          <a:pt x="993" y="569"/>
                        </a:lnTo>
                        <a:lnTo>
                          <a:pt x="992" y="569"/>
                        </a:lnTo>
                        <a:lnTo>
                          <a:pt x="990" y="569"/>
                        </a:lnTo>
                        <a:lnTo>
                          <a:pt x="989" y="571"/>
                        </a:lnTo>
                        <a:lnTo>
                          <a:pt x="987" y="571"/>
                        </a:lnTo>
                        <a:lnTo>
                          <a:pt x="985" y="569"/>
                        </a:lnTo>
                        <a:lnTo>
                          <a:pt x="984" y="571"/>
                        </a:lnTo>
                        <a:lnTo>
                          <a:pt x="982" y="572"/>
                        </a:lnTo>
                        <a:lnTo>
                          <a:pt x="981" y="574"/>
                        </a:lnTo>
                        <a:lnTo>
                          <a:pt x="979" y="574"/>
                        </a:lnTo>
                        <a:lnTo>
                          <a:pt x="976" y="574"/>
                        </a:lnTo>
                        <a:lnTo>
                          <a:pt x="974" y="574"/>
                        </a:lnTo>
                        <a:lnTo>
                          <a:pt x="971" y="572"/>
                        </a:lnTo>
                        <a:lnTo>
                          <a:pt x="968" y="572"/>
                        </a:lnTo>
                        <a:lnTo>
                          <a:pt x="966" y="571"/>
                        </a:lnTo>
                        <a:lnTo>
                          <a:pt x="963" y="571"/>
                        </a:lnTo>
                        <a:lnTo>
                          <a:pt x="960" y="569"/>
                        </a:lnTo>
                        <a:lnTo>
                          <a:pt x="958" y="569"/>
                        </a:lnTo>
                        <a:lnTo>
                          <a:pt x="957" y="568"/>
                        </a:lnTo>
                        <a:lnTo>
                          <a:pt x="954" y="568"/>
                        </a:lnTo>
                        <a:lnTo>
                          <a:pt x="952" y="566"/>
                        </a:lnTo>
                        <a:lnTo>
                          <a:pt x="949" y="566"/>
                        </a:lnTo>
                        <a:lnTo>
                          <a:pt x="947" y="564"/>
                        </a:lnTo>
                        <a:lnTo>
                          <a:pt x="946" y="564"/>
                        </a:lnTo>
                        <a:lnTo>
                          <a:pt x="943" y="563"/>
                        </a:lnTo>
                        <a:lnTo>
                          <a:pt x="939" y="563"/>
                        </a:lnTo>
                        <a:lnTo>
                          <a:pt x="938" y="563"/>
                        </a:lnTo>
                        <a:lnTo>
                          <a:pt x="935" y="563"/>
                        </a:lnTo>
                        <a:lnTo>
                          <a:pt x="933" y="564"/>
                        </a:lnTo>
                        <a:lnTo>
                          <a:pt x="932" y="564"/>
                        </a:lnTo>
                        <a:lnTo>
                          <a:pt x="928" y="564"/>
                        </a:lnTo>
                        <a:lnTo>
                          <a:pt x="927" y="566"/>
                        </a:lnTo>
                        <a:lnTo>
                          <a:pt x="924" y="568"/>
                        </a:lnTo>
                        <a:lnTo>
                          <a:pt x="920" y="569"/>
                        </a:lnTo>
                        <a:lnTo>
                          <a:pt x="919" y="569"/>
                        </a:lnTo>
                        <a:lnTo>
                          <a:pt x="916" y="571"/>
                        </a:lnTo>
                        <a:lnTo>
                          <a:pt x="914" y="572"/>
                        </a:lnTo>
                        <a:lnTo>
                          <a:pt x="912" y="574"/>
                        </a:lnTo>
                        <a:lnTo>
                          <a:pt x="909" y="577"/>
                        </a:lnTo>
                        <a:lnTo>
                          <a:pt x="906" y="579"/>
                        </a:lnTo>
                        <a:lnTo>
                          <a:pt x="903" y="580"/>
                        </a:lnTo>
                        <a:lnTo>
                          <a:pt x="900" y="583"/>
                        </a:lnTo>
                        <a:lnTo>
                          <a:pt x="898" y="587"/>
                        </a:lnTo>
                        <a:lnTo>
                          <a:pt x="895" y="588"/>
                        </a:lnTo>
                        <a:lnTo>
                          <a:pt x="893" y="591"/>
                        </a:lnTo>
                        <a:lnTo>
                          <a:pt x="892" y="594"/>
                        </a:lnTo>
                        <a:lnTo>
                          <a:pt x="889" y="599"/>
                        </a:lnTo>
                        <a:lnTo>
                          <a:pt x="887" y="601"/>
                        </a:lnTo>
                        <a:lnTo>
                          <a:pt x="884" y="602"/>
                        </a:lnTo>
                        <a:lnTo>
                          <a:pt x="882" y="606"/>
                        </a:lnTo>
                        <a:lnTo>
                          <a:pt x="881" y="610"/>
                        </a:lnTo>
                        <a:lnTo>
                          <a:pt x="881" y="612"/>
                        </a:lnTo>
                        <a:lnTo>
                          <a:pt x="881" y="613"/>
                        </a:lnTo>
                        <a:lnTo>
                          <a:pt x="879" y="613"/>
                        </a:lnTo>
                        <a:lnTo>
                          <a:pt x="879" y="615"/>
                        </a:lnTo>
                        <a:lnTo>
                          <a:pt x="879" y="617"/>
                        </a:lnTo>
                        <a:lnTo>
                          <a:pt x="879" y="618"/>
                        </a:lnTo>
                        <a:lnTo>
                          <a:pt x="878" y="620"/>
                        </a:lnTo>
                        <a:lnTo>
                          <a:pt x="878" y="621"/>
                        </a:lnTo>
                        <a:lnTo>
                          <a:pt x="878" y="623"/>
                        </a:lnTo>
                        <a:lnTo>
                          <a:pt x="876" y="623"/>
                        </a:lnTo>
                        <a:lnTo>
                          <a:pt x="876" y="625"/>
                        </a:lnTo>
                        <a:lnTo>
                          <a:pt x="876" y="626"/>
                        </a:lnTo>
                        <a:lnTo>
                          <a:pt x="876" y="625"/>
                        </a:lnTo>
                        <a:lnTo>
                          <a:pt x="874" y="625"/>
                        </a:lnTo>
                        <a:lnTo>
                          <a:pt x="874" y="626"/>
                        </a:lnTo>
                        <a:lnTo>
                          <a:pt x="874" y="628"/>
                        </a:lnTo>
                        <a:lnTo>
                          <a:pt x="873" y="628"/>
                        </a:lnTo>
                        <a:lnTo>
                          <a:pt x="873" y="626"/>
                        </a:lnTo>
                        <a:lnTo>
                          <a:pt x="871" y="626"/>
                        </a:lnTo>
                        <a:lnTo>
                          <a:pt x="870" y="628"/>
                        </a:lnTo>
                        <a:lnTo>
                          <a:pt x="868" y="628"/>
                        </a:lnTo>
                        <a:lnTo>
                          <a:pt x="867" y="631"/>
                        </a:lnTo>
                        <a:lnTo>
                          <a:pt x="867" y="632"/>
                        </a:lnTo>
                        <a:lnTo>
                          <a:pt x="865" y="632"/>
                        </a:lnTo>
                        <a:lnTo>
                          <a:pt x="865" y="634"/>
                        </a:lnTo>
                        <a:lnTo>
                          <a:pt x="862" y="636"/>
                        </a:lnTo>
                        <a:lnTo>
                          <a:pt x="860" y="636"/>
                        </a:lnTo>
                        <a:lnTo>
                          <a:pt x="860" y="637"/>
                        </a:lnTo>
                        <a:lnTo>
                          <a:pt x="859" y="637"/>
                        </a:lnTo>
                        <a:lnTo>
                          <a:pt x="859" y="639"/>
                        </a:lnTo>
                        <a:lnTo>
                          <a:pt x="859" y="640"/>
                        </a:lnTo>
                        <a:lnTo>
                          <a:pt x="857" y="640"/>
                        </a:lnTo>
                        <a:lnTo>
                          <a:pt x="855" y="640"/>
                        </a:lnTo>
                        <a:lnTo>
                          <a:pt x="855" y="642"/>
                        </a:lnTo>
                        <a:lnTo>
                          <a:pt x="854" y="642"/>
                        </a:lnTo>
                        <a:lnTo>
                          <a:pt x="854" y="644"/>
                        </a:lnTo>
                        <a:lnTo>
                          <a:pt x="852" y="644"/>
                        </a:lnTo>
                        <a:lnTo>
                          <a:pt x="851" y="644"/>
                        </a:lnTo>
                        <a:lnTo>
                          <a:pt x="849" y="644"/>
                        </a:lnTo>
                        <a:lnTo>
                          <a:pt x="848" y="642"/>
                        </a:lnTo>
                        <a:lnTo>
                          <a:pt x="846" y="642"/>
                        </a:lnTo>
                        <a:lnTo>
                          <a:pt x="844" y="642"/>
                        </a:lnTo>
                        <a:lnTo>
                          <a:pt x="843" y="642"/>
                        </a:lnTo>
                        <a:lnTo>
                          <a:pt x="841" y="644"/>
                        </a:lnTo>
                        <a:lnTo>
                          <a:pt x="841" y="645"/>
                        </a:lnTo>
                        <a:lnTo>
                          <a:pt x="840" y="645"/>
                        </a:lnTo>
                        <a:lnTo>
                          <a:pt x="840" y="647"/>
                        </a:lnTo>
                        <a:lnTo>
                          <a:pt x="840" y="648"/>
                        </a:lnTo>
                        <a:lnTo>
                          <a:pt x="836" y="650"/>
                        </a:lnTo>
                        <a:lnTo>
                          <a:pt x="835" y="650"/>
                        </a:lnTo>
                        <a:lnTo>
                          <a:pt x="833" y="651"/>
                        </a:lnTo>
                        <a:lnTo>
                          <a:pt x="832" y="651"/>
                        </a:lnTo>
                        <a:lnTo>
                          <a:pt x="829" y="651"/>
                        </a:lnTo>
                        <a:lnTo>
                          <a:pt x="824" y="651"/>
                        </a:lnTo>
                        <a:lnTo>
                          <a:pt x="817" y="651"/>
                        </a:lnTo>
                        <a:lnTo>
                          <a:pt x="805" y="651"/>
                        </a:lnTo>
                        <a:lnTo>
                          <a:pt x="792" y="651"/>
                        </a:lnTo>
                        <a:lnTo>
                          <a:pt x="786" y="651"/>
                        </a:lnTo>
                        <a:lnTo>
                          <a:pt x="784" y="651"/>
                        </a:lnTo>
                        <a:lnTo>
                          <a:pt x="783" y="651"/>
                        </a:lnTo>
                        <a:lnTo>
                          <a:pt x="778" y="651"/>
                        </a:lnTo>
                        <a:lnTo>
                          <a:pt x="775" y="651"/>
                        </a:lnTo>
                        <a:lnTo>
                          <a:pt x="775" y="653"/>
                        </a:lnTo>
                        <a:lnTo>
                          <a:pt x="775" y="651"/>
                        </a:lnTo>
                        <a:lnTo>
                          <a:pt x="775" y="650"/>
                        </a:lnTo>
                        <a:lnTo>
                          <a:pt x="773" y="650"/>
                        </a:lnTo>
                        <a:lnTo>
                          <a:pt x="772" y="650"/>
                        </a:lnTo>
                        <a:lnTo>
                          <a:pt x="770" y="648"/>
                        </a:lnTo>
                        <a:lnTo>
                          <a:pt x="767" y="647"/>
                        </a:lnTo>
                        <a:lnTo>
                          <a:pt x="767" y="645"/>
                        </a:lnTo>
                        <a:lnTo>
                          <a:pt x="765" y="645"/>
                        </a:lnTo>
                        <a:lnTo>
                          <a:pt x="762" y="645"/>
                        </a:lnTo>
                        <a:lnTo>
                          <a:pt x="762" y="647"/>
                        </a:lnTo>
                        <a:lnTo>
                          <a:pt x="760" y="647"/>
                        </a:lnTo>
                        <a:lnTo>
                          <a:pt x="760" y="645"/>
                        </a:lnTo>
                        <a:lnTo>
                          <a:pt x="760" y="647"/>
                        </a:lnTo>
                        <a:lnTo>
                          <a:pt x="759" y="648"/>
                        </a:lnTo>
                        <a:lnTo>
                          <a:pt x="757" y="648"/>
                        </a:lnTo>
                        <a:lnTo>
                          <a:pt x="757" y="650"/>
                        </a:lnTo>
                        <a:lnTo>
                          <a:pt x="756" y="650"/>
                        </a:lnTo>
                        <a:lnTo>
                          <a:pt x="754" y="650"/>
                        </a:lnTo>
                        <a:lnTo>
                          <a:pt x="753" y="651"/>
                        </a:lnTo>
                        <a:lnTo>
                          <a:pt x="753" y="650"/>
                        </a:lnTo>
                        <a:lnTo>
                          <a:pt x="751" y="650"/>
                        </a:lnTo>
                        <a:lnTo>
                          <a:pt x="751" y="648"/>
                        </a:lnTo>
                        <a:lnTo>
                          <a:pt x="749" y="648"/>
                        </a:lnTo>
                        <a:lnTo>
                          <a:pt x="748" y="648"/>
                        </a:lnTo>
                        <a:lnTo>
                          <a:pt x="746" y="648"/>
                        </a:lnTo>
                        <a:lnTo>
                          <a:pt x="745" y="648"/>
                        </a:lnTo>
                        <a:lnTo>
                          <a:pt x="743" y="648"/>
                        </a:lnTo>
                        <a:lnTo>
                          <a:pt x="743" y="647"/>
                        </a:lnTo>
                        <a:lnTo>
                          <a:pt x="741" y="647"/>
                        </a:lnTo>
                        <a:lnTo>
                          <a:pt x="741" y="645"/>
                        </a:lnTo>
                        <a:lnTo>
                          <a:pt x="740" y="644"/>
                        </a:lnTo>
                        <a:lnTo>
                          <a:pt x="738" y="642"/>
                        </a:lnTo>
                        <a:lnTo>
                          <a:pt x="737" y="642"/>
                        </a:lnTo>
                        <a:lnTo>
                          <a:pt x="735" y="640"/>
                        </a:lnTo>
                        <a:lnTo>
                          <a:pt x="734" y="639"/>
                        </a:lnTo>
                        <a:lnTo>
                          <a:pt x="734" y="637"/>
                        </a:lnTo>
                        <a:lnTo>
                          <a:pt x="734" y="636"/>
                        </a:lnTo>
                        <a:lnTo>
                          <a:pt x="735" y="636"/>
                        </a:lnTo>
                        <a:lnTo>
                          <a:pt x="735" y="634"/>
                        </a:lnTo>
                        <a:lnTo>
                          <a:pt x="735" y="631"/>
                        </a:lnTo>
                        <a:lnTo>
                          <a:pt x="737" y="629"/>
                        </a:lnTo>
                        <a:lnTo>
                          <a:pt x="737" y="628"/>
                        </a:lnTo>
                        <a:lnTo>
                          <a:pt x="737" y="626"/>
                        </a:lnTo>
                        <a:lnTo>
                          <a:pt x="735" y="626"/>
                        </a:lnTo>
                        <a:lnTo>
                          <a:pt x="737" y="625"/>
                        </a:lnTo>
                        <a:lnTo>
                          <a:pt x="737" y="623"/>
                        </a:lnTo>
                        <a:lnTo>
                          <a:pt x="735" y="623"/>
                        </a:lnTo>
                        <a:lnTo>
                          <a:pt x="737" y="623"/>
                        </a:lnTo>
                        <a:lnTo>
                          <a:pt x="737" y="621"/>
                        </a:lnTo>
                        <a:lnTo>
                          <a:pt x="737" y="620"/>
                        </a:lnTo>
                        <a:lnTo>
                          <a:pt x="738" y="618"/>
                        </a:lnTo>
                        <a:lnTo>
                          <a:pt x="738" y="617"/>
                        </a:lnTo>
                        <a:lnTo>
                          <a:pt x="737" y="617"/>
                        </a:lnTo>
                        <a:lnTo>
                          <a:pt x="735" y="617"/>
                        </a:lnTo>
                        <a:lnTo>
                          <a:pt x="734" y="615"/>
                        </a:lnTo>
                        <a:lnTo>
                          <a:pt x="734" y="613"/>
                        </a:lnTo>
                        <a:lnTo>
                          <a:pt x="735" y="613"/>
                        </a:lnTo>
                        <a:lnTo>
                          <a:pt x="737" y="613"/>
                        </a:lnTo>
                        <a:lnTo>
                          <a:pt x="737" y="612"/>
                        </a:lnTo>
                        <a:lnTo>
                          <a:pt x="737" y="610"/>
                        </a:lnTo>
                        <a:lnTo>
                          <a:pt x="735" y="610"/>
                        </a:lnTo>
                        <a:lnTo>
                          <a:pt x="734" y="609"/>
                        </a:lnTo>
                        <a:lnTo>
                          <a:pt x="734" y="607"/>
                        </a:lnTo>
                        <a:lnTo>
                          <a:pt x="735" y="607"/>
                        </a:lnTo>
                        <a:lnTo>
                          <a:pt x="735" y="606"/>
                        </a:lnTo>
                        <a:lnTo>
                          <a:pt x="734" y="604"/>
                        </a:lnTo>
                        <a:lnTo>
                          <a:pt x="732" y="602"/>
                        </a:lnTo>
                        <a:lnTo>
                          <a:pt x="730" y="601"/>
                        </a:lnTo>
                        <a:lnTo>
                          <a:pt x="730" y="599"/>
                        </a:lnTo>
                        <a:lnTo>
                          <a:pt x="729" y="599"/>
                        </a:lnTo>
                        <a:lnTo>
                          <a:pt x="727" y="598"/>
                        </a:lnTo>
                        <a:lnTo>
                          <a:pt x="727" y="596"/>
                        </a:lnTo>
                        <a:lnTo>
                          <a:pt x="726" y="596"/>
                        </a:lnTo>
                        <a:lnTo>
                          <a:pt x="726" y="598"/>
                        </a:lnTo>
                        <a:lnTo>
                          <a:pt x="724" y="598"/>
                        </a:lnTo>
                        <a:lnTo>
                          <a:pt x="724" y="596"/>
                        </a:lnTo>
                        <a:lnTo>
                          <a:pt x="722" y="596"/>
                        </a:lnTo>
                        <a:lnTo>
                          <a:pt x="722" y="594"/>
                        </a:lnTo>
                        <a:lnTo>
                          <a:pt x="724" y="594"/>
                        </a:lnTo>
                        <a:lnTo>
                          <a:pt x="724" y="593"/>
                        </a:lnTo>
                        <a:lnTo>
                          <a:pt x="722" y="591"/>
                        </a:lnTo>
                        <a:lnTo>
                          <a:pt x="722" y="590"/>
                        </a:lnTo>
                        <a:lnTo>
                          <a:pt x="721" y="588"/>
                        </a:lnTo>
                        <a:lnTo>
                          <a:pt x="721" y="587"/>
                        </a:lnTo>
                        <a:lnTo>
                          <a:pt x="721" y="585"/>
                        </a:lnTo>
                        <a:lnTo>
                          <a:pt x="719" y="583"/>
                        </a:lnTo>
                        <a:lnTo>
                          <a:pt x="718" y="583"/>
                        </a:lnTo>
                        <a:lnTo>
                          <a:pt x="716" y="583"/>
                        </a:lnTo>
                        <a:lnTo>
                          <a:pt x="714" y="585"/>
                        </a:lnTo>
                        <a:lnTo>
                          <a:pt x="713" y="583"/>
                        </a:lnTo>
                        <a:lnTo>
                          <a:pt x="711" y="583"/>
                        </a:lnTo>
                        <a:lnTo>
                          <a:pt x="710" y="583"/>
                        </a:lnTo>
                        <a:lnTo>
                          <a:pt x="710" y="582"/>
                        </a:lnTo>
                        <a:lnTo>
                          <a:pt x="708" y="582"/>
                        </a:lnTo>
                        <a:lnTo>
                          <a:pt x="707" y="582"/>
                        </a:lnTo>
                        <a:lnTo>
                          <a:pt x="707" y="580"/>
                        </a:lnTo>
                        <a:lnTo>
                          <a:pt x="705" y="580"/>
                        </a:lnTo>
                        <a:lnTo>
                          <a:pt x="703" y="579"/>
                        </a:lnTo>
                        <a:lnTo>
                          <a:pt x="703" y="577"/>
                        </a:lnTo>
                        <a:lnTo>
                          <a:pt x="703" y="575"/>
                        </a:lnTo>
                        <a:lnTo>
                          <a:pt x="702" y="574"/>
                        </a:lnTo>
                        <a:lnTo>
                          <a:pt x="700" y="574"/>
                        </a:lnTo>
                        <a:lnTo>
                          <a:pt x="699" y="572"/>
                        </a:lnTo>
                        <a:lnTo>
                          <a:pt x="697" y="572"/>
                        </a:lnTo>
                        <a:lnTo>
                          <a:pt x="695" y="571"/>
                        </a:lnTo>
                        <a:lnTo>
                          <a:pt x="694" y="571"/>
                        </a:lnTo>
                        <a:lnTo>
                          <a:pt x="692" y="569"/>
                        </a:lnTo>
                        <a:lnTo>
                          <a:pt x="691" y="569"/>
                        </a:lnTo>
                        <a:lnTo>
                          <a:pt x="689" y="569"/>
                        </a:lnTo>
                        <a:lnTo>
                          <a:pt x="689" y="568"/>
                        </a:lnTo>
                        <a:lnTo>
                          <a:pt x="688" y="568"/>
                        </a:lnTo>
                        <a:lnTo>
                          <a:pt x="688" y="566"/>
                        </a:lnTo>
                        <a:lnTo>
                          <a:pt x="686" y="566"/>
                        </a:lnTo>
                        <a:lnTo>
                          <a:pt x="684" y="566"/>
                        </a:lnTo>
                        <a:lnTo>
                          <a:pt x="684" y="564"/>
                        </a:lnTo>
                        <a:lnTo>
                          <a:pt x="683" y="563"/>
                        </a:lnTo>
                        <a:lnTo>
                          <a:pt x="681" y="561"/>
                        </a:lnTo>
                        <a:lnTo>
                          <a:pt x="683" y="560"/>
                        </a:lnTo>
                        <a:lnTo>
                          <a:pt x="681" y="560"/>
                        </a:lnTo>
                        <a:lnTo>
                          <a:pt x="681" y="558"/>
                        </a:lnTo>
                        <a:lnTo>
                          <a:pt x="680" y="558"/>
                        </a:lnTo>
                        <a:lnTo>
                          <a:pt x="680" y="556"/>
                        </a:lnTo>
                        <a:lnTo>
                          <a:pt x="680" y="555"/>
                        </a:lnTo>
                        <a:lnTo>
                          <a:pt x="680" y="553"/>
                        </a:lnTo>
                        <a:lnTo>
                          <a:pt x="678" y="552"/>
                        </a:lnTo>
                        <a:lnTo>
                          <a:pt x="676" y="550"/>
                        </a:lnTo>
                        <a:lnTo>
                          <a:pt x="675" y="550"/>
                        </a:lnTo>
                        <a:lnTo>
                          <a:pt x="675" y="549"/>
                        </a:lnTo>
                        <a:lnTo>
                          <a:pt x="673" y="549"/>
                        </a:lnTo>
                        <a:lnTo>
                          <a:pt x="673" y="547"/>
                        </a:lnTo>
                        <a:lnTo>
                          <a:pt x="673" y="545"/>
                        </a:lnTo>
                        <a:lnTo>
                          <a:pt x="673" y="544"/>
                        </a:lnTo>
                        <a:lnTo>
                          <a:pt x="672" y="542"/>
                        </a:lnTo>
                        <a:lnTo>
                          <a:pt x="672" y="541"/>
                        </a:lnTo>
                        <a:lnTo>
                          <a:pt x="670" y="541"/>
                        </a:lnTo>
                        <a:lnTo>
                          <a:pt x="670" y="539"/>
                        </a:lnTo>
                        <a:lnTo>
                          <a:pt x="669" y="537"/>
                        </a:lnTo>
                        <a:lnTo>
                          <a:pt x="667" y="537"/>
                        </a:lnTo>
                        <a:lnTo>
                          <a:pt x="667" y="536"/>
                        </a:lnTo>
                        <a:lnTo>
                          <a:pt x="664" y="536"/>
                        </a:lnTo>
                        <a:lnTo>
                          <a:pt x="662" y="534"/>
                        </a:lnTo>
                        <a:lnTo>
                          <a:pt x="661" y="533"/>
                        </a:lnTo>
                        <a:lnTo>
                          <a:pt x="661" y="531"/>
                        </a:lnTo>
                        <a:lnTo>
                          <a:pt x="659" y="530"/>
                        </a:lnTo>
                        <a:lnTo>
                          <a:pt x="659" y="528"/>
                        </a:lnTo>
                        <a:lnTo>
                          <a:pt x="659" y="526"/>
                        </a:lnTo>
                        <a:lnTo>
                          <a:pt x="656" y="525"/>
                        </a:lnTo>
                        <a:lnTo>
                          <a:pt x="656" y="523"/>
                        </a:lnTo>
                        <a:lnTo>
                          <a:pt x="653" y="522"/>
                        </a:lnTo>
                        <a:lnTo>
                          <a:pt x="651" y="522"/>
                        </a:lnTo>
                        <a:lnTo>
                          <a:pt x="651" y="520"/>
                        </a:lnTo>
                        <a:lnTo>
                          <a:pt x="651" y="517"/>
                        </a:lnTo>
                        <a:lnTo>
                          <a:pt x="651" y="515"/>
                        </a:lnTo>
                        <a:lnTo>
                          <a:pt x="651" y="514"/>
                        </a:lnTo>
                        <a:lnTo>
                          <a:pt x="653" y="512"/>
                        </a:lnTo>
                        <a:lnTo>
                          <a:pt x="651" y="511"/>
                        </a:lnTo>
                        <a:lnTo>
                          <a:pt x="653" y="509"/>
                        </a:lnTo>
                        <a:lnTo>
                          <a:pt x="653" y="507"/>
                        </a:lnTo>
                        <a:lnTo>
                          <a:pt x="654" y="506"/>
                        </a:lnTo>
                        <a:lnTo>
                          <a:pt x="654" y="504"/>
                        </a:lnTo>
                        <a:lnTo>
                          <a:pt x="654" y="501"/>
                        </a:lnTo>
                        <a:lnTo>
                          <a:pt x="653" y="499"/>
                        </a:lnTo>
                        <a:lnTo>
                          <a:pt x="653" y="498"/>
                        </a:lnTo>
                        <a:lnTo>
                          <a:pt x="653" y="495"/>
                        </a:lnTo>
                        <a:lnTo>
                          <a:pt x="651" y="495"/>
                        </a:lnTo>
                        <a:lnTo>
                          <a:pt x="650" y="495"/>
                        </a:lnTo>
                        <a:lnTo>
                          <a:pt x="650" y="493"/>
                        </a:lnTo>
                        <a:lnTo>
                          <a:pt x="650" y="492"/>
                        </a:lnTo>
                        <a:lnTo>
                          <a:pt x="648" y="490"/>
                        </a:lnTo>
                        <a:lnTo>
                          <a:pt x="648" y="488"/>
                        </a:lnTo>
                        <a:lnTo>
                          <a:pt x="648" y="487"/>
                        </a:lnTo>
                        <a:lnTo>
                          <a:pt x="648" y="485"/>
                        </a:lnTo>
                        <a:lnTo>
                          <a:pt x="646" y="484"/>
                        </a:lnTo>
                        <a:lnTo>
                          <a:pt x="645" y="480"/>
                        </a:lnTo>
                        <a:lnTo>
                          <a:pt x="645" y="479"/>
                        </a:lnTo>
                        <a:lnTo>
                          <a:pt x="642" y="476"/>
                        </a:lnTo>
                        <a:lnTo>
                          <a:pt x="637" y="472"/>
                        </a:lnTo>
                        <a:lnTo>
                          <a:pt x="632" y="471"/>
                        </a:lnTo>
                        <a:lnTo>
                          <a:pt x="629" y="469"/>
                        </a:lnTo>
                        <a:lnTo>
                          <a:pt x="627" y="468"/>
                        </a:lnTo>
                        <a:lnTo>
                          <a:pt x="624" y="465"/>
                        </a:lnTo>
                        <a:lnTo>
                          <a:pt x="623" y="463"/>
                        </a:lnTo>
                        <a:lnTo>
                          <a:pt x="623" y="461"/>
                        </a:lnTo>
                        <a:lnTo>
                          <a:pt x="623" y="460"/>
                        </a:lnTo>
                        <a:lnTo>
                          <a:pt x="624" y="460"/>
                        </a:lnTo>
                        <a:lnTo>
                          <a:pt x="624" y="458"/>
                        </a:lnTo>
                        <a:lnTo>
                          <a:pt x="626" y="458"/>
                        </a:lnTo>
                        <a:lnTo>
                          <a:pt x="626" y="457"/>
                        </a:lnTo>
                        <a:lnTo>
                          <a:pt x="627" y="455"/>
                        </a:lnTo>
                        <a:lnTo>
                          <a:pt x="627" y="453"/>
                        </a:lnTo>
                        <a:lnTo>
                          <a:pt x="629" y="452"/>
                        </a:lnTo>
                        <a:lnTo>
                          <a:pt x="627" y="450"/>
                        </a:lnTo>
                        <a:lnTo>
                          <a:pt x="626" y="449"/>
                        </a:lnTo>
                        <a:lnTo>
                          <a:pt x="624" y="449"/>
                        </a:lnTo>
                        <a:lnTo>
                          <a:pt x="624" y="447"/>
                        </a:lnTo>
                        <a:lnTo>
                          <a:pt x="623" y="446"/>
                        </a:lnTo>
                        <a:lnTo>
                          <a:pt x="623" y="444"/>
                        </a:lnTo>
                        <a:lnTo>
                          <a:pt x="624" y="444"/>
                        </a:lnTo>
                        <a:lnTo>
                          <a:pt x="624" y="442"/>
                        </a:lnTo>
                        <a:lnTo>
                          <a:pt x="624" y="441"/>
                        </a:lnTo>
                        <a:lnTo>
                          <a:pt x="624" y="439"/>
                        </a:lnTo>
                        <a:lnTo>
                          <a:pt x="624" y="438"/>
                        </a:lnTo>
                        <a:lnTo>
                          <a:pt x="623" y="436"/>
                        </a:lnTo>
                        <a:lnTo>
                          <a:pt x="621" y="436"/>
                        </a:lnTo>
                        <a:lnTo>
                          <a:pt x="619" y="436"/>
                        </a:lnTo>
                        <a:lnTo>
                          <a:pt x="618" y="436"/>
                        </a:lnTo>
                        <a:lnTo>
                          <a:pt x="616" y="436"/>
                        </a:lnTo>
                        <a:lnTo>
                          <a:pt x="612" y="436"/>
                        </a:lnTo>
                        <a:lnTo>
                          <a:pt x="610" y="434"/>
                        </a:lnTo>
                        <a:lnTo>
                          <a:pt x="610" y="433"/>
                        </a:lnTo>
                        <a:lnTo>
                          <a:pt x="610" y="431"/>
                        </a:lnTo>
                        <a:lnTo>
                          <a:pt x="610" y="430"/>
                        </a:lnTo>
                        <a:lnTo>
                          <a:pt x="612" y="430"/>
                        </a:lnTo>
                        <a:lnTo>
                          <a:pt x="613" y="428"/>
                        </a:lnTo>
                        <a:lnTo>
                          <a:pt x="613" y="427"/>
                        </a:lnTo>
                        <a:lnTo>
                          <a:pt x="612" y="423"/>
                        </a:lnTo>
                        <a:lnTo>
                          <a:pt x="612" y="422"/>
                        </a:lnTo>
                        <a:lnTo>
                          <a:pt x="610" y="420"/>
                        </a:lnTo>
                        <a:lnTo>
                          <a:pt x="608" y="419"/>
                        </a:lnTo>
                        <a:lnTo>
                          <a:pt x="607" y="417"/>
                        </a:lnTo>
                        <a:lnTo>
                          <a:pt x="608" y="412"/>
                        </a:lnTo>
                        <a:lnTo>
                          <a:pt x="608" y="411"/>
                        </a:lnTo>
                        <a:lnTo>
                          <a:pt x="605" y="409"/>
                        </a:lnTo>
                        <a:lnTo>
                          <a:pt x="604" y="409"/>
                        </a:lnTo>
                        <a:lnTo>
                          <a:pt x="602" y="408"/>
                        </a:lnTo>
                        <a:lnTo>
                          <a:pt x="599" y="409"/>
                        </a:lnTo>
                        <a:lnTo>
                          <a:pt x="599" y="408"/>
                        </a:lnTo>
                        <a:lnTo>
                          <a:pt x="597" y="408"/>
                        </a:lnTo>
                        <a:lnTo>
                          <a:pt x="594" y="409"/>
                        </a:lnTo>
                        <a:lnTo>
                          <a:pt x="593" y="411"/>
                        </a:lnTo>
                        <a:lnTo>
                          <a:pt x="593" y="409"/>
                        </a:lnTo>
                        <a:lnTo>
                          <a:pt x="591" y="411"/>
                        </a:lnTo>
                        <a:lnTo>
                          <a:pt x="588" y="412"/>
                        </a:lnTo>
                        <a:lnTo>
                          <a:pt x="585" y="414"/>
                        </a:lnTo>
                        <a:lnTo>
                          <a:pt x="581" y="414"/>
                        </a:lnTo>
                        <a:lnTo>
                          <a:pt x="578" y="414"/>
                        </a:lnTo>
                        <a:lnTo>
                          <a:pt x="578" y="412"/>
                        </a:lnTo>
                        <a:lnTo>
                          <a:pt x="578" y="409"/>
                        </a:lnTo>
                        <a:lnTo>
                          <a:pt x="578" y="404"/>
                        </a:lnTo>
                        <a:lnTo>
                          <a:pt x="578" y="403"/>
                        </a:lnTo>
                        <a:lnTo>
                          <a:pt x="577" y="403"/>
                        </a:lnTo>
                        <a:lnTo>
                          <a:pt x="575" y="403"/>
                        </a:lnTo>
                        <a:lnTo>
                          <a:pt x="574" y="403"/>
                        </a:lnTo>
                        <a:lnTo>
                          <a:pt x="572" y="403"/>
                        </a:lnTo>
                        <a:lnTo>
                          <a:pt x="572" y="404"/>
                        </a:lnTo>
                        <a:lnTo>
                          <a:pt x="570" y="406"/>
                        </a:lnTo>
                        <a:lnTo>
                          <a:pt x="569" y="404"/>
                        </a:lnTo>
                        <a:lnTo>
                          <a:pt x="567" y="404"/>
                        </a:lnTo>
                        <a:lnTo>
                          <a:pt x="567" y="403"/>
                        </a:lnTo>
                        <a:lnTo>
                          <a:pt x="566" y="403"/>
                        </a:lnTo>
                        <a:lnTo>
                          <a:pt x="566" y="401"/>
                        </a:lnTo>
                        <a:lnTo>
                          <a:pt x="567" y="401"/>
                        </a:lnTo>
                        <a:lnTo>
                          <a:pt x="569" y="400"/>
                        </a:lnTo>
                        <a:lnTo>
                          <a:pt x="569" y="398"/>
                        </a:lnTo>
                        <a:lnTo>
                          <a:pt x="569" y="396"/>
                        </a:lnTo>
                        <a:lnTo>
                          <a:pt x="569" y="395"/>
                        </a:lnTo>
                        <a:lnTo>
                          <a:pt x="567" y="395"/>
                        </a:lnTo>
                        <a:lnTo>
                          <a:pt x="566" y="395"/>
                        </a:lnTo>
                        <a:lnTo>
                          <a:pt x="564" y="393"/>
                        </a:lnTo>
                        <a:lnTo>
                          <a:pt x="562" y="392"/>
                        </a:lnTo>
                        <a:lnTo>
                          <a:pt x="562" y="390"/>
                        </a:lnTo>
                        <a:lnTo>
                          <a:pt x="562" y="389"/>
                        </a:lnTo>
                        <a:lnTo>
                          <a:pt x="562" y="387"/>
                        </a:lnTo>
                        <a:lnTo>
                          <a:pt x="561" y="387"/>
                        </a:lnTo>
                        <a:lnTo>
                          <a:pt x="559" y="389"/>
                        </a:lnTo>
                        <a:lnTo>
                          <a:pt x="556" y="390"/>
                        </a:lnTo>
                        <a:lnTo>
                          <a:pt x="556" y="392"/>
                        </a:lnTo>
                        <a:lnTo>
                          <a:pt x="555" y="393"/>
                        </a:lnTo>
                        <a:lnTo>
                          <a:pt x="551" y="393"/>
                        </a:lnTo>
                        <a:lnTo>
                          <a:pt x="550" y="393"/>
                        </a:lnTo>
                        <a:lnTo>
                          <a:pt x="548" y="392"/>
                        </a:lnTo>
                        <a:lnTo>
                          <a:pt x="547" y="390"/>
                        </a:lnTo>
                        <a:lnTo>
                          <a:pt x="547" y="389"/>
                        </a:lnTo>
                        <a:lnTo>
                          <a:pt x="545" y="389"/>
                        </a:lnTo>
                        <a:lnTo>
                          <a:pt x="547" y="385"/>
                        </a:lnTo>
                        <a:lnTo>
                          <a:pt x="547" y="384"/>
                        </a:lnTo>
                        <a:lnTo>
                          <a:pt x="545" y="381"/>
                        </a:lnTo>
                        <a:lnTo>
                          <a:pt x="547" y="379"/>
                        </a:lnTo>
                        <a:lnTo>
                          <a:pt x="545" y="379"/>
                        </a:lnTo>
                        <a:lnTo>
                          <a:pt x="545" y="377"/>
                        </a:lnTo>
                        <a:lnTo>
                          <a:pt x="543" y="377"/>
                        </a:lnTo>
                        <a:lnTo>
                          <a:pt x="543" y="376"/>
                        </a:lnTo>
                        <a:lnTo>
                          <a:pt x="542" y="374"/>
                        </a:lnTo>
                        <a:lnTo>
                          <a:pt x="540" y="374"/>
                        </a:lnTo>
                        <a:lnTo>
                          <a:pt x="539" y="374"/>
                        </a:lnTo>
                        <a:lnTo>
                          <a:pt x="539" y="373"/>
                        </a:lnTo>
                        <a:lnTo>
                          <a:pt x="537" y="373"/>
                        </a:lnTo>
                        <a:lnTo>
                          <a:pt x="537" y="371"/>
                        </a:lnTo>
                        <a:lnTo>
                          <a:pt x="535" y="371"/>
                        </a:lnTo>
                        <a:lnTo>
                          <a:pt x="534" y="371"/>
                        </a:lnTo>
                        <a:lnTo>
                          <a:pt x="534" y="370"/>
                        </a:lnTo>
                        <a:lnTo>
                          <a:pt x="532" y="370"/>
                        </a:lnTo>
                        <a:lnTo>
                          <a:pt x="532" y="368"/>
                        </a:lnTo>
                        <a:lnTo>
                          <a:pt x="529" y="368"/>
                        </a:lnTo>
                        <a:lnTo>
                          <a:pt x="528" y="368"/>
                        </a:lnTo>
                        <a:lnTo>
                          <a:pt x="526" y="368"/>
                        </a:lnTo>
                        <a:lnTo>
                          <a:pt x="524" y="371"/>
                        </a:lnTo>
                        <a:lnTo>
                          <a:pt x="523" y="371"/>
                        </a:lnTo>
                        <a:lnTo>
                          <a:pt x="521" y="371"/>
                        </a:lnTo>
                        <a:lnTo>
                          <a:pt x="520" y="370"/>
                        </a:lnTo>
                        <a:lnTo>
                          <a:pt x="518" y="370"/>
                        </a:lnTo>
                        <a:lnTo>
                          <a:pt x="516" y="370"/>
                        </a:lnTo>
                        <a:lnTo>
                          <a:pt x="515" y="368"/>
                        </a:lnTo>
                        <a:lnTo>
                          <a:pt x="513" y="366"/>
                        </a:lnTo>
                        <a:lnTo>
                          <a:pt x="513" y="365"/>
                        </a:lnTo>
                        <a:lnTo>
                          <a:pt x="513" y="363"/>
                        </a:lnTo>
                        <a:lnTo>
                          <a:pt x="512" y="362"/>
                        </a:lnTo>
                        <a:lnTo>
                          <a:pt x="512" y="360"/>
                        </a:lnTo>
                        <a:lnTo>
                          <a:pt x="510" y="360"/>
                        </a:lnTo>
                        <a:lnTo>
                          <a:pt x="509" y="362"/>
                        </a:lnTo>
                        <a:lnTo>
                          <a:pt x="507" y="362"/>
                        </a:lnTo>
                        <a:lnTo>
                          <a:pt x="505" y="363"/>
                        </a:lnTo>
                        <a:lnTo>
                          <a:pt x="504" y="362"/>
                        </a:lnTo>
                        <a:lnTo>
                          <a:pt x="502" y="360"/>
                        </a:lnTo>
                        <a:lnTo>
                          <a:pt x="501" y="360"/>
                        </a:lnTo>
                        <a:lnTo>
                          <a:pt x="501" y="358"/>
                        </a:lnTo>
                        <a:lnTo>
                          <a:pt x="499" y="358"/>
                        </a:lnTo>
                        <a:lnTo>
                          <a:pt x="497" y="357"/>
                        </a:lnTo>
                        <a:lnTo>
                          <a:pt x="496" y="355"/>
                        </a:lnTo>
                        <a:lnTo>
                          <a:pt x="496" y="354"/>
                        </a:lnTo>
                        <a:lnTo>
                          <a:pt x="496" y="352"/>
                        </a:lnTo>
                        <a:lnTo>
                          <a:pt x="496" y="349"/>
                        </a:lnTo>
                        <a:lnTo>
                          <a:pt x="497" y="347"/>
                        </a:lnTo>
                        <a:lnTo>
                          <a:pt x="499" y="344"/>
                        </a:lnTo>
                        <a:lnTo>
                          <a:pt x="501" y="343"/>
                        </a:lnTo>
                        <a:lnTo>
                          <a:pt x="501" y="339"/>
                        </a:lnTo>
                        <a:lnTo>
                          <a:pt x="501" y="336"/>
                        </a:lnTo>
                        <a:lnTo>
                          <a:pt x="501" y="335"/>
                        </a:lnTo>
                        <a:lnTo>
                          <a:pt x="501" y="333"/>
                        </a:lnTo>
                        <a:lnTo>
                          <a:pt x="501" y="332"/>
                        </a:lnTo>
                        <a:lnTo>
                          <a:pt x="502" y="332"/>
                        </a:lnTo>
                        <a:lnTo>
                          <a:pt x="502" y="330"/>
                        </a:lnTo>
                        <a:lnTo>
                          <a:pt x="504" y="328"/>
                        </a:lnTo>
                        <a:lnTo>
                          <a:pt x="509" y="327"/>
                        </a:lnTo>
                        <a:lnTo>
                          <a:pt x="510" y="325"/>
                        </a:lnTo>
                        <a:lnTo>
                          <a:pt x="512" y="324"/>
                        </a:lnTo>
                        <a:lnTo>
                          <a:pt x="513" y="320"/>
                        </a:lnTo>
                        <a:lnTo>
                          <a:pt x="513" y="317"/>
                        </a:lnTo>
                        <a:lnTo>
                          <a:pt x="515" y="313"/>
                        </a:lnTo>
                        <a:lnTo>
                          <a:pt x="515" y="306"/>
                        </a:lnTo>
                        <a:lnTo>
                          <a:pt x="515" y="301"/>
                        </a:lnTo>
                        <a:lnTo>
                          <a:pt x="515" y="293"/>
                        </a:lnTo>
                        <a:lnTo>
                          <a:pt x="515" y="284"/>
                        </a:lnTo>
                        <a:lnTo>
                          <a:pt x="515" y="281"/>
                        </a:lnTo>
                        <a:lnTo>
                          <a:pt x="513" y="274"/>
                        </a:lnTo>
                        <a:lnTo>
                          <a:pt x="512" y="271"/>
                        </a:lnTo>
                        <a:lnTo>
                          <a:pt x="510" y="270"/>
                        </a:lnTo>
                        <a:lnTo>
                          <a:pt x="509" y="270"/>
                        </a:lnTo>
                        <a:lnTo>
                          <a:pt x="505" y="268"/>
                        </a:lnTo>
                        <a:lnTo>
                          <a:pt x="502" y="267"/>
                        </a:lnTo>
                        <a:lnTo>
                          <a:pt x="501" y="267"/>
                        </a:lnTo>
                        <a:lnTo>
                          <a:pt x="497" y="267"/>
                        </a:lnTo>
                        <a:lnTo>
                          <a:pt x="494" y="267"/>
                        </a:lnTo>
                        <a:lnTo>
                          <a:pt x="491" y="267"/>
                        </a:lnTo>
                        <a:lnTo>
                          <a:pt x="488" y="267"/>
                        </a:lnTo>
                        <a:lnTo>
                          <a:pt x="485" y="267"/>
                        </a:lnTo>
                        <a:lnTo>
                          <a:pt x="482" y="265"/>
                        </a:lnTo>
                        <a:lnTo>
                          <a:pt x="478" y="263"/>
                        </a:lnTo>
                        <a:lnTo>
                          <a:pt x="474" y="262"/>
                        </a:lnTo>
                        <a:lnTo>
                          <a:pt x="472" y="260"/>
                        </a:lnTo>
                        <a:lnTo>
                          <a:pt x="467" y="260"/>
                        </a:lnTo>
                        <a:lnTo>
                          <a:pt x="464" y="260"/>
                        </a:lnTo>
                        <a:lnTo>
                          <a:pt x="459" y="260"/>
                        </a:lnTo>
                        <a:lnTo>
                          <a:pt x="455" y="262"/>
                        </a:lnTo>
                        <a:lnTo>
                          <a:pt x="448" y="262"/>
                        </a:lnTo>
                        <a:lnTo>
                          <a:pt x="445" y="263"/>
                        </a:lnTo>
                        <a:lnTo>
                          <a:pt x="442" y="267"/>
                        </a:lnTo>
                        <a:lnTo>
                          <a:pt x="439" y="270"/>
                        </a:lnTo>
                        <a:lnTo>
                          <a:pt x="436" y="273"/>
                        </a:lnTo>
                        <a:lnTo>
                          <a:pt x="434" y="274"/>
                        </a:lnTo>
                        <a:lnTo>
                          <a:pt x="433" y="278"/>
                        </a:lnTo>
                        <a:lnTo>
                          <a:pt x="431" y="281"/>
                        </a:lnTo>
                        <a:lnTo>
                          <a:pt x="428" y="282"/>
                        </a:lnTo>
                        <a:lnTo>
                          <a:pt x="425" y="282"/>
                        </a:lnTo>
                        <a:lnTo>
                          <a:pt x="421" y="284"/>
                        </a:lnTo>
                        <a:lnTo>
                          <a:pt x="417" y="286"/>
                        </a:lnTo>
                        <a:lnTo>
                          <a:pt x="412" y="286"/>
                        </a:lnTo>
                        <a:lnTo>
                          <a:pt x="407" y="287"/>
                        </a:lnTo>
                        <a:lnTo>
                          <a:pt x="402" y="287"/>
                        </a:lnTo>
                        <a:lnTo>
                          <a:pt x="398" y="287"/>
                        </a:lnTo>
                        <a:lnTo>
                          <a:pt x="395" y="287"/>
                        </a:lnTo>
                        <a:lnTo>
                          <a:pt x="391" y="287"/>
                        </a:lnTo>
                        <a:lnTo>
                          <a:pt x="390" y="287"/>
                        </a:lnTo>
                        <a:lnTo>
                          <a:pt x="388" y="286"/>
                        </a:lnTo>
                        <a:lnTo>
                          <a:pt x="387" y="284"/>
                        </a:lnTo>
                        <a:lnTo>
                          <a:pt x="387" y="279"/>
                        </a:lnTo>
                        <a:lnTo>
                          <a:pt x="385" y="276"/>
                        </a:lnTo>
                        <a:lnTo>
                          <a:pt x="385" y="273"/>
                        </a:lnTo>
                        <a:lnTo>
                          <a:pt x="383" y="268"/>
                        </a:lnTo>
                        <a:lnTo>
                          <a:pt x="383" y="267"/>
                        </a:lnTo>
                        <a:lnTo>
                          <a:pt x="383" y="265"/>
                        </a:lnTo>
                        <a:lnTo>
                          <a:pt x="385" y="260"/>
                        </a:lnTo>
                        <a:lnTo>
                          <a:pt x="387" y="257"/>
                        </a:lnTo>
                        <a:lnTo>
                          <a:pt x="388" y="254"/>
                        </a:lnTo>
                        <a:lnTo>
                          <a:pt x="391" y="246"/>
                        </a:lnTo>
                        <a:lnTo>
                          <a:pt x="391" y="244"/>
                        </a:lnTo>
                        <a:lnTo>
                          <a:pt x="391" y="241"/>
                        </a:lnTo>
                        <a:lnTo>
                          <a:pt x="388" y="240"/>
                        </a:lnTo>
                        <a:lnTo>
                          <a:pt x="387" y="238"/>
                        </a:lnTo>
                        <a:lnTo>
                          <a:pt x="382" y="235"/>
                        </a:lnTo>
                        <a:lnTo>
                          <a:pt x="380" y="233"/>
                        </a:lnTo>
                        <a:lnTo>
                          <a:pt x="379" y="230"/>
                        </a:lnTo>
                        <a:lnTo>
                          <a:pt x="379" y="227"/>
                        </a:lnTo>
                        <a:lnTo>
                          <a:pt x="377" y="227"/>
                        </a:lnTo>
                        <a:lnTo>
                          <a:pt x="376" y="225"/>
                        </a:lnTo>
                        <a:lnTo>
                          <a:pt x="376" y="224"/>
                        </a:lnTo>
                        <a:lnTo>
                          <a:pt x="374" y="224"/>
                        </a:lnTo>
                        <a:lnTo>
                          <a:pt x="372" y="224"/>
                        </a:lnTo>
                        <a:lnTo>
                          <a:pt x="371" y="224"/>
                        </a:lnTo>
                        <a:lnTo>
                          <a:pt x="369" y="224"/>
                        </a:lnTo>
                        <a:lnTo>
                          <a:pt x="368" y="222"/>
                        </a:lnTo>
                        <a:lnTo>
                          <a:pt x="366" y="224"/>
                        </a:lnTo>
                        <a:lnTo>
                          <a:pt x="364" y="224"/>
                        </a:lnTo>
                        <a:lnTo>
                          <a:pt x="364" y="225"/>
                        </a:lnTo>
                        <a:lnTo>
                          <a:pt x="361" y="225"/>
                        </a:lnTo>
                        <a:lnTo>
                          <a:pt x="358" y="227"/>
                        </a:lnTo>
                        <a:lnTo>
                          <a:pt x="352" y="230"/>
                        </a:lnTo>
                        <a:lnTo>
                          <a:pt x="345" y="232"/>
                        </a:lnTo>
                        <a:lnTo>
                          <a:pt x="341" y="233"/>
                        </a:lnTo>
                        <a:lnTo>
                          <a:pt x="334" y="236"/>
                        </a:lnTo>
                        <a:lnTo>
                          <a:pt x="328" y="238"/>
                        </a:lnTo>
                        <a:lnTo>
                          <a:pt x="325" y="238"/>
                        </a:lnTo>
                        <a:lnTo>
                          <a:pt x="322" y="238"/>
                        </a:lnTo>
                        <a:lnTo>
                          <a:pt x="320" y="238"/>
                        </a:lnTo>
                        <a:lnTo>
                          <a:pt x="318" y="238"/>
                        </a:lnTo>
                        <a:lnTo>
                          <a:pt x="315" y="238"/>
                        </a:lnTo>
                        <a:lnTo>
                          <a:pt x="315" y="236"/>
                        </a:lnTo>
                        <a:lnTo>
                          <a:pt x="314" y="236"/>
                        </a:lnTo>
                        <a:lnTo>
                          <a:pt x="312" y="235"/>
                        </a:lnTo>
                        <a:lnTo>
                          <a:pt x="312" y="233"/>
                        </a:lnTo>
                        <a:lnTo>
                          <a:pt x="311" y="230"/>
                        </a:lnTo>
                        <a:lnTo>
                          <a:pt x="309" y="224"/>
                        </a:lnTo>
                        <a:lnTo>
                          <a:pt x="311" y="219"/>
                        </a:lnTo>
                        <a:lnTo>
                          <a:pt x="311" y="213"/>
                        </a:lnTo>
                        <a:lnTo>
                          <a:pt x="315" y="205"/>
                        </a:lnTo>
                        <a:lnTo>
                          <a:pt x="320" y="197"/>
                        </a:lnTo>
                        <a:lnTo>
                          <a:pt x="322" y="192"/>
                        </a:lnTo>
                        <a:lnTo>
                          <a:pt x="322" y="191"/>
                        </a:lnTo>
                        <a:lnTo>
                          <a:pt x="322" y="189"/>
                        </a:lnTo>
                        <a:lnTo>
                          <a:pt x="320" y="186"/>
                        </a:lnTo>
                        <a:lnTo>
                          <a:pt x="318" y="181"/>
                        </a:lnTo>
                        <a:lnTo>
                          <a:pt x="318" y="176"/>
                        </a:lnTo>
                        <a:lnTo>
                          <a:pt x="317" y="170"/>
                        </a:lnTo>
                        <a:lnTo>
                          <a:pt x="315" y="167"/>
                        </a:lnTo>
                        <a:lnTo>
                          <a:pt x="312" y="164"/>
                        </a:lnTo>
                        <a:lnTo>
                          <a:pt x="311" y="162"/>
                        </a:lnTo>
                        <a:lnTo>
                          <a:pt x="309" y="160"/>
                        </a:lnTo>
                        <a:lnTo>
                          <a:pt x="309" y="159"/>
                        </a:lnTo>
                        <a:lnTo>
                          <a:pt x="307" y="157"/>
                        </a:lnTo>
                        <a:lnTo>
                          <a:pt x="307" y="156"/>
                        </a:lnTo>
                        <a:lnTo>
                          <a:pt x="303" y="154"/>
                        </a:lnTo>
                        <a:lnTo>
                          <a:pt x="301" y="154"/>
                        </a:lnTo>
                        <a:lnTo>
                          <a:pt x="299" y="153"/>
                        </a:lnTo>
                        <a:lnTo>
                          <a:pt x="298" y="153"/>
                        </a:lnTo>
                        <a:lnTo>
                          <a:pt x="296" y="153"/>
                        </a:lnTo>
                        <a:lnTo>
                          <a:pt x="295" y="154"/>
                        </a:lnTo>
                        <a:lnTo>
                          <a:pt x="295" y="156"/>
                        </a:lnTo>
                        <a:lnTo>
                          <a:pt x="295" y="159"/>
                        </a:lnTo>
                        <a:lnTo>
                          <a:pt x="295" y="160"/>
                        </a:lnTo>
                        <a:lnTo>
                          <a:pt x="293" y="162"/>
                        </a:lnTo>
                        <a:lnTo>
                          <a:pt x="293" y="164"/>
                        </a:lnTo>
                        <a:lnTo>
                          <a:pt x="292" y="168"/>
                        </a:lnTo>
                        <a:lnTo>
                          <a:pt x="292" y="172"/>
                        </a:lnTo>
                        <a:lnTo>
                          <a:pt x="292" y="175"/>
                        </a:lnTo>
                        <a:lnTo>
                          <a:pt x="292" y="176"/>
                        </a:lnTo>
                        <a:lnTo>
                          <a:pt x="290" y="179"/>
                        </a:lnTo>
                        <a:lnTo>
                          <a:pt x="290" y="183"/>
                        </a:lnTo>
                        <a:lnTo>
                          <a:pt x="288" y="186"/>
                        </a:lnTo>
                        <a:lnTo>
                          <a:pt x="287" y="189"/>
                        </a:lnTo>
                        <a:lnTo>
                          <a:pt x="285" y="194"/>
                        </a:lnTo>
                        <a:lnTo>
                          <a:pt x="284" y="197"/>
                        </a:lnTo>
                        <a:lnTo>
                          <a:pt x="284" y="198"/>
                        </a:lnTo>
                        <a:lnTo>
                          <a:pt x="280" y="198"/>
                        </a:lnTo>
                        <a:lnTo>
                          <a:pt x="279" y="200"/>
                        </a:lnTo>
                        <a:lnTo>
                          <a:pt x="277" y="200"/>
                        </a:lnTo>
                        <a:lnTo>
                          <a:pt x="274" y="200"/>
                        </a:lnTo>
                        <a:lnTo>
                          <a:pt x="271" y="200"/>
                        </a:lnTo>
                        <a:lnTo>
                          <a:pt x="268" y="200"/>
                        </a:lnTo>
                        <a:lnTo>
                          <a:pt x="266" y="200"/>
                        </a:lnTo>
                        <a:lnTo>
                          <a:pt x="265" y="202"/>
                        </a:lnTo>
                        <a:lnTo>
                          <a:pt x="263" y="200"/>
                        </a:lnTo>
                        <a:lnTo>
                          <a:pt x="261" y="200"/>
                        </a:lnTo>
                        <a:lnTo>
                          <a:pt x="260" y="200"/>
                        </a:lnTo>
                        <a:lnTo>
                          <a:pt x="255" y="200"/>
                        </a:lnTo>
                        <a:lnTo>
                          <a:pt x="252" y="202"/>
                        </a:lnTo>
                        <a:lnTo>
                          <a:pt x="249" y="203"/>
                        </a:lnTo>
                        <a:lnTo>
                          <a:pt x="244" y="205"/>
                        </a:lnTo>
                        <a:lnTo>
                          <a:pt x="239" y="210"/>
                        </a:lnTo>
                        <a:lnTo>
                          <a:pt x="235" y="211"/>
                        </a:lnTo>
                        <a:lnTo>
                          <a:pt x="231" y="213"/>
                        </a:lnTo>
                        <a:lnTo>
                          <a:pt x="227" y="216"/>
                        </a:lnTo>
                        <a:lnTo>
                          <a:pt x="222" y="217"/>
                        </a:lnTo>
                        <a:lnTo>
                          <a:pt x="219" y="219"/>
                        </a:lnTo>
                        <a:lnTo>
                          <a:pt x="219" y="221"/>
                        </a:lnTo>
                        <a:lnTo>
                          <a:pt x="219" y="222"/>
                        </a:lnTo>
                        <a:lnTo>
                          <a:pt x="220" y="224"/>
                        </a:lnTo>
                        <a:lnTo>
                          <a:pt x="220" y="227"/>
                        </a:lnTo>
                        <a:lnTo>
                          <a:pt x="222" y="230"/>
                        </a:lnTo>
                        <a:lnTo>
                          <a:pt x="222" y="236"/>
                        </a:lnTo>
                        <a:lnTo>
                          <a:pt x="222" y="240"/>
                        </a:lnTo>
                        <a:lnTo>
                          <a:pt x="223" y="244"/>
                        </a:lnTo>
                        <a:lnTo>
                          <a:pt x="223" y="248"/>
                        </a:lnTo>
                        <a:lnTo>
                          <a:pt x="222" y="252"/>
                        </a:lnTo>
                        <a:lnTo>
                          <a:pt x="223" y="257"/>
                        </a:lnTo>
                        <a:lnTo>
                          <a:pt x="223" y="262"/>
                        </a:lnTo>
                        <a:lnTo>
                          <a:pt x="223" y="265"/>
                        </a:lnTo>
                        <a:lnTo>
                          <a:pt x="225" y="267"/>
                        </a:lnTo>
                        <a:lnTo>
                          <a:pt x="227" y="270"/>
                        </a:lnTo>
                        <a:lnTo>
                          <a:pt x="228" y="271"/>
                        </a:lnTo>
                        <a:lnTo>
                          <a:pt x="230" y="273"/>
                        </a:lnTo>
                        <a:lnTo>
                          <a:pt x="233" y="274"/>
                        </a:lnTo>
                        <a:lnTo>
                          <a:pt x="236" y="276"/>
                        </a:lnTo>
                        <a:lnTo>
                          <a:pt x="238" y="278"/>
                        </a:lnTo>
                        <a:lnTo>
                          <a:pt x="239" y="279"/>
                        </a:lnTo>
                        <a:lnTo>
                          <a:pt x="241" y="281"/>
                        </a:lnTo>
                        <a:lnTo>
                          <a:pt x="242" y="282"/>
                        </a:lnTo>
                        <a:lnTo>
                          <a:pt x="242" y="284"/>
                        </a:lnTo>
                        <a:lnTo>
                          <a:pt x="242" y="287"/>
                        </a:lnTo>
                        <a:lnTo>
                          <a:pt x="241" y="289"/>
                        </a:lnTo>
                        <a:lnTo>
                          <a:pt x="239" y="292"/>
                        </a:lnTo>
                        <a:lnTo>
                          <a:pt x="239" y="293"/>
                        </a:lnTo>
                        <a:lnTo>
                          <a:pt x="239" y="297"/>
                        </a:lnTo>
                        <a:lnTo>
                          <a:pt x="239" y="300"/>
                        </a:lnTo>
                        <a:lnTo>
                          <a:pt x="241" y="303"/>
                        </a:lnTo>
                        <a:lnTo>
                          <a:pt x="244" y="306"/>
                        </a:lnTo>
                        <a:lnTo>
                          <a:pt x="246" y="311"/>
                        </a:lnTo>
                        <a:lnTo>
                          <a:pt x="247" y="314"/>
                        </a:lnTo>
                        <a:lnTo>
                          <a:pt x="244" y="314"/>
                        </a:lnTo>
                        <a:lnTo>
                          <a:pt x="242" y="316"/>
                        </a:lnTo>
                        <a:lnTo>
                          <a:pt x="235" y="316"/>
                        </a:lnTo>
                        <a:lnTo>
                          <a:pt x="230" y="317"/>
                        </a:lnTo>
                        <a:lnTo>
                          <a:pt x="223" y="319"/>
                        </a:lnTo>
                        <a:lnTo>
                          <a:pt x="214" y="320"/>
                        </a:lnTo>
                        <a:lnTo>
                          <a:pt x="209" y="322"/>
                        </a:lnTo>
                        <a:lnTo>
                          <a:pt x="206" y="322"/>
                        </a:lnTo>
                        <a:lnTo>
                          <a:pt x="204" y="324"/>
                        </a:lnTo>
                        <a:lnTo>
                          <a:pt x="203" y="325"/>
                        </a:lnTo>
                        <a:lnTo>
                          <a:pt x="201" y="327"/>
                        </a:lnTo>
                        <a:lnTo>
                          <a:pt x="200" y="330"/>
                        </a:lnTo>
                        <a:lnTo>
                          <a:pt x="198" y="332"/>
                        </a:lnTo>
                        <a:lnTo>
                          <a:pt x="195" y="336"/>
                        </a:lnTo>
                        <a:lnTo>
                          <a:pt x="193" y="338"/>
                        </a:lnTo>
                        <a:lnTo>
                          <a:pt x="192" y="339"/>
                        </a:lnTo>
                        <a:lnTo>
                          <a:pt x="187" y="341"/>
                        </a:lnTo>
                        <a:lnTo>
                          <a:pt x="181" y="343"/>
                        </a:lnTo>
                        <a:lnTo>
                          <a:pt x="176" y="344"/>
                        </a:lnTo>
                        <a:lnTo>
                          <a:pt x="171" y="344"/>
                        </a:lnTo>
                        <a:lnTo>
                          <a:pt x="168" y="346"/>
                        </a:lnTo>
                        <a:lnTo>
                          <a:pt x="166" y="346"/>
                        </a:lnTo>
                        <a:lnTo>
                          <a:pt x="165" y="346"/>
                        </a:lnTo>
                        <a:lnTo>
                          <a:pt x="138" y="351"/>
                        </a:lnTo>
                        <a:lnTo>
                          <a:pt x="120" y="352"/>
                        </a:lnTo>
                        <a:lnTo>
                          <a:pt x="100" y="357"/>
                        </a:lnTo>
                        <a:lnTo>
                          <a:pt x="87" y="358"/>
                        </a:lnTo>
                        <a:lnTo>
                          <a:pt x="84" y="358"/>
                        </a:lnTo>
                        <a:lnTo>
                          <a:pt x="81" y="360"/>
                        </a:lnTo>
                        <a:lnTo>
                          <a:pt x="78" y="362"/>
                        </a:lnTo>
                        <a:lnTo>
                          <a:pt x="78" y="363"/>
                        </a:lnTo>
                        <a:lnTo>
                          <a:pt x="75" y="366"/>
                        </a:lnTo>
                        <a:lnTo>
                          <a:pt x="73" y="370"/>
                        </a:lnTo>
                        <a:lnTo>
                          <a:pt x="70" y="374"/>
                        </a:lnTo>
                        <a:lnTo>
                          <a:pt x="65" y="377"/>
                        </a:lnTo>
                        <a:lnTo>
                          <a:pt x="63" y="379"/>
                        </a:lnTo>
                        <a:lnTo>
                          <a:pt x="63" y="381"/>
                        </a:lnTo>
                        <a:lnTo>
                          <a:pt x="63" y="382"/>
                        </a:lnTo>
                        <a:lnTo>
                          <a:pt x="62" y="382"/>
                        </a:lnTo>
                        <a:lnTo>
                          <a:pt x="59" y="385"/>
                        </a:lnTo>
                        <a:lnTo>
                          <a:pt x="57" y="385"/>
                        </a:lnTo>
                        <a:lnTo>
                          <a:pt x="56" y="385"/>
                        </a:lnTo>
                        <a:lnTo>
                          <a:pt x="52" y="385"/>
                        </a:lnTo>
                        <a:lnTo>
                          <a:pt x="51" y="385"/>
                        </a:lnTo>
                        <a:lnTo>
                          <a:pt x="51" y="384"/>
                        </a:lnTo>
                        <a:lnTo>
                          <a:pt x="46" y="384"/>
                        </a:lnTo>
                        <a:lnTo>
                          <a:pt x="44" y="387"/>
                        </a:lnTo>
                        <a:lnTo>
                          <a:pt x="44" y="389"/>
                        </a:lnTo>
                        <a:lnTo>
                          <a:pt x="46" y="390"/>
                        </a:lnTo>
                        <a:lnTo>
                          <a:pt x="46" y="392"/>
                        </a:lnTo>
                        <a:lnTo>
                          <a:pt x="44" y="392"/>
                        </a:lnTo>
                        <a:lnTo>
                          <a:pt x="41" y="392"/>
                        </a:lnTo>
                        <a:lnTo>
                          <a:pt x="38" y="392"/>
                        </a:lnTo>
                        <a:lnTo>
                          <a:pt x="35" y="392"/>
                        </a:lnTo>
                        <a:lnTo>
                          <a:pt x="30" y="390"/>
                        </a:lnTo>
                        <a:lnTo>
                          <a:pt x="29" y="390"/>
                        </a:lnTo>
                        <a:lnTo>
                          <a:pt x="27" y="390"/>
                        </a:lnTo>
                        <a:lnTo>
                          <a:pt x="25" y="390"/>
                        </a:lnTo>
                        <a:lnTo>
                          <a:pt x="22" y="392"/>
                        </a:lnTo>
                        <a:lnTo>
                          <a:pt x="19" y="390"/>
                        </a:lnTo>
                        <a:lnTo>
                          <a:pt x="18" y="390"/>
                        </a:lnTo>
                        <a:lnTo>
                          <a:pt x="16" y="389"/>
                        </a:lnTo>
                        <a:lnTo>
                          <a:pt x="14" y="389"/>
                        </a:lnTo>
                        <a:lnTo>
                          <a:pt x="10" y="384"/>
                        </a:lnTo>
                        <a:lnTo>
                          <a:pt x="8" y="384"/>
                        </a:lnTo>
                        <a:lnTo>
                          <a:pt x="6" y="382"/>
                        </a:lnTo>
                        <a:lnTo>
                          <a:pt x="5" y="381"/>
                        </a:lnTo>
                        <a:lnTo>
                          <a:pt x="3" y="381"/>
                        </a:lnTo>
                        <a:lnTo>
                          <a:pt x="0" y="373"/>
                        </a:lnTo>
                        <a:lnTo>
                          <a:pt x="2" y="371"/>
                        </a:lnTo>
                        <a:lnTo>
                          <a:pt x="6" y="366"/>
                        </a:lnTo>
                        <a:lnTo>
                          <a:pt x="13" y="360"/>
                        </a:lnTo>
                        <a:lnTo>
                          <a:pt x="19" y="354"/>
                        </a:lnTo>
                        <a:lnTo>
                          <a:pt x="25" y="347"/>
                        </a:lnTo>
                        <a:lnTo>
                          <a:pt x="29" y="343"/>
                        </a:lnTo>
                        <a:lnTo>
                          <a:pt x="29" y="339"/>
                        </a:lnTo>
                        <a:lnTo>
                          <a:pt x="29" y="333"/>
                        </a:lnTo>
                        <a:lnTo>
                          <a:pt x="30" y="320"/>
                        </a:lnTo>
                        <a:lnTo>
                          <a:pt x="30" y="319"/>
                        </a:lnTo>
                        <a:lnTo>
                          <a:pt x="33" y="316"/>
                        </a:lnTo>
                        <a:lnTo>
                          <a:pt x="38" y="311"/>
                        </a:lnTo>
                        <a:lnTo>
                          <a:pt x="44" y="305"/>
                        </a:lnTo>
                        <a:lnTo>
                          <a:pt x="46" y="301"/>
                        </a:lnTo>
                        <a:lnTo>
                          <a:pt x="48" y="300"/>
                        </a:lnTo>
                        <a:lnTo>
                          <a:pt x="48" y="298"/>
                        </a:lnTo>
                        <a:lnTo>
                          <a:pt x="48" y="293"/>
                        </a:lnTo>
                        <a:lnTo>
                          <a:pt x="48" y="290"/>
                        </a:lnTo>
                        <a:lnTo>
                          <a:pt x="49" y="289"/>
                        </a:lnTo>
                        <a:lnTo>
                          <a:pt x="51" y="286"/>
                        </a:lnTo>
                        <a:lnTo>
                          <a:pt x="51" y="284"/>
                        </a:lnTo>
                        <a:lnTo>
                          <a:pt x="54" y="284"/>
                        </a:lnTo>
                        <a:lnTo>
                          <a:pt x="57" y="284"/>
                        </a:lnTo>
                        <a:lnTo>
                          <a:pt x="60" y="284"/>
                        </a:lnTo>
                        <a:lnTo>
                          <a:pt x="63" y="282"/>
                        </a:lnTo>
                        <a:lnTo>
                          <a:pt x="67" y="282"/>
                        </a:lnTo>
                        <a:lnTo>
                          <a:pt x="70" y="281"/>
                        </a:lnTo>
                        <a:lnTo>
                          <a:pt x="73" y="281"/>
                        </a:lnTo>
                        <a:lnTo>
                          <a:pt x="76" y="279"/>
                        </a:lnTo>
                        <a:lnTo>
                          <a:pt x="79" y="279"/>
                        </a:lnTo>
                        <a:lnTo>
                          <a:pt x="81" y="279"/>
                        </a:lnTo>
                        <a:lnTo>
                          <a:pt x="84" y="279"/>
                        </a:lnTo>
                        <a:lnTo>
                          <a:pt x="89" y="279"/>
                        </a:lnTo>
                        <a:lnTo>
                          <a:pt x="92" y="279"/>
                        </a:lnTo>
                        <a:lnTo>
                          <a:pt x="95" y="279"/>
                        </a:lnTo>
                        <a:lnTo>
                          <a:pt x="98" y="278"/>
                        </a:lnTo>
                        <a:lnTo>
                          <a:pt x="101" y="278"/>
                        </a:lnTo>
                        <a:lnTo>
                          <a:pt x="105" y="279"/>
                        </a:lnTo>
                        <a:lnTo>
                          <a:pt x="106" y="279"/>
                        </a:lnTo>
                        <a:lnTo>
                          <a:pt x="109" y="281"/>
                        </a:lnTo>
                        <a:lnTo>
                          <a:pt x="114" y="284"/>
                        </a:lnTo>
                        <a:lnTo>
                          <a:pt x="117" y="286"/>
                        </a:lnTo>
                        <a:lnTo>
                          <a:pt x="120" y="289"/>
                        </a:lnTo>
                        <a:lnTo>
                          <a:pt x="124" y="292"/>
                        </a:lnTo>
                        <a:lnTo>
                          <a:pt x="125" y="293"/>
                        </a:lnTo>
                        <a:lnTo>
                          <a:pt x="127" y="295"/>
                        </a:lnTo>
                        <a:lnTo>
                          <a:pt x="130" y="298"/>
                        </a:lnTo>
                        <a:lnTo>
                          <a:pt x="132" y="298"/>
                        </a:lnTo>
                        <a:lnTo>
                          <a:pt x="135" y="300"/>
                        </a:lnTo>
                        <a:lnTo>
                          <a:pt x="138" y="298"/>
                        </a:lnTo>
                        <a:lnTo>
                          <a:pt x="141" y="298"/>
                        </a:lnTo>
                        <a:lnTo>
                          <a:pt x="146" y="295"/>
                        </a:lnTo>
                        <a:lnTo>
                          <a:pt x="151" y="293"/>
                        </a:lnTo>
                        <a:lnTo>
                          <a:pt x="157" y="290"/>
                        </a:lnTo>
                        <a:lnTo>
                          <a:pt x="165" y="287"/>
                        </a:lnTo>
                        <a:lnTo>
                          <a:pt x="168" y="286"/>
                        </a:lnTo>
                        <a:lnTo>
                          <a:pt x="174" y="281"/>
                        </a:lnTo>
                        <a:lnTo>
                          <a:pt x="178" y="278"/>
                        </a:lnTo>
                        <a:lnTo>
                          <a:pt x="182" y="274"/>
                        </a:lnTo>
                        <a:lnTo>
                          <a:pt x="184" y="273"/>
                        </a:lnTo>
                        <a:lnTo>
                          <a:pt x="182" y="271"/>
                        </a:lnTo>
                        <a:lnTo>
                          <a:pt x="182" y="270"/>
                        </a:lnTo>
                        <a:lnTo>
                          <a:pt x="181" y="267"/>
                        </a:lnTo>
                        <a:lnTo>
                          <a:pt x="179" y="263"/>
                        </a:lnTo>
                        <a:lnTo>
                          <a:pt x="176" y="257"/>
                        </a:lnTo>
                        <a:lnTo>
                          <a:pt x="170" y="246"/>
                        </a:lnTo>
                        <a:lnTo>
                          <a:pt x="166" y="240"/>
                        </a:lnTo>
                        <a:lnTo>
                          <a:pt x="165" y="235"/>
                        </a:lnTo>
                        <a:lnTo>
                          <a:pt x="165" y="230"/>
                        </a:lnTo>
                        <a:lnTo>
                          <a:pt x="163" y="225"/>
                        </a:lnTo>
                        <a:lnTo>
                          <a:pt x="162" y="224"/>
                        </a:lnTo>
                        <a:lnTo>
                          <a:pt x="162" y="222"/>
                        </a:lnTo>
                        <a:lnTo>
                          <a:pt x="160" y="219"/>
                        </a:lnTo>
                        <a:lnTo>
                          <a:pt x="157" y="217"/>
                        </a:lnTo>
                        <a:lnTo>
                          <a:pt x="155" y="213"/>
                        </a:lnTo>
                        <a:lnTo>
                          <a:pt x="154" y="206"/>
                        </a:lnTo>
                        <a:lnTo>
                          <a:pt x="152" y="202"/>
                        </a:lnTo>
                        <a:lnTo>
                          <a:pt x="151" y="198"/>
                        </a:lnTo>
                        <a:lnTo>
                          <a:pt x="149" y="197"/>
                        </a:lnTo>
                        <a:lnTo>
                          <a:pt x="147" y="197"/>
                        </a:lnTo>
                        <a:lnTo>
                          <a:pt x="146" y="197"/>
                        </a:lnTo>
                        <a:lnTo>
                          <a:pt x="143" y="197"/>
                        </a:lnTo>
                        <a:lnTo>
                          <a:pt x="141" y="197"/>
                        </a:lnTo>
                        <a:lnTo>
                          <a:pt x="138" y="197"/>
                        </a:lnTo>
                        <a:lnTo>
                          <a:pt x="135" y="195"/>
                        </a:lnTo>
                        <a:lnTo>
                          <a:pt x="133" y="194"/>
                        </a:lnTo>
                        <a:lnTo>
                          <a:pt x="128" y="192"/>
                        </a:lnTo>
                        <a:lnTo>
                          <a:pt x="125" y="189"/>
                        </a:lnTo>
                        <a:lnTo>
                          <a:pt x="122" y="186"/>
                        </a:lnTo>
                        <a:lnTo>
                          <a:pt x="117" y="184"/>
                        </a:lnTo>
                        <a:lnTo>
                          <a:pt x="114" y="183"/>
                        </a:lnTo>
                        <a:lnTo>
                          <a:pt x="111" y="181"/>
                        </a:lnTo>
                        <a:lnTo>
                          <a:pt x="108" y="181"/>
                        </a:lnTo>
                        <a:lnTo>
                          <a:pt x="103" y="179"/>
                        </a:lnTo>
                        <a:lnTo>
                          <a:pt x="100" y="178"/>
                        </a:lnTo>
                        <a:lnTo>
                          <a:pt x="97" y="176"/>
                        </a:lnTo>
                        <a:lnTo>
                          <a:pt x="95" y="176"/>
                        </a:lnTo>
                        <a:lnTo>
                          <a:pt x="92" y="175"/>
                        </a:lnTo>
                        <a:lnTo>
                          <a:pt x="89" y="173"/>
                        </a:lnTo>
                        <a:lnTo>
                          <a:pt x="89" y="172"/>
                        </a:lnTo>
                        <a:lnTo>
                          <a:pt x="89" y="170"/>
                        </a:lnTo>
                        <a:lnTo>
                          <a:pt x="90" y="168"/>
                        </a:lnTo>
                        <a:lnTo>
                          <a:pt x="92" y="167"/>
                        </a:lnTo>
                        <a:lnTo>
                          <a:pt x="95" y="162"/>
                        </a:lnTo>
                        <a:lnTo>
                          <a:pt x="98" y="160"/>
                        </a:lnTo>
                        <a:lnTo>
                          <a:pt x="98" y="159"/>
                        </a:lnTo>
                        <a:lnTo>
                          <a:pt x="98" y="157"/>
                        </a:lnTo>
                        <a:lnTo>
                          <a:pt x="98" y="156"/>
                        </a:lnTo>
                        <a:lnTo>
                          <a:pt x="97" y="154"/>
                        </a:lnTo>
                        <a:lnTo>
                          <a:pt x="95" y="154"/>
                        </a:lnTo>
                        <a:lnTo>
                          <a:pt x="94" y="153"/>
                        </a:lnTo>
                        <a:lnTo>
                          <a:pt x="94" y="151"/>
                        </a:lnTo>
                        <a:lnTo>
                          <a:pt x="90" y="149"/>
                        </a:lnTo>
                        <a:lnTo>
                          <a:pt x="89" y="149"/>
                        </a:lnTo>
                        <a:lnTo>
                          <a:pt x="87" y="149"/>
                        </a:lnTo>
                        <a:lnTo>
                          <a:pt x="86" y="148"/>
                        </a:lnTo>
                        <a:lnTo>
                          <a:pt x="84" y="148"/>
                        </a:lnTo>
                        <a:lnTo>
                          <a:pt x="84" y="146"/>
                        </a:lnTo>
                        <a:lnTo>
                          <a:pt x="82" y="145"/>
                        </a:lnTo>
                        <a:lnTo>
                          <a:pt x="82" y="143"/>
                        </a:lnTo>
                        <a:lnTo>
                          <a:pt x="81" y="141"/>
                        </a:lnTo>
                        <a:lnTo>
                          <a:pt x="79" y="141"/>
                        </a:lnTo>
                        <a:lnTo>
                          <a:pt x="78" y="140"/>
                        </a:lnTo>
                        <a:lnTo>
                          <a:pt x="76" y="140"/>
                        </a:lnTo>
                        <a:lnTo>
                          <a:pt x="75" y="140"/>
                        </a:lnTo>
                        <a:lnTo>
                          <a:pt x="75" y="138"/>
                        </a:lnTo>
                        <a:lnTo>
                          <a:pt x="73" y="137"/>
                        </a:lnTo>
                        <a:lnTo>
                          <a:pt x="70" y="135"/>
                        </a:lnTo>
                        <a:lnTo>
                          <a:pt x="68" y="132"/>
                        </a:lnTo>
                        <a:lnTo>
                          <a:pt x="67" y="130"/>
                        </a:lnTo>
                        <a:lnTo>
                          <a:pt x="65" y="127"/>
                        </a:lnTo>
                        <a:lnTo>
                          <a:pt x="65" y="122"/>
                        </a:lnTo>
                        <a:lnTo>
                          <a:pt x="65" y="119"/>
                        </a:lnTo>
                        <a:lnTo>
                          <a:pt x="67" y="114"/>
                        </a:lnTo>
                        <a:lnTo>
                          <a:pt x="68" y="110"/>
                        </a:lnTo>
                        <a:lnTo>
                          <a:pt x="70" y="107"/>
                        </a:lnTo>
                        <a:lnTo>
                          <a:pt x="73" y="105"/>
                        </a:lnTo>
                        <a:lnTo>
                          <a:pt x="78" y="100"/>
                        </a:lnTo>
                        <a:lnTo>
                          <a:pt x="81" y="97"/>
                        </a:lnTo>
                        <a:lnTo>
                          <a:pt x="84" y="94"/>
                        </a:lnTo>
                        <a:lnTo>
                          <a:pt x="86" y="91"/>
                        </a:lnTo>
                        <a:lnTo>
                          <a:pt x="86" y="88"/>
                        </a:lnTo>
                        <a:lnTo>
                          <a:pt x="86" y="83"/>
                        </a:lnTo>
                        <a:lnTo>
                          <a:pt x="87" y="78"/>
                        </a:lnTo>
                        <a:lnTo>
                          <a:pt x="89" y="76"/>
                        </a:lnTo>
                        <a:lnTo>
                          <a:pt x="90" y="75"/>
                        </a:lnTo>
                        <a:lnTo>
                          <a:pt x="92" y="73"/>
                        </a:lnTo>
                        <a:lnTo>
                          <a:pt x="95" y="72"/>
                        </a:lnTo>
                        <a:lnTo>
                          <a:pt x="98" y="72"/>
                        </a:lnTo>
                        <a:lnTo>
                          <a:pt x="100" y="72"/>
                        </a:lnTo>
                        <a:lnTo>
                          <a:pt x="103" y="72"/>
                        </a:lnTo>
                        <a:lnTo>
                          <a:pt x="106" y="70"/>
                        </a:lnTo>
                        <a:lnTo>
                          <a:pt x="108" y="69"/>
                        </a:lnTo>
                        <a:lnTo>
                          <a:pt x="109" y="69"/>
                        </a:lnTo>
                        <a:lnTo>
                          <a:pt x="111" y="69"/>
                        </a:lnTo>
                        <a:lnTo>
                          <a:pt x="113" y="67"/>
                        </a:lnTo>
                        <a:lnTo>
                          <a:pt x="113" y="69"/>
                        </a:lnTo>
                        <a:lnTo>
                          <a:pt x="114" y="69"/>
                        </a:lnTo>
                        <a:lnTo>
                          <a:pt x="116" y="69"/>
                        </a:lnTo>
                        <a:lnTo>
                          <a:pt x="117" y="67"/>
                        </a:lnTo>
                        <a:lnTo>
                          <a:pt x="119" y="67"/>
                        </a:lnTo>
                        <a:lnTo>
                          <a:pt x="122" y="65"/>
                        </a:lnTo>
                        <a:lnTo>
                          <a:pt x="124" y="64"/>
                        </a:lnTo>
                        <a:lnTo>
                          <a:pt x="127" y="61"/>
                        </a:lnTo>
                        <a:lnTo>
                          <a:pt x="127" y="57"/>
                        </a:lnTo>
                        <a:lnTo>
                          <a:pt x="128" y="56"/>
                        </a:lnTo>
                        <a:lnTo>
                          <a:pt x="128" y="54"/>
                        </a:lnTo>
                        <a:lnTo>
                          <a:pt x="127" y="54"/>
                        </a:lnTo>
                        <a:lnTo>
                          <a:pt x="127" y="51"/>
                        </a:lnTo>
                        <a:lnTo>
                          <a:pt x="127" y="50"/>
                        </a:lnTo>
                        <a:lnTo>
                          <a:pt x="127" y="48"/>
                        </a:lnTo>
                        <a:lnTo>
                          <a:pt x="127" y="45"/>
                        </a:lnTo>
                        <a:lnTo>
                          <a:pt x="128" y="43"/>
                        </a:lnTo>
                        <a:lnTo>
                          <a:pt x="132" y="38"/>
                        </a:lnTo>
                        <a:lnTo>
                          <a:pt x="135" y="35"/>
                        </a:lnTo>
                        <a:lnTo>
                          <a:pt x="138" y="34"/>
                        </a:lnTo>
                        <a:lnTo>
                          <a:pt x="141" y="32"/>
                        </a:lnTo>
                        <a:lnTo>
                          <a:pt x="144" y="31"/>
                        </a:lnTo>
                        <a:lnTo>
                          <a:pt x="149" y="29"/>
                        </a:lnTo>
                        <a:lnTo>
                          <a:pt x="152" y="27"/>
                        </a:lnTo>
                        <a:lnTo>
                          <a:pt x="155" y="27"/>
                        </a:lnTo>
                        <a:lnTo>
                          <a:pt x="162" y="24"/>
                        </a:lnTo>
                        <a:lnTo>
                          <a:pt x="168" y="23"/>
                        </a:lnTo>
                        <a:lnTo>
                          <a:pt x="171" y="23"/>
                        </a:lnTo>
                        <a:lnTo>
                          <a:pt x="173" y="23"/>
                        </a:lnTo>
                        <a:lnTo>
                          <a:pt x="176" y="23"/>
                        </a:lnTo>
                        <a:lnTo>
                          <a:pt x="182" y="23"/>
                        </a:lnTo>
                        <a:lnTo>
                          <a:pt x="189" y="24"/>
                        </a:lnTo>
                        <a:lnTo>
                          <a:pt x="193" y="26"/>
                        </a:lnTo>
                        <a:lnTo>
                          <a:pt x="198" y="26"/>
                        </a:lnTo>
                        <a:lnTo>
                          <a:pt x="204" y="24"/>
                        </a:lnTo>
                        <a:lnTo>
                          <a:pt x="209" y="23"/>
                        </a:lnTo>
                        <a:lnTo>
                          <a:pt x="212" y="21"/>
                        </a:lnTo>
                        <a:lnTo>
                          <a:pt x="216" y="19"/>
                        </a:lnTo>
                        <a:lnTo>
                          <a:pt x="222" y="16"/>
                        </a:lnTo>
                        <a:lnTo>
                          <a:pt x="223" y="15"/>
                        </a:lnTo>
                        <a:lnTo>
                          <a:pt x="230" y="13"/>
                        </a:lnTo>
                        <a:lnTo>
                          <a:pt x="235" y="10"/>
                        </a:lnTo>
                        <a:lnTo>
                          <a:pt x="242" y="7"/>
                        </a:lnTo>
                        <a:lnTo>
                          <a:pt x="249" y="2"/>
                        </a:lnTo>
                        <a:lnTo>
                          <a:pt x="250" y="2"/>
                        </a:lnTo>
                        <a:lnTo>
                          <a:pt x="252" y="2"/>
                        </a:lnTo>
                        <a:lnTo>
                          <a:pt x="258" y="4"/>
                        </a:lnTo>
                        <a:lnTo>
                          <a:pt x="263" y="4"/>
                        </a:lnTo>
                        <a:lnTo>
                          <a:pt x="268" y="4"/>
                        </a:lnTo>
                        <a:lnTo>
                          <a:pt x="273" y="2"/>
                        </a:lnTo>
                        <a:lnTo>
                          <a:pt x="277" y="2"/>
                        </a:lnTo>
                        <a:lnTo>
                          <a:pt x="280" y="2"/>
                        </a:lnTo>
                        <a:lnTo>
                          <a:pt x="284" y="2"/>
                        </a:lnTo>
                        <a:lnTo>
                          <a:pt x="287" y="2"/>
                        </a:lnTo>
                        <a:lnTo>
                          <a:pt x="290" y="2"/>
                        </a:lnTo>
                        <a:lnTo>
                          <a:pt x="293" y="0"/>
                        </a:lnTo>
                        <a:lnTo>
                          <a:pt x="295" y="0"/>
                        </a:lnTo>
                        <a:lnTo>
                          <a:pt x="296" y="0"/>
                        </a:lnTo>
                        <a:close/>
                      </a:path>
                    </a:pathLst>
                  </a:custGeom>
                  <a:solidFill>
                    <a:srgbClr val="E1E1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68" name="Freeform 67"/>
                  <p:cNvSpPr>
                    <a:spLocks/>
                  </p:cNvSpPr>
                  <p:nvPr/>
                </p:nvSpPr>
                <p:spPr bwMode="auto">
                  <a:xfrm>
                    <a:off x="4049" y="1960"/>
                    <a:ext cx="734" cy="653"/>
                  </a:xfrm>
                  <a:custGeom>
                    <a:avLst/>
                    <a:gdLst>
                      <a:gd name="T0" fmla="*/ 37 w 734"/>
                      <a:gd name="T1" fmla="*/ 16 h 653"/>
                      <a:gd name="T2" fmla="*/ 84 w 734"/>
                      <a:gd name="T3" fmla="*/ 31 h 653"/>
                      <a:gd name="T4" fmla="*/ 116 w 734"/>
                      <a:gd name="T5" fmla="*/ 35 h 653"/>
                      <a:gd name="T6" fmla="*/ 141 w 734"/>
                      <a:gd name="T7" fmla="*/ 32 h 653"/>
                      <a:gd name="T8" fmla="*/ 144 w 734"/>
                      <a:gd name="T9" fmla="*/ 59 h 653"/>
                      <a:gd name="T10" fmla="*/ 195 w 734"/>
                      <a:gd name="T11" fmla="*/ 69 h 653"/>
                      <a:gd name="T12" fmla="*/ 273 w 734"/>
                      <a:gd name="T13" fmla="*/ 91 h 653"/>
                      <a:gd name="T14" fmla="*/ 279 w 734"/>
                      <a:gd name="T15" fmla="*/ 130 h 653"/>
                      <a:gd name="T16" fmla="*/ 285 w 734"/>
                      <a:gd name="T17" fmla="*/ 151 h 653"/>
                      <a:gd name="T18" fmla="*/ 281 w 734"/>
                      <a:gd name="T19" fmla="*/ 168 h 653"/>
                      <a:gd name="T20" fmla="*/ 293 w 734"/>
                      <a:gd name="T21" fmla="*/ 183 h 653"/>
                      <a:gd name="T22" fmla="*/ 303 w 734"/>
                      <a:gd name="T23" fmla="*/ 151 h 653"/>
                      <a:gd name="T24" fmla="*/ 361 w 734"/>
                      <a:gd name="T25" fmla="*/ 160 h 653"/>
                      <a:gd name="T26" fmla="*/ 387 w 734"/>
                      <a:gd name="T27" fmla="*/ 172 h 653"/>
                      <a:gd name="T28" fmla="*/ 388 w 734"/>
                      <a:gd name="T29" fmla="*/ 184 h 653"/>
                      <a:gd name="T30" fmla="*/ 406 w 734"/>
                      <a:gd name="T31" fmla="*/ 200 h 653"/>
                      <a:gd name="T32" fmla="*/ 422 w 734"/>
                      <a:gd name="T33" fmla="*/ 222 h 653"/>
                      <a:gd name="T34" fmla="*/ 449 w 734"/>
                      <a:gd name="T35" fmla="*/ 238 h 653"/>
                      <a:gd name="T36" fmla="*/ 474 w 734"/>
                      <a:gd name="T37" fmla="*/ 224 h 653"/>
                      <a:gd name="T38" fmla="*/ 506 w 734"/>
                      <a:gd name="T39" fmla="*/ 208 h 653"/>
                      <a:gd name="T40" fmla="*/ 529 w 734"/>
                      <a:gd name="T41" fmla="*/ 189 h 653"/>
                      <a:gd name="T42" fmla="*/ 507 w 734"/>
                      <a:gd name="T43" fmla="*/ 156 h 653"/>
                      <a:gd name="T44" fmla="*/ 540 w 734"/>
                      <a:gd name="T45" fmla="*/ 141 h 653"/>
                      <a:gd name="T46" fmla="*/ 571 w 734"/>
                      <a:gd name="T47" fmla="*/ 145 h 653"/>
                      <a:gd name="T48" fmla="*/ 586 w 734"/>
                      <a:gd name="T49" fmla="*/ 162 h 653"/>
                      <a:gd name="T50" fmla="*/ 585 w 734"/>
                      <a:gd name="T51" fmla="*/ 191 h 653"/>
                      <a:gd name="T52" fmla="*/ 583 w 734"/>
                      <a:gd name="T53" fmla="*/ 211 h 653"/>
                      <a:gd name="T54" fmla="*/ 591 w 734"/>
                      <a:gd name="T55" fmla="*/ 235 h 653"/>
                      <a:gd name="T56" fmla="*/ 597 w 734"/>
                      <a:gd name="T57" fmla="*/ 260 h 653"/>
                      <a:gd name="T58" fmla="*/ 623 w 734"/>
                      <a:gd name="T59" fmla="*/ 284 h 653"/>
                      <a:gd name="T60" fmla="*/ 650 w 734"/>
                      <a:gd name="T61" fmla="*/ 305 h 653"/>
                      <a:gd name="T62" fmla="*/ 666 w 734"/>
                      <a:gd name="T63" fmla="*/ 322 h 653"/>
                      <a:gd name="T64" fmla="*/ 659 w 734"/>
                      <a:gd name="T65" fmla="*/ 352 h 653"/>
                      <a:gd name="T66" fmla="*/ 667 w 734"/>
                      <a:gd name="T67" fmla="*/ 387 h 653"/>
                      <a:gd name="T68" fmla="*/ 683 w 734"/>
                      <a:gd name="T69" fmla="*/ 408 h 653"/>
                      <a:gd name="T70" fmla="*/ 697 w 734"/>
                      <a:gd name="T71" fmla="*/ 442 h 653"/>
                      <a:gd name="T72" fmla="*/ 721 w 734"/>
                      <a:gd name="T73" fmla="*/ 465 h 653"/>
                      <a:gd name="T74" fmla="*/ 716 w 734"/>
                      <a:gd name="T75" fmla="*/ 477 h 653"/>
                      <a:gd name="T76" fmla="*/ 723 w 734"/>
                      <a:gd name="T77" fmla="*/ 504 h 653"/>
                      <a:gd name="T78" fmla="*/ 734 w 734"/>
                      <a:gd name="T79" fmla="*/ 520 h 653"/>
                      <a:gd name="T80" fmla="*/ 724 w 734"/>
                      <a:gd name="T81" fmla="*/ 541 h 653"/>
                      <a:gd name="T82" fmla="*/ 712 w 734"/>
                      <a:gd name="T83" fmla="*/ 556 h 653"/>
                      <a:gd name="T84" fmla="*/ 693 w 734"/>
                      <a:gd name="T85" fmla="*/ 571 h 653"/>
                      <a:gd name="T86" fmla="*/ 656 w 734"/>
                      <a:gd name="T87" fmla="*/ 566 h 653"/>
                      <a:gd name="T88" fmla="*/ 616 w 734"/>
                      <a:gd name="T89" fmla="*/ 574 h 653"/>
                      <a:gd name="T90" fmla="*/ 583 w 734"/>
                      <a:gd name="T91" fmla="*/ 615 h 653"/>
                      <a:gd name="T92" fmla="*/ 572 w 734"/>
                      <a:gd name="T93" fmla="*/ 628 h 653"/>
                      <a:gd name="T94" fmla="*/ 555 w 734"/>
                      <a:gd name="T95" fmla="*/ 644 h 653"/>
                      <a:gd name="T96" fmla="*/ 521 w 734"/>
                      <a:gd name="T97" fmla="*/ 651 h 653"/>
                      <a:gd name="T98" fmla="*/ 466 w 734"/>
                      <a:gd name="T99" fmla="*/ 645 h 653"/>
                      <a:gd name="T100" fmla="*/ 449 w 734"/>
                      <a:gd name="T101" fmla="*/ 648 h 653"/>
                      <a:gd name="T102" fmla="*/ 441 w 734"/>
                      <a:gd name="T103" fmla="*/ 626 h 653"/>
                      <a:gd name="T104" fmla="*/ 441 w 734"/>
                      <a:gd name="T105" fmla="*/ 610 h 653"/>
                      <a:gd name="T106" fmla="*/ 426 w 734"/>
                      <a:gd name="T107" fmla="*/ 596 h 653"/>
                      <a:gd name="T108" fmla="*/ 412 w 734"/>
                      <a:gd name="T109" fmla="*/ 582 h 653"/>
                      <a:gd name="T110" fmla="*/ 392 w 734"/>
                      <a:gd name="T111" fmla="*/ 568 h 653"/>
                      <a:gd name="T112" fmla="*/ 379 w 734"/>
                      <a:gd name="T113" fmla="*/ 549 h 653"/>
                      <a:gd name="T114" fmla="*/ 363 w 734"/>
                      <a:gd name="T115" fmla="*/ 528 h 653"/>
                      <a:gd name="T116" fmla="*/ 357 w 734"/>
                      <a:gd name="T117" fmla="*/ 499 h 653"/>
                      <a:gd name="T118" fmla="*/ 333 w 734"/>
                      <a:gd name="T119" fmla="*/ 469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34" h="653">
                        <a:moveTo>
                          <a:pt x="0" y="0"/>
                        </a:moveTo>
                        <a:lnTo>
                          <a:pt x="2" y="2"/>
                        </a:lnTo>
                        <a:lnTo>
                          <a:pt x="5" y="5"/>
                        </a:lnTo>
                        <a:lnTo>
                          <a:pt x="8" y="10"/>
                        </a:lnTo>
                        <a:lnTo>
                          <a:pt x="11" y="13"/>
                        </a:lnTo>
                        <a:lnTo>
                          <a:pt x="15" y="16"/>
                        </a:lnTo>
                        <a:lnTo>
                          <a:pt x="16" y="18"/>
                        </a:lnTo>
                        <a:lnTo>
                          <a:pt x="18" y="18"/>
                        </a:lnTo>
                        <a:lnTo>
                          <a:pt x="19" y="18"/>
                        </a:lnTo>
                        <a:lnTo>
                          <a:pt x="24" y="19"/>
                        </a:lnTo>
                        <a:lnTo>
                          <a:pt x="34" y="21"/>
                        </a:lnTo>
                        <a:lnTo>
                          <a:pt x="35" y="23"/>
                        </a:lnTo>
                        <a:lnTo>
                          <a:pt x="37" y="21"/>
                        </a:lnTo>
                        <a:lnTo>
                          <a:pt x="38" y="21"/>
                        </a:lnTo>
                        <a:lnTo>
                          <a:pt x="38" y="19"/>
                        </a:lnTo>
                        <a:lnTo>
                          <a:pt x="38" y="18"/>
                        </a:lnTo>
                        <a:lnTo>
                          <a:pt x="37" y="16"/>
                        </a:lnTo>
                        <a:lnTo>
                          <a:pt x="38" y="15"/>
                        </a:lnTo>
                        <a:lnTo>
                          <a:pt x="38" y="12"/>
                        </a:lnTo>
                        <a:lnTo>
                          <a:pt x="41" y="4"/>
                        </a:lnTo>
                        <a:lnTo>
                          <a:pt x="46" y="7"/>
                        </a:lnTo>
                        <a:lnTo>
                          <a:pt x="53" y="8"/>
                        </a:lnTo>
                        <a:lnTo>
                          <a:pt x="59" y="8"/>
                        </a:lnTo>
                        <a:lnTo>
                          <a:pt x="64" y="10"/>
                        </a:lnTo>
                        <a:lnTo>
                          <a:pt x="65" y="12"/>
                        </a:lnTo>
                        <a:lnTo>
                          <a:pt x="68" y="13"/>
                        </a:lnTo>
                        <a:lnTo>
                          <a:pt x="70" y="16"/>
                        </a:lnTo>
                        <a:lnTo>
                          <a:pt x="72" y="19"/>
                        </a:lnTo>
                        <a:lnTo>
                          <a:pt x="73" y="24"/>
                        </a:lnTo>
                        <a:lnTo>
                          <a:pt x="73" y="27"/>
                        </a:lnTo>
                        <a:lnTo>
                          <a:pt x="75" y="29"/>
                        </a:lnTo>
                        <a:lnTo>
                          <a:pt x="76" y="31"/>
                        </a:lnTo>
                        <a:lnTo>
                          <a:pt x="78" y="31"/>
                        </a:lnTo>
                        <a:lnTo>
                          <a:pt x="84" y="31"/>
                        </a:lnTo>
                        <a:lnTo>
                          <a:pt x="86" y="31"/>
                        </a:lnTo>
                        <a:lnTo>
                          <a:pt x="87" y="31"/>
                        </a:lnTo>
                        <a:lnTo>
                          <a:pt x="91" y="31"/>
                        </a:lnTo>
                        <a:lnTo>
                          <a:pt x="94" y="31"/>
                        </a:lnTo>
                        <a:lnTo>
                          <a:pt x="99" y="29"/>
                        </a:lnTo>
                        <a:lnTo>
                          <a:pt x="102" y="29"/>
                        </a:lnTo>
                        <a:lnTo>
                          <a:pt x="103" y="29"/>
                        </a:lnTo>
                        <a:lnTo>
                          <a:pt x="105" y="29"/>
                        </a:lnTo>
                        <a:lnTo>
                          <a:pt x="106" y="31"/>
                        </a:lnTo>
                        <a:lnTo>
                          <a:pt x="108" y="32"/>
                        </a:lnTo>
                        <a:lnTo>
                          <a:pt x="108" y="35"/>
                        </a:lnTo>
                        <a:lnTo>
                          <a:pt x="110" y="35"/>
                        </a:lnTo>
                        <a:lnTo>
                          <a:pt x="110" y="37"/>
                        </a:lnTo>
                        <a:lnTo>
                          <a:pt x="111" y="37"/>
                        </a:lnTo>
                        <a:lnTo>
                          <a:pt x="114" y="37"/>
                        </a:lnTo>
                        <a:lnTo>
                          <a:pt x="114" y="35"/>
                        </a:lnTo>
                        <a:lnTo>
                          <a:pt x="116" y="35"/>
                        </a:lnTo>
                        <a:lnTo>
                          <a:pt x="118" y="34"/>
                        </a:lnTo>
                        <a:lnTo>
                          <a:pt x="119" y="32"/>
                        </a:lnTo>
                        <a:lnTo>
                          <a:pt x="121" y="31"/>
                        </a:lnTo>
                        <a:lnTo>
                          <a:pt x="124" y="31"/>
                        </a:lnTo>
                        <a:lnTo>
                          <a:pt x="124" y="29"/>
                        </a:lnTo>
                        <a:lnTo>
                          <a:pt x="125" y="27"/>
                        </a:lnTo>
                        <a:lnTo>
                          <a:pt x="127" y="27"/>
                        </a:lnTo>
                        <a:lnTo>
                          <a:pt x="129" y="27"/>
                        </a:lnTo>
                        <a:lnTo>
                          <a:pt x="130" y="27"/>
                        </a:lnTo>
                        <a:lnTo>
                          <a:pt x="133" y="29"/>
                        </a:lnTo>
                        <a:lnTo>
                          <a:pt x="135" y="29"/>
                        </a:lnTo>
                        <a:lnTo>
                          <a:pt x="135" y="31"/>
                        </a:lnTo>
                        <a:lnTo>
                          <a:pt x="135" y="32"/>
                        </a:lnTo>
                        <a:lnTo>
                          <a:pt x="137" y="32"/>
                        </a:lnTo>
                        <a:lnTo>
                          <a:pt x="138" y="32"/>
                        </a:lnTo>
                        <a:lnTo>
                          <a:pt x="140" y="32"/>
                        </a:lnTo>
                        <a:lnTo>
                          <a:pt x="141" y="32"/>
                        </a:lnTo>
                        <a:lnTo>
                          <a:pt x="141" y="34"/>
                        </a:lnTo>
                        <a:lnTo>
                          <a:pt x="144" y="34"/>
                        </a:lnTo>
                        <a:lnTo>
                          <a:pt x="146" y="34"/>
                        </a:lnTo>
                        <a:lnTo>
                          <a:pt x="149" y="37"/>
                        </a:lnTo>
                        <a:lnTo>
                          <a:pt x="149" y="38"/>
                        </a:lnTo>
                        <a:lnTo>
                          <a:pt x="149" y="40"/>
                        </a:lnTo>
                        <a:lnTo>
                          <a:pt x="151" y="42"/>
                        </a:lnTo>
                        <a:lnTo>
                          <a:pt x="149" y="43"/>
                        </a:lnTo>
                        <a:lnTo>
                          <a:pt x="151" y="46"/>
                        </a:lnTo>
                        <a:lnTo>
                          <a:pt x="149" y="50"/>
                        </a:lnTo>
                        <a:lnTo>
                          <a:pt x="148" y="51"/>
                        </a:lnTo>
                        <a:lnTo>
                          <a:pt x="146" y="51"/>
                        </a:lnTo>
                        <a:lnTo>
                          <a:pt x="144" y="53"/>
                        </a:lnTo>
                        <a:lnTo>
                          <a:pt x="143" y="54"/>
                        </a:lnTo>
                        <a:lnTo>
                          <a:pt x="143" y="56"/>
                        </a:lnTo>
                        <a:lnTo>
                          <a:pt x="143" y="59"/>
                        </a:lnTo>
                        <a:lnTo>
                          <a:pt x="144" y="59"/>
                        </a:lnTo>
                        <a:lnTo>
                          <a:pt x="146" y="61"/>
                        </a:lnTo>
                        <a:lnTo>
                          <a:pt x="149" y="61"/>
                        </a:lnTo>
                        <a:lnTo>
                          <a:pt x="152" y="61"/>
                        </a:lnTo>
                        <a:lnTo>
                          <a:pt x="154" y="61"/>
                        </a:lnTo>
                        <a:lnTo>
                          <a:pt x="156" y="59"/>
                        </a:lnTo>
                        <a:lnTo>
                          <a:pt x="159" y="59"/>
                        </a:lnTo>
                        <a:lnTo>
                          <a:pt x="162" y="57"/>
                        </a:lnTo>
                        <a:lnTo>
                          <a:pt x="163" y="57"/>
                        </a:lnTo>
                        <a:lnTo>
                          <a:pt x="165" y="57"/>
                        </a:lnTo>
                        <a:lnTo>
                          <a:pt x="167" y="57"/>
                        </a:lnTo>
                        <a:lnTo>
                          <a:pt x="171" y="59"/>
                        </a:lnTo>
                        <a:lnTo>
                          <a:pt x="176" y="62"/>
                        </a:lnTo>
                        <a:lnTo>
                          <a:pt x="181" y="65"/>
                        </a:lnTo>
                        <a:lnTo>
                          <a:pt x="186" y="67"/>
                        </a:lnTo>
                        <a:lnTo>
                          <a:pt x="189" y="69"/>
                        </a:lnTo>
                        <a:lnTo>
                          <a:pt x="192" y="69"/>
                        </a:lnTo>
                        <a:lnTo>
                          <a:pt x="195" y="69"/>
                        </a:lnTo>
                        <a:lnTo>
                          <a:pt x="201" y="69"/>
                        </a:lnTo>
                        <a:lnTo>
                          <a:pt x="206" y="67"/>
                        </a:lnTo>
                        <a:lnTo>
                          <a:pt x="211" y="67"/>
                        </a:lnTo>
                        <a:lnTo>
                          <a:pt x="216" y="65"/>
                        </a:lnTo>
                        <a:lnTo>
                          <a:pt x="220" y="65"/>
                        </a:lnTo>
                        <a:lnTo>
                          <a:pt x="225" y="65"/>
                        </a:lnTo>
                        <a:lnTo>
                          <a:pt x="230" y="67"/>
                        </a:lnTo>
                        <a:lnTo>
                          <a:pt x="235" y="70"/>
                        </a:lnTo>
                        <a:lnTo>
                          <a:pt x="238" y="72"/>
                        </a:lnTo>
                        <a:lnTo>
                          <a:pt x="241" y="75"/>
                        </a:lnTo>
                        <a:lnTo>
                          <a:pt x="246" y="76"/>
                        </a:lnTo>
                        <a:lnTo>
                          <a:pt x="252" y="80"/>
                        </a:lnTo>
                        <a:lnTo>
                          <a:pt x="257" y="81"/>
                        </a:lnTo>
                        <a:lnTo>
                          <a:pt x="262" y="84"/>
                        </a:lnTo>
                        <a:lnTo>
                          <a:pt x="266" y="88"/>
                        </a:lnTo>
                        <a:lnTo>
                          <a:pt x="271" y="89"/>
                        </a:lnTo>
                        <a:lnTo>
                          <a:pt x="273" y="91"/>
                        </a:lnTo>
                        <a:lnTo>
                          <a:pt x="274" y="91"/>
                        </a:lnTo>
                        <a:lnTo>
                          <a:pt x="276" y="92"/>
                        </a:lnTo>
                        <a:lnTo>
                          <a:pt x="278" y="92"/>
                        </a:lnTo>
                        <a:lnTo>
                          <a:pt x="278" y="94"/>
                        </a:lnTo>
                        <a:lnTo>
                          <a:pt x="276" y="95"/>
                        </a:lnTo>
                        <a:lnTo>
                          <a:pt x="278" y="99"/>
                        </a:lnTo>
                        <a:lnTo>
                          <a:pt x="278" y="102"/>
                        </a:lnTo>
                        <a:lnTo>
                          <a:pt x="276" y="105"/>
                        </a:lnTo>
                        <a:lnTo>
                          <a:pt x="276" y="110"/>
                        </a:lnTo>
                        <a:lnTo>
                          <a:pt x="278" y="111"/>
                        </a:lnTo>
                        <a:lnTo>
                          <a:pt x="279" y="114"/>
                        </a:lnTo>
                        <a:lnTo>
                          <a:pt x="279" y="118"/>
                        </a:lnTo>
                        <a:lnTo>
                          <a:pt x="279" y="119"/>
                        </a:lnTo>
                        <a:lnTo>
                          <a:pt x="279" y="124"/>
                        </a:lnTo>
                        <a:lnTo>
                          <a:pt x="279" y="126"/>
                        </a:lnTo>
                        <a:lnTo>
                          <a:pt x="279" y="129"/>
                        </a:lnTo>
                        <a:lnTo>
                          <a:pt x="279" y="130"/>
                        </a:lnTo>
                        <a:lnTo>
                          <a:pt x="281" y="132"/>
                        </a:lnTo>
                        <a:lnTo>
                          <a:pt x="279" y="134"/>
                        </a:lnTo>
                        <a:lnTo>
                          <a:pt x="278" y="135"/>
                        </a:lnTo>
                        <a:lnTo>
                          <a:pt x="274" y="135"/>
                        </a:lnTo>
                        <a:lnTo>
                          <a:pt x="271" y="137"/>
                        </a:lnTo>
                        <a:lnTo>
                          <a:pt x="273" y="138"/>
                        </a:lnTo>
                        <a:lnTo>
                          <a:pt x="274" y="141"/>
                        </a:lnTo>
                        <a:lnTo>
                          <a:pt x="276" y="141"/>
                        </a:lnTo>
                        <a:lnTo>
                          <a:pt x="278" y="143"/>
                        </a:lnTo>
                        <a:lnTo>
                          <a:pt x="278" y="145"/>
                        </a:lnTo>
                        <a:lnTo>
                          <a:pt x="278" y="146"/>
                        </a:lnTo>
                        <a:lnTo>
                          <a:pt x="278" y="149"/>
                        </a:lnTo>
                        <a:lnTo>
                          <a:pt x="278" y="151"/>
                        </a:lnTo>
                        <a:lnTo>
                          <a:pt x="279" y="151"/>
                        </a:lnTo>
                        <a:lnTo>
                          <a:pt x="281" y="151"/>
                        </a:lnTo>
                        <a:lnTo>
                          <a:pt x="284" y="151"/>
                        </a:lnTo>
                        <a:lnTo>
                          <a:pt x="285" y="151"/>
                        </a:lnTo>
                        <a:lnTo>
                          <a:pt x="287" y="151"/>
                        </a:lnTo>
                        <a:lnTo>
                          <a:pt x="289" y="151"/>
                        </a:lnTo>
                        <a:lnTo>
                          <a:pt x="290" y="151"/>
                        </a:lnTo>
                        <a:lnTo>
                          <a:pt x="292" y="151"/>
                        </a:lnTo>
                        <a:lnTo>
                          <a:pt x="295" y="151"/>
                        </a:lnTo>
                        <a:lnTo>
                          <a:pt x="297" y="153"/>
                        </a:lnTo>
                        <a:lnTo>
                          <a:pt x="297" y="154"/>
                        </a:lnTo>
                        <a:lnTo>
                          <a:pt x="297" y="156"/>
                        </a:lnTo>
                        <a:lnTo>
                          <a:pt x="295" y="160"/>
                        </a:lnTo>
                        <a:lnTo>
                          <a:pt x="293" y="162"/>
                        </a:lnTo>
                        <a:lnTo>
                          <a:pt x="292" y="164"/>
                        </a:lnTo>
                        <a:lnTo>
                          <a:pt x="290" y="164"/>
                        </a:lnTo>
                        <a:lnTo>
                          <a:pt x="289" y="165"/>
                        </a:lnTo>
                        <a:lnTo>
                          <a:pt x="287" y="165"/>
                        </a:lnTo>
                        <a:lnTo>
                          <a:pt x="285" y="167"/>
                        </a:lnTo>
                        <a:lnTo>
                          <a:pt x="284" y="168"/>
                        </a:lnTo>
                        <a:lnTo>
                          <a:pt x="281" y="168"/>
                        </a:lnTo>
                        <a:lnTo>
                          <a:pt x="279" y="172"/>
                        </a:lnTo>
                        <a:lnTo>
                          <a:pt x="279" y="173"/>
                        </a:lnTo>
                        <a:lnTo>
                          <a:pt x="278" y="175"/>
                        </a:lnTo>
                        <a:lnTo>
                          <a:pt x="279" y="176"/>
                        </a:lnTo>
                        <a:lnTo>
                          <a:pt x="279" y="178"/>
                        </a:lnTo>
                        <a:lnTo>
                          <a:pt x="282" y="178"/>
                        </a:lnTo>
                        <a:lnTo>
                          <a:pt x="282" y="179"/>
                        </a:lnTo>
                        <a:lnTo>
                          <a:pt x="281" y="181"/>
                        </a:lnTo>
                        <a:lnTo>
                          <a:pt x="284" y="181"/>
                        </a:lnTo>
                        <a:lnTo>
                          <a:pt x="284" y="183"/>
                        </a:lnTo>
                        <a:lnTo>
                          <a:pt x="285" y="183"/>
                        </a:lnTo>
                        <a:lnTo>
                          <a:pt x="287" y="186"/>
                        </a:lnTo>
                        <a:lnTo>
                          <a:pt x="289" y="186"/>
                        </a:lnTo>
                        <a:lnTo>
                          <a:pt x="290" y="186"/>
                        </a:lnTo>
                        <a:lnTo>
                          <a:pt x="292" y="186"/>
                        </a:lnTo>
                        <a:lnTo>
                          <a:pt x="293" y="184"/>
                        </a:lnTo>
                        <a:lnTo>
                          <a:pt x="293" y="183"/>
                        </a:lnTo>
                        <a:lnTo>
                          <a:pt x="295" y="181"/>
                        </a:lnTo>
                        <a:lnTo>
                          <a:pt x="297" y="179"/>
                        </a:lnTo>
                        <a:lnTo>
                          <a:pt x="297" y="178"/>
                        </a:lnTo>
                        <a:lnTo>
                          <a:pt x="298" y="176"/>
                        </a:lnTo>
                        <a:lnTo>
                          <a:pt x="298" y="175"/>
                        </a:lnTo>
                        <a:lnTo>
                          <a:pt x="298" y="173"/>
                        </a:lnTo>
                        <a:lnTo>
                          <a:pt x="298" y="172"/>
                        </a:lnTo>
                        <a:lnTo>
                          <a:pt x="298" y="168"/>
                        </a:lnTo>
                        <a:lnTo>
                          <a:pt x="298" y="167"/>
                        </a:lnTo>
                        <a:lnTo>
                          <a:pt x="300" y="165"/>
                        </a:lnTo>
                        <a:lnTo>
                          <a:pt x="301" y="164"/>
                        </a:lnTo>
                        <a:lnTo>
                          <a:pt x="301" y="162"/>
                        </a:lnTo>
                        <a:lnTo>
                          <a:pt x="303" y="162"/>
                        </a:lnTo>
                        <a:lnTo>
                          <a:pt x="303" y="160"/>
                        </a:lnTo>
                        <a:lnTo>
                          <a:pt x="303" y="157"/>
                        </a:lnTo>
                        <a:lnTo>
                          <a:pt x="303" y="153"/>
                        </a:lnTo>
                        <a:lnTo>
                          <a:pt x="303" y="151"/>
                        </a:lnTo>
                        <a:lnTo>
                          <a:pt x="304" y="149"/>
                        </a:lnTo>
                        <a:lnTo>
                          <a:pt x="306" y="148"/>
                        </a:lnTo>
                        <a:lnTo>
                          <a:pt x="308" y="148"/>
                        </a:lnTo>
                        <a:lnTo>
                          <a:pt x="311" y="148"/>
                        </a:lnTo>
                        <a:lnTo>
                          <a:pt x="314" y="149"/>
                        </a:lnTo>
                        <a:lnTo>
                          <a:pt x="317" y="149"/>
                        </a:lnTo>
                        <a:lnTo>
                          <a:pt x="322" y="151"/>
                        </a:lnTo>
                        <a:lnTo>
                          <a:pt x="323" y="151"/>
                        </a:lnTo>
                        <a:lnTo>
                          <a:pt x="327" y="153"/>
                        </a:lnTo>
                        <a:lnTo>
                          <a:pt x="336" y="154"/>
                        </a:lnTo>
                        <a:lnTo>
                          <a:pt x="341" y="156"/>
                        </a:lnTo>
                        <a:lnTo>
                          <a:pt x="344" y="157"/>
                        </a:lnTo>
                        <a:lnTo>
                          <a:pt x="347" y="157"/>
                        </a:lnTo>
                        <a:lnTo>
                          <a:pt x="354" y="157"/>
                        </a:lnTo>
                        <a:lnTo>
                          <a:pt x="357" y="159"/>
                        </a:lnTo>
                        <a:lnTo>
                          <a:pt x="358" y="159"/>
                        </a:lnTo>
                        <a:lnTo>
                          <a:pt x="361" y="160"/>
                        </a:lnTo>
                        <a:lnTo>
                          <a:pt x="363" y="160"/>
                        </a:lnTo>
                        <a:lnTo>
                          <a:pt x="368" y="160"/>
                        </a:lnTo>
                        <a:lnTo>
                          <a:pt x="371" y="159"/>
                        </a:lnTo>
                        <a:lnTo>
                          <a:pt x="371" y="157"/>
                        </a:lnTo>
                        <a:lnTo>
                          <a:pt x="373" y="157"/>
                        </a:lnTo>
                        <a:lnTo>
                          <a:pt x="374" y="157"/>
                        </a:lnTo>
                        <a:lnTo>
                          <a:pt x="374" y="156"/>
                        </a:lnTo>
                        <a:lnTo>
                          <a:pt x="376" y="159"/>
                        </a:lnTo>
                        <a:lnTo>
                          <a:pt x="376" y="160"/>
                        </a:lnTo>
                        <a:lnTo>
                          <a:pt x="377" y="162"/>
                        </a:lnTo>
                        <a:lnTo>
                          <a:pt x="377" y="164"/>
                        </a:lnTo>
                        <a:lnTo>
                          <a:pt x="379" y="165"/>
                        </a:lnTo>
                        <a:lnTo>
                          <a:pt x="380" y="167"/>
                        </a:lnTo>
                        <a:lnTo>
                          <a:pt x="382" y="168"/>
                        </a:lnTo>
                        <a:lnTo>
                          <a:pt x="384" y="170"/>
                        </a:lnTo>
                        <a:lnTo>
                          <a:pt x="385" y="172"/>
                        </a:lnTo>
                        <a:lnTo>
                          <a:pt x="387" y="172"/>
                        </a:lnTo>
                        <a:lnTo>
                          <a:pt x="388" y="172"/>
                        </a:lnTo>
                        <a:lnTo>
                          <a:pt x="390" y="170"/>
                        </a:lnTo>
                        <a:lnTo>
                          <a:pt x="392" y="170"/>
                        </a:lnTo>
                        <a:lnTo>
                          <a:pt x="393" y="170"/>
                        </a:lnTo>
                        <a:lnTo>
                          <a:pt x="395" y="170"/>
                        </a:lnTo>
                        <a:lnTo>
                          <a:pt x="395" y="172"/>
                        </a:lnTo>
                        <a:lnTo>
                          <a:pt x="395" y="173"/>
                        </a:lnTo>
                        <a:lnTo>
                          <a:pt x="395" y="175"/>
                        </a:lnTo>
                        <a:lnTo>
                          <a:pt x="395" y="176"/>
                        </a:lnTo>
                        <a:lnTo>
                          <a:pt x="393" y="178"/>
                        </a:lnTo>
                        <a:lnTo>
                          <a:pt x="393" y="179"/>
                        </a:lnTo>
                        <a:lnTo>
                          <a:pt x="392" y="181"/>
                        </a:lnTo>
                        <a:lnTo>
                          <a:pt x="390" y="181"/>
                        </a:lnTo>
                        <a:lnTo>
                          <a:pt x="388" y="181"/>
                        </a:lnTo>
                        <a:lnTo>
                          <a:pt x="388" y="183"/>
                        </a:lnTo>
                        <a:lnTo>
                          <a:pt x="387" y="183"/>
                        </a:lnTo>
                        <a:lnTo>
                          <a:pt x="388" y="184"/>
                        </a:lnTo>
                        <a:lnTo>
                          <a:pt x="392" y="184"/>
                        </a:lnTo>
                        <a:lnTo>
                          <a:pt x="392" y="186"/>
                        </a:lnTo>
                        <a:lnTo>
                          <a:pt x="393" y="186"/>
                        </a:lnTo>
                        <a:lnTo>
                          <a:pt x="395" y="186"/>
                        </a:lnTo>
                        <a:lnTo>
                          <a:pt x="396" y="186"/>
                        </a:lnTo>
                        <a:lnTo>
                          <a:pt x="399" y="186"/>
                        </a:lnTo>
                        <a:lnTo>
                          <a:pt x="401" y="186"/>
                        </a:lnTo>
                        <a:lnTo>
                          <a:pt x="401" y="187"/>
                        </a:lnTo>
                        <a:lnTo>
                          <a:pt x="401" y="189"/>
                        </a:lnTo>
                        <a:lnTo>
                          <a:pt x="403" y="189"/>
                        </a:lnTo>
                        <a:lnTo>
                          <a:pt x="403" y="191"/>
                        </a:lnTo>
                        <a:lnTo>
                          <a:pt x="403" y="192"/>
                        </a:lnTo>
                        <a:lnTo>
                          <a:pt x="403" y="194"/>
                        </a:lnTo>
                        <a:lnTo>
                          <a:pt x="404" y="195"/>
                        </a:lnTo>
                        <a:lnTo>
                          <a:pt x="404" y="197"/>
                        </a:lnTo>
                        <a:lnTo>
                          <a:pt x="404" y="198"/>
                        </a:lnTo>
                        <a:lnTo>
                          <a:pt x="406" y="200"/>
                        </a:lnTo>
                        <a:lnTo>
                          <a:pt x="407" y="200"/>
                        </a:lnTo>
                        <a:lnTo>
                          <a:pt x="407" y="202"/>
                        </a:lnTo>
                        <a:lnTo>
                          <a:pt x="409" y="202"/>
                        </a:lnTo>
                        <a:lnTo>
                          <a:pt x="409" y="203"/>
                        </a:lnTo>
                        <a:lnTo>
                          <a:pt x="411" y="203"/>
                        </a:lnTo>
                        <a:lnTo>
                          <a:pt x="412" y="205"/>
                        </a:lnTo>
                        <a:lnTo>
                          <a:pt x="414" y="206"/>
                        </a:lnTo>
                        <a:lnTo>
                          <a:pt x="415" y="208"/>
                        </a:lnTo>
                        <a:lnTo>
                          <a:pt x="415" y="210"/>
                        </a:lnTo>
                        <a:lnTo>
                          <a:pt x="417" y="211"/>
                        </a:lnTo>
                        <a:lnTo>
                          <a:pt x="418" y="213"/>
                        </a:lnTo>
                        <a:lnTo>
                          <a:pt x="420" y="213"/>
                        </a:lnTo>
                        <a:lnTo>
                          <a:pt x="420" y="214"/>
                        </a:lnTo>
                        <a:lnTo>
                          <a:pt x="422" y="216"/>
                        </a:lnTo>
                        <a:lnTo>
                          <a:pt x="422" y="217"/>
                        </a:lnTo>
                        <a:lnTo>
                          <a:pt x="422" y="221"/>
                        </a:lnTo>
                        <a:lnTo>
                          <a:pt x="422" y="222"/>
                        </a:lnTo>
                        <a:lnTo>
                          <a:pt x="422" y="224"/>
                        </a:lnTo>
                        <a:lnTo>
                          <a:pt x="423" y="225"/>
                        </a:lnTo>
                        <a:lnTo>
                          <a:pt x="425" y="227"/>
                        </a:lnTo>
                        <a:lnTo>
                          <a:pt x="426" y="227"/>
                        </a:lnTo>
                        <a:lnTo>
                          <a:pt x="426" y="229"/>
                        </a:lnTo>
                        <a:lnTo>
                          <a:pt x="428" y="229"/>
                        </a:lnTo>
                        <a:lnTo>
                          <a:pt x="430" y="229"/>
                        </a:lnTo>
                        <a:lnTo>
                          <a:pt x="433" y="229"/>
                        </a:lnTo>
                        <a:lnTo>
                          <a:pt x="434" y="229"/>
                        </a:lnTo>
                        <a:lnTo>
                          <a:pt x="436" y="229"/>
                        </a:lnTo>
                        <a:lnTo>
                          <a:pt x="438" y="230"/>
                        </a:lnTo>
                        <a:lnTo>
                          <a:pt x="439" y="232"/>
                        </a:lnTo>
                        <a:lnTo>
                          <a:pt x="441" y="233"/>
                        </a:lnTo>
                        <a:lnTo>
                          <a:pt x="442" y="235"/>
                        </a:lnTo>
                        <a:lnTo>
                          <a:pt x="445" y="236"/>
                        </a:lnTo>
                        <a:lnTo>
                          <a:pt x="447" y="236"/>
                        </a:lnTo>
                        <a:lnTo>
                          <a:pt x="449" y="238"/>
                        </a:lnTo>
                        <a:lnTo>
                          <a:pt x="450" y="240"/>
                        </a:lnTo>
                        <a:lnTo>
                          <a:pt x="452" y="240"/>
                        </a:lnTo>
                        <a:lnTo>
                          <a:pt x="453" y="240"/>
                        </a:lnTo>
                        <a:lnTo>
                          <a:pt x="455" y="240"/>
                        </a:lnTo>
                        <a:lnTo>
                          <a:pt x="457" y="238"/>
                        </a:lnTo>
                        <a:lnTo>
                          <a:pt x="460" y="236"/>
                        </a:lnTo>
                        <a:lnTo>
                          <a:pt x="461" y="236"/>
                        </a:lnTo>
                        <a:lnTo>
                          <a:pt x="463" y="235"/>
                        </a:lnTo>
                        <a:lnTo>
                          <a:pt x="466" y="233"/>
                        </a:lnTo>
                        <a:lnTo>
                          <a:pt x="468" y="232"/>
                        </a:lnTo>
                        <a:lnTo>
                          <a:pt x="468" y="230"/>
                        </a:lnTo>
                        <a:lnTo>
                          <a:pt x="469" y="230"/>
                        </a:lnTo>
                        <a:lnTo>
                          <a:pt x="469" y="229"/>
                        </a:lnTo>
                        <a:lnTo>
                          <a:pt x="469" y="227"/>
                        </a:lnTo>
                        <a:lnTo>
                          <a:pt x="471" y="225"/>
                        </a:lnTo>
                        <a:lnTo>
                          <a:pt x="472" y="225"/>
                        </a:lnTo>
                        <a:lnTo>
                          <a:pt x="474" y="224"/>
                        </a:lnTo>
                        <a:lnTo>
                          <a:pt x="476" y="222"/>
                        </a:lnTo>
                        <a:lnTo>
                          <a:pt x="477" y="221"/>
                        </a:lnTo>
                        <a:lnTo>
                          <a:pt x="479" y="221"/>
                        </a:lnTo>
                        <a:lnTo>
                          <a:pt x="480" y="221"/>
                        </a:lnTo>
                        <a:lnTo>
                          <a:pt x="483" y="219"/>
                        </a:lnTo>
                        <a:lnTo>
                          <a:pt x="485" y="219"/>
                        </a:lnTo>
                        <a:lnTo>
                          <a:pt x="488" y="219"/>
                        </a:lnTo>
                        <a:lnTo>
                          <a:pt x="490" y="219"/>
                        </a:lnTo>
                        <a:lnTo>
                          <a:pt x="493" y="217"/>
                        </a:lnTo>
                        <a:lnTo>
                          <a:pt x="495" y="217"/>
                        </a:lnTo>
                        <a:lnTo>
                          <a:pt x="496" y="216"/>
                        </a:lnTo>
                        <a:lnTo>
                          <a:pt x="499" y="216"/>
                        </a:lnTo>
                        <a:lnTo>
                          <a:pt x="501" y="214"/>
                        </a:lnTo>
                        <a:lnTo>
                          <a:pt x="502" y="213"/>
                        </a:lnTo>
                        <a:lnTo>
                          <a:pt x="504" y="211"/>
                        </a:lnTo>
                        <a:lnTo>
                          <a:pt x="506" y="210"/>
                        </a:lnTo>
                        <a:lnTo>
                          <a:pt x="506" y="208"/>
                        </a:lnTo>
                        <a:lnTo>
                          <a:pt x="506" y="206"/>
                        </a:lnTo>
                        <a:lnTo>
                          <a:pt x="506" y="205"/>
                        </a:lnTo>
                        <a:lnTo>
                          <a:pt x="507" y="203"/>
                        </a:lnTo>
                        <a:lnTo>
                          <a:pt x="509" y="202"/>
                        </a:lnTo>
                        <a:lnTo>
                          <a:pt x="510" y="202"/>
                        </a:lnTo>
                        <a:lnTo>
                          <a:pt x="514" y="202"/>
                        </a:lnTo>
                        <a:lnTo>
                          <a:pt x="515" y="202"/>
                        </a:lnTo>
                        <a:lnTo>
                          <a:pt x="518" y="202"/>
                        </a:lnTo>
                        <a:lnTo>
                          <a:pt x="520" y="200"/>
                        </a:lnTo>
                        <a:lnTo>
                          <a:pt x="523" y="198"/>
                        </a:lnTo>
                        <a:lnTo>
                          <a:pt x="525" y="197"/>
                        </a:lnTo>
                        <a:lnTo>
                          <a:pt x="526" y="195"/>
                        </a:lnTo>
                        <a:lnTo>
                          <a:pt x="528" y="194"/>
                        </a:lnTo>
                        <a:lnTo>
                          <a:pt x="529" y="192"/>
                        </a:lnTo>
                        <a:lnTo>
                          <a:pt x="528" y="192"/>
                        </a:lnTo>
                        <a:lnTo>
                          <a:pt x="528" y="191"/>
                        </a:lnTo>
                        <a:lnTo>
                          <a:pt x="529" y="189"/>
                        </a:lnTo>
                        <a:lnTo>
                          <a:pt x="528" y="187"/>
                        </a:lnTo>
                        <a:lnTo>
                          <a:pt x="526" y="186"/>
                        </a:lnTo>
                        <a:lnTo>
                          <a:pt x="525" y="183"/>
                        </a:lnTo>
                        <a:lnTo>
                          <a:pt x="525" y="181"/>
                        </a:lnTo>
                        <a:lnTo>
                          <a:pt x="523" y="179"/>
                        </a:lnTo>
                        <a:lnTo>
                          <a:pt x="521" y="176"/>
                        </a:lnTo>
                        <a:lnTo>
                          <a:pt x="520" y="175"/>
                        </a:lnTo>
                        <a:lnTo>
                          <a:pt x="520" y="173"/>
                        </a:lnTo>
                        <a:lnTo>
                          <a:pt x="518" y="172"/>
                        </a:lnTo>
                        <a:lnTo>
                          <a:pt x="515" y="170"/>
                        </a:lnTo>
                        <a:lnTo>
                          <a:pt x="514" y="168"/>
                        </a:lnTo>
                        <a:lnTo>
                          <a:pt x="512" y="167"/>
                        </a:lnTo>
                        <a:lnTo>
                          <a:pt x="510" y="165"/>
                        </a:lnTo>
                        <a:lnTo>
                          <a:pt x="509" y="162"/>
                        </a:lnTo>
                        <a:lnTo>
                          <a:pt x="507" y="160"/>
                        </a:lnTo>
                        <a:lnTo>
                          <a:pt x="507" y="159"/>
                        </a:lnTo>
                        <a:lnTo>
                          <a:pt x="507" y="156"/>
                        </a:lnTo>
                        <a:lnTo>
                          <a:pt x="507" y="154"/>
                        </a:lnTo>
                        <a:lnTo>
                          <a:pt x="509" y="153"/>
                        </a:lnTo>
                        <a:lnTo>
                          <a:pt x="510" y="151"/>
                        </a:lnTo>
                        <a:lnTo>
                          <a:pt x="514" y="149"/>
                        </a:lnTo>
                        <a:lnTo>
                          <a:pt x="517" y="149"/>
                        </a:lnTo>
                        <a:lnTo>
                          <a:pt x="518" y="148"/>
                        </a:lnTo>
                        <a:lnTo>
                          <a:pt x="520" y="146"/>
                        </a:lnTo>
                        <a:lnTo>
                          <a:pt x="521" y="146"/>
                        </a:lnTo>
                        <a:lnTo>
                          <a:pt x="521" y="145"/>
                        </a:lnTo>
                        <a:lnTo>
                          <a:pt x="525" y="143"/>
                        </a:lnTo>
                        <a:lnTo>
                          <a:pt x="526" y="143"/>
                        </a:lnTo>
                        <a:lnTo>
                          <a:pt x="528" y="143"/>
                        </a:lnTo>
                        <a:lnTo>
                          <a:pt x="531" y="141"/>
                        </a:lnTo>
                        <a:lnTo>
                          <a:pt x="533" y="141"/>
                        </a:lnTo>
                        <a:lnTo>
                          <a:pt x="536" y="141"/>
                        </a:lnTo>
                        <a:lnTo>
                          <a:pt x="537" y="141"/>
                        </a:lnTo>
                        <a:lnTo>
                          <a:pt x="540" y="141"/>
                        </a:lnTo>
                        <a:lnTo>
                          <a:pt x="542" y="141"/>
                        </a:lnTo>
                        <a:lnTo>
                          <a:pt x="544" y="141"/>
                        </a:lnTo>
                        <a:lnTo>
                          <a:pt x="545" y="141"/>
                        </a:lnTo>
                        <a:lnTo>
                          <a:pt x="547" y="141"/>
                        </a:lnTo>
                        <a:lnTo>
                          <a:pt x="548" y="141"/>
                        </a:lnTo>
                        <a:lnTo>
                          <a:pt x="550" y="140"/>
                        </a:lnTo>
                        <a:lnTo>
                          <a:pt x="552" y="140"/>
                        </a:lnTo>
                        <a:lnTo>
                          <a:pt x="555" y="140"/>
                        </a:lnTo>
                        <a:lnTo>
                          <a:pt x="556" y="140"/>
                        </a:lnTo>
                        <a:lnTo>
                          <a:pt x="559" y="141"/>
                        </a:lnTo>
                        <a:lnTo>
                          <a:pt x="561" y="141"/>
                        </a:lnTo>
                        <a:lnTo>
                          <a:pt x="563" y="141"/>
                        </a:lnTo>
                        <a:lnTo>
                          <a:pt x="566" y="141"/>
                        </a:lnTo>
                        <a:lnTo>
                          <a:pt x="569" y="141"/>
                        </a:lnTo>
                        <a:lnTo>
                          <a:pt x="569" y="143"/>
                        </a:lnTo>
                        <a:lnTo>
                          <a:pt x="571" y="143"/>
                        </a:lnTo>
                        <a:lnTo>
                          <a:pt x="571" y="145"/>
                        </a:lnTo>
                        <a:lnTo>
                          <a:pt x="571" y="146"/>
                        </a:lnTo>
                        <a:lnTo>
                          <a:pt x="571" y="148"/>
                        </a:lnTo>
                        <a:lnTo>
                          <a:pt x="572" y="148"/>
                        </a:lnTo>
                        <a:lnTo>
                          <a:pt x="572" y="149"/>
                        </a:lnTo>
                        <a:lnTo>
                          <a:pt x="574" y="151"/>
                        </a:lnTo>
                        <a:lnTo>
                          <a:pt x="575" y="151"/>
                        </a:lnTo>
                        <a:lnTo>
                          <a:pt x="577" y="151"/>
                        </a:lnTo>
                        <a:lnTo>
                          <a:pt x="578" y="153"/>
                        </a:lnTo>
                        <a:lnTo>
                          <a:pt x="580" y="153"/>
                        </a:lnTo>
                        <a:lnTo>
                          <a:pt x="582" y="154"/>
                        </a:lnTo>
                        <a:lnTo>
                          <a:pt x="583" y="154"/>
                        </a:lnTo>
                        <a:lnTo>
                          <a:pt x="583" y="156"/>
                        </a:lnTo>
                        <a:lnTo>
                          <a:pt x="583" y="157"/>
                        </a:lnTo>
                        <a:lnTo>
                          <a:pt x="585" y="159"/>
                        </a:lnTo>
                        <a:lnTo>
                          <a:pt x="585" y="160"/>
                        </a:lnTo>
                        <a:lnTo>
                          <a:pt x="586" y="160"/>
                        </a:lnTo>
                        <a:lnTo>
                          <a:pt x="586" y="162"/>
                        </a:lnTo>
                        <a:lnTo>
                          <a:pt x="586" y="164"/>
                        </a:lnTo>
                        <a:lnTo>
                          <a:pt x="586" y="165"/>
                        </a:lnTo>
                        <a:lnTo>
                          <a:pt x="588" y="167"/>
                        </a:lnTo>
                        <a:lnTo>
                          <a:pt x="586" y="168"/>
                        </a:lnTo>
                        <a:lnTo>
                          <a:pt x="588" y="170"/>
                        </a:lnTo>
                        <a:lnTo>
                          <a:pt x="588" y="172"/>
                        </a:lnTo>
                        <a:lnTo>
                          <a:pt x="590" y="173"/>
                        </a:lnTo>
                        <a:lnTo>
                          <a:pt x="590" y="175"/>
                        </a:lnTo>
                        <a:lnTo>
                          <a:pt x="590" y="176"/>
                        </a:lnTo>
                        <a:lnTo>
                          <a:pt x="590" y="178"/>
                        </a:lnTo>
                        <a:lnTo>
                          <a:pt x="590" y="181"/>
                        </a:lnTo>
                        <a:lnTo>
                          <a:pt x="590" y="184"/>
                        </a:lnTo>
                        <a:lnTo>
                          <a:pt x="588" y="186"/>
                        </a:lnTo>
                        <a:lnTo>
                          <a:pt x="586" y="187"/>
                        </a:lnTo>
                        <a:lnTo>
                          <a:pt x="586" y="189"/>
                        </a:lnTo>
                        <a:lnTo>
                          <a:pt x="585" y="189"/>
                        </a:lnTo>
                        <a:lnTo>
                          <a:pt x="585" y="191"/>
                        </a:lnTo>
                        <a:lnTo>
                          <a:pt x="585" y="192"/>
                        </a:lnTo>
                        <a:lnTo>
                          <a:pt x="583" y="192"/>
                        </a:lnTo>
                        <a:lnTo>
                          <a:pt x="583" y="194"/>
                        </a:lnTo>
                        <a:lnTo>
                          <a:pt x="585" y="195"/>
                        </a:lnTo>
                        <a:lnTo>
                          <a:pt x="583" y="197"/>
                        </a:lnTo>
                        <a:lnTo>
                          <a:pt x="585" y="198"/>
                        </a:lnTo>
                        <a:lnTo>
                          <a:pt x="585" y="200"/>
                        </a:lnTo>
                        <a:lnTo>
                          <a:pt x="585" y="202"/>
                        </a:lnTo>
                        <a:lnTo>
                          <a:pt x="583" y="203"/>
                        </a:lnTo>
                        <a:lnTo>
                          <a:pt x="582" y="203"/>
                        </a:lnTo>
                        <a:lnTo>
                          <a:pt x="582" y="205"/>
                        </a:lnTo>
                        <a:lnTo>
                          <a:pt x="582" y="206"/>
                        </a:lnTo>
                        <a:lnTo>
                          <a:pt x="582" y="208"/>
                        </a:lnTo>
                        <a:lnTo>
                          <a:pt x="583" y="208"/>
                        </a:lnTo>
                        <a:lnTo>
                          <a:pt x="583" y="210"/>
                        </a:lnTo>
                        <a:lnTo>
                          <a:pt x="585" y="211"/>
                        </a:lnTo>
                        <a:lnTo>
                          <a:pt x="583" y="211"/>
                        </a:lnTo>
                        <a:lnTo>
                          <a:pt x="583" y="213"/>
                        </a:lnTo>
                        <a:lnTo>
                          <a:pt x="583" y="214"/>
                        </a:lnTo>
                        <a:lnTo>
                          <a:pt x="585" y="216"/>
                        </a:lnTo>
                        <a:lnTo>
                          <a:pt x="586" y="217"/>
                        </a:lnTo>
                        <a:lnTo>
                          <a:pt x="585" y="219"/>
                        </a:lnTo>
                        <a:lnTo>
                          <a:pt x="585" y="221"/>
                        </a:lnTo>
                        <a:lnTo>
                          <a:pt x="585" y="222"/>
                        </a:lnTo>
                        <a:lnTo>
                          <a:pt x="586" y="224"/>
                        </a:lnTo>
                        <a:lnTo>
                          <a:pt x="586" y="225"/>
                        </a:lnTo>
                        <a:lnTo>
                          <a:pt x="588" y="227"/>
                        </a:lnTo>
                        <a:lnTo>
                          <a:pt x="588" y="229"/>
                        </a:lnTo>
                        <a:lnTo>
                          <a:pt x="588" y="230"/>
                        </a:lnTo>
                        <a:lnTo>
                          <a:pt x="588" y="232"/>
                        </a:lnTo>
                        <a:lnTo>
                          <a:pt x="588" y="233"/>
                        </a:lnTo>
                        <a:lnTo>
                          <a:pt x="590" y="233"/>
                        </a:lnTo>
                        <a:lnTo>
                          <a:pt x="591" y="233"/>
                        </a:lnTo>
                        <a:lnTo>
                          <a:pt x="591" y="235"/>
                        </a:lnTo>
                        <a:lnTo>
                          <a:pt x="591" y="236"/>
                        </a:lnTo>
                        <a:lnTo>
                          <a:pt x="593" y="238"/>
                        </a:lnTo>
                        <a:lnTo>
                          <a:pt x="593" y="240"/>
                        </a:lnTo>
                        <a:lnTo>
                          <a:pt x="594" y="240"/>
                        </a:lnTo>
                        <a:lnTo>
                          <a:pt x="596" y="240"/>
                        </a:lnTo>
                        <a:lnTo>
                          <a:pt x="596" y="241"/>
                        </a:lnTo>
                        <a:lnTo>
                          <a:pt x="597" y="241"/>
                        </a:lnTo>
                        <a:lnTo>
                          <a:pt x="599" y="241"/>
                        </a:lnTo>
                        <a:lnTo>
                          <a:pt x="599" y="243"/>
                        </a:lnTo>
                        <a:lnTo>
                          <a:pt x="599" y="246"/>
                        </a:lnTo>
                        <a:lnTo>
                          <a:pt x="599" y="248"/>
                        </a:lnTo>
                        <a:lnTo>
                          <a:pt x="599" y="249"/>
                        </a:lnTo>
                        <a:lnTo>
                          <a:pt x="597" y="251"/>
                        </a:lnTo>
                        <a:lnTo>
                          <a:pt x="597" y="252"/>
                        </a:lnTo>
                        <a:lnTo>
                          <a:pt x="597" y="255"/>
                        </a:lnTo>
                        <a:lnTo>
                          <a:pt x="597" y="257"/>
                        </a:lnTo>
                        <a:lnTo>
                          <a:pt x="597" y="260"/>
                        </a:lnTo>
                        <a:lnTo>
                          <a:pt x="597" y="262"/>
                        </a:lnTo>
                        <a:lnTo>
                          <a:pt x="597" y="265"/>
                        </a:lnTo>
                        <a:lnTo>
                          <a:pt x="597" y="268"/>
                        </a:lnTo>
                        <a:lnTo>
                          <a:pt x="597" y="270"/>
                        </a:lnTo>
                        <a:lnTo>
                          <a:pt x="597" y="273"/>
                        </a:lnTo>
                        <a:lnTo>
                          <a:pt x="599" y="274"/>
                        </a:lnTo>
                        <a:lnTo>
                          <a:pt x="599" y="276"/>
                        </a:lnTo>
                        <a:lnTo>
                          <a:pt x="601" y="278"/>
                        </a:lnTo>
                        <a:lnTo>
                          <a:pt x="602" y="279"/>
                        </a:lnTo>
                        <a:lnTo>
                          <a:pt x="605" y="282"/>
                        </a:lnTo>
                        <a:lnTo>
                          <a:pt x="607" y="284"/>
                        </a:lnTo>
                        <a:lnTo>
                          <a:pt x="609" y="286"/>
                        </a:lnTo>
                        <a:lnTo>
                          <a:pt x="613" y="286"/>
                        </a:lnTo>
                        <a:lnTo>
                          <a:pt x="616" y="286"/>
                        </a:lnTo>
                        <a:lnTo>
                          <a:pt x="618" y="286"/>
                        </a:lnTo>
                        <a:lnTo>
                          <a:pt x="620" y="286"/>
                        </a:lnTo>
                        <a:lnTo>
                          <a:pt x="623" y="284"/>
                        </a:lnTo>
                        <a:lnTo>
                          <a:pt x="626" y="284"/>
                        </a:lnTo>
                        <a:lnTo>
                          <a:pt x="629" y="284"/>
                        </a:lnTo>
                        <a:lnTo>
                          <a:pt x="632" y="284"/>
                        </a:lnTo>
                        <a:lnTo>
                          <a:pt x="634" y="284"/>
                        </a:lnTo>
                        <a:lnTo>
                          <a:pt x="636" y="282"/>
                        </a:lnTo>
                        <a:lnTo>
                          <a:pt x="639" y="282"/>
                        </a:lnTo>
                        <a:lnTo>
                          <a:pt x="640" y="284"/>
                        </a:lnTo>
                        <a:lnTo>
                          <a:pt x="643" y="284"/>
                        </a:lnTo>
                        <a:lnTo>
                          <a:pt x="647" y="286"/>
                        </a:lnTo>
                        <a:lnTo>
                          <a:pt x="648" y="287"/>
                        </a:lnTo>
                        <a:lnTo>
                          <a:pt x="648" y="289"/>
                        </a:lnTo>
                        <a:lnTo>
                          <a:pt x="648" y="292"/>
                        </a:lnTo>
                        <a:lnTo>
                          <a:pt x="648" y="293"/>
                        </a:lnTo>
                        <a:lnTo>
                          <a:pt x="648" y="295"/>
                        </a:lnTo>
                        <a:lnTo>
                          <a:pt x="648" y="298"/>
                        </a:lnTo>
                        <a:lnTo>
                          <a:pt x="650" y="300"/>
                        </a:lnTo>
                        <a:lnTo>
                          <a:pt x="650" y="305"/>
                        </a:lnTo>
                        <a:lnTo>
                          <a:pt x="648" y="306"/>
                        </a:lnTo>
                        <a:lnTo>
                          <a:pt x="648" y="309"/>
                        </a:lnTo>
                        <a:lnTo>
                          <a:pt x="648" y="311"/>
                        </a:lnTo>
                        <a:lnTo>
                          <a:pt x="650" y="313"/>
                        </a:lnTo>
                        <a:lnTo>
                          <a:pt x="650" y="316"/>
                        </a:lnTo>
                        <a:lnTo>
                          <a:pt x="648" y="319"/>
                        </a:lnTo>
                        <a:lnTo>
                          <a:pt x="648" y="320"/>
                        </a:lnTo>
                        <a:lnTo>
                          <a:pt x="650" y="324"/>
                        </a:lnTo>
                        <a:lnTo>
                          <a:pt x="653" y="324"/>
                        </a:lnTo>
                        <a:lnTo>
                          <a:pt x="655" y="324"/>
                        </a:lnTo>
                        <a:lnTo>
                          <a:pt x="656" y="324"/>
                        </a:lnTo>
                        <a:lnTo>
                          <a:pt x="658" y="324"/>
                        </a:lnTo>
                        <a:lnTo>
                          <a:pt x="659" y="324"/>
                        </a:lnTo>
                        <a:lnTo>
                          <a:pt x="661" y="324"/>
                        </a:lnTo>
                        <a:lnTo>
                          <a:pt x="662" y="324"/>
                        </a:lnTo>
                        <a:lnTo>
                          <a:pt x="664" y="324"/>
                        </a:lnTo>
                        <a:lnTo>
                          <a:pt x="666" y="322"/>
                        </a:lnTo>
                        <a:lnTo>
                          <a:pt x="667" y="322"/>
                        </a:lnTo>
                        <a:lnTo>
                          <a:pt x="667" y="324"/>
                        </a:lnTo>
                        <a:lnTo>
                          <a:pt x="669" y="324"/>
                        </a:lnTo>
                        <a:lnTo>
                          <a:pt x="670" y="324"/>
                        </a:lnTo>
                        <a:lnTo>
                          <a:pt x="670" y="327"/>
                        </a:lnTo>
                        <a:lnTo>
                          <a:pt x="670" y="332"/>
                        </a:lnTo>
                        <a:lnTo>
                          <a:pt x="670" y="335"/>
                        </a:lnTo>
                        <a:lnTo>
                          <a:pt x="670" y="338"/>
                        </a:lnTo>
                        <a:lnTo>
                          <a:pt x="670" y="339"/>
                        </a:lnTo>
                        <a:lnTo>
                          <a:pt x="670" y="343"/>
                        </a:lnTo>
                        <a:lnTo>
                          <a:pt x="669" y="344"/>
                        </a:lnTo>
                        <a:lnTo>
                          <a:pt x="667" y="346"/>
                        </a:lnTo>
                        <a:lnTo>
                          <a:pt x="666" y="347"/>
                        </a:lnTo>
                        <a:lnTo>
                          <a:pt x="662" y="347"/>
                        </a:lnTo>
                        <a:lnTo>
                          <a:pt x="661" y="349"/>
                        </a:lnTo>
                        <a:lnTo>
                          <a:pt x="659" y="349"/>
                        </a:lnTo>
                        <a:lnTo>
                          <a:pt x="659" y="352"/>
                        </a:lnTo>
                        <a:lnTo>
                          <a:pt x="659" y="355"/>
                        </a:lnTo>
                        <a:lnTo>
                          <a:pt x="659" y="358"/>
                        </a:lnTo>
                        <a:lnTo>
                          <a:pt x="658" y="360"/>
                        </a:lnTo>
                        <a:lnTo>
                          <a:pt x="658" y="362"/>
                        </a:lnTo>
                        <a:lnTo>
                          <a:pt x="656" y="365"/>
                        </a:lnTo>
                        <a:lnTo>
                          <a:pt x="656" y="366"/>
                        </a:lnTo>
                        <a:lnTo>
                          <a:pt x="655" y="368"/>
                        </a:lnTo>
                        <a:lnTo>
                          <a:pt x="655" y="370"/>
                        </a:lnTo>
                        <a:lnTo>
                          <a:pt x="656" y="371"/>
                        </a:lnTo>
                        <a:lnTo>
                          <a:pt x="659" y="374"/>
                        </a:lnTo>
                        <a:lnTo>
                          <a:pt x="662" y="377"/>
                        </a:lnTo>
                        <a:lnTo>
                          <a:pt x="664" y="379"/>
                        </a:lnTo>
                        <a:lnTo>
                          <a:pt x="666" y="382"/>
                        </a:lnTo>
                        <a:lnTo>
                          <a:pt x="669" y="382"/>
                        </a:lnTo>
                        <a:lnTo>
                          <a:pt x="669" y="384"/>
                        </a:lnTo>
                        <a:lnTo>
                          <a:pt x="667" y="385"/>
                        </a:lnTo>
                        <a:lnTo>
                          <a:pt x="667" y="387"/>
                        </a:lnTo>
                        <a:lnTo>
                          <a:pt x="667" y="389"/>
                        </a:lnTo>
                        <a:lnTo>
                          <a:pt x="667" y="390"/>
                        </a:lnTo>
                        <a:lnTo>
                          <a:pt x="667" y="392"/>
                        </a:lnTo>
                        <a:lnTo>
                          <a:pt x="667" y="393"/>
                        </a:lnTo>
                        <a:lnTo>
                          <a:pt x="667" y="395"/>
                        </a:lnTo>
                        <a:lnTo>
                          <a:pt x="669" y="395"/>
                        </a:lnTo>
                        <a:lnTo>
                          <a:pt x="669" y="396"/>
                        </a:lnTo>
                        <a:lnTo>
                          <a:pt x="670" y="396"/>
                        </a:lnTo>
                        <a:lnTo>
                          <a:pt x="670" y="398"/>
                        </a:lnTo>
                        <a:lnTo>
                          <a:pt x="672" y="398"/>
                        </a:lnTo>
                        <a:lnTo>
                          <a:pt x="674" y="398"/>
                        </a:lnTo>
                        <a:lnTo>
                          <a:pt x="675" y="398"/>
                        </a:lnTo>
                        <a:lnTo>
                          <a:pt x="677" y="400"/>
                        </a:lnTo>
                        <a:lnTo>
                          <a:pt x="678" y="400"/>
                        </a:lnTo>
                        <a:lnTo>
                          <a:pt x="680" y="401"/>
                        </a:lnTo>
                        <a:lnTo>
                          <a:pt x="681" y="403"/>
                        </a:lnTo>
                        <a:lnTo>
                          <a:pt x="683" y="408"/>
                        </a:lnTo>
                        <a:lnTo>
                          <a:pt x="683" y="411"/>
                        </a:lnTo>
                        <a:lnTo>
                          <a:pt x="685" y="415"/>
                        </a:lnTo>
                        <a:lnTo>
                          <a:pt x="685" y="419"/>
                        </a:lnTo>
                        <a:lnTo>
                          <a:pt x="685" y="420"/>
                        </a:lnTo>
                        <a:lnTo>
                          <a:pt x="685" y="423"/>
                        </a:lnTo>
                        <a:lnTo>
                          <a:pt x="685" y="425"/>
                        </a:lnTo>
                        <a:lnTo>
                          <a:pt x="685" y="428"/>
                        </a:lnTo>
                        <a:lnTo>
                          <a:pt x="683" y="430"/>
                        </a:lnTo>
                        <a:lnTo>
                          <a:pt x="683" y="433"/>
                        </a:lnTo>
                        <a:lnTo>
                          <a:pt x="683" y="434"/>
                        </a:lnTo>
                        <a:lnTo>
                          <a:pt x="683" y="438"/>
                        </a:lnTo>
                        <a:lnTo>
                          <a:pt x="685" y="438"/>
                        </a:lnTo>
                        <a:lnTo>
                          <a:pt x="685" y="439"/>
                        </a:lnTo>
                        <a:lnTo>
                          <a:pt x="688" y="441"/>
                        </a:lnTo>
                        <a:lnTo>
                          <a:pt x="689" y="441"/>
                        </a:lnTo>
                        <a:lnTo>
                          <a:pt x="694" y="441"/>
                        </a:lnTo>
                        <a:lnTo>
                          <a:pt x="697" y="442"/>
                        </a:lnTo>
                        <a:lnTo>
                          <a:pt x="700" y="442"/>
                        </a:lnTo>
                        <a:lnTo>
                          <a:pt x="704" y="444"/>
                        </a:lnTo>
                        <a:lnTo>
                          <a:pt x="705" y="447"/>
                        </a:lnTo>
                        <a:lnTo>
                          <a:pt x="705" y="449"/>
                        </a:lnTo>
                        <a:lnTo>
                          <a:pt x="705" y="452"/>
                        </a:lnTo>
                        <a:lnTo>
                          <a:pt x="707" y="452"/>
                        </a:lnTo>
                        <a:lnTo>
                          <a:pt x="708" y="453"/>
                        </a:lnTo>
                        <a:lnTo>
                          <a:pt x="708" y="455"/>
                        </a:lnTo>
                        <a:lnTo>
                          <a:pt x="710" y="457"/>
                        </a:lnTo>
                        <a:lnTo>
                          <a:pt x="712" y="458"/>
                        </a:lnTo>
                        <a:lnTo>
                          <a:pt x="713" y="458"/>
                        </a:lnTo>
                        <a:lnTo>
                          <a:pt x="715" y="458"/>
                        </a:lnTo>
                        <a:lnTo>
                          <a:pt x="716" y="458"/>
                        </a:lnTo>
                        <a:lnTo>
                          <a:pt x="718" y="460"/>
                        </a:lnTo>
                        <a:lnTo>
                          <a:pt x="718" y="461"/>
                        </a:lnTo>
                        <a:lnTo>
                          <a:pt x="719" y="463"/>
                        </a:lnTo>
                        <a:lnTo>
                          <a:pt x="721" y="465"/>
                        </a:lnTo>
                        <a:lnTo>
                          <a:pt x="721" y="466"/>
                        </a:lnTo>
                        <a:lnTo>
                          <a:pt x="723" y="468"/>
                        </a:lnTo>
                        <a:lnTo>
                          <a:pt x="724" y="469"/>
                        </a:lnTo>
                        <a:lnTo>
                          <a:pt x="726" y="471"/>
                        </a:lnTo>
                        <a:lnTo>
                          <a:pt x="726" y="472"/>
                        </a:lnTo>
                        <a:lnTo>
                          <a:pt x="727" y="472"/>
                        </a:lnTo>
                        <a:lnTo>
                          <a:pt x="726" y="474"/>
                        </a:lnTo>
                        <a:lnTo>
                          <a:pt x="724" y="474"/>
                        </a:lnTo>
                        <a:lnTo>
                          <a:pt x="724" y="472"/>
                        </a:lnTo>
                        <a:lnTo>
                          <a:pt x="723" y="472"/>
                        </a:lnTo>
                        <a:lnTo>
                          <a:pt x="721" y="472"/>
                        </a:lnTo>
                        <a:lnTo>
                          <a:pt x="719" y="472"/>
                        </a:lnTo>
                        <a:lnTo>
                          <a:pt x="718" y="472"/>
                        </a:lnTo>
                        <a:lnTo>
                          <a:pt x="716" y="472"/>
                        </a:lnTo>
                        <a:lnTo>
                          <a:pt x="716" y="474"/>
                        </a:lnTo>
                        <a:lnTo>
                          <a:pt x="716" y="476"/>
                        </a:lnTo>
                        <a:lnTo>
                          <a:pt x="716" y="477"/>
                        </a:lnTo>
                        <a:lnTo>
                          <a:pt x="716" y="479"/>
                        </a:lnTo>
                        <a:lnTo>
                          <a:pt x="718" y="480"/>
                        </a:lnTo>
                        <a:lnTo>
                          <a:pt x="718" y="482"/>
                        </a:lnTo>
                        <a:lnTo>
                          <a:pt x="719" y="484"/>
                        </a:lnTo>
                        <a:lnTo>
                          <a:pt x="721" y="485"/>
                        </a:lnTo>
                        <a:lnTo>
                          <a:pt x="721" y="487"/>
                        </a:lnTo>
                        <a:lnTo>
                          <a:pt x="723" y="488"/>
                        </a:lnTo>
                        <a:lnTo>
                          <a:pt x="724" y="490"/>
                        </a:lnTo>
                        <a:lnTo>
                          <a:pt x="724" y="492"/>
                        </a:lnTo>
                        <a:lnTo>
                          <a:pt x="724" y="493"/>
                        </a:lnTo>
                        <a:lnTo>
                          <a:pt x="726" y="495"/>
                        </a:lnTo>
                        <a:lnTo>
                          <a:pt x="724" y="496"/>
                        </a:lnTo>
                        <a:lnTo>
                          <a:pt x="724" y="498"/>
                        </a:lnTo>
                        <a:lnTo>
                          <a:pt x="724" y="499"/>
                        </a:lnTo>
                        <a:lnTo>
                          <a:pt x="724" y="501"/>
                        </a:lnTo>
                        <a:lnTo>
                          <a:pt x="724" y="503"/>
                        </a:lnTo>
                        <a:lnTo>
                          <a:pt x="723" y="504"/>
                        </a:lnTo>
                        <a:lnTo>
                          <a:pt x="723" y="506"/>
                        </a:lnTo>
                        <a:lnTo>
                          <a:pt x="723" y="507"/>
                        </a:lnTo>
                        <a:lnTo>
                          <a:pt x="723" y="509"/>
                        </a:lnTo>
                        <a:lnTo>
                          <a:pt x="724" y="507"/>
                        </a:lnTo>
                        <a:lnTo>
                          <a:pt x="726" y="507"/>
                        </a:lnTo>
                        <a:lnTo>
                          <a:pt x="726" y="509"/>
                        </a:lnTo>
                        <a:lnTo>
                          <a:pt x="727" y="511"/>
                        </a:lnTo>
                        <a:lnTo>
                          <a:pt x="729" y="511"/>
                        </a:lnTo>
                        <a:lnTo>
                          <a:pt x="729" y="512"/>
                        </a:lnTo>
                        <a:lnTo>
                          <a:pt x="731" y="512"/>
                        </a:lnTo>
                        <a:lnTo>
                          <a:pt x="731" y="514"/>
                        </a:lnTo>
                        <a:lnTo>
                          <a:pt x="732" y="514"/>
                        </a:lnTo>
                        <a:lnTo>
                          <a:pt x="732" y="515"/>
                        </a:lnTo>
                        <a:lnTo>
                          <a:pt x="734" y="515"/>
                        </a:lnTo>
                        <a:lnTo>
                          <a:pt x="734" y="517"/>
                        </a:lnTo>
                        <a:lnTo>
                          <a:pt x="734" y="518"/>
                        </a:lnTo>
                        <a:lnTo>
                          <a:pt x="734" y="520"/>
                        </a:lnTo>
                        <a:lnTo>
                          <a:pt x="732" y="522"/>
                        </a:lnTo>
                        <a:lnTo>
                          <a:pt x="732" y="523"/>
                        </a:lnTo>
                        <a:lnTo>
                          <a:pt x="732" y="525"/>
                        </a:lnTo>
                        <a:lnTo>
                          <a:pt x="731" y="525"/>
                        </a:lnTo>
                        <a:lnTo>
                          <a:pt x="731" y="526"/>
                        </a:lnTo>
                        <a:lnTo>
                          <a:pt x="729" y="528"/>
                        </a:lnTo>
                        <a:lnTo>
                          <a:pt x="729" y="530"/>
                        </a:lnTo>
                        <a:lnTo>
                          <a:pt x="727" y="530"/>
                        </a:lnTo>
                        <a:lnTo>
                          <a:pt x="727" y="531"/>
                        </a:lnTo>
                        <a:lnTo>
                          <a:pt x="727" y="533"/>
                        </a:lnTo>
                        <a:lnTo>
                          <a:pt x="727" y="534"/>
                        </a:lnTo>
                        <a:lnTo>
                          <a:pt x="726" y="534"/>
                        </a:lnTo>
                        <a:lnTo>
                          <a:pt x="726" y="536"/>
                        </a:lnTo>
                        <a:lnTo>
                          <a:pt x="726" y="537"/>
                        </a:lnTo>
                        <a:lnTo>
                          <a:pt x="724" y="537"/>
                        </a:lnTo>
                        <a:lnTo>
                          <a:pt x="724" y="539"/>
                        </a:lnTo>
                        <a:lnTo>
                          <a:pt x="724" y="541"/>
                        </a:lnTo>
                        <a:lnTo>
                          <a:pt x="723" y="542"/>
                        </a:lnTo>
                        <a:lnTo>
                          <a:pt x="721" y="542"/>
                        </a:lnTo>
                        <a:lnTo>
                          <a:pt x="721" y="544"/>
                        </a:lnTo>
                        <a:lnTo>
                          <a:pt x="721" y="545"/>
                        </a:lnTo>
                        <a:lnTo>
                          <a:pt x="721" y="547"/>
                        </a:lnTo>
                        <a:lnTo>
                          <a:pt x="719" y="547"/>
                        </a:lnTo>
                        <a:lnTo>
                          <a:pt x="719" y="549"/>
                        </a:lnTo>
                        <a:lnTo>
                          <a:pt x="718" y="550"/>
                        </a:lnTo>
                        <a:lnTo>
                          <a:pt x="718" y="552"/>
                        </a:lnTo>
                        <a:lnTo>
                          <a:pt x="718" y="550"/>
                        </a:lnTo>
                        <a:lnTo>
                          <a:pt x="718" y="552"/>
                        </a:lnTo>
                        <a:lnTo>
                          <a:pt x="716" y="552"/>
                        </a:lnTo>
                        <a:lnTo>
                          <a:pt x="716" y="553"/>
                        </a:lnTo>
                        <a:lnTo>
                          <a:pt x="715" y="553"/>
                        </a:lnTo>
                        <a:lnTo>
                          <a:pt x="715" y="555"/>
                        </a:lnTo>
                        <a:lnTo>
                          <a:pt x="713" y="555"/>
                        </a:lnTo>
                        <a:lnTo>
                          <a:pt x="712" y="556"/>
                        </a:lnTo>
                        <a:lnTo>
                          <a:pt x="710" y="558"/>
                        </a:lnTo>
                        <a:lnTo>
                          <a:pt x="710" y="560"/>
                        </a:lnTo>
                        <a:lnTo>
                          <a:pt x="708" y="560"/>
                        </a:lnTo>
                        <a:lnTo>
                          <a:pt x="708" y="561"/>
                        </a:lnTo>
                        <a:lnTo>
                          <a:pt x="708" y="563"/>
                        </a:lnTo>
                        <a:lnTo>
                          <a:pt x="708" y="564"/>
                        </a:lnTo>
                        <a:lnTo>
                          <a:pt x="707" y="564"/>
                        </a:lnTo>
                        <a:lnTo>
                          <a:pt x="705" y="564"/>
                        </a:lnTo>
                        <a:lnTo>
                          <a:pt x="704" y="564"/>
                        </a:lnTo>
                        <a:lnTo>
                          <a:pt x="702" y="566"/>
                        </a:lnTo>
                        <a:lnTo>
                          <a:pt x="700" y="566"/>
                        </a:lnTo>
                        <a:lnTo>
                          <a:pt x="700" y="568"/>
                        </a:lnTo>
                        <a:lnTo>
                          <a:pt x="699" y="568"/>
                        </a:lnTo>
                        <a:lnTo>
                          <a:pt x="697" y="569"/>
                        </a:lnTo>
                        <a:lnTo>
                          <a:pt x="696" y="569"/>
                        </a:lnTo>
                        <a:lnTo>
                          <a:pt x="694" y="569"/>
                        </a:lnTo>
                        <a:lnTo>
                          <a:pt x="693" y="571"/>
                        </a:lnTo>
                        <a:lnTo>
                          <a:pt x="691" y="571"/>
                        </a:lnTo>
                        <a:lnTo>
                          <a:pt x="689" y="569"/>
                        </a:lnTo>
                        <a:lnTo>
                          <a:pt x="688" y="571"/>
                        </a:lnTo>
                        <a:lnTo>
                          <a:pt x="686" y="572"/>
                        </a:lnTo>
                        <a:lnTo>
                          <a:pt x="685" y="574"/>
                        </a:lnTo>
                        <a:lnTo>
                          <a:pt x="683" y="574"/>
                        </a:lnTo>
                        <a:lnTo>
                          <a:pt x="680" y="574"/>
                        </a:lnTo>
                        <a:lnTo>
                          <a:pt x="678" y="574"/>
                        </a:lnTo>
                        <a:lnTo>
                          <a:pt x="675" y="572"/>
                        </a:lnTo>
                        <a:lnTo>
                          <a:pt x="672" y="572"/>
                        </a:lnTo>
                        <a:lnTo>
                          <a:pt x="670" y="571"/>
                        </a:lnTo>
                        <a:lnTo>
                          <a:pt x="667" y="571"/>
                        </a:lnTo>
                        <a:lnTo>
                          <a:pt x="664" y="569"/>
                        </a:lnTo>
                        <a:lnTo>
                          <a:pt x="662" y="569"/>
                        </a:lnTo>
                        <a:lnTo>
                          <a:pt x="661" y="568"/>
                        </a:lnTo>
                        <a:lnTo>
                          <a:pt x="658" y="568"/>
                        </a:lnTo>
                        <a:lnTo>
                          <a:pt x="656" y="566"/>
                        </a:lnTo>
                        <a:lnTo>
                          <a:pt x="653" y="566"/>
                        </a:lnTo>
                        <a:lnTo>
                          <a:pt x="651" y="564"/>
                        </a:lnTo>
                        <a:lnTo>
                          <a:pt x="650" y="564"/>
                        </a:lnTo>
                        <a:lnTo>
                          <a:pt x="647" y="563"/>
                        </a:lnTo>
                        <a:lnTo>
                          <a:pt x="643" y="563"/>
                        </a:lnTo>
                        <a:lnTo>
                          <a:pt x="642" y="563"/>
                        </a:lnTo>
                        <a:lnTo>
                          <a:pt x="639" y="563"/>
                        </a:lnTo>
                        <a:lnTo>
                          <a:pt x="637" y="564"/>
                        </a:lnTo>
                        <a:lnTo>
                          <a:pt x="636" y="564"/>
                        </a:lnTo>
                        <a:lnTo>
                          <a:pt x="632" y="564"/>
                        </a:lnTo>
                        <a:lnTo>
                          <a:pt x="631" y="566"/>
                        </a:lnTo>
                        <a:lnTo>
                          <a:pt x="628" y="568"/>
                        </a:lnTo>
                        <a:lnTo>
                          <a:pt x="624" y="569"/>
                        </a:lnTo>
                        <a:lnTo>
                          <a:pt x="623" y="569"/>
                        </a:lnTo>
                        <a:lnTo>
                          <a:pt x="620" y="571"/>
                        </a:lnTo>
                        <a:lnTo>
                          <a:pt x="618" y="572"/>
                        </a:lnTo>
                        <a:lnTo>
                          <a:pt x="616" y="574"/>
                        </a:lnTo>
                        <a:lnTo>
                          <a:pt x="613" y="577"/>
                        </a:lnTo>
                        <a:lnTo>
                          <a:pt x="610" y="579"/>
                        </a:lnTo>
                        <a:lnTo>
                          <a:pt x="607" y="580"/>
                        </a:lnTo>
                        <a:lnTo>
                          <a:pt x="604" y="583"/>
                        </a:lnTo>
                        <a:lnTo>
                          <a:pt x="602" y="587"/>
                        </a:lnTo>
                        <a:lnTo>
                          <a:pt x="599" y="588"/>
                        </a:lnTo>
                        <a:lnTo>
                          <a:pt x="597" y="591"/>
                        </a:lnTo>
                        <a:lnTo>
                          <a:pt x="596" y="594"/>
                        </a:lnTo>
                        <a:lnTo>
                          <a:pt x="593" y="599"/>
                        </a:lnTo>
                        <a:lnTo>
                          <a:pt x="591" y="601"/>
                        </a:lnTo>
                        <a:lnTo>
                          <a:pt x="588" y="602"/>
                        </a:lnTo>
                        <a:lnTo>
                          <a:pt x="586" y="606"/>
                        </a:lnTo>
                        <a:lnTo>
                          <a:pt x="585" y="610"/>
                        </a:lnTo>
                        <a:lnTo>
                          <a:pt x="585" y="612"/>
                        </a:lnTo>
                        <a:lnTo>
                          <a:pt x="585" y="613"/>
                        </a:lnTo>
                        <a:lnTo>
                          <a:pt x="583" y="613"/>
                        </a:lnTo>
                        <a:lnTo>
                          <a:pt x="583" y="615"/>
                        </a:lnTo>
                        <a:lnTo>
                          <a:pt x="583" y="617"/>
                        </a:lnTo>
                        <a:lnTo>
                          <a:pt x="583" y="618"/>
                        </a:lnTo>
                        <a:lnTo>
                          <a:pt x="582" y="620"/>
                        </a:lnTo>
                        <a:lnTo>
                          <a:pt x="582" y="621"/>
                        </a:lnTo>
                        <a:lnTo>
                          <a:pt x="582" y="623"/>
                        </a:lnTo>
                        <a:lnTo>
                          <a:pt x="580" y="623"/>
                        </a:lnTo>
                        <a:lnTo>
                          <a:pt x="580" y="625"/>
                        </a:lnTo>
                        <a:lnTo>
                          <a:pt x="580" y="626"/>
                        </a:lnTo>
                        <a:lnTo>
                          <a:pt x="580" y="625"/>
                        </a:lnTo>
                        <a:lnTo>
                          <a:pt x="578" y="625"/>
                        </a:lnTo>
                        <a:lnTo>
                          <a:pt x="578" y="626"/>
                        </a:lnTo>
                        <a:lnTo>
                          <a:pt x="578" y="628"/>
                        </a:lnTo>
                        <a:lnTo>
                          <a:pt x="577" y="628"/>
                        </a:lnTo>
                        <a:lnTo>
                          <a:pt x="577" y="626"/>
                        </a:lnTo>
                        <a:lnTo>
                          <a:pt x="575" y="626"/>
                        </a:lnTo>
                        <a:lnTo>
                          <a:pt x="574" y="628"/>
                        </a:lnTo>
                        <a:lnTo>
                          <a:pt x="572" y="628"/>
                        </a:lnTo>
                        <a:lnTo>
                          <a:pt x="571" y="631"/>
                        </a:lnTo>
                        <a:lnTo>
                          <a:pt x="571" y="632"/>
                        </a:lnTo>
                        <a:lnTo>
                          <a:pt x="569" y="632"/>
                        </a:lnTo>
                        <a:lnTo>
                          <a:pt x="569" y="634"/>
                        </a:lnTo>
                        <a:lnTo>
                          <a:pt x="566" y="636"/>
                        </a:lnTo>
                        <a:lnTo>
                          <a:pt x="564" y="636"/>
                        </a:lnTo>
                        <a:lnTo>
                          <a:pt x="564" y="637"/>
                        </a:lnTo>
                        <a:lnTo>
                          <a:pt x="563" y="637"/>
                        </a:lnTo>
                        <a:lnTo>
                          <a:pt x="563" y="639"/>
                        </a:lnTo>
                        <a:lnTo>
                          <a:pt x="563" y="640"/>
                        </a:lnTo>
                        <a:lnTo>
                          <a:pt x="561" y="640"/>
                        </a:lnTo>
                        <a:lnTo>
                          <a:pt x="559" y="640"/>
                        </a:lnTo>
                        <a:lnTo>
                          <a:pt x="559" y="642"/>
                        </a:lnTo>
                        <a:lnTo>
                          <a:pt x="558" y="642"/>
                        </a:lnTo>
                        <a:lnTo>
                          <a:pt x="558" y="644"/>
                        </a:lnTo>
                        <a:lnTo>
                          <a:pt x="556" y="644"/>
                        </a:lnTo>
                        <a:lnTo>
                          <a:pt x="555" y="644"/>
                        </a:lnTo>
                        <a:lnTo>
                          <a:pt x="553" y="644"/>
                        </a:lnTo>
                        <a:lnTo>
                          <a:pt x="552" y="642"/>
                        </a:lnTo>
                        <a:lnTo>
                          <a:pt x="550" y="642"/>
                        </a:lnTo>
                        <a:lnTo>
                          <a:pt x="548" y="642"/>
                        </a:lnTo>
                        <a:lnTo>
                          <a:pt x="547" y="642"/>
                        </a:lnTo>
                        <a:lnTo>
                          <a:pt x="545" y="644"/>
                        </a:lnTo>
                        <a:lnTo>
                          <a:pt x="545" y="645"/>
                        </a:lnTo>
                        <a:lnTo>
                          <a:pt x="544" y="645"/>
                        </a:lnTo>
                        <a:lnTo>
                          <a:pt x="544" y="647"/>
                        </a:lnTo>
                        <a:lnTo>
                          <a:pt x="544" y="648"/>
                        </a:lnTo>
                        <a:lnTo>
                          <a:pt x="540" y="650"/>
                        </a:lnTo>
                        <a:lnTo>
                          <a:pt x="539" y="650"/>
                        </a:lnTo>
                        <a:lnTo>
                          <a:pt x="537" y="651"/>
                        </a:lnTo>
                        <a:lnTo>
                          <a:pt x="536" y="651"/>
                        </a:lnTo>
                        <a:lnTo>
                          <a:pt x="533" y="651"/>
                        </a:lnTo>
                        <a:lnTo>
                          <a:pt x="528" y="651"/>
                        </a:lnTo>
                        <a:lnTo>
                          <a:pt x="521" y="651"/>
                        </a:lnTo>
                        <a:lnTo>
                          <a:pt x="509" y="651"/>
                        </a:lnTo>
                        <a:lnTo>
                          <a:pt x="496" y="651"/>
                        </a:lnTo>
                        <a:lnTo>
                          <a:pt x="490" y="651"/>
                        </a:lnTo>
                        <a:lnTo>
                          <a:pt x="488" y="651"/>
                        </a:lnTo>
                        <a:lnTo>
                          <a:pt x="487" y="651"/>
                        </a:lnTo>
                        <a:lnTo>
                          <a:pt x="482" y="651"/>
                        </a:lnTo>
                        <a:lnTo>
                          <a:pt x="479" y="651"/>
                        </a:lnTo>
                        <a:lnTo>
                          <a:pt x="479" y="653"/>
                        </a:lnTo>
                        <a:lnTo>
                          <a:pt x="479" y="651"/>
                        </a:lnTo>
                        <a:lnTo>
                          <a:pt x="479" y="650"/>
                        </a:lnTo>
                        <a:lnTo>
                          <a:pt x="477" y="650"/>
                        </a:lnTo>
                        <a:lnTo>
                          <a:pt x="476" y="650"/>
                        </a:lnTo>
                        <a:lnTo>
                          <a:pt x="474" y="648"/>
                        </a:lnTo>
                        <a:lnTo>
                          <a:pt x="471" y="647"/>
                        </a:lnTo>
                        <a:lnTo>
                          <a:pt x="471" y="645"/>
                        </a:lnTo>
                        <a:lnTo>
                          <a:pt x="469" y="645"/>
                        </a:lnTo>
                        <a:lnTo>
                          <a:pt x="466" y="645"/>
                        </a:lnTo>
                        <a:lnTo>
                          <a:pt x="466" y="647"/>
                        </a:lnTo>
                        <a:lnTo>
                          <a:pt x="464" y="647"/>
                        </a:lnTo>
                        <a:lnTo>
                          <a:pt x="464" y="645"/>
                        </a:lnTo>
                        <a:lnTo>
                          <a:pt x="464" y="647"/>
                        </a:lnTo>
                        <a:lnTo>
                          <a:pt x="463" y="648"/>
                        </a:lnTo>
                        <a:lnTo>
                          <a:pt x="461" y="648"/>
                        </a:lnTo>
                        <a:lnTo>
                          <a:pt x="461" y="650"/>
                        </a:lnTo>
                        <a:lnTo>
                          <a:pt x="460" y="650"/>
                        </a:lnTo>
                        <a:lnTo>
                          <a:pt x="458" y="650"/>
                        </a:lnTo>
                        <a:lnTo>
                          <a:pt x="457" y="651"/>
                        </a:lnTo>
                        <a:lnTo>
                          <a:pt x="457" y="650"/>
                        </a:lnTo>
                        <a:lnTo>
                          <a:pt x="455" y="650"/>
                        </a:lnTo>
                        <a:lnTo>
                          <a:pt x="455" y="648"/>
                        </a:lnTo>
                        <a:lnTo>
                          <a:pt x="453" y="648"/>
                        </a:lnTo>
                        <a:lnTo>
                          <a:pt x="452" y="648"/>
                        </a:lnTo>
                        <a:lnTo>
                          <a:pt x="450" y="648"/>
                        </a:lnTo>
                        <a:lnTo>
                          <a:pt x="449" y="648"/>
                        </a:lnTo>
                        <a:lnTo>
                          <a:pt x="447" y="648"/>
                        </a:lnTo>
                        <a:lnTo>
                          <a:pt x="447" y="647"/>
                        </a:lnTo>
                        <a:lnTo>
                          <a:pt x="445" y="647"/>
                        </a:lnTo>
                        <a:lnTo>
                          <a:pt x="445" y="645"/>
                        </a:lnTo>
                        <a:lnTo>
                          <a:pt x="444" y="644"/>
                        </a:lnTo>
                        <a:lnTo>
                          <a:pt x="442" y="642"/>
                        </a:lnTo>
                        <a:lnTo>
                          <a:pt x="441" y="642"/>
                        </a:lnTo>
                        <a:lnTo>
                          <a:pt x="439" y="640"/>
                        </a:lnTo>
                        <a:lnTo>
                          <a:pt x="438" y="639"/>
                        </a:lnTo>
                        <a:lnTo>
                          <a:pt x="438" y="637"/>
                        </a:lnTo>
                        <a:lnTo>
                          <a:pt x="438" y="636"/>
                        </a:lnTo>
                        <a:lnTo>
                          <a:pt x="439" y="636"/>
                        </a:lnTo>
                        <a:lnTo>
                          <a:pt x="439" y="634"/>
                        </a:lnTo>
                        <a:lnTo>
                          <a:pt x="439" y="631"/>
                        </a:lnTo>
                        <a:lnTo>
                          <a:pt x="441" y="629"/>
                        </a:lnTo>
                        <a:lnTo>
                          <a:pt x="441" y="628"/>
                        </a:lnTo>
                        <a:lnTo>
                          <a:pt x="441" y="626"/>
                        </a:lnTo>
                        <a:lnTo>
                          <a:pt x="439" y="626"/>
                        </a:lnTo>
                        <a:lnTo>
                          <a:pt x="441" y="625"/>
                        </a:lnTo>
                        <a:lnTo>
                          <a:pt x="441" y="623"/>
                        </a:lnTo>
                        <a:lnTo>
                          <a:pt x="439" y="623"/>
                        </a:lnTo>
                        <a:lnTo>
                          <a:pt x="441" y="623"/>
                        </a:lnTo>
                        <a:lnTo>
                          <a:pt x="441" y="621"/>
                        </a:lnTo>
                        <a:lnTo>
                          <a:pt x="441" y="620"/>
                        </a:lnTo>
                        <a:lnTo>
                          <a:pt x="442" y="618"/>
                        </a:lnTo>
                        <a:lnTo>
                          <a:pt x="442" y="617"/>
                        </a:lnTo>
                        <a:lnTo>
                          <a:pt x="441" y="617"/>
                        </a:lnTo>
                        <a:lnTo>
                          <a:pt x="439" y="617"/>
                        </a:lnTo>
                        <a:lnTo>
                          <a:pt x="438" y="615"/>
                        </a:lnTo>
                        <a:lnTo>
                          <a:pt x="438" y="613"/>
                        </a:lnTo>
                        <a:lnTo>
                          <a:pt x="439" y="613"/>
                        </a:lnTo>
                        <a:lnTo>
                          <a:pt x="441" y="613"/>
                        </a:lnTo>
                        <a:lnTo>
                          <a:pt x="441" y="612"/>
                        </a:lnTo>
                        <a:lnTo>
                          <a:pt x="441" y="610"/>
                        </a:lnTo>
                        <a:lnTo>
                          <a:pt x="439" y="610"/>
                        </a:lnTo>
                        <a:lnTo>
                          <a:pt x="438" y="609"/>
                        </a:lnTo>
                        <a:lnTo>
                          <a:pt x="438" y="607"/>
                        </a:lnTo>
                        <a:lnTo>
                          <a:pt x="439" y="607"/>
                        </a:lnTo>
                        <a:lnTo>
                          <a:pt x="439" y="606"/>
                        </a:lnTo>
                        <a:lnTo>
                          <a:pt x="438" y="604"/>
                        </a:lnTo>
                        <a:lnTo>
                          <a:pt x="436" y="602"/>
                        </a:lnTo>
                        <a:lnTo>
                          <a:pt x="434" y="601"/>
                        </a:lnTo>
                        <a:lnTo>
                          <a:pt x="434" y="599"/>
                        </a:lnTo>
                        <a:lnTo>
                          <a:pt x="433" y="599"/>
                        </a:lnTo>
                        <a:lnTo>
                          <a:pt x="431" y="598"/>
                        </a:lnTo>
                        <a:lnTo>
                          <a:pt x="431" y="596"/>
                        </a:lnTo>
                        <a:lnTo>
                          <a:pt x="430" y="596"/>
                        </a:lnTo>
                        <a:lnTo>
                          <a:pt x="430" y="598"/>
                        </a:lnTo>
                        <a:lnTo>
                          <a:pt x="428" y="598"/>
                        </a:lnTo>
                        <a:lnTo>
                          <a:pt x="428" y="596"/>
                        </a:lnTo>
                        <a:lnTo>
                          <a:pt x="426" y="596"/>
                        </a:lnTo>
                        <a:lnTo>
                          <a:pt x="426" y="594"/>
                        </a:lnTo>
                        <a:lnTo>
                          <a:pt x="428" y="594"/>
                        </a:lnTo>
                        <a:lnTo>
                          <a:pt x="428" y="593"/>
                        </a:lnTo>
                        <a:lnTo>
                          <a:pt x="426" y="591"/>
                        </a:lnTo>
                        <a:lnTo>
                          <a:pt x="426" y="590"/>
                        </a:lnTo>
                        <a:lnTo>
                          <a:pt x="425" y="588"/>
                        </a:lnTo>
                        <a:lnTo>
                          <a:pt x="425" y="587"/>
                        </a:lnTo>
                        <a:lnTo>
                          <a:pt x="425" y="585"/>
                        </a:lnTo>
                        <a:lnTo>
                          <a:pt x="423" y="583"/>
                        </a:lnTo>
                        <a:lnTo>
                          <a:pt x="422" y="583"/>
                        </a:lnTo>
                        <a:lnTo>
                          <a:pt x="420" y="583"/>
                        </a:lnTo>
                        <a:lnTo>
                          <a:pt x="418" y="585"/>
                        </a:lnTo>
                        <a:lnTo>
                          <a:pt x="417" y="583"/>
                        </a:lnTo>
                        <a:lnTo>
                          <a:pt x="415" y="583"/>
                        </a:lnTo>
                        <a:lnTo>
                          <a:pt x="414" y="583"/>
                        </a:lnTo>
                        <a:lnTo>
                          <a:pt x="414" y="582"/>
                        </a:lnTo>
                        <a:lnTo>
                          <a:pt x="412" y="582"/>
                        </a:lnTo>
                        <a:lnTo>
                          <a:pt x="411" y="582"/>
                        </a:lnTo>
                        <a:lnTo>
                          <a:pt x="411" y="580"/>
                        </a:lnTo>
                        <a:lnTo>
                          <a:pt x="409" y="580"/>
                        </a:lnTo>
                        <a:lnTo>
                          <a:pt x="407" y="579"/>
                        </a:lnTo>
                        <a:lnTo>
                          <a:pt x="407" y="577"/>
                        </a:lnTo>
                        <a:lnTo>
                          <a:pt x="407" y="575"/>
                        </a:lnTo>
                        <a:lnTo>
                          <a:pt x="406" y="574"/>
                        </a:lnTo>
                        <a:lnTo>
                          <a:pt x="404" y="574"/>
                        </a:lnTo>
                        <a:lnTo>
                          <a:pt x="403" y="572"/>
                        </a:lnTo>
                        <a:lnTo>
                          <a:pt x="401" y="572"/>
                        </a:lnTo>
                        <a:lnTo>
                          <a:pt x="399" y="571"/>
                        </a:lnTo>
                        <a:lnTo>
                          <a:pt x="398" y="571"/>
                        </a:lnTo>
                        <a:lnTo>
                          <a:pt x="396" y="569"/>
                        </a:lnTo>
                        <a:lnTo>
                          <a:pt x="395" y="569"/>
                        </a:lnTo>
                        <a:lnTo>
                          <a:pt x="393" y="569"/>
                        </a:lnTo>
                        <a:lnTo>
                          <a:pt x="393" y="568"/>
                        </a:lnTo>
                        <a:lnTo>
                          <a:pt x="392" y="568"/>
                        </a:lnTo>
                        <a:lnTo>
                          <a:pt x="392" y="566"/>
                        </a:lnTo>
                        <a:lnTo>
                          <a:pt x="390" y="566"/>
                        </a:lnTo>
                        <a:lnTo>
                          <a:pt x="388" y="566"/>
                        </a:lnTo>
                        <a:lnTo>
                          <a:pt x="388" y="564"/>
                        </a:lnTo>
                        <a:lnTo>
                          <a:pt x="387" y="563"/>
                        </a:lnTo>
                        <a:lnTo>
                          <a:pt x="385" y="561"/>
                        </a:lnTo>
                        <a:lnTo>
                          <a:pt x="387" y="560"/>
                        </a:lnTo>
                        <a:lnTo>
                          <a:pt x="385" y="560"/>
                        </a:lnTo>
                        <a:lnTo>
                          <a:pt x="385" y="558"/>
                        </a:lnTo>
                        <a:lnTo>
                          <a:pt x="384" y="558"/>
                        </a:lnTo>
                        <a:lnTo>
                          <a:pt x="384" y="556"/>
                        </a:lnTo>
                        <a:lnTo>
                          <a:pt x="384" y="555"/>
                        </a:lnTo>
                        <a:lnTo>
                          <a:pt x="384" y="553"/>
                        </a:lnTo>
                        <a:lnTo>
                          <a:pt x="382" y="552"/>
                        </a:lnTo>
                        <a:lnTo>
                          <a:pt x="380" y="550"/>
                        </a:lnTo>
                        <a:lnTo>
                          <a:pt x="379" y="550"/>
                        </a:lnTo>
                        <a:lnTo>
                          <a:pt x="379" y="549"/>
                        </a:lnTo>
                        <a:lnTo>
                          <a:pt x="377" y="549"/>
                        </a:lnTo>
                        <a:lnTo>
                          <a:pt x="377" y="547"/>
                        </a:lnTo>
                        <a:lnTo>
                          <a:pt x="377" y="545"/>
                        </a:lnTo>
                        <a:lnTo>
                          <a:pt x="377" y="544"/>
                        </a:lnTo>
                        <a:lnTo>
                          <a:pt x="376" y="542"/>
                        </a:lnTo>
                        <a:lnTo>
                          <a:pt x="376" y="541"/>
                        </a:lnTo>
                        <a:lnTo>
                          <a:pt x="374" y="541"/>
                        </a:lnTo>
                        <a:lnTo>
                          <a:pt x="374" y="539"/>
                        </a:lnTo>
                        <a:lnTo>
                          <a:pt x="373" y="537"/>
                        </a:lnTo>
                        <a:lnTo>
                          <a:pt x="371" y="537"/>
                        </a:lnTo>
                        <a:lnTo>
                          <a:pt x="371" y="536"/>
                        </a:lnTo>
                        <a:lnTo>
                          <a:pt x="368" y="536"/>
                        </a:lnTo>
                        <a:lnTo>
                          <a:pt x="366" y="534"/>
                        </a:lnTo>
                        <a:lnTo>
                          <a:pt x="365" y="533"/>
                        </a:lnTo>
                        <a:lnTo>
                          <a:pt x="365" y="531"/>
                        </a:lnTo>
                        <a:lnTo>
                          <a:pt x="363" y="530"/>
                        </a:lnTo>
                        <a:lnTo>
                          <a:pt x="363" y="528"/>
                        </a:lnTo>
                        <a:lnTo>
                          <a:pt x="363" y="526"/>
                        </a:lnTo>
                        <a:lnTo>
                          <a:pt x="360" y="525"/>
                        </a:lnTo>
                        <a:lnTo>
                          <a:pt x="360" y="523"/>
                        </a:lnTo>
                        <a:lnTo>
                          <a:pt x="357" y="522"/>
                        </a:lnTo>
                        <a:lnTo>
                          <a:pt x="355" y="522"/>
                        </a:lnTo>
                        <a:lnTo>
                          <a:pt x="355" y="520"/>
                        </a:lnTo>
                        <a:lnTo>
                          <a:pt x="355" y="517"/>
                        </a:lnTo>
                        <a:lnTo>
                          <a:pt x="355" y="515"/>
                        </a:lnTo>
                        <a:lnTo>
                          <a:pt x="355" y="514"/>
                        </a:lnTo>
                        <a:lnTo>
                          <a:pt x="357" y="512"/>
                        </a:lnTo>
                        <a:lnTo>
                          <a:pt x="355" y="511"/>
                        </a:lnTo>
                        <a:lnTo>
                          <a:pt x="357" y="509"/>
                        </a:lnTo>
                        <a:lnTo>
                          <a:pt x="357" y="507"/>
                        </a:lnTo>
                        <a:lnTo>
                          <a:pt x="358" y="506"/>
                        </a:lnTo>
                        <a:lnTo>
                          <a:pt x="358" y="504"/>
                        </a:lnTo>
                        <a:lnTo>
                          <a:pt x="358" y="501"/>
                        </a:lnTo>
                        <a:lnTo>
                          <a:pt x="357" y="499"/>
                        </a:lnTo>
                        <a:lnTo>
                          <a:pt x="357" y="498"/>
                        </a:lnTo>
                        <a:lnTo>
                          <a:pt x="357" y="495"/>
                        </a:lnTo>
                        <a:lnTo>
                          <a:pt x="355" y="495"/>
                        </a:lnTo>
                        <a:lnTo>
                          <a:pt x="354" y="495"/>
                        </a:lnTo>
                        <a:lnTo>
                          <a:pt x="354" y="493"/>
                        </a:lnTo>
                        <a:lnTo>
                          <a:pt x="354" y="492"/>
                        </a:lnTo>
                        <a:lnTo>
                          <a:pt x="352" y="490"/>
                        </a:lnTo>
                        <a:lnTo>
                          <a:pt x="352" y="488"/>
                        </a:lnTo>
                        <a:lnTo>
                          <a:pt x="352" y="487"/>
                        </a:lnTo>
                        <a:lnTo>
                          <a:pt x="352" y="485"/>
                        </a:lnTo>
                        <a:lnTo>
                          <a:pt x="350" y="484"/>
                        </a:lnTo>
                        <a:lnTo>
                          <a:pt x="349" y="480"/>
                        </a:lnTo>
                        <a:lnTo>
                          <a:pt x="349" y="479"/>
                        </a:lnTo>
                        <a:lnTo>
                          <a:pt x="346" y="476"/>
                        </a:lnTo>
                        <a:lnTo>
                          <a:pt x="341" y="472"/>
                        </a:lnTo>
                        <a:lnTo>
                          <a:pt x="336" y="471"/>
                        </a:lnTo>
                        <a:lnTo>
                          <a:pt x="333" y="469"/>
                        </a:lnTo>
                        <a:lnTo>
                          <a:pt x="331" y="468"/>
                        </a:lnTo>
                        <a:lnTo>
                          <a:pt x="328" y="465"/>
                        </a:lnTo>
                        <a:lnTo>
                          <a:pt x="327" y="463"/>
                        </a:lnTo>
                        <a:lnTo>
                          <a:pt x="327" y="461"/>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69" name="Freeform 68"/>
                  <p:cNvSpPr>
                    <a:spLocks/>
                  </p:cNvSpPr>
                  <p:nvPr/>
                </p:nvSpPr>
                <p:spPr bwMode="auto">
                  <a:xfrm>
                    <a:off x="3753" y="1960"/>
                    <a:ext cx="629" cy="461"/>
                  </a:xfrm>
                  <a:custGeom>
                    <a:avLst/>
                    <a:gdLst>
                      <a:gd name="T0" fmla="*/ 627 w 629"/>
                      <a:gd name="T1" fmla="*/ 450 h 461"/>
                      <a:gd name="T2" fmla="*/ 624 w 629"/>
                      <a:gd name="T3" fmla="*/ 438 h 461"/>
                      <a:gd name="T4" fmla="*/ 610 w 629"/>
                      <a:gd name="T5" fmla="*/ 430 h 461"/>
                      <a:gd name="T6" fmla="*/ 608 w 629"/>
                      <a:gd name="T7" fmla="*/ 411 h 461"/>
                      <a:gd name="T8" fmla="*/ 591 w 629"/>
                      <a:gd name="T9" fmla="*/ 411 h 461"/>
                      <a:gd name="T10" fmla="*/ 575 w 629"/>
                      <a:gd name="T11" fmla="*/ 403 h 461"/>
                      <a:gd name="T12" fmla="*/ 567 w 629"/>
                      <a:gd name="T13" fmla="*/ 401 h 461"/>
                      <a:gd name="T14" fmla="*/ 562 w 629"/>
                      <a:gd name="T15" fmla="*/ 389 h 461"/>
                      <a:gd name="T16" fmla="*/ 547 w 629"/>
                      <a:gd name="T17" fmla="*/ 390 h 461"/>
                      <a:gd name="T18" fmla="*/ 543 w 629"/>
                      <a:gd name="T19" fmla="*/ 376 h 461"/>
                      <a:gd name="T20" fmla="*/ 532 w 629"/>
                      <a:gd name="T21" fmla="*/ 370 h 461"/>
                      <a:gd name="T22" fmla="*/ 516 w 629"/>
                      <a:gd name="T23" fmla="*/ 370 h 461"/>
                      <a:gd name="T24" fmla="*/ 505 w 629"/>
                      <a:gd name="T25" fmla="*/ 363 h 461"/>
                      <a:gd name="T26" fmla="*/ 496 w 629"/>
                      <a:gd name="T27" fmla="*/ 349 h 461"/>
                      <a:gd name="T28" fmla="*/ 502 w 629"/>
                      <a:gd name="T29" fmla="*/ 330 h 461"/>
                      <a:gd name="T30" fmla="*/ 515 w 629"/>
                      <a:gd name="T31" fmla="*/ 293 h 461"/>
                      <a:gd name="T32" fmla="*/ 497 w 629"/>
                      <a:gd name="T33" fmla="*/ 267 h 461"/>
                      <a:gd name="T34" fmla="*/ 464 w 629"/>
                      <a:gd name="T35" fmla="*/ 260 h 461"/>
                      <a:gd name="T36" fmla="*/ 431 w 629"/>
                      <a:gd name="T37" fmla="*/ 281 h 461"/>
                      <a:gd name="T38" fmla="*/ 391 w 629"/>
                      <a:gd name="T39" fmla="*/ 287 h 461"/>
                      <a:gd name="T40" fmla="*/ 385 w 629"/>
                      <a:gd name="T41" fmla="*/ 260 h 461"/>
                      <a:gd name="T42" fmla="*/ 379 w 629"/>
                      <a:gd name="T43" fmla="*/ 230 h 461"/>
                      <a:gd name="T44" fmla="*/ 366 w 629"/>
                      <a:gd name="T45" fmla="*/ 224 h 461"/>
                      <a:gd name="T46" fmla="*/ 325 w 629"/>
                      <a:gd name="T47" fmla="*/ 238 h 461"/>
                      <a:gd name="T48" fmla="*/ 309 w 629"/>
                      <a:gd name="T49" fmla="*/ 224 h 461"/>
                      <a:gd name="T50" fmla="*/ 318 w 629"/>
                      <a:gd name="T51" fmla="*/ 176 h 461"/>
                      <a:gd name="T52" fmla="*/ 301 w 629"/>
                      <a:gd name="T53" fmla="*/ 154 h 461"/>
                      <a:gd name="T54" fmla="*/ 292 w 629"/>
                      <a:gd name="T55" fmla="*/ 168 h 461"/>
                      <a:gd name="T56" fmla="*/ 284 w 629"/>
                      <a:gd name="T57" fmla="*/ 198 h 461"/>
                      <a:gd name="T58" fmla="*/ 261 w 629"/>
                      <a:gd name="T59" fmla="*/ 200 h 461"/>
                      <a:gd name="T60" fmla="*/ 222 w 629"/>
                      <a:gd name="T61" fmla="*/ 217 h 461"/>
                      <a:gd name="T62" fmla="*/ 223 w 629"/>
                      <a:gd name="T63" fmla="*/ 248 h 461"/>
                      <a:gd name="T64" fmla="*/ 236 w 629"/>
                      <a:gd name="T65" fmla="*/ 276 h 461"/>
                      <a:gd name="T66" fmla="*/ 239 w 629"/>
                      <a:gd name="T67" fmla="*/ 297 h 461"/>
                      <a:gd name="T68" fmla="*/ 223 w 629"/>
                      <a:gd name="T69" fmla="*/ 319 h 461"/>
                      <a:gd name="T70" fmla="*/ 193 w 629"/>
                      <a:gd name="T71" fmla="*/ 338 h 461"/>
                      <a:gd name="T72" fmla="*/ 120 w 629"/>
                      <a:gd name="T73" fmla="*/ 352 h 461"/>
                      <a:gd name="T74" fmla="*/ 65 w 629"/>
                      <a:gd name="T75" fmla="*/ 377 h 461"/>
                      <a:gd name="T76" fmla="*/ 51 w 629"/>
                      <a:gd name="T77" fmla="*/ 384 h 461"/>
                      <a:gd name="T78" fmla="*/ 30 w 629"/>
                      <a:gd name="T79" fmla="*/ 390 h 461"/>
                      <a:gd name="T80" fmla="*/ 8 w 629"/>
                      <a:gd name="T81" fmla="*/ 384 h 461"/>
                      <a:gd name="T82" fmla="*/ 29 w 629"/>
                      <a:gd name="T83" fmla="*/ 343 h 461"/>
                      <a:gd name="T84" fmla="*/ 48 w 629"/>
                      <a:gd name="T85" fmla="*/ 298 h 461"/>
                      <a:gd name="T86" fmla="*/ 67 w 629"/>
                      <a:gd name="T87" fmla="*/ 282 h 461"/>
                      <a:gd name="T88" fmla="*/ 98 w 629"/>
                      <a:gd name="T89" fmla="*/ 278 h 461"/>
                      <a:gd name="T90" fmla="*/ 127 w 629"/>
                      <a:gd name="T91" fmla="*/ 295 h 461"/>
                      <a:gd name="T92" fmla="*/ 168 w 629"/>
                      <a:gd name="T93" fmla="*/ 286 h 461"/>
                      <a:gd name="T94" fmla="*/ 170 w 629"/>
                      <a:gd name="T95" fmla="*/ 246 h 461"/>
                      <a:gd name="T96" fmla="*/ 154 w 629"/>
                      <a:gd name="T97" fmla="*/ 206 h 461"/>
                      <a:gd name="T98" fmla="*/ 133 w 629"/>
                      <a:gd name="T99" fmla="*/ 194 h 461"/>
                      <a:gd name="T100" fmla="*/ 97 w 629"/>
                      <a:gd name="T101" fmla="*/ 176 h 461"/>
                      <a:gd name="T102" fmla="*/ 98 w 629"/>
                      <a:gd name="T103" fmla="*/ 159 h 461"/>
                      <a:gd name="T104" fmla="*/ 86 w 629"/>
                      <a:gd name="T105" fmla="*/ 148 h 461"/>
                      <a:gd name="T106" fmla="*/ 75 w 629"/>
                      <a:gd name="T107" fmla="*/ 138 h 461"/>
                      <a:gd name="T108" fmla="*/ 70 w 629"/>
                      <a:gd name="T109" fmla="*/ 107 h 461"/>
                      <a:gd name="T110" fmla="*/ 90 w 629"/>
                      <a:gd name="T111" fmla="*/ 75 h 461"/>
                      <a:gd name="T112" fmla="*/ 113 w 629"/>
                      <a:gd name="T113" fmla="*/ 67 h 461"/>
                      <a:gd name="T114" fmla="*/ 128 w 629"/>
                      <a:gd name="T115" fmla="*/ 56 h 461"/>
                      <a:gd name="T116" fmla="*/ 138 w 629"/>
                      <a:gd name="T117" fmla="*/ 34 h 461"/>
                      <a:gd name="T118" fmla="*/ 176 w 629"/>
                      <a:gd name="T119" fmla="*/ 23 h 461"/>
                      <a:gd name="T120" fmla="*/ 223 w 629"/>
                      <a:gd name="T121" fmla="*/ 15 h 461"/>
                      <a:gd name="T122" fmla="*/ 273 w 629"/>
                      <a:gd name="T123" fmla="*/ 2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29" h="461">
                        <a:moveTo>
                          <a:pt x="623" y="461"/>
                        </a:moveTo>
                        <a:lnTo>
                          <a:pt x="623" y="460"/>
                        </a:lnTo>
                        <a:lnTo>
                          <a:pt x="624" y="460"/>
                        </a:lnTo>
                        <a:lnTo>
                          <a:pt x="624" y="458"/>
                        </a:lnTo>
                        <a:lnTo>
                          <a:pt x="626" y="458"/>
                        </a:lnTo>
                        <a:lnTo>
                          <a:pt x="626" y="457"/>
                        </a:lnTo>
                        <a:lnTo>
                          <a:pt x="627" y="455"/>
                        </a:lnTo>
                        <a:lnTo>
                          <a:pt x="627" y="453"/>
                        </a:lnTo>
                        <a:lnTo>
                          <a:pt x="629" y="452"/>
                        </a:lnTo>
                        <a:lnTo>
                          <a:pt x="627" y="450"/>
                        </a:lnTo>
                        <a:lnTo>
                          <a:pt x="626" y="449"/>
                        </a:lnTo>
                        <a:lnTo>
                          <a:pt x="624" y="449"/>
                        </a:lnTo>
                        <a:lnTo>
                          <a:pt x="624" y="447"/>
                        </a:lnTo>
                        <a:lnTo>
                          <a:pt x="623" y="446"/>
                        </a:lnTo>
                        <a:lnTo>
                          <a:pt x="623" y="444"/>
                        </a:lnTo>
                        <a:lnTo>
                          <a:pt x="624" y="444"/>
                        </a:lnTo>
                        <a:lnTo>
                          <a:pt x="624" y="442"/>
                        </a:lnTo>
                        <a:lnTo>
                          <a:pt x="624" y="441"/>
                        </a:lnTo>
                        <a:lnTo>
                          <a:pt x="624" y="439"/>
                        </a:lnTo>
                        <a:lnTo>
                          <a:pt x="624" y="438"/>
                        </a:lnTo>
                        <a:lnTo>
                          <a:pt x="623" y="436"/>
                        </a:lnTo>
                        <a:lnTo>
                          <a:pt x="621" y="436"/>
                        </a:lnTo>
                        <a:lnTo>
                          <a:pt x="619" y="436"/>
                        </a:lnTo>
                        <a:lnTo>
                          <a:pt x="618" y="436"/>
                        </a:lnTo>
                        <a:lnTo>
                          <a:pt x="616" y="436"/>
                        </a:lnTo>
                        <a:lnTo>
                          <a:pt x="612" y="436"/>
                        </a:lnTo>
                        <a:lnTo>
                          <a:pt x="610" y="434"/>
                        </a:lnTo>
                        <a:lnTo>
                          <a:pt x="610" y="433"/>
                        </a:lnTo>
                        <a:lnTo>
                          <a:pt x="610" y="431"/>
                        </a:lnTo>
                        <a:lnTo>
                          <a:pt x="610" y="430"/>
                        </a:lnTo>
                        <a:lnTo>
                          <a:pt x="612" y="430"/>
                        </a:lnTo>
                        <a:lnTo>
                          <a:pt x="613" y="428"/>
                        </a:lnTo>
                        <a:lnTo>
                          <a:pt x="613" y="427"/>
                        </a:lnTo>
                        <a:lnTo>
                          <a:pt x="612" y="423"/>
                        </a:lnTo>
                        <a:lnTo>
                          <a:pt x="612" y="422"/>
                        </a:lnTo>
                        <a:lnTo>
                          <a:pt x="610" y="420"/>
                        </a:lnTo>
                        <a:lnTo>
                          <a:pt x="608" y="419"/>
                        </a:lnTo>
                        <a:lnTo>
                          <a:pt x="607" y="417"/>
                        </a:lnTo>
                        <a:lnTo>
                          <a:pt x="608" y="412"/>
                        </a:lnTo>
                        <a:lnTo>
                          <a:pt x="608" y="411"/>
                        </a:lnTo>
                        <a:lnTo>
                          <a:pt x="605" y="409"/>
                        </a:lnTo>
                        <a:lnTo>
                          <a:pt x="604" y="409"/>
                        </a:lnTo>
                        <a:lnTo>
                          <a:pt x="602" y="408"/>
                        </a:lnTo>
                        <a:lnTo>
                          <a:pt x="599" y="409"/>
                        </a:lnTo>
                        <a:lnTo>
                          <a:pt x="599" y="408"/>
                        </a:lnTo>
                        <a:lnTo>
                          <a:pt x="597" y="408"/>
                        </a:lnTo>
                        <a:lnTo>
                          <a:pt x="594" y="409"/>
                        </a:lnTo>
                        <a:lnTo>
                          <a:pt x="593" y="411"/>
                        </a:lnTo>
                        <a:lnTo>
                          <a:pt x="593" y="409"/>
                        </a:lnTo>
                        <a:lnTo>
                          <a:pt x="591" y="411"/>
                        </a:lnTo>
                        <a:lnTo>
                          <a:pt x="588" y="412"/>
                        </a:lnTo>
                        <a:lnTo>
                          <a:pt x="585" y="414"/>
                        </a:lnTo>
                        <a:lnTo>
                          <a:pt x="581" y="414"/>
                        </a:lnTo>
                        <a:lnTo>
                          <a:pt x="578" y="414"/>
                        </a:lnTo>
                        <a:lnTo>
                          <a:pt x="578" y="412"/>
                        </a:lnTo>
                        <a:lnTo>
                          <a:pt x="578" y="409"/>
                        </a:lnTo>
                        <a:lnTo>
                          <a:pt x="578" y="404"/>
                        </a:lnTo>
                        <a:lnTo>
                          <a:pt x="578" y="403"/>
                        </a:lnTo>
                        <a:lnTo>
                          <a:pt x="577" y="403"/>
                        </a:lnTo>
                        <a:lnTo>
                          <a:pt x="575" y="403"/>
                        </a:lnTo>
                        <a:lnTo>
                          <a:pt x="574" y="403"/>
                        </a:lnTo>
                        <a:lnTo>
                          <a:pt x="572" y="403"/>
                        </a:lnTo>
                        <a:lnTo>
                          <a:pt x="572" y="404"/>
                        </a:lnTo>
                        <a:lnTo>
                          <a:pt x="570" y="406"/>
                        </a:lnTo>
                        <a:lnTo>
                          <a:pt x="569" y="404"/>
                        </a:lnTo>
                        <a:lnTo>
                          <a:pt x="567" y="404"/>
                        </a:lnTo>
                        <a:lnTo>
                          <a:pt x="567" y="403"/>
                        </a:lnTo>
                        <a:lnTo>
                          <a:pt x="566" y="403"/>
                        </a:lnTo>
                        <a:lnTo>
                          <a:pt x="566" y="401"/>
                        </a:lnTo>
                        <a:lnTo>
                          <a:pt x="567" y="401"/>
                        </a:lnTo>
                        <a:lnTo>
                          <a:pt x="569" y="400"/>
                        </a:lnTo>
                        <a:lnTo>
                          <a:pt x="569" y="398"/>
                        </a:lnTo>
                        <a:lnTo>
                          <a:pt x="569" y="396"/>
                        </a:lnTo>
                        <a:lnTo>
                          <a:pt x="569" y="395"/>
                        </a:lnTo>
                        <a:lnTo>
                          <a:pt x="567" y="395"/>
                        </a:lnTo>
                        <a:lnTo>
                          <a:pt x="566" y="395"/>
                        </a:lnTo>
                        <a:lnTo>
                          <a:pt x="564" y="393"/>
                        </a:lnTo>
                        <a:lnTo>
                          <a:pt x="562" y="392"/>
                        </a:lnTo>
                        <a:lnTo>
                          <a:pt x="562" y="390"/>
                        </a:lnTo>
                        <a:lnTo>
                          <a:pt x="562" y="389"/>
                        </a:lnTo>
                        <a:lnTo>
                          <a:pt x="562" y="387"/>
                        </a:lnTo>
                        <a:lnTo>
                          <a:pt x="561" y="387"/>
                        </a:lnTo>
                        <a:lnTo>
                          <a:pt x="559" y="389"/>
                        </a:lnTo>
                        <a:lnTo>
                          <a:pt x="556" y="390"/>
                        </a:lnTo>
                        <a:lnTo>
                          <a:pt x="556" y="392"/>
                        </a:lnTo>
                        <a:lnTo>
                          <a:pt x="555" y="393"/>
                        </a:lnTo>
                        <a:lnTo>
                          <a:pt x="551" y="393"/>
                        </a:lnTo>
                        <a:lnTo>
                          <a:pt x="550" y="393"/>
                        </a:lnTo>
                        <a:lnTo>
                          <a:pt x="548" y="392"/>
                        </a:lnTo>
                        <a:lnTo>
                          <a:pt x="547" y="390"/>
                        </a:lnTo>
                        <a:lnTo>
                          <a:pt x="547" y="389"/>
                        </a:lnTo>
                        <a:lnTo>
                          <a:pt x="545" y="389"/>
                        </a:lnTo>
                        <a:lnTo>
                          <a:pt x="547" y="385"/>
                        </a:lnTo>
                        <a:lnTo>
                          <a:pt x="547" y="384"/>
                        </a:lnTo>
                        <a:lnTo>
                          <a:pt x="545" y="381"/>
                        </a:lnTo>
                        <a:lnTo>
                          <a:pt x="547" y="379"/>
                        </a:lnTo>
                        <a:lnTo>
                          <a:pt x="545" y="379"/>
                        </a:lnTo>
                        <a:lnTo>
                          <a:pt x="545" y="377"/>
                        </a:lnTo>
                        <a:lnTo>
                          <a:pt x="543" y="377"/>
                        </a:lnTo>
                        <a:lnTo>
                          <a:pt x="543" y="376"/>
                        </a:lnTo>
                        <a:lnTo>
                          <a:pt x="542" y="374"/>
                        </a:lnTo>
                        <a:lnTo>
                          <a:pt x="540" y="374"/>
                        </a:lnTo>
                        <a:lnTo>
                          <a:pt x="539" y="374"/>
                        </a:lnTo>
                        <a:lnTo>
                          <a:pt x="539" y="373"/>
                        </a:lnTo>
                        <a:lnTo>
                          <a:pt x="537" y="373"/>
                        </a:lnTo>
                        <a:lnTo>
                          <a:pt x="537" y="371"/>
                        </a:lnTo>
                        <a:lnTo>
                          <a:pt x="535" y="371"/>
                        </a:lnTo>
                        <a:lnTo>
                          <a:pt x="534" y="371"/>
                        </a:lnTo>
                        <a:lnTo>
                          <a:pt x="534" y="370"/>
                        </a:lnTo>
                        <a:lnTo>
                          <a:pt x="532" y="370"/>
                        </a:lnTo>
                        <a:lnTo>
                          <a:pt x="532" y="368"/>
                        </a:lnTo>
                        <a:lnTo>
                          <a:pt x="529" y="368"/>
                        </a:lnTo>
                        <a:lnTo>
                          <a:pt x="528" y="368"/>
                        </a:lnTo>
                        <a:lnTo>
                          <a:pt x="526" y="368"/>
                        </a:lnTo>
                        <a:lnTo>
                          <a:pt x="524" y="371"/>
                        </a:lnTo>
                        <a:lnTo>
                          <a:pt x="523" y="371"/>
                        </a:lnTo>
                        <a:lnTo>
                          <a:pt x="521" y="371"/>
                        </a:lnTo>
                        <a:lnTo>
                          <a:pt x="520" y="370"/>
                        </a:lnTo>
                        <a:lnTo>
                          <a:pt x="518" y="370"/>
                        </a:lnTo>
                        <a:lnTo>
                          <a:pt x="516" y="370"/>
                        </a:lnTo>
                        <a:lnTo>
                          <a:pt x="515" y="368"/>
                        </a:lnTo>
                        <a:lnTo>
                          <a:pt x="513" y="366"/>
                        </a:lnTo>
                        <a:lnTo>
                          <a:pt x="513" y="365"/>
                        </a:lnTo>
                        <a:lnTo>
                          <a:pt x="513" y="363"/>
                        </a:lnTo>
                        <a:lnTo>
                          <a:pt x="512" y="362"/>
                        </a:lnTo>
                        <a:lnTo>
                          <a:pt x="512" y="360"/>
                        </a:lnTo>
                        <a:lnTo>
                          <a:pt x="510" y="360"/>
                        </a:lnTo>
                        <a:lnTo>
                          <a:pt x="509" y="362"/>
                        </a:lnTo>
                        <a:lnTo>
                          <a:pt x="507" y="362"/>
                        </a:lnTo>
                        <a:lnTo>
                          <a:pt x="505" y="363"/>
                        </a:lnTo>
                        <a:lnTo>
                          <a:pt x="504" y="362"/>
                        </a:lnTo>
                        <a:lnTo>
                          <a:pt x="502" y="360"/>
                        </a:lnTo>
                        <a:lnTo>
                          <a:pt x="501" y="360"/>
                        </a:lnTo>
                        <a:lnTo>
                          <a:pt x="501" y="358"/>
                        </a:lnTo>
                        <a:lnTo>
                          <a:pt x="499" y="358"/>
                        </a:lnTo>
                        <a:lnTo>
                          <a:pt x="497" y="357"/>
                        </a:lnTo>
                        <a:lnTo>
                          <a:pt x="496" y="355"/>
                        </a:lnTo>
                        <a:lnTo>
                          <a:pt x="496" y="354"/>
                        </a:lnTo>
                        <a:lnTo>
                          <a:pt x="496" y="352"/>
                        </a:lnTo>
                        <a:lnTo>
                          <a:pt x="496" y="349"/>
                        </a:lnTo>
                        <a:lnTo>
                          <a:pt x="497" y="347"/>
                        </a:lnTo>
                        <a:lnTo>
                          <a:pt x="499" y="344"/>
                        </a:lnTo>
                        <a:lnTo>
                          <a:pt x="501" y="343"/>
                        </a:lnTo>
                        <a:lnTo>
                          <a:pt x="501" y="339"/>
                        </a:lnTo>
                        <a:lnTo>
                          <a:pt x="501" y="336"/>
                        </a:lnTo>
                        <a:lnTo>
                          <a:pt x="501" y="335"/>
                        </a:lnTo>
                        <a:lnTo>
                          <a:pt x="501" y="333"/>
                        </a:lnTo>
                        <a:lnTo>
                          <a:pt x="501" y="332"/>
                        </a:lnTo>
                        <a:lnTo>
                          <a:pt x="502" y="332"/>
                        </a:lnTo>
                        <a:lnTo>
                          <a:pt x="502" y="330"/>
                        </a:lnTo>
                        <a:lnTo>
                          <a:pt x="504" y="328"/>
                        </a:lnTo>
                        <a:lnTo>
                          <a:pt x="509" y="327"/>
                        </a:lnTo>
                        <a:lnTo>
                          <a:pt x="510" y="325"/>
                        </a:lnTo>
                        <a:lnTo>
                          <a:pt x="512" y="324"/>
                        </a:lnTo>
                        <a:lnTo>
                          <a:pt x="513" y="320"/>
                        </a:lnTo>
                        <a:lnTo>
                          <a:pt x="513" y="317"/>
                        </a:lnTo>
                        <a:lnTo>
                          <a:pt x="515" y="313"/>
                        </a:lnTo>
                        <a:lnTo>
                          <a:pt x="515" y="306"/>
                        </a:lnTo>
                        <a:lnTo>
                          <a:pt x="515" y="301"/>
                        </a:lnTo>
                        <a:lnTo>
                          <a:pt x="515" y="293"/>
                        </a:lnTo>
                        <a:lnTo>
                          <a:pt x="515" y="284"/>
                        </a:lnTo>
                        <a:lnTo>
                          <a:pt x="515" y="281"/>
                        </a:lnTo>
                        <a:lnTo>
                          <a:pt x="513" y="274"/>
                        </a:lnTo>
                        <a:lnTo>
                          <a:pt x="512" y="271"/>
                        </a:lnTo>
                        <a:lnTo>
                          <a:pt x="510" y="270"/>
                        </a:lnTo>
                        <a:lnTo>
                          <a:pt x="509" y="270"/>
                        </a:lnTo>
                        <a:lnTo>
                          <a:pt x="505" y="268"/>
                        </a:lnTo>
                        <a:lnTo>
                          <a:pt x="502" y="267"/>
                        </a:lnTo>
                        <a:lnTo>
                          <a:pt x="501" y="267"/>
                        </a:lnTo>
                        <a:lnTo>
                          <a:pt x="497" y="267"/>
                        </a:lnTo>
                        <a:lnTo>
                          <a:pt x="494" y="267"/>
                        </a:lnTo>
                        <a:lnTo>
                          <a:pt x="491" y="267"/>
                        </a:lnTo>
                        <a:lnTo>
                          <a:pt x="488" y="267"/>
                        </a:lnTo>
                        <a:lnTo>
                          <a:pt x="485" y="267"/>
                        </a:lnTo>
                        <a:lnTo>
                          <a:pt x="482" y="265"/>
                        </a:lnTo>
                        <a:lnTo>
                          <a:pt x="478" y="263"/>
                        </a:lnTo>
                        <a:lnTo>
                          <a:pt x="474" y="262"/>
                        </a:lnTo>
                        <a:lnTo>
                          <a:pt x="472" y="260"/>
                        </a:lnTo>
                        <a:lnTo>
                          <a:pt x="467" y="260"/>
                        </a:lnTo>
                        <a:lnTo>
                          <a:pt x="464" y="260"/>
                        </a:lnTo>
                        <a:lnTo>
                          <a:pt x="459" y="260"/>
                        </a:lnTo>
                        <a:lnTo>
                          <a:pt x="455" y="262"/>
                        </a:lnTo>
                        <a:lnTo>
                          <a:pt x="448" y="262"/>
                        </a:lnTo>
                        <a:lnTo>
                          <a:pt x="445" y="263"/>
                        </a:lnTo>
                        <a:lnTo>
                          <a:pt x="442" y="267"/>
                        </a:lnTo>
                        <a:lnTo>
                          <a:pt x="439" y="270"/>
                        </a:lnTo>
                        <a:lnTo>
                          <a:pt x="436" y="273"/>
                        </a:lnTo>
                        <a:lnTo>
                          <a:pt x="434" y="274"/>
                        </a:lnTo>
                        <a:lnTo>
                          <a:pt x="433" y="278"/>
                        </a:lnTo>
                        <a:lnTo>
                          <a:pt x="431" y="281"/>
                        </a:lnTo>
                        <a:lnTo>
                          <a:pt x="428" y="282"/>
                        </a:lnTo>
                        <a:lnTo>
                          <a:pt x="425" y="282"/>
                        </a:lnTo>
                        <a:lnTo>
                          <a:pt x="421" y="284"/>
                        </a:lnTo>
                        <a:lnTo>
                          <a:pt x="417" y="286"/>
                        </a:lnTo>
                        <a:lnTo>
                          <a:pt x="412" y="286"/>
                        </a:lnTo>
                        <a:lnTo>
                          <a:pt x="407" y="287"/>
                        </a:lnTo>
                        <a:lnTo>
                          <a:pt x="402" y="287"/>
                        </a:lnTo>
                        <a:lnTo>
                          <a:pt x="398" y="287"/>
                        </a:lnTo>
                        <a:lnTo>
                          <a:pt x="395" y="287"/>
                        </a:lnTo>
                        <a:lnTo>
                          <a:pt x="391" y="287"/>
                        </a:lnTo>
                        <a:lnTo>
                          <a:pt x="390" y="287"/>
                        </a:lnTo>
                        <a:lnTo>
                          <a:pt x="388" y="286"/>
                        </a:lnTo>
                        <a:lnTo>
                          <a:pt x="387" y="284"/>
                        </a:lnTo>
                        <a:lnTo>
                          <a:pt x="387" y="279"/>
                        </a:lnTo>
                        <a:lnTo>
                          <a:pt x="385" y="276"/>
                        </a:lnTo>
                        <a:lnTo>
                          <a:pt x="385" y="273"/>
                        </a:lnTo>
                        <a:lnTo>
                          <a:pt x="383" y="268"/>
                        </a:lnTo>
                        <a:lnTo>
                          <a:pt x="383" y="267"/>
                        </a:lnTo>
                        <a:lnTo>
                          <a:pt x="383" y="265"/>
                        </a:lnTo>
                        <a:lnTo>
                          <a:pt x="385" y="260"/>
                        </a:lnTo>
                        <a:lnTo>
                          <a:pt x="387" y="257"/>
                        </a:lnTo>
                        <a:lnTo>
                          <a:pt x="388" y="254"/>
                        </a:lnTo>
                        <a:lnTo>
                          <a:pt x="391" y="246"/>
                        </a:lnTo>
                        <a:lnTo>
                          <a:pt x="391" y="244"/>
                        </a:lnTo>
                        <a:lnTo>
                          <a:pt x="391" y="241"/>
                        </a:lnTo>
                        <a:lnTo>
                          <a:pt x="388" y="240"/>
                        </a:lnTo>
                        <a:lnTo>
                          <a:pt x="387" y="238"/>
                        </a:lnTo>
                        <a:lnTo>
                          <a:pt x="382" y="235"/>
                        </a:lnTo>
                        <a:lnTo>
                          <a:pt x="380" y="233"/>
                        </a:lnTo>
                        <a:lnTo>
                          <a:pt x="379" y="230"/>
                        </a:lnTo>
                        <a:lnTo>
                          <a:pt x="379" y="227"/>
                        </a:lnTo>
                        <a:lnTo>
                          <a:pt x="377" y="227"/>
                        </a:lnTo>
                        <a:lnTo>
                          <a:pt x="376" y="225"/>
                        </a:lnTo>
                        <a:lnTo>
                          <a:pt x="376" y="224"/>
                        </a:lnTo>
                        <a:lnTo>
                          <a:pt x="374" y="224"/>
                        </a:lnTo>
                        <a:lnTo>
                          <a:pt x="372" y="224"/>
                        </a:lnTo>
                        <a:lnTo>
                          <a:pt x="371" y="224"/>
                        </a:lnTo>
                        <a:lnTo>
                          <a:pt x="369" y="224"/>
                        </a:lnTo>
                        <a:lnTo>
                          <a:pt x="368" y="222"/>
                        </a:lnTo>
                        <a:lnTo>
                          <a:pt x="366" y="224"/>
                        </a:lnTo>
                        <a:lnTo>
                          <a:pt x="364" y="224"/>
                        </a:lnTo>
                        <a:lnTo>
                          <a:pt x="364" y="225"/>
                        </a:lnTo>
                        <a:lnTo>
                          <a:pt x="361" y="225"/>
                        </a:lnTo>
                        <a:lnTo>
                          <a:pt x="358" y="227"/>
                        </a:lnTo>
                        <a:lnTo>
                          <a:pt x="352" y="230"/>
                        </a:lnTo>
                        <a:lnTo>
                          <a:pt x="345" y="232"/>
                        </a:lnTo>
                        <a:lnTo>
                          <a:pt x="341" y="233"/>
                        </a:lnTo>
                        <a:lnTo>
                          <a:pt x="334" y="236"/>
                        </a:lnTo>
                        <a:lnTo>
                          <a:pt x="328" y="238"/>
                        </a:lnTo>
                        <a:lnTo>
                          <a:pt x="325" y="238"/>
                        </a:lnTo>
                        <a:lnTo>
                          <a:pt x="322" y="238"/>
                        </a:lnTo>
                        <a:lnTo>
                          <a:pt x="320" y="238"/>
                        </a:lnTo>
                        <a:lnTo>
                          <a:pt x="318" y="238"/>
                        </a:lnTo>
                        <a:lnTo>
                          <a:pt x="315" y="238"/>
                        </a:lnTo>
                        <a:lnTo>
                          <a:pt x="315" y="236"/>
                        </a:lnTo>
                        <a:lnTo>
                          <a:pt x="314" y="236"/>
                        </a:lnTo>
                        <a:lnTo>
                          <a:pt x="312" y="235"/>
                        </a:lnTo>
                        <a:lnTo>
                          <a:pt x="312" y="233"/>
                        </a:lnTo>
                        <a:lnTo>
                          <a:pt x="311" y="230"/>
                        </a:lnTo>
                        <a:lnTo>
                          <a:pt x="309" y="224"/>
                        </a:lnTo>
                        <a:lnTo>
                          <a:pt x="311" y="219"/>
                        </a:lnTo>
                        <a:lnTo>
                          <a:pt x="311" y="213"/>
                        </a:lnTo>
                        <a:lnTo>
                          <a:pt x="315" y="205"/>
                        </a:lnTo>
                        <a:lnTo>
                          <a:pt x="320" y="197"/>
                        </a:lnTo>
                        <a:lnTo>
                          <a:pt x="322" y="192"/>
                        </a:lnTo>
                        <a:lnTo>
                          <a:pt x="322" y="191"/>
                        </a:lnTo>
                        <a:lnTo>
                          <a:pt x="322" y="189"/>
                        </a:lnTo>
                        <a:lnTo>
                          <a:pt x="320" y="186"/>
                        </a:lnTo>
                        <a:lnTo>
                          <a:pt x="318" y="181"/>
                        </a:lnTo>
                        <a:lnTo>
                          <a:pt x="318" y="176"/>
                        </a:lnTo>
                        <a:lnTo>
                          <a:pt x="317" y="170"/>
                        </a:lnTo>
                        <a:lnTo>
                          <a:pt x="315" y="167"/>
                        </a:lnTo>
                        <a:lnTo>
                          <a:pt x="312" y="164"/>
                        </a:lnTo>
                        <a:lnTo>
                          <a:pt x="311" y="162"/>
                        </a:lnTo>
                        <a:lnTo>
                          <a:pt x="309" y="160"/>
                        </a:lnTo>
                        <a:lnTo>
                          <a:pt x="309" y="159"/>
                        </a:lnTo>
                        <a:lnTo>
                          <a:pt x="307" y="157"/>
                        </a:lnTo>
                        <a:lnTo>
                          <a:pt x="307" y="156"/>
                        </a:lnTo>
                        <a:lnTo>
                          <a:pt x="303" y="154"/>
                        </a:lnTo>
                        <a:lnTo>
                          <a:pt x="301" y="154"/>
                        </a:lnTo>
                        <a:lnTo>
                          <a:pt x="299" y="153"/>
                        </a:lnTo>
                        <a:lnTo>
                          <a:pt x="298" y="153"/>
                        </a:lnTo>
                        <a:lnTo>
                          <a:pt x="296" y="153"/>
                        </a:lnTo>
                        <a:lnTo>
                          <a:pt x="295" y="154"/>
                        </a:lnTo>
                        <a:lnTo>
                          <a:pt x="295" y="156"/>
                        </a:lnTo>
                        <a:lnTo>
                          <a:pt x="295" y="159"/>
                        </a:lnTo>
                        <a:lnTo>
                          <a:pt x="295" y="160"/>
                        </a:lnTo>
                        <a:lnTo>
                          <a:pt x="293" y="162"/>
                        </a:lnTo>
                        <a:lnTo>
                          <a:pt x="293" y="164"/>
                        </a:lnTo>
                        <a:lnTo>
                          <a:pt x="292" y="168"/>
                        </a:lnTo>
                        <a:lnTo>
                          <a:pt x="292" y="172"/>
                        </a:lnTo>
                        <a:lnTo>
                          <a:pt x="292" y="175"/>
                        </a:lnTo>
                        <a:lnTo>
                          <a:pt x="292" y="176"/>
                        </a:lnTo>
                        <a:lnTo>
                          <a:pt x="290" y="179"/>
                        </a:lnTo>
                        <a:lnTo>
                          <a:pt x="290" y="183"/>
                        </a:lnTo>
                        <a:lnTo>
                          <a:pt x="288" y="186"/>
                        </a:lnTo>
                        <a:lnTo>
                          <a:pt x="287" y="189"/>
                        </a:lnTo>
                        <a:lnTo>
                          <a:pt x="285" y="194"/>
                        </a:lnTo>
                        <a:lnTo>
                          <a:pt x="284" y="197"/>
                        </a:lnTo>
                        <a:lnTo>
                          <a:pt x="284" y="198"/>
                        </a:lnTo>
                        <a:lnTo>
                          <a:pt x="280" y="198"/>
                        </a:lnTo>
                        <a:lnTo>
                          <a:pt x="279" y="200"/>
                        </a:lnTo>
                        <a:lnTo>
                          <a:pt x="277" y="200"/>
                        </a:lnTo>
                        <a:lnTo>
                          <a:pt x="274" y="200"/>
                        </a:lnTo>
                        <a:lnTo>
                          <a:pt x="271" y="200"/>
                        </a:lnTo>
                        <a:lnTo>
                          <a:pt x="268" y="200"/>
                        </a:lnTo>
                        <a:lnTo>
                          <a:pt x="266" y="200"/>
                        </a:lnTo>
                        <a:lnTo>
                          <a:pt x="265" y="202"/>
                        </a:lnTo>
                        <a:lnTo>
                          <a:pt x="263" y="200"/>
                        </a:lnTo>
                        <a:lnTo>
                          <a:pt x="261" y="200"/>
                        </a:lnTo>
                        <a:lnTo>
                          <a:pt x="260" y="200"/>
                        </a:lnTo>
                        <a:lnTo>
                          <a:pt x="255" y="200"/>
                        </a:lnTo>
                        <a:lnTo>
                          <a:pt x="252" y="202"/>
                        </a:lnTo>
                        <a:lnTo>
                          <a:pt x="249" y="203"/>
                        </a:lnTo>
                        <a:lnTo>
                          <a:pt x="244" y="205"/>
                        </a:lnTo>
                        <a:lnTo>
                          <a:pt x="239" y="210"/>
                        </a:lnTo>
                        <a:lnTo>
                          <a:pt x="235" y="211"/>
                        </a:lnTo>
                        <a:lnTo>
                          <a:pt x="231" y="213"/>
                        </a:lnTo>
                        <a:lnTo>
                          <a:pt x="227" y="216"/>
                        </a:lnTo>
                        <a:lnTo>
                          <a:pt x="222" y="217"/>
                        </a:lnTo>
                        <a:lnTo>
                          <a:pt x="219" y="219"/>
                        </a:lnTo>
                        <a:lnTo>
                          <a:pt x="219" y="221"/>
                        </a:lnTo>
                        <a:lnTo>
                          <a:pt x="219" y="222"/>
                        </a:lnTo>
                        <a:lnTo>
                          <a:pt x="220" y="224"/>
                        </a:lnTo>
                        <a:lnTo>
                          <a:pt x="220" y="227"/>
                        </a:lnTo>
                        <a:lnTo>
                          <a:pt x="222" y="230"/>
                        </a:lnTo>
                        <a:lnTo>
                          <a:pt x="222" y="236"/>
                        </a:lnTo>
                        <a:lnTo>
                          <a:pt x="222" y="240"/>
                        </a:lnTo>
                        <a:lnTo>
                          <a:pt x="223" y="244"/>
                        </a:lnTo>
                        <a:lnTo>
                          <a:pt x="223" y="248"/>
                        </a:lnTo>
                        <a:lnTo>
                          <a:pt x="222" y="252"/>
                        </a:lnTo>
                        <a:lnTo>
                          <a:pt x="223" y="257"/>
                        </a:lnTo>
                        <a:lnTo>
                          <a:pt x="223" y="262"/>
                        </a:lnTo>
                        <a:lnTo>
                          <a:pt x="223" y="265"/>
                        </a:lnTo>
                        <a:lnTo>
                          <a:pt x="225" y="267"/>
                        </a:lnTo>
                        <a:lnTo>
                          <a:pt x="227" y="270"/>
                        </a:lnTo>
                        <a:lnTo>
                          <a:pt x="228" y="271"/>
                        </a:lnTo>
                        <a:lnTo>
                          <a:pt x="230" y="273"/>
                        </a:lnTo>
                        <a:lnTo>
                          <a:pt x="233" y="274"/>
                        </a:lnTo>
                        <a:lnTo>
                          <a:pt x="236" y="276"/>
                        </a:lnTo>
                        <a:lnTo>
                          <a:pt x="238" y="278"/>
                        </a:lnTo>
                        <a:lnTo>
                          <a:pt x="239" y="279"/>
                        </a:lnTo>
                        <a:lnTo>
                          <a:pt x="241" y="281"/>
                        </a:lnTo>
                        <a:lnTo>
                          <a:pt x="242" y="282"/>
                        </a:lnTo>
                        <a:lnTo>
                          <a:pt x="242" y="284"/>
                        </a:lnTo>
                        <a:lnTo>
                          <a:pt x="242" y="287"/>
                        </a:lnTo>
                        <a:lnTo>
                          <a:pt x="241" y="289"/>
                        </a:lnTo>
                        <a:lnTo>
                          <a:pt x="239" y="292"/>
                        </a:lnTo>
                        <a:lnTo>
                          <a:pt x="239" y="293"/>
                        </a:lnTo>
                        <a:lnTo>
                          <a:pt x="239" y="297"/>
                        </a:lnTo>
                        <a:lnTo>
                          <a:pt x="239" y="300"/>
                        </a:lnTo>
                        <a:lnTo>
                          <a:pt x="241" y="303"/>
                        </a:lnTo>
                        <a:lnTo>
                          <a:pt x="244" y="306"/>
                        </a:lnTo>
                        <a:lnTo>
                          <a:pt x="246" y="311"/>
                        </a:lnTo>
                        <a:lnTo>
                          <a:pt x="247" y="314"/>
                        </a:lnTo>
                        <a:lnTo>
                          <a:pt x="244" y="314"/>
                        </a:lnTo>
                        <a:lnTo>
                          <a:pt x="242" y="316"/>
                        </a:lnTo>
                        <a:lnTo>
                          <a:pt x="235" y="316"/>
                        </a:lnTo>
                        <a:lnTo>
                          <a:pt x="230" y="317"/>
                        </a:lnTo>
                        <a:lnTo>
                          <a:pt x="223" y="319"/>
                        </a:lnTo>
                        <a:lnTo>
                          <a:pt x="214" y="320"/>
                        </a:lnTo>
                        <a:lnTo>
                          <a:pt x="209" y="322"/>
                        </a:lnTo>
                        <a:lnTo>
                          <a:pt x="206" y="322"/>
                        </a:lnTo>
                        <a:lnTo>
                          <a:pt x="204" y="324"/>
                        </a:lnTo>
                        <a:lnTo>
                          <a:pt x="203" y="325"/>
                        </a:lnTo>
                        <a:lnTo>
                          <a:pt x="201" y="327"/>
                        </a:lnTo>
                        <a:lnTo>
                          <a:pt x="200" y="330"/>
                        </a:lnTo>
                        <a:lnTo>
                          <a:pt x="198" y="332"/>
                        </a:lnTo>
                        <a:lnTo>
                          <a:pt x="195" y="336"/>
                        </a:lnTo>
                        <a:lnTo>
                          <a:pt x="193" y="338"/>
                        </a:lnTo>
                        <a:lnTo>
                          <a:pt x="192" y="339"/>
                        </a:lnTo>
                        <a:lnTo>
                          <a:pt x="187" y="341"/>
                        </a:lnTo>
                        <a:lnTo>
                          <a:pt x="181" y="343"/>
                        </a:lnTo>
                        <a:lnTo>
                          <a:pt x="176" y="344"/>
                        </a:lnTo>
                        <a:lnTo>
                          <a:pt x="171" y="344"/>
                        </a:lnTo>
                        <a:lnTo>
                          <a:pt x="168" y="346"/>
                        </a:lnTo>
                        <a:lnTo>
                          <a:pt x="166" y="346"/>
                        </a:lnTo>
                        <a:lnTo>
                          <a:pt x="165" y="346"/>
                        </a:lnTo>
                        <a:lnTo>
                          <a:pt x="138" y="351"/>
                        </a:lnTo>
                        <a:lnTo>
                          <a:pt x="120" y="352"/>
                        </a:lnTo>
                        <a:lnTo>
                          <a:pt x="100" y="357"/>
                        </a:lnTo>
                        <a:lnTo>
                          <a:pt x="87" y="358"/>
                        </a:lnTo>
                        <a:lnTo>
                          <a:pt x="84" y="358"/>
                        </a:lnTo>
                        <a:lnTo>
                          <a:pt x="81" y="360"/>
                        </a:lnTo>
                        <a:lnTo>
                          <a:pt x="78" y="362"/>
                        </a:lnTo>
                        <a:lnTo>
                          <a:pt x="78" y="363"/>
                        </a:lnTo>
                        <a:lnTo>
                          <a:pt x="75" y="366"/>
                        </a:lnTo>
                        <a:lnTo>
                          <a:pt x="73" y="370"/>
                        </a:lnTo>
                        <a:lnTo>
                          <a:pt x="70" y="374"/>
                        </a:lnTo>
                        <a:lnTo>
                          <a:pt x="65" y="377"/>
                        </a:lnTo>
                        <a:lnTo>
                          <a:pt x="63" y="379"/>
                        </a:lnTo>
                        <a:lnTo>
                          <a:pt x="63" y="381"/>
                        </a:lnTo>
                        <a:lnTo>
                          <a:pt x="63" y="382"/>
                        </a:lnTo>
                        <a:lnTo>
                          <a:pt x="62" y="382"/>
                        </a:lnTo>
                        <a:lnTo>
                          <a:pt x="59" y="385"/>
                        </a:lnTo>
                        <a:lnTo>
                          <a:pt x="57" y="385"/>
                        </a:lnTo>
                        <a:lnTo>
                          <a:pt x="56" y="385"/>
                        </a:lnTo>
                        <a:lnTo>
                          <a:pt x="52" y="385"/>
                        </a:lnTo>
                        <a:lnTo>
                          <a:pt x="51" y="385"/>
                        </a:lnTo>
                        <a:lnTo>
                          <a:pt x="51" y="384"/>
                        </a:lnTo>
                        <a:lnTo>
                          <a:pt x="46" y="384"/>
                        </a:lnTo>
                        <a:lnTo>
                          <a:pt x="44" y="387"/>
                        </a:lnTo>
                        <a:lnTo>
                          <a:pt x="44" y="389"/>
                        </a:lnTo>
                        <a:lnTo>
                          <a:pt x="46" y="390"/>
                        </a:lnTo>
                        <a:lnTo>
                          <a:pt x="46" y="392"/>
                        </a:lnTo>
                        <a:lnTo>
                          <a:pt x="44" y="392"/>
                        </a:lnTo>
                        <a:lnTo>
                          <a:pt x="41" y="392"/>
                        </a:lnTo>
                        <a:lnTo>
                          <a:pt x="38" y="392"/>
                        </a:lnTo>
                        <a:lnTo>
                          <a:pt x="35" y="392"/>
                        </a:lnTo>
                        <a:lnTo>
                          <a:pt x="30" y="390"/>
                        </a:lnTo>
                        <a:lnTo>
                          <a:pt x="29" y="390"/>
                        </a:lnTo>
                        <a:lnTo>
                          <a:pt x="27" y="390"/>
                        </a:lnTo>
                        <a:lnTo>
                          <a:pt x="25" y="390"/>
                        </a:lnTo>
                        <a:lnTo>
                          <a:pt x="22" y="392"/>
                        </a:lnTo>
                        <a:lnTo>
                          <a:pt x="19" y="390"/>
                        </a:lnTo>
                        <a:lnTo>
                          <a:pt x="18" y="390"/>
                        </a:lnTo>
                        <a:lnTo>
                          <a:pt x="16" y="389"/>
                        </a:lnTo>
                        <a:lnTo>
                          <a:pt x="14" y="389"/>
                        </a:lnTo>
                        <a:lnTo>
                          <a:pt x="10" y="384"/>
                        </a:lnTo>
                        <a:lnTo>
                          <a:pt x="8" y="384"/>
                        </a:lnTo>
                        <a:lnTo>
                          <a:pt x="6" y="382"/>
                        </a:lnTo>
                        <a:lnTo>
                          <a:pt x="5" y="381"/>
                        </a:lnTo>
                        <a:lnTo>
                          <a:pt x="3" y="381"/>
                        </a:lnTo>
                        <a:lnTo>
                          <a:pt x="0" y="373"/>
                        </a:lnTo>
                        <a:lnTo>
                          <a:pt x="2" y="371"/>
                        </a:lnTo>
                        <a:lnTo>
                          <a:pt x="6" y="366"/>
                        </a:lnTo>
                        <a:lnTo>
                          <a:pt x="13" y="360"/>
                        </a:lnTo>
                        <a:lnTo>
                          <a:pt x="19" y="354"/>
                        </a:lnTo>
                        <a:lnTo>
                          <a:pt x="25" y="347"/>
                        </a:lnTo>
                        <a:lnTo>
                          <a:pt x="29" y="343"/>
                        </a:lnTo>
                        <a:lnTo>
                          <a:pt x="29" y="339"/>
                        </a:lnTo>
                        <a:lnTo>
                          <a:pt x="29" y="333"/>
                        </a:lnTo>
                        <a:lnTo>
                          <a:pt x="30" y="320"/>
                        </a:lnTo>
                        <a:lnTo>
                          <a:pt x="30" y="319"/>
                        </a:lnTo>
                        <a:lnTo>
                          <a:pt x="33" y="316"/>
                        </a:lnTo>
                        <a:lnTo>
                          <a:pt x="38" y="311"/>
                        </a:lnTo>
                        <a:lnTo>
                          <a:pt x="44" y="305"/>
                        </a:lnTo>
                        <a:lnTo>
                          <a:pt x="46" y="301"/>
                        </a:lnTo>
                        <a:lnTo>
                          <a:pt x="48" y="300"/>
                        </a:lnTo>
                        <a:lnTo>
                          <a:pt x="48" y="298"/>
                        </a:lnTo>
                        <a:lnTo>
                          <a:pt x="48" y="293"/>
                        </a:lnTo>
                        <a:lnTo>
                          <a:pt x="48" y="290"/>
                        </a:lnTo>
                        <a:lnTo>
                          <a:pt x="49" y="289"/>
                        </a:lnTo>
                        <a:lnTo>
                          <a:pt x="51" y="286"/>
                        </a:lnTo>
                        <a:lnTo>
                          <a:pt x="51" y="284"/>
                        </a:lnTo>
                        <a:lnTo>
                          <a:pt x="54" y="284"/>
                        </a:lnTo>
                        <a:lnTo>
                          <a:pt x="57" y="284"/>
                        </a:lnTo>
                        <a:lnTo>
                          <a:pt x="60" y="284"/>
                        </a:lnTo>
                        <a:lnTo>
                          <a:pt x="63" y="282"/>
                        </a:lnTo>
                        <a:lnTo>
                          <a:pt x="67" y="282"/>
                        </a:lnTo>
                        <a:lnTo>
                          <a:pt x="70" y="281"/>
                        </a:lnTo>
                        <a:lnTo>
                          <a:pt x="73" y="281"/>
                        </a:lnTo>
                        <a:lnTo>
                          <a:pt x="76" y="279"/>
                        </a:lnTo>
                        <a:lnTo>
                          <a:pt x="79" y="279"/>
                        </a:lnTo>
                        <a:lnTo>
                          <a:pt x="81" y="279"/>
                        </a:lnTo>
                        <a:lnTo>
                          <a:pt x="84" y="279"/>
                        </a:lnTo>
                        <a:lnTo>
                          <a:pt x="89" y="279"/>
                        </a:lnTo>
                        <a:lnTo>
                          <a:pt x="92" y="279"/>
                        </a:lnTo>
                        <a:lnTo>
                          <a:pt x="95" y="279"/>
                        </a:lnTo>
                        <a:lnTo>
                          <a:pt x="98" y="278"/>
                        </a:lnTo>
                        <a:lnTo>
                          <a:pt x="101" y="278"/>
                        </a:lnTo>
                        <a:lnTo>
                          <a:pt x="105" y="279"/>
                        </a:lnTo>
                        <a:lnTo>
                          <a:pt x="106" y="279"/>
                        </a:lnTo>
                        <a:lnTo>
                          <a:pt x="109" y="281"/>
                        </a:lnTo>
                        <a:lnTo>
                          <a:pt x="114" y="284"/>
                        </a:lnTo>
                        <a:lnTo>
                          <a:pt x="117" y="286"/>
                        </a:lnTo>
                        <a:lnTo>
                          <a:pt x="120" y="289"/>
                        </a:lnTo>
                        <a:lnTo>
                          <a:pt x="124" y="292"/>
                        </a:lnTo>
                        <a:lnTo>
                          <a:pt x="125" y="293"/>
                        </a:lnTo>
                        <a:lnTo>
                          <a:pt x="127" y="295"/>
                        </a:lnTo>
                        <a:lnTo>
                          <a:pt x="130" y="298"/>
                        </a:lnTo>
                        <a:lnTo>
                          <a:pt x="132" y="298"/>
                        </a:lnTo>
                        <a:lnTo>
                          <a:pt x="135" y="300"/>
                        </a:lnTo>
                        <a:lnTo>
                          <a:pt x="138" y="298"/>
                        </a:lnTo>
                        <a:lnTo>
                          <a:pt x="141" y="298"/>
                        </a:lnTo>
                        <a:lnTo>
                          <a:pt x="146" y="295"/>
                        </a:lnTo>
                        <a:lnTo>
                          <a:pt x="151" y="293"/>
                        </a:lnTo>
                        <a:lnTo>
                          <a:pt x="157" y="290"/>
                        </a:lnTo>
                        <a:lnTo>
                          <a:pt x="165" y="287"/>
                        </a:lnTo>
                        <a:lnTo>
                          <a:pt x="168" y="286"/>
                        </a:lnTo>
                        <a:lnTo>
                          <a:pt x="174" y="281"/>
                        </a:lnTo>
                        <a:lnTo>
                          <a:pt x="178" y="278"/>
                        </a:lnTo>
                        <a:lnTo>
                          <a:pt x="182" y="274"/>
                        </a:lnTo>
                        <a:lnTo>
                          <a:pt x="184" y="273"/>
                        </a:lnTo>
                        <a:lnTo>
                          <a:pt x="182" y="271"/>
                        </a:lnTo>
                        <a:lnTo>
                          <a:pt x="182" y="270"/>
                        </a:lnTo>
                        <a:lnTo>
                          <a:pt x="181" y="267"/>
                        </a:lnTo>
                        <a:lnTo>
                          <a:pt x="179" y="263"/>
                        </a:lnTo>
                        <a:lnTo>
                          <a:pt x="176" y="257"/>
                        </a:lnTo>
                        <a:lnTo>
                          <a:pt x="170" y="246"/>
                        </a:lnTo>
                        <a:lnTo>
                          <a:pt x="166" y="240"/>
                        </a:lnTo>
                        <a:lnTo>
                          <a:pt x="165" y="235"/>
                        </a:lnTo>
                        <a:lnTo>
                          <a:pt x="165" y="230"/>
                        </a:lnTo>
                        <a:lnTo>
                          <a:pt x="163" y="225"/>
                        </a:lnTo>
                        <a:lnTo>
                          <a:pt x="162" y="224"/>
                        </a:lnTo>
                        <a:lnTo>
                          <a:pt x="162" y="222"/>
                        </a:lnTo>
                        <a:lnTo>
                          <a:pt x="160" y="219"/>
                        </a:lnTo>
                        <a:lnTo>
                          <a:pt x="157" y="217"/>
                        </a:lnTo>
                        <a:lnTo>
                          <a:pt x="155" y="213"/>
                        </a:lnTo>
                        <a:lnTo>
                          <a:pt x="154" y="206"/>
                        </a:lnTo>
                        <a:lnTo>
                          <a:pt x="152" y="202"/>
                        </a:lnTo>
                        <a:lnTo>
                          <a:pt x="151" y="198"/>
                        </a:lnTo>
                        <a:lnTo>
                          <a:pt x="149" y="197"/>
                        </a:lnTo>
                        <a:lnTo>
                          <a:pt x="147" y="197"/>
                        </a:lnTo>
                        <a:lnTo>
                          <a:pt x="146" y="197"/>
                        </a:lnTo>
                        <a:lnTo>
                          <a:pt x="143" y="197"/>
                        </a:lnTo>
                        <a:lnTo>
                          <a:pt x="141" y="197"/>
                        </a:lnTo>
                        <a:lnTo>
                          <a:pt x="138" y="197"/>
                        </a:lnTo>
                        <a:lnTo>
                          <a:pt x="135" y="195"/>
                        </a:lnTo>
                        <a:lnTo>
                          <a:pt x="133" y="194"/>
                        </a:lnTo>
                        <a:lnTo>
                          <a:pt x="128" y="192"/>
                        </a:lnTo>
                        <a:lnTo>
                          <a:pt x="125" y="189"/>
                        </a:lnTo>
                        <a:lnTo>
                          <a:pt x="122" y="186"/>
                        </a:lnTo>
                        <a:lnTo>
                          <a:pt x="117" y="184"/>
                        </a:lnTo>
                        <a:lnTo>
                          <a:pt x="114" y="183"/>
                        </a:lnTo>
                        <a:lnTo>
                          <a:pt x="111" y="181"/>
                        </a:lnTo>
                        <a:lnTo>
                          <a:pt x="108" y="181"/>
                        </a:lnTo>
                        <a:lnTo>
                          <a:pt x="103" y="179"/>
                        </a:lnTo>
                        <a:lnTo>
                          <a:pt x="100" y="178"/>
                        </a:lnTo>
                        <a:lnTo>
                          <a:pt x="97" y="176"/>
                        </a:lnTo>
                        <a:lnTo>
                          <a:pt x="95" y="176"/>
                        </a:lnTo>
                        <a:lnTo>
                          <a:pt x="92" y="175"/>
                        </a:lnTo>
                        <a:lnTo>
                          <a:pt x="89" y="173"/>
                        </a:lnTo>
                        <a:lnTo>
                          <a:pt x="89" y="172"/>
                        </a:lnTo>
                        <a:lnTo>
                          <a:pt x="89" y="170"/>
                        </a:lnTo>
                        <a:lnTo>
                          <a:pt x="90" y="168"/>
                        </a:lnTo>
                        <a:lnTo>
                          <a:pt x="92" y="167"/>
                        </a:lnTo>
                        <a:lnTo>
                          <a:pt x="95" y="162"/>
                        </a:lnTo>
                        <a:lnTo>
                          <a:pt x="98" y="160"/>
                        </a:lnTo>
                        <a:lnTo>
                          <a:pt x="98" y="159"/>
                        </a:lnTo>
                        <a:lnTo>
                          <a:pt x="98" y="157"/>
                        </a:lnTo>
                        <a:lnTo>
                          <a:pt x="98" y="156"/>
                        </a:lnTo>
                        <a:lnTo>
                          <a:pt x="97" y="154"/>
                        </a:lnTo>
                        <a:lnTo>
                          <a:pt x="95" y="154"/>
                        </a:lnTo>
                        <a:lnTo>
                          <a:pt x="94" y="153"/>
                        </a:lnTo>
                        <a:lnTo>
                          <a:pt x="94" y="151"/>
                        </a:lnTo>
                        <a:lnTo>
                          <a:pt x="90" y="149"/>
                        </a:lnTo>
                        <a:lnTo>
                          <a:pt x="89" y="149"/>
                        </a:lnTo>
                        <a:lnTo>
                          <a:pt x="87" y="149"/>
                        </a:lnTo>
                        <a:lnTo>
                          <a:pt x="86" y="148"/>
                        </a:lnTo>
                        <a:lnTo>
                          <a:pt x="84" y="148"/>
                        </a:lnTo>
                        <a:lnTo>
                          <a:pt x="84" y="146"/>
                        </a:lnTo>
                        <a:lnTo>
                          <a:pt x="82" y="145"/>
                        </a:lnTo>
                        <a:lnTo>
                          <a:pt x="82" y="143"/>
                        </a:lnTo>
                        <a:lnTo>
                          <a:pt x="81" y="141"/>
                        </a:lnTo>
                        <a:lnTo>
                          <a:pt x="79" y="141"/>
                        </a:lnTo>
                        <a:lnTo>
                          <a:pt x="78" y="140"/>
                        </a:lnTo>
                        <a:lnTo>
                          <a:pt x="76" y="140"/>
                        </a:lnTo>
                        <a:lnTo>
                          <a:pt x="75" y="140"/>
                        </a:lnTo>
                        <a:lnTo>
                          <a:pt x="75" y="138"/>
                        </a:lnTo>
                        <a:lnTo>
                          <a:pt x="73" y="137"/>
                        </a:lnTo>
                        <a:lnTo>
                          <a:pt x="70" y="135"/>
                        </a:lnTo>
                        <a:lnTo>
                          <a:pt x="68" y="132"/>
                        </a:lnTo>
                        <a:lnTo>
                          <a:pt x="67" y="130"/>
                        </a:lnTo>
                        <a:lnTo>
                          <a:pt x="65" y="127"/>
                        </a:lnTo>
                        <a:lnTo>
                          <a:pt x="65" y="122"/>
                        </a:lnTo>
                        <a:lnTo>
                          <a:pt x="65" y="119"/>
                        </a:lnTo>
                        <a:lnTo>
                          <a:pt x="67" y="114"/>
                        </a:lnTo>
                        <a:lnTo>
                          <a:pt x="68" y="110"/>
                        </a:lnTo>
                        <a:lnTo>
                          <a:pt x="70" y="107"/>
                        </a:lnTo>
                        <a:lnTo>
                          <a:pt x="73" y="105"/>
                        </a:lnTo>
                        <a:lnTo>
                          <a:pt x="78" y="100"/>
                        </a:lnTo>
                        <a:lnTo>
                          <a:pt x="81" y="97"/>
                        </a:lnTo>
                        <a:lnTo>
                          <a:pt x="84" y="94"/>
                        </a:lnTo>
                        <a:lnTo>
                          <a:pt x="86" y="91"/>
                        </a:lnTo>
                        <a:lnTo>
                          <a:pt x="86" y="88"/>
                        </a:lnTo>
                        <a:lnTo>
                          <a:pt x="86" y="83"/>
                        </a:lnTo>
                        <a:lnTo>
                          <a:pt x="87" y="78"/>
                        </a:lnTo>
                        <a:lnTo>
                          <a:pt x="89" y="76"/>
                        </a:lnTo>
                        <a:lnTo>
                          <a:pt x="90" y="75"/>
                        </a:lnTo>
                        <a:lnTo>
                          <a:pt x="92" y="73"/>
                        </a:lnTo>
                        <a:lnTo>
                          <a:pt x="95" y="72"/>
                        </a:lnTo>
                        <a:lnTo>
                          <a:pt x="98" y="72"/>
                        </a:lnTo>
                        <a:lnTo>
                          <a:pt x="100" y="72"/>
                        </a:lnTo>
                        <a:lnTo>
                          <a:pt x="103" y="72"/>
                        </a:lnTo>
                        <a:lnTo>
                          <a:pt x="106" y="70"/>
                        </a:lnTo>
                        <a:lnTo>
                          <a:pt x="108" y="69"/>
                        </a:lnTo>
                        <a:lnTo>
                          <a:pt x="109" y="69"/>
                        </a:lnTo>
                        <a:lnTo>
                          <a:pt x="111" y="69"/>
                        </a:lnTo>
                        <a:lnTo>
                          <a:pt x="113" y="67"/>
                        </a:lnTo>
                        <a:lnTo>
                          <a:pt x="113" y="69"/>
                        </a:lnTo>
                        <a:lnTo>
                          <a:pt x="114" y="69"/>
                        </a:lnTo>
                        <a:lnTo>
                          <a:pt x="116" y="69"/>
                        </a:lnTo>
                        <a:lnTo>
                          <a:pt x="117" y="67"/>
                        </a:lnTo>
                        <a:lnTo>
                          <a:pt x="119" y="67"/>
                        </a:lnTo>
                        <a:lnTo>
                          <a:pt x="122" y="65"/>
                        </a:lnTo>
                        <a:lnTo>
                          <a:pt x="124" y="64"/>
                        </a:lnTo>
                        <a:lnTo>
                          <a:pt x="127" y="61"/>
                        </a:lnTo>
                        <a:lnTo>
                          <a:pt x="127" y="57"/>
                        </a:lnTo>
                        <a:lnTo>
                          <a:pt x="128" y="56"/>
                        </a:lnTo>
                        <a:lnTo>
                          <a:pt x="128" y="54"/>
                        </a:lnTo>
                        <a:lnTo>
                          <a:pt x="127" y="54"/>
                        </a:lnTo>
                        <a:lnTo>
                          <a:pt x="127" y="51"/>
                        </a:lnTo>
                        <a:lnTo>
                          <a:pt x="127" y="50"/>
                        </a:lnTo>
                        <a:lnTo>
                          <a:pt x="127" y="48"/>
                        </a:lnTo>
                        <a:lnTo>
                          <a:pt x="127" y="45"/>
                        </a:lnTo>
                        <a:lnTo>
                          <a:pt x="128" y="43"/>
                        </a:lnTo>
                        <a:lnTo>
                          <a:pt x="132" y="38"/>
                        </a:lnTo>
                        <a:lnTo>
                          <a:pt x="135" y="35"/>
                        </a:lnTo>
                        <a:lnTo>
                          <a:pt x="138" y="34"/>
                        </a:lnTo>
                        <a:lnTo>
                          <a:pt x="141" y="32"/>
                        </a:lnTo>
                        <a:lnTo>
                          <a:pt x="144" y="31"/>
                        </a:lnTo>
                        <a:lnTo>
                          <a:pt x="149" y="29"/>
                        </a:lnTo>
                        <a:lnTo>
                          <a:pt x="152" y="27"/>
                        </a:lnTo>
                        <a:lnTo>
                          <a:pt x="155" y="27"/>
                        </a:lnTo>
                        <a:lnTo>
                          <a:pt x="162" y="24"/>
                        </a:lnTo>
                        <a:lnTo>
                          <a:pt x="168" y="23"/>
                        </a:lnTo>
                        <a:lnTo>
                          <a:pt x="171" y="23"/>
                        </a:lnTo>
                        <a:lnTo>
                          <a:pt x="173" y="23"/>
                        </a:lnTo>
                        <a:lnTo>
                          <a:pt x="176" y="23"/>
                        </a:lnTo>
                        <a:lnTo>
                          <a:pt x="182" y="23"/>
                        </a:lnTo>
                        <a:lnTo>
                          <a:pt x="189" y="24"/>
                        </a:lnTo>
                        <a:lnTo>
                          <a:pt x="193" y="26"/>
                        </a:lnTo>
                        <a:lnTo>
                          <a:pt x="198" y="26"/>
                        </a:lnTo>
                        <a:lnTo>
                          <a:pt x="204" y="24"/>
                        </a:lnTo>
                        <a:lnTo>
                          <a:pt x="209" y="23"/>
                        </a:lnTo>
                        <a:lnTo>
                          <a:pt x="212" y="21"/>
                        </a:lnTo>
                        <a:lnTo>
                          <a:pt x="216" y="19"/>
                        </a:lnTo>
                        <a:lnTo>
                          <a:pt x="222" y="16"/>
                        </a:lnTo>
                        <a:lnTo>
                          <a:pt x="223" y="15"/>
                        </a:lnTo>
                        <a:lnTo>
                          <a:pt x="230" y="13"/>
                        </a:lnTo>
                        <a:lnTo>
                          <a:pt x="235" y="10"/>
                        </a:lnTo>
                        <a:lnTo>
                          <a:pt x="242" y="7"/>
                        </a:lnTo>
                        <a:lnTo>
                          <a:pt x="249" y="2"/>
                        </a:lnTo>
                        <a:lnTo>
                          <a:pt x="250" y="2"/>
                        </a:lnTo>
                        <a:lnTo>
                          <a:pt x="252" y="2"/>
                        </a:lnTo>
                        <a:lnTo>
                          <a:pt x="258" y="4"/>
                        </a:lnTo>
                        <a:lnTo>
                          <a:pt x="263" y="4"/>
                        </a:lnTo>
                        <a:lnTo>
                          <a:pt x="268" y="4"/>
                        </a:lnTo>
                        <a:lnTo>
                          <a:pt x="273" y="2"/>
                        </a:lnTo>
                        <a:lnTo>
                          <a:pt x="277" y="2"/>
                        </a:lnTo>
                        <a:lnTo>
                          <a:pt x="280" y="2"/>
                        </a:lnTo>
                        <a:lnTo>
                          <a:pt x="284" y="2"/>
                        </a:lnTo>
                        <a:lnTo>
                          <a:pt x="287" y="2"/>
                        </a:lnTo>
                        <a:lnTo>
                          <a:pt x="290" y="2"/>
                        </a:lnTo>
                        <a:lnTo>
                          <a:pt x="293" y="0"/>
                        </a:lnTo>
                        <a:lnTo>
                          <a:pt x="295" y="0"/>
                        </a:lnTo>
                        <a:lnTo>
                          <a:pt x="296" y="0"/>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70" name="Freeform 69"/>
                  <p:cNvSpPr>
                    <a:spLocks/>
                  </p:cNvSpPr>
                  <p:nvPr/>
                </p:nvSpPr>
                <p:spPr bwMode="auto">
                  <a:xfrm>
                    <a:off x="3739" y="635"/>
                    <a:ext cx="2088" cy="1302"/>
                  </a:xfrm>
                  <a:custGeom>
                    <a:avLst/>
                    <a:gdLst>
                      <a:gd name="T0" fmla="*/ 1145 w 2088"/>
                      <a:gd name="T1" fmla="*/ 4 h 1302"/>
                      <a:gd name="T2" fmla="*/ 1305 w 2088"/>
                      <a:gd name="T3" fmla="*/ 61 h 1302"/>
                      <a:gd name="T4" fmla="*/ 1410 w 2088"/>
                      <a:gd name="T5" fmla="*/ 61 h 1302"/>
                      <a:gd name="T6" fmla="*/ 1435 w 2088"/>
                      <a:gd name="T7" fmla="*/ 183 h 1302"/>
                      <a:gd name="T8" fmla="*/ 1481 w 2088"/>
                      <a:gd name="T9" fmla="*/ 442 h 1302"/>
                      <a:gd name="T10" fmla="*/ 1535 w 2088"/>
                      <a:gd name="T11" fmla="*/ 624 h 1302"/>
                      <a:gd name="T12" fmla="*/ 1595 w 2088"/>
                      <a:gd name="T13" fmla="*/ 700 h 1302"/>
                      <a:gd name="T14" fmla="*/ 1630 w 2088"/>
                      <a:gd name="T15" fmla="*/ 769 h 1302"/>
                      <a:gd name="T16" fmla="*/ 1676 w 2088"/>
                      <a:gd name="T17" fmla="*/ 823 h 1302"/>
                      <a:gd name="T18" fmla="*/ 1807 w 2088"/>
                      <a:gd name="T19" fmla="*/ 903 h 1302"/>
                      <a:gd name="T20" fmla="*/ 1920 w 2088"/>
                      <a:gd name="T21" fmla="*/ 945 h 1302"/>
                      <a:gd name="T22" fmla="*/ 2054 w 2088"/>
                      <a:gd name="T23" fmla="*/ 1043 h 1302"/>
                      <a:gd name="T24" fmla="*/ 2029 w 2088"/>
                      <a:gd name="T25" fmla="*/ 1088 h 1302"/>
                      <a:gd name="T26" fmla="*/ 1953 w 2088"/>
                      <a:gd name="T27" fmla="*/ 1059 h 1302"/>
                      <a:gd name="T28" fmla="*/ 1905 w 2088"/>
                      <a:gd name="T29" fmla="*/ 1230 h 1302"/>
                      <a:gd name="T30" fmla="*/ 1869 w 2088"/>
                      <a:gd name="T31" fmla="*/ 1232 h 1302"/>
                      <a:gd name="T32" fmla="*/ 1840 w 2088"/>
                      <a:gd name="T33" fmla="*/ 1249 h 1302"/>
                      <a:gd name="T34" fmla="*/ 1820 w 2088"/>
                      <a:gd name="T35" fmla="*/ 1257 h 1302"/>
                      <a:gd name="T36" fmla="*/ 1807 w 2088"/>
                      <a:gd name="T37" fmla="*/ 1278 h 1302"/>
                      <a:gd name="T38" fmla="*/ 1787 w 2088"/>
                      <a:gd name="T39" fmla="*/ 1272 h 1302"/>
                      <a:gd name="T40" fmla="*/ 1777 w 2088"/>
                      <a:gd name="T41" fmla="*/ 1286 h 1302"/>
                      <a:gd name="T42" fmla="*/ 1749 w 2088"/>
                      <a:gd name="T43" fmla="*/ 1289 h 1302"/>
                      <a:gd name="T44" fmla="*/ 1723 w 2088"/>
                      <a:gd name="T45" fmla="*/ 1283 h 1302"/>
                      <a:gd name="T46" fmla="*/ 1701 w 2088"/>
                      <a:gd name="T47" fmla="*/ 1295 h 1302"/>
                      <a:gd name="T48" fmla="*/ 1677 w 2088"/>
                      <a:gd name="T49" fmla="*/ 1287 h 1302"/>
                      <a:gd name="T50" fmla="*/ 1652 w 2088"/>
                      <a:gd name="T51" fmla="*/ 1289 h 1302"/>
                      <a:gd name="T52" fmla="*/ 1633 w 2088"/>
                      <a:gd name="T53" fmla="*/ 1259 h 1302"/>
                      <a:gd name="T54" fmla="*/ 1600 w 2088"/>
                      <a:gd name="T55" fmla="*/ 1230 h 1302"/>
                      <a:gd name="T56" fmla="*/ 1560 w 2088"/>
                      <a:gd name="T57" fmla="*/ 1177 h 1302"/>
                      <a:gd name="T58" fmla="*/ 1440 w 2088"/>
                      <a:gd name="T59" fmla="*/ 1104 h 1302"/>
                      <a:gd name="T60" fmla="*/ 1353 w 2088"/>
                      <a:gd name="T61" fmla="*/ 983 h 1302"/>
                      <a:gd name="T62" fmla="*/ 1340 w 2088"/>
                      <a:gd name="T63" fmla="*/ 947 h 1302"/>
                      <a:gd name="T64" fmla="*/ 1286 w 2088"/>
                      <a:gd name="T65" fmla="*/ 945 h 1302"/>
                      <a:gd name="T66" fmla="*/ 1223 w 2088"/>
                      <a:gd name="T67" fmla="*/ 936 h 1302"/>
                      <a:gd name="T68" fmla="*/ 1172 w 2088"/>
                      <a:gd name="T69" fmla="*/ 956 h 1302"/>
                      <a:gd name="T70" fmla="*/ 1139 w 2088"/>
                      <a:gd name="T71" fmla="*/ 950 h 1302"/>
                      <a:gd name="T72" fmla="*/ 1158 w 2088"/>
                      <a:gd name="T73" fmla="*/ 906 h 1302"/>
                      <a:gd name="T74" fmla="*/ 1150 w 2088"/>
                      <a:gd name="T75" fmla="*/ 885 h 1302"/>
                      <a:gd name="T76" fmla="*/ 1099 w 2088"/>
                      <a:gd name="T77" fmla="*/ 888 h 1302"/>
                      <a:gd name="T78" fmla="*/ 1063 w 2088"/>
                      <a:gd name="T79" fmla="*/ 890 h 1302"/>
                      <a:gd name="T80" fmla="*/ 1009 w 2088"/>
                      <a:gd name="T81" fmla="*/ 820 h 1302"/>
                      <a:gd name="T82" fmla="*/ 999 w 2088"/>
                      <a:gd name="T83" fmla="*/ 774 h 1302"/>
                      <a:gd name="T84" fmla="*/ 946 w 2088"/>
                      <a:gd name="T85" fmla="*/ 712 h 1302"/>
                      <a:gd name="T86" fmla="*/ 915 w 2088"/>
                      <a:gd name="T87" fmla="*/ 697 h 1302"/>
                      <a:gd name="T88" fmla="*/ 884 w 2088"/>
                      <a:gd name="T89" fmla="*/ 668 h 1302"/>
                      <a:gd name="T90" fmla="*/ 852 w 2088"/>
                      <a:gd name="T91" fmla="*/ 703 h 1302"/>
                      <a:gd name="T92" fmla="*/ 811 w 2088"/>
                      <a:gd name="T93" fmla="*/ 716 h 1302"/>
                      <a:gd name="T94" fmla="*/ 774 w 2088"/>
                      <a:gd name="T95" fmla="*/ 744 h 1302"/>
                      <a:gd name="T96" fmla="*/ 738 w 2088"/>
                      <a:gd name="T97" fmla="*/ 757 h 1302"/>
                      <a:gd name="T98" fmla="*/ 689 w 2088"/>
                      <a:gd name="T99" fmla="*/ 766 h 1302"/>
                      <a:gd name="T100" fmla="*/ 643 w 2088"/>
                      <a:gd name="T101" fmla="*/ 784 h 1302"/>
                      <a:gd name="T102" fmla="*/ 580 w 2088"/>
                      <a:gd name="T103" fmla="*/ 811 h 1302"/>
                      <a:gd name="T104" fmla="*/ 489 w 2088"/>
                      <a:gd name="T105" fmla="*/ 822 h 1302"/>
                      <a:gd name="T106" fmla="*/ 351 w 2088"/>
                      <a:gd name="T107" fmla="*/ 749 h 1302"/>
                      <a:gd name="T108" fmla="*/ 258 w 2088"/>
                      <a:gd name="T109" fmla="*/ 746 h 1302"/>
                      <a:gd name="T110" fmla="*/ 211 w 2088"/>
                      <a:gd name="T111" fmla="*/ 809 h 1302"/>
                      <a:gd name="T112" fmla="*/ 133 w 2088"/>
                      <a:gd name="T113" fmla="*/ 706 h 1302"/>
                      <a:gd name="T114" fmla="*/ 65 w 2088"/>
                      <a:gd name="T115" fmla="*/ 632 h 1302"/>
                      <a:gd name="T116" fmla="*/ 81 w 2088"/>
                      <a:gd name="T117" fmla="*/ 372 h 1302"/>
                      <a:gd name="T118" fmla="*/ 714 w 2088"/>
                      <a:gd name="T119" fmla="*/ 118 h 1302"/>
                      <a:gd name="T120" fmla="*/ 805 w 2088"/>
                      <a:gd name="T121" fmla="*/ 33 h 1302"/>
                      <a:gd name="T122" fmla="*/ 942 w 2088"/>
                      <a:gd name="T123" fmla="*/ 1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88" h="1302">
                        <a:moveTo>
                          <a:pt x="1017" y="1"/>
                        </a:moveTo>
                        <a:lnTo>
                          <a:pt x="1020" y="4"/>
                        </a:lnTo>
                        <a:lnTo>
                          <a:pt x="1025" y="9"/>
                        </a:lnTo>
                        <a:lnTo>
                          <a:pt x="1039" y="27"/>
                        </a:lnTo>
                        <a:lnTo>
                          <a:pt x="1042" y="33"/>
                        </a:lnTo>
                        <a:lnTo>
                          <a:pt x="1048" y="42"/>
                        </a:lnTo>
                        <a:lnTo>
                          <a:pt x="1053" y="46"/>
                        </a:lnTo>
                        <a:lnTo>
                          <a:pt x="1055" y="46"/>
                        </a:lnTo>
                        <a:lnTo>
                          <a:pt x="1058" y="47"/>
                        </a:lnTo>
                        <a:lnTo>
                          <a:pt x="1061" y="46"/>
                        </a:lnTo>
                        <a:lnTo>
                          <a:pt x="1066" y="44"/>
                        </a:lnTo>
                        <a:lnTo>
                          <a:pt x="1067" y="42"/>
                        </a:lnTo>
                        <a:lnTo>
                          <a:pt x="1082" y="34"/>
                        </a:lnTo>
                        <a:lnTo>
                          <a:pt x="1093" y="28"/>
                        </a:lnTo>
                        <a:lnTo>
                          <a:pt x="1098" y="25"/>
                        </a:lnTo>
                        <a:lnTo>
                          <a:pt x="1102" y="23"/>
                        </a:lnTo>
                        <a:lnTo>
                          <a:pt x="1105" y="22"/>
                        </a:lnTo>
                        <a:lnTo>
                          <a:pt x="1112" y="19"/>
                        </a:lnTo>
                        <a:lnTo>
                          <a:pt x="1113" y="17"/>
                        </a:lnTo>
                        <a:lnTo>
                          <a:pt x="1131" y="8"/>
                        </a:lnTo>
                        <a:lnTo>
                          <a:pt x="1142" y="4"/>
                        </a:lnTo>
                        <a:lnTo>
                          <a:pt x="1145" y="4"/>
                        </a:lnTo>
                        <a:lnTo>
                          <a:pt x="1147" y="4"/>
                        </a:lnTo>
                        <a:lnTo>
                          <a:pt x="1155" y="8"/>
                        </a:lnTo>
                        <a:lnTo>
                          <a:pt x="1163" y="11"/>
                        </a:lnTo>
                        <a:lnTo>
                          <a:pt x="1186" y="20"/>
                        </a:lnTo>
                        <a:lnTo>
                          <a:pt x="1194" y="20"/>
                        </a:lnTo>
                        <a:lnTo>
                          <a:pt x="1197" y="23"/>
                        </a:lnTo>
                        <a:lnTo>
                          <a:pt x="1201" y="23"/>
                        </a:lnTo>
                        <a:lnTo>
                          <a:pt x="1205" y="27"/>
                        </a:lnTo>
                        <a:lnTo>
                          <a:pt x="1210" y="28"/>
                        </a:lnTo>
                        <a:lnTo>
                          <a:pt x="1215" y="28"/>
                        </a:lnTo>
                        <a:lnTo>
                          <a:pt x="1216" y="30"/>
                        </a:lnTo>
                        <a:lnTo>
                          <a:pt x="1231" y="34"/>
                        </a:lnTo>
                        <a:lnTo>
                          <a:pt x="1237" y="38"/>
                        </a:lnTo>
                        <a:lnTo>
                          <a:pt x="1240" y="39"/>
                        </a:lnTo>
                        <a:lnTo>
                          <a:pt x="1250" y="42"/>
                        </a:lnTo>
                        <a:lnTo>
                          <a:pt x="1272" y="52"/>
                        </a:lnTo>
                        <a:lnTo>
                          <a:pt x="1275" y="53"/>
                        </a:lnTo>
                        <a:lnTo>
                          <a:pt x="1281" y="55"/>
                        </a:lnTo>
                        <a:lnTo>
                          <a:pt x="1292" y="60"/>
                        </a:lnTo>
                        <a:lnTo>
                          <a:pt x="1297" y="61"/>
                        </a:lnTo>
                        <a:lnTo>
                          <a:pt x="1299" y="61"/>
                        </a:lnTo>
                        <a:lnTo>
                          <a:pt x="1305" y="61"/>
                        </a:lnTo>
                        <a:lnTo>
                          <a:pt x="1307" y="61"/>
                        </a:lnTo>
                        <a:lnTo>
                          <a:pt x="1315" y="63"/>
                        </a:lnTo>
                        <a:lnTo>
                          <a:pt x="1319" y="63"/>
                        </a:lnTo>
                        <a:lnTo>
                          <a:pt x="1321" y="63"/>
                        </a:lnTo>
                        <a:lnTo>
                          <a:pt x="1326" y="63"/>
                        </a:lnTo>
                        <a:lnTo>
                          <a:pt x="1329" y="65"/>
                        </a:lnTo>
                        <a:lnTo>
                          <a:pt x="1335" y="65"/>
                        </a:lnTo>
                        <a:lnTo>
                          <a:pt x="1342" y="65"/>
                        </a:lnTo>
                        <a:lnTo>
                          <a:pt x="1346" y="65"/>
                        </a:lnTo>
                        <a:lnTo>
                          <a:pt x="1351" y="65"/>
                        </a:lnTo>
                        <a:lnTo>
                          <a:pt x="1356" y="65"/>
                        </a:lnTo>
                        <a:lnTo>
                          <a:pt x="1361" y="65"/>
                        </a:lnTo>
                        <a:lnTo>
                          <a:pt x="1362" y="65"/>
                        </a:lnTo>
                        <a:lnTo>
                          <a:pt x="1372" y="63"/>
                        </a:lnTo>
                        <a:lnTo>
                          <a:pt x="1380" y="63"/>
                        </a:lnTo>
                        <a:lnTo>
                          <a:pt x="1384" y="63"/>
                        </a:lnTo>
                        <a:lnTo>
                          <a:pt x="1387" y="63"/>
                        </a:lnTo>
                        <a:lnTo>
                          <a:pt x="1389" y="63"/>
                        </a:lnTo>
                        <a:lnTo>
                          <a:pt x="1391" y="63"/>
                        </a:lnTo>
                        <a:lnTo>
                          <a:pt x="1397" y="63"/>
                        </a:lnTo>
                        <a:lnTo>
                          <a:pt x="1399" y="63"/>
                        </a:lnTo>
                        <a:lnTo>
                          <a:pt x="1410" y="61"/>
                        </a:lnTo>
                        <a:lnTo>
                          <a:pt x="1416" y="60"/>
                        </a:lnTo>
                        <a:lnTo>
                          <a:pt x="1419" y="58"/>
                        </a:lnTo>
                        <a:lnTo>
                          <a:pt x="1421" y="58"/>
                        </a:lnTo>
                        <a:lnTo>
                          <a:pt x="1429" y="58"/>
                        </a:lnTo>
                        <a:lnTo>
                          <a:pt x="1433" y="58"/>
                        </a:lnTo>
                        <a:lnTo>
                          <a:pt x="1438" y="58"/>
                        </a:lnTo>
                        <a:lnTo>
                          <a:pt x="1438" y="65"/>
                        </a:lnTo>
                        <a:lnTo>
                          <a:pt x="1441" y="103"/>
                        </a:lnTo>
                        <a:lnTo>
                          <a:pt x="1441" y="109"/>
                        </a:lnTo>
                        <a:lnTo>
                          <a:pt x="1441" y="115"/>
                        </a:lnTo>
                        <a:lnTo>
                          <a:pt x="1443" y="117"/>
                        </a:lnTo>
                        <a:lnTo>
                          <a:pt x="1443" y="118"/>
                        </a:lnTo>
                        <a:lnTo>
                          <a:pt x="1443" y="122"/>
                        </a:lnTo>
                        <a:lnTo>
                          <a:pt x="1438" y="131"/>
                        </a:lnTo>
                        <a:lnTo>
                          <a:pt x="1424" y="149"/>
                        </a:lnTo>
                        <a:lnTo>
                          <a:pt x="1422" y="150"/>
                        </a:lnTo>
                        <a:lnTo>
                          <a:pt x="1422" y="153"/>
                        </a:lnTo>
                        <a:lnTo>
                          <a:pt x="1424" y="153"/>
                        </a:lnTo>
                        <a:lnTo>
                          <a:pt x="1427" y="163"/>
                        </a:lnTo>
                        <a:lnTo>
                          <a:pt x="1433" y="179"/>
                        </a:lnTo>
                        <a:lnTo>
                          <a:pt x="1433" y="182"/>
                        </a:lnTo>
                        <a:lnTo>
                          <a:pt x="1435" y="183"/>
                        </a:lnTo>
                        <a:lnTo>
                          <a:pt x="1437" y="188"/>
                        </a:lnTo>
                        <a:lnTo>
                          <a:pt x="1443" y="206"/>
                        </a:lnTo>
                        <a:lnTo>
                          <a:pt x="1443" y="209"/>
                        </a:lnTo>
                        <a:lnTo>
                          <a:pt x="1441" y="212"/>
                        </a:lnTo>
                        <a:lnTo>
                          <a:pt x="1441" y="217"/>
                        </a:lnTo>
                        <a:lnTo>
                          <a:pt x="1440" y="223"/>
                        </a:lnTo>
                        <a:lnTo>
                          <a:pt x="1429" y="256"/>
                        </a:lnTo>
                        <a:lnTo>
                          <a:pt x="1406" y="308"/>
                        </a:lnTo>
                        <a:lnTo>
                          <a:pt x="1400" y="339"/>
                        </a:lnTo>
                        <a:lnTo>
                          <a:pt x="1402" y="345"/>
                        </a:lnTo>
                        <a:lnTo>
                          <a:pt x="1405" y="356"/>
                        </a:lnTo>
                        <a:lnTo>
                          <a:pt x="1406" y="364"/>
                        </a:lnTo>
                        <a:lnTo>
                          <a:pt x="1416" y="383"/>
                        </a:lnTo>
                        <a:lnTo>
                          <a:pt x="1427" y="394"/>
                        </a:lnTo>
                        <a:lnTo>
                          <a:pt x="1429" y="392"/>
                        </a:lnTo>
                        <a:lnTo>
                          <a:pt x="1430" y="391"/>
                        </a:lnTo>
                        <a:lnTo>
                          <a:pt x="1435" y="397"/>
                        </a:lnTo>
                        <a:lnTo>
                          <a:pt x="1440" y="402"/>
                        </a:lnTo>
                        <a:lnTo>
                          <a:pt x="1451" y="413"/>
                        </a:lnTo>
                        <a:lnTo>
                          <a:pt x="1462" y="427"/>
                        </a:lnTo>
                        <a:lnTo>
                          <a:pt x="1467" y="434"/>
                        </a:lnTo>
                        <a:lnTo>
                          <a:pt x="1481" y="442"/>
                        </a:lnTo>
                        <a:lnTo>
                          <a:pt x="1482" y="442"/>
                        </a:lnTo>
                        <a:lnTo>
                          <a:pt x="1497" y="445"/>
                        </a:lnTo>
                        <a:lnTo>
                          <a:pt x="1500" y="448"/>
                        </a:lnTo>
                        <a:lnTo>
                          <a:pt x="1506" y="456"/>
                        </a:lnTo>
                        <a:lnTo>
                          <a:pt x="1511" y="464"/>
                        </a:lnTo>
                        <a:lnTo>
                          <a:pt x="1516" y="470"/>
                        </a:lnTo>
                        <a:lnTo>
                          <a:pt x="1519" y="472"/>
                        </a:lnTo>
                        <a:lnTo>
                          <a:pt x="1525" y="478"/>
                        </a:lnTo>
                        <a:lnTo>
                          <a:pt x="1535" y="489"/>
                        </a:lnTo>
                        <a:lnTo>
                          <a:pt x="1546" y="511"/>
                        </a:lnTo>
                        <a:lnTo>
                          <a:pt x="1546" y="513"/>
                        </a:lnTo>
                        <a:lnTo>
                          <a:pt x="1536" y="530"/>
                        </a:lnTo>
                        <a:lnTo>
                          <a:pt x="1538" y="551"/>
                        </a:lnTo>
                        <a:lnTo>
                          <a:pt x="1527" y="560"/>
                        </a:lnTo>
                        <a:lnTo>
                          <a:pt x="1517" y="576"/>
                        </a:lnTo>
                        <a:lnTo>
                          <a:pt x="1519" y="583"/>
                        </a:lnTo>
                        <a:lnTo>
                          <a:pt x="1522" y="589"/>
                        </a:lnTo>
                        <a:lnTo>
                          <a:pt x="1533" y="605"/>
                        </a:lnTo>
                        <a:lnTo>
                          <a:pt x="1535" y="608"/>
                        </a:lnTo>
                        <a:lnTo>
                          <a:pt x="1535" y="609"/>
                        </a:lnTo>
                        <a:lnTo>
                          <a:pt x="1541" y="614"/>
                        </a:lnTo>
                        <a:lnTo>
                          <a:pt x="1535" y="624"/>
                        </a:lnTo>
                        <a:lnTo>
                          <a:pt x="1536" y="632"/>
                        </a:lnTo>
                        <a:lnTo>
                          <a:pt x="1543" y="651"/>
                        </a:lnTo>
                        <a:lnTo>
                          <a:pt x="1549" y="659"/>
                        </a:lnTo>
                        <a:lnTo>
                          <a:pt x="1551" y="660"/>
                        </a:lnTo>
                        <a:lnTo>
                          <a:pt x="1554" y="665"/>
                        </a:lnTo>
                        <a:lnTo>
                          <a:pt x="1557" y="668"/>
                        </a:lnTo>
                        <a:lnTo>
                          <a:pt x="1570" y="676"/>
                        </a:lnTo>
                        <a:lnTo>
                          <a:pt x="1570" y="678"/>
                        </a:lnTo>
                        <a:lnTo>
                          <a:pt x="1571" y="678"/>
                        </a:lnTo>
                        <a:lnTo>
                          <a:pt x="1573" y="679"/>
                        </a:lnTo>
                        <a:lnTo>
                          <a:pt x="1574" y="681"/>
                        </a:lnTo>
                        <a:lnTo>
                          <a:pt x="1578" y="685"/>
                        </a:lnTo>
                        <a:lnTo>
                          <a:pt x="1574" y="693"/>
                        </a:lnTo>
                        <a:lnTo>
                          <a:pt x="1578" y="698"/>
                        </a:lnTo>
                        <a:lnTo>
                          <a:pt x="1584" y="697"/>
                        </a:lnTo>
                        <a:lnTo>
                          <a:pt x="1587" y="695"/>
                        </a:lnTo>
                        <a:lnTo>
                          <a:pt x="1589" y="693"/>
                        </a:lnTo>
                        <a:lnTo>
                          <a:pt x="1589" y="692"/>
                        </a:lnTo>
                        <a:lnTo>
                          <a:pt x="1593" y="689"/>
                        </a:lnTo>
                        <a:lnTo>
                          <a:pt x="1595" y="692"/>
                        </a:lnTo>
                        <a:lnTo>
                          <a:pt x="1595" y="698"/>
                        </a:lnTo>
                        <a:lnTo>
                          <a:pt x="1595" y="700"/>
                        </a:lnTo>
                        <a:lnTo>
                          <a:pt x="1593" y="703"/>
                        </a:lnTo>
                        <a:lnTo>
                          <a:pt x="1590" y="706"/>
                        </a:lnTo>
                        <a:lnTo>
                          <a:pt x="1589" y="706"/>
                        </a:lnTo>
                        <a:lnTo>
                          <a:pt x="1589" y="708"/>
                        </a:lnTo>
                        <a:lnTo>
                          <a:pt x="1589" y="711"/>
                        </a:lnTo>
                        <a:lnTo>
                          <a:pt x="1589" y="719"/>
                        </a:lnTo>
                        <a:lnTo>
                          <a:pt x="1590" y="719"/>
                        </a:lnTo>
                        <a:lnTo>
                          <a:pt x="1592" y="722"/>
                        </a:lnTo>
                        <a:lnTo>
                          <a:pt x="1598" y="730"/>
                        </a:lnTo>
                        <a:lnTo>
                          <a:pt x="1601" y="733"/>
                        </a:lnTo>
                        <a:lnTo>
                          <a:pt x="1604" y="735"/>
                        </a:lnTo>
                        <a:lnTo>
                          <a:pt x="1609" y="738"/>
                        </a:lnTo>
                        <a:lnTo>
                          <a:pt x="1614" y="741"/>
                        </a:lnTo>
                        <a:lnTo>
                          <a:pt x="1617" y="744"/>
                        </a:lnTo>
                        <a:lnTo>
                          <a:pt x="1619" y="746"/>
                        </a:lnTo>
                        <a:lnTo>
                          <a:pt x="1620" y="747"/>
                        </a:lnTo>
                        <a:lnTo>
                          <a:pt x="1622" y="750"/>
                        </a:lnTo>
                        <a:lnTo>
                          <a:pt x="1622" y="755"/>
                        </a:lnTo>
                        <a:lnTo>
                          <a:pt x="1622" y="762"/>
                        </a:lnTo>
                        <a:lnTo>
                          <a:pt x="1623" y="763"/>
                        </a:lnTo>
                        <a:lnTo>
                          <a:pt x="1625" y="766"/>
                        </a:lnTo>
                        <a:lnTo>
                          <a:pt x="1630" y="769"/>
                        </a:lnTo>
                        <a:lnTo>
                          <a:pt x="1638" y="771"/>
                        </a:lnTo>
                        <a:lnTo>
                          <a:pt x="1639" y="774"/>
                        </a:lnTo>
                        <a:lnTo>
                          <a:pt x="1646" y="776"/>
                        </a:lnTo>
                        <a:lnTo>
                          <a:pt x="1646" y="777"/>
                        </a:lnTo>
                        <a:lnTo>
                          <a:pt x="1654" y="782"/>
                        </a:lnTo>
                        <a:lnTo>
                          <a:pt x="1657" y="785"/>
                        </a:lnTo>
                        <a:lnTo>
                          <a:pt x="1658" y="793"/>
                        </a:lnTo>
                        <a:lnTo>
                          <a:pt x="1661" y="798"/>
                        </a:lnTo>
                        <a:lnTo>
                          <a:pt x="1669" y="803"/>
                        </a:lnTo>
                        <a:lnTo>
                          <a:pt x="1674" y="803"/>
                        </a:lnTo>
                        <a:lnTo>
                          <a:pt x="1676" y="804"/>
                        </a:lnTo>
                        <a:lnTo>
                          <a:pt x="1676" y="803"/>
                        </a:lnTo>
                        <a:lnTo>
                          <a:pt x="1676" y="801"/>
                        </a:lnTo>
                        <a:lnTo>
                          <a:pt x="1676" y="800"/>
                        </a:lnTo>
                        <a:lnTo>
                          <a:pt x="1680" y="800"/>
                        </a:lnTo>
                        <a:lnTo>
                          <a:pt x="1680" y="803"/>
                        </a:lnTo>
                        <a:lnTo>
                          <a:pt x="1679" y="804"/>
                        </a:lnTo>
                        <a:lnTo>
                          <a:pt x="1680" y="806"/>
                        </a:lnTo>
                        <a:lnTo>
                          <a:pt x="1684" y="809"/>
                        </a:lnTo>
                        <a:lnTo>
                          <a:pt x="1684" y="812"/>
                        </a:lnTo>
                        <a:lnTo>
                          <a:pt x="1680" y="819"/>
                        </a:lnTo>
                        <a:lnTo>
                          <a:pt x="1676" y="823"/>
                        </a:lnTo>
                        <a:lnTo>
                          <a:pt x="1668" y="833"/>
                        </a:lnTo>
                        <a:lnTo>
                          <a:pt x="1668" y="841"/>
                        </a:lnTo>
                        <a:lnTo>
                          <a:pt x="1669" y="845"/>
                        </a:lnTo>
                        <a:lnTo>
                          <a:pt x="1671" y="845"/>
                        </a:lnTo>
                        <a:lnTo>
                          <a:pt x="1679" y="853"/>
                        </a:lnTo>
                        <a:lnTo>
                          <a:pt x="1688" y="857"/>
                        </a:lnTo>
                        <a:lnTo>
                          <a:pt x="1701" y="857"/>
                        </a:lnTo>
                        <a:lnTo>
                          <a:pt x="1709" y="857"/>
                        </a:lnTo>
                        <a:lnTo>
                          <a:pt x="1719" y="857"/>
                        </a:lnTo>
                        <a:lnTo>
                          <a:pt x="1741" y="857"/>
                        </a:lnTo>
                        <a:lnTo>
                          <a:pt x="1760" y="857"/>
                        </a:lnTo>
                        <a:lnTo>
                          <a:pt x="1771" y="857"/>
                        </a:lnTo>
                        <a:lnTo>
                          <a:pt x="1774" y="857"/>
                        </a:lnTo>
                        <a:lnTo>
                          <a:pt x="1780" y="861"/>
                        </a:lnTo>
                        <a:lnTo>
                          <a:pt x="1788" y="866"/>
                        </a:lnTo>
                        <a:lnTo>
                          <a:pt x="1782" y="869"/>
                        </a:lnTo>
                        <a:lnTo>
                          <a:pt x="1780" y="869"/>
                        </a:lnTo>
                        <a:lnTo>
                          <a:pt x="1780" y="871"/>
                        </a:lnTo>
                        <a:lnTo>
                          <a:pt x="1777" y="874"/>
                        </a:lnTo>
                        <a:lnTo>
                          <a:pt x="1779" y="888"/>
                        </a:lnTo>
                        <a:lnTo>
                          <a:pt x="1785" y="890"/>
                        </a:lnTo>
                        <a:lnTo>
                          <a:pt x="1807" y="903"/>
                        </a:lnTo>
                        <a:lnTo>
                          <a:pt x="1814" y="901"/>
                        </a:lnTo>
                        <a:lnTo>
                          <a:pt x="1820" y="899"/>
                        </a:lnTo>
                        <a:lnTo>
                          <a:pt x="1823" y="899"/>
                        </a:lnTo>
                        <a:lnTo>
                          <a:pt x="1826" y="899"/>
                        </a:lnTo>
                        <a:lnTo>
                          <a:pt x="1829" y="899"/>
                        </a:lnTo>
                        <a:lnTo>
                          <a:pt x="1834" y="901"/>
                        </a:lnTo>
                        <a:lnTo>
                          <a:pt x="1856" y="903"/>
                        </a:lnTo>
                        <a:lnTo>
                          <a:pt x="1858" y="904"/>
                        </a:lnTo>
                        <a:lnTo>
                          <a:pt x="1859" y="906"/>
                        </a:lnTo>
                        <a:lnTo>
                          <a:pt x="1861" y="906"/>
                        </a:lnTo>
                        <a:lnTo>
                          <a:pt x="1871" y="912"/>
                        </a:lnTo>
                        <a:lnTo>
                          <a:pt x="1875" y="915"/>
                        </a:lnTo>
                        <a:lnTo>
                          <a:pt x="1883" y="922"/>
                        </a:lnTo>
                        <a:lnTo>
                          <a:pt x="1888" y="926"/>
                        </a:lnTo>
                        <a:lnTo>
                          <a:pt x="1890" y="926"/>
                        </a:lnTo>
                        <a:lnTo>
                          <a:pt x="1898" y="929"/>
                        </a:lnTo>
                        <a:lnTo>
                          <a:pt x="1907" y="928"/>
                        </a:lnTo>
                        <a:lnTo>
                          <a:pt x="1910" y="931"/>
                        </a:lnTo>
                        <a:lnTo>
                          <a:pt x="1913" y="934"/>
                        </a:lnTo>
                        <a:lnTo>
                          <a:pt x="1915" y="937"/>
                        </a:lnTo>
                        <a:lnTo>
                          <a:pt x="1918" y="939"/>
                        </a:lnTo>
                        <a:lnTo>
                          <a:pt x="1920" y="945"/>
                        </a:lnTo>
                        <a:lnTo>
                          <a:pt x="1923" y="956"/>
                        </a:lnTo>
                        <a:lnTo>
                          <a:pt x="1918" y="964"/>
                        </a:lnTo>
                        <a:lnTo>
                          <a:pt x="1920" y="972"/>
                        </a:lnTo>
                        <a:lnTo>
                          <a:pt x="1923" y="983"/>
                        </a:lnTo>
                        <a:lnTo>
                          <a:pt x="1929" y="985"/>
                        </a:lnTo>
                        <a:lnTo>
                          <a:pt x="1939" y="986"/>
                        </a:lnTo>
                        <a:lnTo>
                          <a:pt x="1940" y="988"/>
                        </a:lnTo>
                        <a:lnTo>
                          <a:pt x="1942" y="988"/>
                        </a:lnTo>
                        <a:lnTo>
                          <a:pt x="1956" y="999"/>
                        </a:lnTo>
                        <a:lnTo>
                          <a:pt x="1962" y="999"/>
                        </a:lnTo>
                        <a:lnTo>
                          <a:pt x="1967" y="999"/>
                        </a:lnTo>
                        <a:lnTo>
                          <a:pt x="1975" y="1007"/>
                        </a:lnTo>
                        <a:lnTo>
                          <a:pt x="1997" y="1029"/>
                        </a:lnTo>
                        <a:lnTo>
                          <a:pt x="2010" y="1029"/>
                        </a:lnTo>
                        <a:lnTo>
                          <a:pt x="2012" y="1031"/>
                        </a:lnTo>
                        <a:lnTo>
                          <a:pt x="2012" y="1034"/>
                        </a:lnTo>
                        <a:lnTo>
                          <a:pt x="2023" y="1037"/>
                        </a:lnTo>
                        <a:lnTo>
                          <a:pt x="2032" y="1040"/>
                        </a:lnTo>
                        <a:lnTo>
                          <a:pt x="2038" y="1042"/>
                        </a:lnTo>
                        <a:lnTo>
                          <a:pt x="2046" y="1043"/>
                        </a:lnTo>
                        <a:lnTo>
                          <a:pt x="2050" y="1045"/>
                        </a:lnTo>
                        <a:lnTo>
                          <a:pt x="2054" y="1043"/>
                        </a:lnTo>
                        <a:lnTo>
                          <a:pt x="2062" y="1042"/>
                        </a:lnTo>
                        <a:lnTo>
                          <a:pt x="2088" y="1062"/>
                        </a:lnTo>
                        <a:lnTo>
                          <a:pt x="2088" y="1067"/>
                        </a:lnTo>
                        <a:lnTo>
                          <a:pt x="2086" y="1067"/>
                        </a:lnTo>
                        <a:lnTo>
                          <a:pt x="2073" y="1074"/>
                        </a:lnTo>
                        <a:lnTo>
                          <a:pt x="2070" y="1074"/>
                        </a:lnTo>
                        <a:lnTo>
                          <a:pt x="2069" y="1074"/>
                        </a:lnTo>
                        <a:lnTo>
                          <a:pt x="2059" y="1078"/>
                        </a:lnTo>
                        <a:lnTo>
                          <a:pt x="2056" y="1078"/>
                        </a:lnTo>
                        <a:lnTo>
                          <a:pt x="2050" y="1067"/>
                        </a:lnTo>
                        <a:lnTo>
                          <a:pt x="2050" y="1061"/>
                        </a:lnTo>
                        <a:lnTo>
                          <a:pt x="2048" y="1055"/>
                        </a:lnTo>
                        <a:lnTo>
                          <a:pt x="2043" y="1053"/>
                        </a:lnTo>
                        <a:lnTo>
                          <a:pt x="2042" y="1053"/>
                        </a:lnTo>
                        <a:lnTo>
                          <a:pt x="2038" y="1053"/>
                        </a:lnTo>
                        <a:lnTo>
                          <a:pt x="2038" y="1061"/>
                        </a:lnTo>
                        <a:lnTo>
                          <a:pt x="2040" y="1069"/>
                        </a:lnTo>
                        <a:lnTo>
                          <a:pt x="2038" y="1070"/>
                        </a:lnTo>
                        <a:lnTo>
                          <a:pt x="2038" y="1077"/>
                        </a:lnTo>
                        <a:lnTo>
                          <a:pt x="2034" y="1083"/>
                        </a:lnTo>
                        <a:lnTo>
                          <a:pt x="2032" y="1083"/>
                        </a:lnTo>
                        <a:lnTo>
                          <a:pt x="2029" y="1088"/>
                        </a:lnTo>
                        <a:lnTo>
                          <a:pt x="2026" y="1088"/>
                        </a:lnTo>
                        <a:lnTo>
                          <a:pt x="2024" y="1086"/>
                        </a:lnTo>
                        <a:lnTo>
                          <a:pt x="2023" y="1086"/>
                        </a:lnTo>
                        <a:lnTo>
                          <a:pt x="2005" y="1085"/>
                        </a:lnTo>
                        <a:lnTo>
                          <a:pt x="2004" y="1080"/>
                        </a:lnTo>
                        <a:lnTo>
                          <a:pt x="2002" y="1080"/>
                        </a:lnTo>
                        <a:lnTo>
                          <a:pt x="1997" y="1077"/>
                        </a:lnTo>
                        <a:lnTo>
                          <a:pt x="1996" y="1075"/>
                        </a:lnTo>
                        <a:lnTo>
                          <a:pt x="1993" y="1078"/>
                        </a:lnTo>
                        <a:lnTo>
                          <a:pt x="1989" y="1078"/>
                        </a:lnTo>
                        <a:lnTo>
                          <a:pt x="1988" y="1078"/>
                        </a:lnTo>
                        <a:lnTo>
                          <a:pt x="1980" y="1075"/>
                        </a:lnTo>
                        <a:lnTo>
                          <a:pt x="1970" y="1069"/>
                        </a:lnTo>
                        <a:lnTo>
                          <a:pt x="1966" y="1066"/>
                        </a:lnTo>
                        <a:lnTo>
                          <a:pt x="1964" y="1066"/>
                        </a:lnTo>
                        <a:lnTo>
                          <a:pt x="1962" y="1064"/>
                        </a:lnTo>
                        <a:lnTo>
                          <a:pt x="1961" y="1064"/>
                        </a:lnTo>
                        <a:lnTo>
                          <a:pt x="1959" y="1062"/>
                        </a:lnTo>
                        <a:lnTo>
                          <a:pt x="1958" y="1062"/>
                        </a:lnTo>
                        <a:lnTo>
                          <a:pt x="1955" y="1061"/>
                        </a:lnTo>
                        <a:lnTo>
                          <a:pt x="1955" y="1059"/>
                        </a:lnTo>
                        <a:lnTo>
                          <a:pt x="1953" y="1059"/>
                        </a:lnTo>
                        <a:lnTo>
                          <a:pt x="1948" y="1058"/>
                        </a:lnTo>
                        <a:lnTo>
                          <a:pt x="1947" y="1056"/>
                        </a:lnTo>
                        <a:lnTo>
                          <a:pt x="1931" y="1058"/>
                        </a:lnTo>
                        <a:lnTo>
                          <a:pt x="1928" y="1056"/>
                        </a:lnTo>
                        <a:lnTo>
                          <a:pt x="1926" y="1055"/>
                        </a:lnTo>
                        <a:lnTo>
                          <a:pt x="1913" y="1053"/>
                        </a:lnTo>
                        <a:lnTo>
                          <a:pt x="1912" y="1055"/>
                        </a:lnTo>
                        <a:lnTo>
                          <a:pt x="1909" y="1055"/>
                        </a:lnTo>
                        <a:lnTo>
                          <a:pt x="1909" y="1083"/>
                        </a:lnTo>
                        <a:lnTo>
                          <a:pt x="1909" y="1085"/>
                        </a:lnTo>
                        <a:lnTo>
                          <a:pt x="1909" y="1091"/>
                        </a:lnTo>
                        <a:lnTo>
                          <a:pt x="1909" y="1123"/>
                        </a:lnTo>
                        <a:lnTo>
                          <a:pt x="1909" y="1159"/>
                        </a:lnTo>
                        <a:lnTo>
                          <a:pt x="1909" y="1165"/>
                        </a:lnTo>
                        <a:lnTo>
                          <a:pt x="1909" y="1183"/>
                        </a:lnTo>
                        <a:lnTo>
                          <a:pt x="1909" y="1202"/>
                        </a:lnTo>
                        <a:lnTo>
                          <a:pt x="1909" y="1218"/>
                        </a:lnTo>
                        <a:lnTo>
                          <a:pt x="1909" y="1226"/>
                        </a:lnTo>
                        <a:lnTo>
                          <a:pt x="1909" y="1232"/>
                        </a:lnTo>
                        <a:lnTo>
                          <a:pt x="1907" y="1232"/>
                        </a:lnTo>
                        <a:lnTo>
                          <a:pt x="1905" y="1232"/>
                        </a:lnTo>
                        <a:lnTo>
                          <a:pt x="1905" y="1230"/>
                        </a:lnTo>
                        <a:lnTo>
                          <a:pt x="1904" y="1232"/>
                        </a:lnTo>
                        <a:lnTo>
                          <a:pt x="1902" y="1232"/>
                        </a:lnTo>
                        <a:lnTo>
                          <a:pt x="1901" y="1232"/>
                        </a:lnTo>
                        <a:lnTo>
                          <a:pt x="1899" y="1232"/>
                        </a:lnTo>
                        <a:lnTo>
                          <a:pt x="1898" y="1232"/>
                        </a:lnTo>
                        <a:lnTo>
                          <a:pt x="1896" y="1230"/>
                        </a:lnTo>
                        <a:lnTo>
                          <a:pt x="1894" y="1232"/>
                        </a:lnTo>
                        <a:lnTo>
                          <a:pt x="1893" y="1232"/>
                        </a:lnTo>
                        <a:lnTo>
                          <a:pt x="1891" y="1232"/>
                        </a:lnTo>
                        <a:lnTo>
                          <a:pt x="1890" y="1232"/>
                        </a:lnTo>
                        <a:lnTo>
                          <a:pt x="1888" y="1232"/>
                        </a:lnTo>
                        <a:lnTo>
                          <a:pt x="1886" y="1234"/>
                        </a:lnTo>
                        <a:lnTo>
                          <a:pt x="1883" y="1234"/>
                        </a:lnTo>
                        <a:lnTo>
                          <a:pt x="1882" y="1234"/>
                        </a:lnTo>
                        <a:lnTo>
                          <a:pt x="1880" y="1232"/>
                        </a:lnTo>
                        <a:lnTo>
                          <a:pt x="1879" y="1232"/>
                        </a:lnTo>
                        <a:lnTo>
                          <a:pt x="1875" y="1234"/>
                        </a:lnTo>
                        <a:lnTo>
                          <a:pt x="1874" y="1234"/>
                        </a:lnTo>
                        <a:lnTo>
                          <a:pt x="1872" y="1234"/>
                        </a:lnTo>
                        <a:lnTo>
                          <a:pt x="1871" y="1234"/>
                        </a:lnTo>
                        <a:lnTo>
                          <a:pt x="1869" y="1234"/>
                        </a:lnTo>
                        <a:lnTo>
                          <a:pt x="1869" y="1232"/>
                        </a:lnTo>
                        <a:lnTo>
                          <a:pt x="1869" y="1234"/>
                        </a:lnTo>
                        <a:lnTo>
                          <a:pt x="1867" y="1235"/>
                        </a:lnTo>
                        <a:lnTo>
                          <a:pt x="1866" y="1235"/>
                        </a:lnTo>
                        <a:lnTo>
                          <a:pt x="1864" y="1235"/>
                        </a:lnTo>
                        <a:lnTo>
                          <a:pt x="1863" y="1235"/>
                        </a:lnTo>
                        <a:lnTo>
                          <a:pt x="1861" y="1238"/>
                        </a:lnTo>
                        <a:lnTo>
                          <a:pt x="1859" y="1240"/>
                        </a:lnTo>
                        <a:lnTo>
                          <a:pt x="1858" y="1240"/>
                        </a:lnTo>
                        <a:lnTo>
                          <a:pt x="1856" y="1241"/>
                        </a:lnTo>
                        <a:lnTo>
                          <a:pt x="1855" y="1243"/>
                        </a:lnTo>
                        <a:lnTo>
                          <a:pt x="1855" y="1245"/>
                        </a:lnTo>
                        <a:lnTo>
                          <a:pt x="1852" y="1245"/>
                        </a:lnTo>
                        <a:lnTo>
                          <a:pt x="1852" y="1246"/>
                        </a:lnTo>
                        <a:lnTo>
                          <a:pt x="1852" y="1248"/>
                        </a:lnTo>
                        <a:lnTo>
                          <a:pt x="1852" y="1249"/>
                        </a:lnTo>
                        <a:lnTo>
                          <a:pt x="1850" y="1249"/>
                        </a:lnTo>
                        <a:lnTo>
                          <a:pt x="1848" y="1249"/>
                        </a:lnTo>
                        <a:lnTo>
                          <a:pt x="1847" y="1251"/>
                        </a:lnTo>
                        <a:lnTo>
                          <a:pt x="1845" y="1251"/>
                        </a:lnTo>
                        <a:lnTo>
                          <a:pt x="1844" y="1249"/>
                        </a:lnTo>
                        <a:lnTo>
                          <a:pt x="1842" y="1249"/>
                        </a:lnTo>
                        <a:lnTo>
                          <a:pt x="1840" y="1249"/>
                        </a:lnTo>
                        <a:lnTo>
                          <a:pt x="1840" y="1251"/>
                        </a:lnTo>
                        <a:lnTo>
                          <a:pt x="1842" y="1253"/>
                        </a:lnTo>
                        <a:lnTo>
                          <a:pt x="1842" y="1254"/>
                        </a:lnTo>
                        <a:lnTo>
                          <a:pt x="1842" y="1256"/>
                        </a:lnTo>
                        <a:lnTo>
                          <a:pt x="1842" y="1259"/>
                        </a:lnTo>
                        <a:lnTo>
                          <a:pt x="1840" y="1259"/>
                        </a:lnTo>
                        <a:lnTo>
                          <a:pt x="1839" y="1261"/>
                        </a:lnTo>
                        <a:lnTo>
                          <a:pt x="1837" y="1261"/>
                        </a:lnTo>
                        <a:lnTo>
                          <a:pt x="1836" y="1262"/>
                        </a:lnTo>
                        <a:lnTo>
                          <a:pt x="1834" y="1262"/>
                        </a:lnTo>
                        <a:lnTo>
                          <a:pt x="1833" y="1262"/>
                        </a:lnTo>
                        <a:lnTo>
                          <a:pt x="1831" y="1262"/>
                        </a:lnTo>
                        <a:lnTo>
                          <a:pt x="1829" y="1261"/>
                        </a:lnTo>
                        <a:lnTo>
                          <a:pt x="1828" y="1261"/>
                        </a:lnTo>
                        <a:lnTo>
                          <a:pt x="1828" y="1259"/>
                        </a:lnTo>
                        <a:lnTo>
                          <a:pt x="1826" y="1257"/>
                        </a:lnTo>
                        <a:lnTo>
                          <a:pt x="1825" y="1257"/>
                        </a:lnTo>
                        <a:lnTo>
                          <a:pt x="1823" y="1257"/>
                        </a:lnTo>
                        <a:lnTo>
                          <a:pt x="1821" y="1257"/>
                        </a:lnTo>
                        <a:lnTo>
                          <a:pt x="1821" y="1256"/>
                        </a:lnTo>
                        <a:lnTo>
                          <a:pt x="1820" y="1256"/>
                        </a:lnTo>
                        <a:lnTo>
                          <a:pt x="1820" y="1257"/>
                        </a:lnTo>
                        <a:lnTo>
                          <a:pt x="1818" y="1257"/>
                        </a:lnTo>
                        <a:lnTo>
                          <a:pt x="1817" y="1257"/>
                        </a:lnTo>
                        <a:lnTo>
                          <a:pt x="1815" y="1259"/>
                        </a:lnTo>
                        <a:lnTo>
                          <a:pt x="1815" y="1261"/>
                        </a:lnTo>
                        <a:lnTo>
                          <a:pt x="1814" y="1261"/>
                        </a:lnTo>
                        <a:lnTo>
                          <a:pt x="1814" y="1262"/>
                        </a:lnTo>
                        <a:lnTo>
                          <a:pt x="1812" y="1264"/>
                        </a:lnTo>
                        <a:lnTo>
                          <a:pt x="1812" y="1265"/>
                        </a:lnTo>
                        <a:lnTo>
                          <a:pt x="1814" y="1267"/>
                        </a:lnTo>
                        <a:lnTo>
                          <a:pt x="1815" y="1268"/>
                        </a:lnTo>
                        <a:lnTo>
                          <a:pt x="1817" y="1268"/>
                        </a:lnTo>
                        <a:lnTo>
                          <a:pt x="1818" y="1270"/>
                        </a:lnTo>
                        <a:lnTo>
                          <a:pt x="1817" y="1273"/>
                        </a:lnTo>
                        <a:lnTo>
                          <a:pt x="1817" y="1275"/>
                        </a:lnTo>
                        <a:lnTo>
                          <a:pt x="1815" y="1275"/>
                        </a:lnTo>
                        <a:lnTo>
                          <a:pt x="1814" y="1275"/>
                        </a:lnTo>
                        <a:lnTo>
                          <a:pt x="1812" y="1275"/>
                        </a:lnTo>
                        <a:lnTo>
                          <a:pt x="1812" y="1276"/>
                        </a:lnTo>
                        <a:lnTo>
                          <a:pt x="1812" y="1278"/>
                        </a:lnTo>
                        <a:lnTo>
                          <a:pt x="1810" y="1278"/>
                        </a:lnTo>
                        <a:lnTo>
                          <a:pt x="1809" y="1278"/>
                        </a:lnTo>
                        <a:lnTo>
                          <a:pt x="1807" y="1278"/>
                        </a:lnTo>
                        <a:lnTo>
                          <a:pt x="1807" y="1280"/>
                        </a:lnTo>
                        <a:lnTo>
                          <a:pt x="1806" y="1280"/>
                        </a:lnTo>
                        <a:lnTo>
                          <a:pt x="1804" y="1280"/>
                        </a:lnTo>
                        <a:lnTo>
                          <a:pt x="1802" y="1280"/>
                        </a:lnTo>
                        <a:lnTo>
                          <a:pt x="1802" y="1281"/>
                        </a:lnTo>
                        <a:lnTo>
                          <a:pt x="1801" y="1281"/>
                        </a:lnTo>
                        <a:lnTo>
                          <a:pt x="1801" y="1283"/>
                        </a:lnTo>
                        <a:lnTo>
                          <a:pt x="1799" y="1283"/>
                        </a:lnTo>
                        <a:lnTo>
                          <a:pt x="1798" y="1281"/>
                        </a:lnTo>
                        <a:lnTo>
                          <a:pt x="1796" y="1281"/>
                        </a:lnTo>
                        <a:lnTo>
                          <a:pt x="1795" y="1280"/>
                        </a:lnTo>
                        <a:lnTo>
                          <a:pt x="1793" y="1281"/>
                        </a:lnTo>
                        <a:lnTo>
                          <a:pt x="1793" y="1280"/>
                        </a:lnTo>
                        <a:lnTo>
                          <a:pt x="1793" y="1278"/>
                        </a:lnTo>
                        <a:lnTo>
                          <a:pt x="1791" y="1280"/>
                        </a:lnTo>
                        <a:lnTo>
                          <a:pt x="1790" y="1278"/>
                        </a:lnTo>
                        <a:lnTo>
                          <a:pt x="1790" y="1276"/>
                        </a:lnTo>
                        <a:lnTo>
                          <a:pt x="1788" y="1276"/>
                        </a:lnTo>
                        <a:lnTo>
                          <a:pt x="1788" y="1275"/>
                        </a:lnTo>
                        <a:lnTo>
                          <a:pt x="1787" y="1273"/>
                        </a:lnTo>
                        <a:lnTo>
                          <a:pt x="1788" y="1272"/>
                        </a:lnTo>
                        <a:lnTo>
                          <a:pt x="1787" y="1272"/>
                        </a:lnTo>
                        <a:lnTo>
                          <a:pt x="1787" y="1270"/>
                        </a:lnTo>
                        <a:lnTo>
                          <a:pt x="1785" y="1268"/>
                        </a:lnTo>
                        <a:lnTo>
                          <a:pt x="1785" y="1267"/>
                        </a:lnTo>
                        <a:lnTo>
                          <a:pt x="1783" y="1267"/>
                        </a:lnTo>
                        <a:lnTo>
                          <a:pt x="1782" y="1267"/>
                        </a:lnTo>
                        <a:lnTo>
                          <a:pt x="1780" y="1267"/>
                        </a:lnTo>
                        <a:lnTo>
                          <a:pt x="1780" y="1268"/>
                        </a:lnTo>
                        <a:lnTo>
                          <a:pt x="1779" y="1268"/>
                        </a:lnTo>
                        <a:lnTo>
                          <a:pt x="1777" y="1268"/>
                        </a:lnTo>
                        <a:lnTo>
                          <a:pt x="1776" y="1268"/>
                        </a:lnTo>
                        <a:lnTo>
                          <a:pt x="1774" y="1268"/>
                        </a:lnTo>
                        <a:lnTo>
                          <a:pt x="1774" y="1270"/>
                        </a:lnTo>
                        <a:lnTo>
                          <a:pt x="1772" y="1272"/>
                        </a:lnTo>
                        <a:lnTo>
                          <a:pt x="1774" y="1273"/>
                        </a:lnTo>
                        <a:lnTo>
                          <a:pt x="1774" y="1275"/>
                        </a:lnTo>
                        <a:lnTo>
                          <a:pt x="1774" y="1276"/>
                        </a:lnTo>
                        <a:lnTo>
                          <a:pt x="1772" y="1278"/>
                        </a:lnTo>
                        <a:lnTo>
                          <a:pt x="1774" y="1278"/>
                        </a:lnTo>
                        <a:lnTo>
                          <a:pt x="1776" y="1280"/>
                        </a:lnTo>
                        <a:lnTo>
                          <a:pt x="1776" y="1281"/>
                        </a:lnTo>
                        <a:lnTo>
                          <a:pt x="1777" y="1283"/>
                        </a:lnTo>
                        <a:lnTo>
                          <a:pt x="1777" y="1286"/>
                        </a:lnTo>
                        <a:lnTo>
                          <a:pt x="1777" y="1287"/>
                        </a:lnTo>
                        <a:lnTo>
                          <a:pt x="1777" y="1291"/>
                        </a:lnTo>
                        <a:lnTo>
                          <a:pt x="1776" y="1292"/>
                        </a:lnTo>
                        <a:lnTo>
                          <a:pt x="1774" y="1294"/>
                        </a:lnTo>
                        <a:lnTo>
                          <a:pt x="1774" y="1295"/>
                        </a:lnTo>
                        <a:lnTo>
                          <a:pt x="1772" y="1295"/>
                        </a:lnTo>
                        <a:lnTo>
                          <a:pt x="1771" y="1295"/>
                        </a:lnTo>
                        <a:lnTo>
                          <a:pt x="1769" y="1295"/>
                        </a:lnTo>
                        <a:lnTo>
                          <a:pt x="1769" y="1294"/>
                        </a:lnTo>
                        <a:lnTo>
                          <a:pt x="1768" y="1294"/>
                        </a:lnTo>
                        <a:lnTo>
                          <a:pt x="1766" y="1294"/>
                        </a:lnTo>
                        <a:lnTo>
                          <a:pt x="1763" y="1292"/>
                        </a:lnTo>
                        <a:lnTo>
                          <a:pt x="1761" y="1291"/>
                        </a:lnTo>
                        <a:lnTo>
                          <a:pt x="1760" y="1291"/>
                        </a:lnTo>
                        <a:lnTo>
                          <a:pt x="1758" y="1291"/>
                        </a:lnTo>
                        <a:lnTo>
                          <a:pt x="1757" y="1289"/>
                        </a:lnTo>
                        <a:lnTo>
                          <a:pt x="1755" y="1289"/>
                        </a:lnTo>
                        <a:lnTo>
                          <a:pt x="1753" y="1287"/>
                        </a:lnTo>
                        <a:lnTo>
                          <a:pt x="1752" y="1287"/>
                        </a:lnTo>
                        <a:lnTo>
                          <a:pt x="1750" y="1287"/>
                        </a:lnTo>
                        <a:lnTo>
                          <a:pt x="1750" y="1289"/>
                        </a:lnTo>
                        <a:lnTo>
                          <a:pt x="1749" y="1289"/>
                        </a:lnTo>
                        <a:lnTo>
                          <a:pt x="1747" y="1289"/>
                        </a:lnTo>
                        <a:lnTo>
                          <a:pt x="1745" y="1291"/>
                        </a:lnTo>
                        <a:lnTo>
                          <a:pt x="1744" y="1292"/>
                        </a:lnTo>
                        <a:lnTo>
                          <a:pt x="1742" y="1292"/>
                        </a:lnTo>
                        <a:lnTo>
                          <a:pt x="1739" y="1294"/>
                        </a:lnTo>
                        <a:lnTo>
                          <a:pt x="1738" y="1292"/>
                        </a:lnTo>
                        <a:lnTo>
                          <a:pt x="1736" y="1294"/>
                        </a:lnTo>
                        <a:lnTo>
                          <a:pt x="1734" y="1294"/>
                        </a:lnTo>
                        <a:lnTo>
                          <a:pt x="1734" y="1295"/>
                        </a:lnTo>
                        <a:lnTo>
                          <a:pt x="1733" y="1295"/>
                        </a:lnTo>
                        <a:lnTo>
                          <a:pt x="1731" y="1295"/>
                        </a:lnTo>
                        <a:lnTo>
                          <a:pt x="1730" y="1294"/>
                        </a:lnTo>
                        <a:lnTo>
                          <a:pt x="1728" y="1294"/>
                        </a:lnTo>
                        <a:lnTo>
                          <a:pt x="1726" y="1294"/>
                        </a:lnTo>
                        <a:lnTo>
                          <a:pt x="1725" y="1294"/>
                        </a:lnTo>
                        <a:lnTo>
                          <a:pt x="1723" y="1292"/>
                        </a:lnTo>
                        <a:lnTo>
                          <a:pt x="1723" y="1291"/>
                        </a:lnTo>
                        <a:lnTo>
                          <a:pt x="1722" y="1291"/>
                        </a:lnTo>
                        <a:lnTo>
                          <a:pt x="1722" y="1289"/>
                        </a:lnTo>
                        <a:lnTo>
                          <a:pt x="1722" y="1287"/>
                        </a:lnTo>
                        <a:lnTo>
                          <a:pt x="1722" y="1284"/>
                        </a:lnTo>
                        <a:lnTo>
                          <a:pt x="1723" y="1283"/>
                        </a:lnTo>
                        <a:lnTo>
                          <a:pt x="1723" y="1281"/>
                        </a:lnTo>
                        <a:lnTo>
                          <a:pt x="1722" y="1281"/>
                        </a:lnTo>
                        <a:lnTo>
                          <a:pt x="1722" y="1280"/>
                        </a:lnTo>
                        <a:lnTo>
                          <a:pt x="1720" y="1280"/>
                        </a:lnTo>
                        <a:lnTo>
                          <a:pt x="1719" y="1281"/>
                        </a:lnTo>
                        <a:lnTo>
                          <a:pt x="1717" y="1281"/>
                        </a:lnTo>
                        <a:lnTo>
                          <a:pt x="1715" y="1281"/>
                        </a:lnTo>
                        <a:lnTo>
                          <a:pt x="1714" y="1281"/>
                        </a:lnTo>
                        <a:lnTo>
                          <a:pt x="1712" y="1281"/>
                        </a:lnTo>
                        <a:lnTo>
                          <a:pt x="1712" y="1283"/>
                        </a:lnTo>
                        <a:lnTo>
                          <a:pt x="1712" y="1284"/>
                        </a:lnTo>
                        <a:lnTo>
                          <a:pt x="1711" y="1287"/>
                        </a:lnTo>
                        <a:lnTo>
                          <a:pt x="1712" y="1289"/>
                        </a:lnTo>
                        <a:lnTo>
                          <a:pt x="1712" y="1291"/>
                        </a:lnTo>
                        <a:lnTo>
                          <a:pt x="1712" y="1292"/>
                        </a:lnTo>
                        <a:lnTo>
                          <a:pt x="1712" y="1294"/>
                        </a:lnTo>
                        <a:lnTo>
                          <a:pt x="1711" y="1294"/>
                        </a:lnTo>
                        <a:lnTo>
                          <a:pt x="1709" y="1295"/>
                        </a:lnTo>
                        <a:lnTo>
                          <a:pt x="1707" y="1295"/>
                        </a:lnTo>
                        <a:lnTo>
                          <a:pt x="1706" y="1295"/>
                        </a:lnTo>
                        <a:lnTo>
                          <a:pt x="1704" y="1295"/>
                        </a:lnTo>
                        <a:lnTo>
                          <a:pt x="1701" y="1295"/>
                        </a:lnTo>
                        <a:lnTo>
                          <a:pt x="1700" y="1295"/>
                        </a:lnTo>
                        <a:lnTo>
                          <a:pt x="1698" y="1294"/>
                        </a:lnTo>
                        <a:lnTo>
                          <a:pt x="1700" y="1292"/>
                        </a:lnTo>
                        <a:lnTo>
                          <a:pt x="1700" y="1291"/>
                        </a:lnTo>
                        <a:lnTo>
                          <a:pt x="1698" y="1289"/>
                        </a:lnTo>
                        <a:lnTo>
                          <a:pt x="1698" y="1287"/>
                        </a:lnTo>
                        <a:lnTo>
                          <a:pt x="1696" y="1284"/>
                        </a:lnTo>
                        <a:lnTo>
                          <a:pt x="1696" y="1283"/>
                        </a:lnTo>
                        <a:lnTo>
                          <a:pt x="1695" y="1281"/>
                        </a:lnTo>
                        <a:lnTo>
                          <a:pt x="1693" y="1281"/>
                        </a:lnTo>
                        <a:lnTo>
                          <a:pt x="1692" y="1281"/>
                        </a:lnTo>
                        <a:lnTo>
                          <a:pt x="1692" y="1280"/>
                        </a:lnTo>
                        <a:lnTo>
                          <a:pt x="1688" y="1280"/>
                        </a:lnTo>
                        <a:lnTo>
                          <a:pt x="1687" y="1281"/>
                        </a:lnTo>
                        <a:lnTo>
                          <a:pt x="1687" y="1283"/>
                        </a:lnTo>
                        <a:lnTo>
                          <a:pt x="1688" y="1284"/>
                        </a:lnTo>
                        <a:lnTo>
                          <a:pt x="1687" y="1286"/>
                        </a:lnTo>
                        <a:lnTo>
                          <a:pt x="1685" y="1287"/>
                        </a:lnTo>
                        <a:lnTo>
                          <a:pt x="1684" y="1286"/>
                        </a:lnTo>
                        <a:lnTo>
                          <a:pt x="1680" y="1286"/>
                        </a:lnTo>
                        <a:lnTo>
                          <a:pt x="1679" y="1286"/>
                        </a:lnTo>
                        <a:lnTo>
                          <a:pt x="1677" y="1287"/>
                        </a:lnTo>
                        <a:lnTo>
                          <a:pt x="1676" y="1287"/>
                        </a:lnTo>
                        <a:lnTo>
                          <a:pt x="1674" y="1287"/>
                        </a:lnTo>
                        <a:lnTo>
                          <a:pt x="1674" y="1289"/>
                        </a:lnTo>
                        <a:lnTo>
                          <a:pt x="1674" y="1291"/>
                        </a:lnTo>
                        <a:lnTo>
                          <a:pt x="1674" y="1292"/>
                        </a:lnTo>
                        <a:lnTo>
                          <a:pt x="1673" y="1292"/>
                        </a:lnTo>
                        <a:lnTo>
                          <a:pt x="1671" y="1292"/>
                        </a:lnTo>
                        <a:lnTo>
                          <a:pt x="1671" y="1294"/>
                        </a:lnTo>
                        <a:lnTo>
                          <a:pt x="1671" y="1295"/>
                        </a:lnTo>
                        <a:lnTo>
                          <a:pt x="1669" y="1297"/>
                        </a:lnTo>
                        <a:lnTo>
                          <a:pt x="1668" y="1299"/>
                        </a:lnTo>
                        <a:lnTo>
                          <a:pt x="1666" y="1300"/>
                        </a:lnTo>
                        <a:lnTo>
                          <a:pt x="1665" y="1302"/>
                        </a:lnTo>
                        <a:lnTo>
                          <a:pt x="1663" y="1302"/>
                        </a:lnTo>
                        <a:lnTo>
                          <a:pt x="1661" y="1300"/>
                        </a:lnTo>
                        <a:lnTo>
                          <a:pt x="1661" y="1299"/>
                        </a:lnTo>
                        <a:lnTo>
                          <a:pt x="1660" y="1299"/>
                        </a:lnTo>
                        <a:lnTo>
                          <a:pt x="1658" y="1299"/>
                        </a:lnTo>
                        <a:lnTo>
                          <a:pt x="1655" y="1295"/>
                        </a:lnTo>
                        <a:lnTo>
                          <a:pt x="1654" y="1292"/>
                        </a:lnTo>
                        <a:lnTo>
                          <a:pt x="1654" y="1291"/>
                        </a:lnTo>
                        <a:lnTo>
                          <a:pt x="1652" y="1289"/>
                        </a:lnTo>
                        <a:lnTo>
                          <a:pt x="1652" y="1287"/>
                        </a:lnTo>
                        <a:lnTo>
                          <a:pt x="1650" y="1286"/>
                        </a:lnTo>
                        <a:lnTo>
                          <a:pt x="1650" y="1283"/>
                        </a:lnTo>
                        <a:lnTo>
                          <a:pt x="1650" y="1281"/>
                        </a:lnTo>
                        <a:lnTo>
                          <a:pt x="1650" y="1276"/>
                        </a:lnTo>
                        <a:lnTo>
                          <a:pt x="1650" y="1275"/>
                        </a:lnTo>
                        <a:lnTo>
                          <a:pt x="1650" y="1273"/>
                        </a:lnTo>
                        <a:lnTo>
                          <a:pt x="1650" y="1272"/>
                        </a:lnTo>
                        <a:lnTo>
                          <a:pt x="1649" y="1270"/>
                        </a:lnTo>
                        <a:lnTo>
                          <a:pt x="1649" y="1267"/>
                        </a:lnTo>
                        <a:lnTo>
                          <a:pt x="1649" y="1265"/>
                        </a:lnTo>
                        <a:lnTo>
                          <a:pt x="1647" y="1265"/>
                        </a:lnTo>
                        <a:lnTo>
                          <a:pt x="1646" y="1265"/>
                        </a:lnTo>
                        <a:lnTo>
                          <a:pt x="1646" y="1264"/>
                        </a:lnTo>
                        <a:lnTo>
                          <a:pt x="1644" y="1264"/>
                        </a:lnTo>
                        <a:lnTo>
                          <a:pt x="1642" y="1264"/>
                        </a:lnTo>
                        <a:lnTo>
                          <a:pt x="1641" y="1262"/>
                        </a:lnTo>
                        <a:lnTo>
                          <a:pt x="1639" y="1262"/>
                        </a:lnTo>
                        <a:lnTo>
                          <a:pt x="1638" y="1262"/>
                        </a:lnTo>
                        <a:lnTo>
                          <a:pt x="1636" y="1261"/>
                        </a:lnTo>
                        <a:lnTo>
                          <a:pt x="1635" y="1261"/>
                        </a:lnTo>
                        <a:lnTo>
                          <a:pt x="1633" y="1259"/>
                        </a:lnTo>
                        <a:lnTo>
                          <a:pt x="1630" y="1259"/>
                        </a:lnTo>
                        <a:lnTo>
                          <a:pt x="1628" y="1257"/>
                        </a:lnTo>
                        <a:lnTo>
                          <a:pt x="1627" y="1257"/>
                        </a:lnTo>
                        <a:lnTo>
                          <a:pt x="1625" y="1256"/>
                        </a:lnTo>
                        <a:lnTo>
                          <a:pt x="1623" y="1256"/>
                        </a:lnTo>
                        <a:lnTo>
                          <a:pt x="1623" y="1254"/>
                        </a:lnTo>
                        <a:lnTo>
                          <a:pt x="1622" y="1254"/>
                        </a:lnTo>
                        <a:lnTo>
                          <a:pt x="1620" y="1254"/>
                        </a:lnTo>
                        <a:lnTo>
                          <a:pt x="1619" y="1254"/>
                        </a:lnTo>
                        <a:lnTo>
                          <a:pt x="1617" y="1253"/>
                        </a:lnTo>
                        <a:lnTo>
                          <a:pt x="1616" y="1251"/>
                        </a:lnTo>
                        <a:lnTo>
                          <a:pt x="1614" y="1251"/>
                        </a:lnTo>
                        <a:lnTo>
                          <a:pt x="1612" y="1251"/>
                        </a:lnTo>
                        <a:lnTo>
                          <a:pt x="1612" y="1249"/>
                        </a:lnTo>
                        <a:lnTo>
                          <a:pt x="1611" y="1249"/>
                        </a:lnTo>
                        <a:lnTo>
                          <a:pt x="1609" y="1248"/>
                        </a:lnTo>
                        <a:lnTo>
                          <a:pt x="1608" y="1243"/>
                        </a:lnTo>
                        <a:lnTo>
                          <a:pt x="1606" y="1241"/>
                        </a:lnTo>
                        <a:lnTo>
                          <a:pt x="1604" y="1240"/>
                        </a:lnTo>
                        <a:lnTo>
                          <a:pt x="1603" y="1238"/>
                        </a:lnTo>
                        <a:lnTo>
                          <a:pt x="1601" y="1235"/>
                        </a:lnTo>
                        <a:lnTo>
                          <a:pt x="1600" y="1230"/>
                        </a:lnTo>
                        <a:lnTo>
                          <a:pt x="1600" y="1227"/>
                        </a:lnTo>
                        <a:lnTo>
                          <a:pt x="1600" y="1226"/>
                        </a:lnTo>
                        <a:lnTo>
                          <a:pt x="1598" y="1224"/>
                        </a:lnTo>
                        <a:lnTo>
                          <a:pt x="1600" y="1222"/>
                        </a:lnTo>
                        <a:lnTo>
                          <a:pt x="1600" y="1221"/>
                        </a:lnTo>
                        <a:lnTo>
                          <a:pt x="1601" y="1219"/>
                        </a:lnTo>
                        <a:lnTo>
                          <a:pt x="1600" y="1218"/>
                        </a:lnTo>
                        <a:lnTo>
                          <a:pt x="1598" y="1216"/>
                        </a:lnTo>
                        <a:lnTo>
                          <a:pt x="1598" y="1213"/>
                        </a:lnTo>
                        <a:lnTo>
                          <a:pt x="1597" y="1211"/>
                        </a:lnTo>
                        <a:lnTo>
                          <a:pt x="1595" y="1210"/>
                        </a:lnTo>
                        <a:lnTo>
                          <a:pt x="1593" y="1210"/>
                        </a:lnTo>
                        <a:lnTo>
                          <a:pt x="1590" y="1208"/>
                        </a:lnTo>
                        <a:lnTo>
                          <a:pt x="1585" y="1207"/>
                        </a:lnTo>
                        <a:lnTo>
                          <a:pt x="1582" y="1207"/>
                        </a:lnTo>
                        <a:lnTo>
                          <a:pt x="1576" y="1205"/>
                        </a:lnTo>
                        <a:lnTo>
                          <a:pt x="1574" y="1205"/>
                        </a:lnTo>
                        <a:lnTo>
                          <a:pt x="1571" y="1205"/>
                        </a:lnTo>
                        <a:lnTo>
                          <a:pt x="1568" y="1203"/>
                        </a:lnTo>
                        <a:lnTo>
                          <a:pt x="1565" y="1189"/>
                        </a:lnTo>
                        <a:lnTo>
                          <a:pt x="1562" y="1178"/>
                        </a:lnTo>
                        <a:lnTo>
                          <a:pt x="1560" y="1177"/>
                        </a:lnTo>
                        <a:lnTo>
                          <a:pt x="1560" y="1175"/>
                        </a:lnTo>
                        <a:lnTo>
                          <a:pt x="1559" y="1175"/>
                        </a:lnTo>
                        <a:lnTo>
                          <a:pt x="1543" y="1169"/>
                        </a:lnTo>
                        <a:lnTo>
                          <a:pt x="1516" y="1159"/>
                        </a:lnTo>
                        <a:lnTo>
                          <a:pt x="1503" y="1154"/>
                        </a:lnTo>
                        <a:lnTo>
                          <a:pt x="1475" y="1143"/>
                        </a:lnTo>
                        <a:lnTo>
                          <a:pt x="1460" y="1143"/>
                        </a:lnTo>
                        <a:lnTo>
                          <a:pt x="1449" y="1123"/>
                        </a:lnTo>
                        <a:lnTo>
                          <a:pt x="1448" y="1121"/>
                        </a:lnTo>
                        <a:lnTo>
                          <a:pt x="1449" y="1120"/>
                        </a:lnTo>
                        <a:lnTo>
                          <a:pt x="1451" y="1118"/>
                        </a:lnTo>
                        <a:lnTo>
                          <a:pt x="1451" y="1116"/>
                        </a:lnTo>
                        <a:lnTo>
                          <a:pt x="1449" y="1115"/>
                        </a:lnTo>
                        <a:lnTo>
                          <a:pt x="1449" y="1113"/>
                        </a:lnTo>
                        <a:lnTo>
                          <a:pt x="1448" y="1110"/>
                        </a:lnTo>
                        <a:lnTo>
                          <a:pt x="1446" y="1108"/>
                        </a:lnTo>
                        <a:lnTo>
                          <a:pt x="1444" y="1108"/>
                        </a:lnTo>
                        <a:lnTo>
                          <a:pt x="1443" y="1107"/>
                        </a:lnTo>
                        <a:lnTo>
                          <a:pt x="1441" y="1107"/>
                        </a:lnTo>
                        <a:lnTo>
                          <a:pt x="1440" y="1107"/>
                        </a:lnTo>
                        <a:lnTo>
                          <a:pt x="1440" y="1105"/>
                        </a:lnTo>
                        <a:lnTo>
                          <a:pt x="1440" y="1104"/>
                        </a:lnTo>
                        <a:lnTo>
                          <a:pt x="1440" y="1101"/>
                        </a:lnTo>
                        <a:lnTo>
                          <a:pt x="1440" y="1099"/>
                        </a:lnTo>
                        <a:lnTo>
                          <a:pt x="1440" y="1097"/>
                        </a:lnTo>
                        <a:lnTo>
                          <a:pt x="1438" y="1097"/>
                        </a:lnTo>
                        <a:lnTo>
                          <a:pt x="1437" y="1096"/>
                        </a:lnTo>
                        <a:lnTo>
                          <a:pt x="1429" y="1091"/>
                        </a:lnTo>
                        <a:lnTo>
                          <a:pt x="1414" y="1082"/>
                        </a:lnTo>
                        <a:lnTo>
                          <a:pt x="1408" y="1077"/>
                        </a:lnTo>
                        <a:lnTo>
                          <a:pt x="1406" y="1075"/>
                        </a:lnTo>
                        <a:lnTo>
                          <a:pt x="1405" y="1072"/>
                        </a:lnTo>
                        <a:lnTo>
                          <a:pt x="1395" y="1058"/>
                        </a:lnTo>
                        <a:lnTo>
                          <a:pt x="1389" y="1050"/>
                        </a:lnTo>
                        <a:lnTo>
                          <a:pt x="1384" y="1040"/>
                        </a:lnTo>
                        <a:lnTo>
                          <a:pt x="1381" y="1034"/>
                        </a:lnTo>
                        <a:lnTo>
                          <a:pt x="1378" y="1026"/>
                        </a:lnTo>
                        <a:lnTo>
                          <a:pt x="1373" y="1015"/>
                        </a:lnTo>
                        <a:lnTo>
                          <a:pt x="1370" y="1005"/>
                        </a:lnTo>
                        <a:lnTo>
                          <a:pt x="1367" y="998"/>
                        </a:lnTo>
                        <a:lnTo>
                          <a:pt x="1364" y="986"/>
                        </a:lnTo>
                        <a:lnTo>
                          <a:pt x="1362" y="980"/>
                        </a:lnTo>
                        <a:lnTo>
                          <a:pt x="1357" y="982"/>
                        </a:lnTo>
                        <a:lnTo>
                          <a:pt x="1353" y="983"/>
                        </a:lnTo>
                        <a:lnTo>
                          <a:pt x="1348" y="985"/>
                        </a:lnTo>
                        <a:lnTo>
                          <a:pt x="1345" y="985"/>
                        </a:lnTo>
                        <a:lnTo>
                          <a:pt x="1340" y="985"/>
                        </a:lnTo>
                        <a:lnTo>
                          <a:pt x="1338" y="985"/>
                        </a:lnTo>
                        <a:lnTo>
                          <a:pt x="1338" y="983"/>
                        </a:lnTo>
                        <a:lnTo>
                          <a:pt x="1337" y="982"/>
                        </a:lnTo>
                        <a:lnTo>
                          <a:pt x="1337" y="980"/>
                        </a:lnTo>
                        <a:lnTo>
                          <a:pt x="1335" y="977"/>
                        </a:lnTo>
                        <a:lnTo>
                          <a:pt x="1335" y="975"/>
                        </a:lnTo>
                        <a:lnTo>
                          <a:pt x="1335" y="974"/>
                        </a:lnTo>
                        <a:lnTo>
                          <a:pt x="1334" y="972"/>
                        </a:lnTo>
                        <a:lnTo>
                          <a:pt x="1334" y="971"/>
                        </a:lnTo>
                        <a:lnTo>
                          <a:pt x="1334" y="969"/>
                        </a:lnTo>
                        <a:lnTo>
                          <a:pt x="1334" y="967"/>
                        </a:lnTo>
                        <a:lnTo>
                          <a:pt x="1334" y="966"/>
                        </a:lnTo>
                        <a:lnTo>
                          <a:pt x="1334" y="964"/>
                        </a:lnTo>
                        <a:lnTo>
                          <a:pt x="1335" y="963"/>
                        </a:lnTo>
                        <a:lnTo>
                          <a:pt x="1337" y="961"/>
                        </a:lnTo>
                        <a:lnTo>
                          <a:pt x="1338" y="956"/>
                        </a:lnTo>
                        <a:lnTo>
                          <a:pt x="1338" y="953"/>
                        </a:lnTo>
                        <a:lnTo>
                          <a:pt x="1340" y="948"/>
                        </a:lnTo>
                        <a:lnTo>
                          <a:pt x="1340" y="947"/>
                        </a:lnTo>
                        <a:lnTo>
                          <a:pt x="1340" y="942"/>
                        </a:lnTo>
                        <a:lnTo>
                          <a:pt x="1338" y="937"/>
                        </a:lnTo>
                        <a:lnTo>
                          <a:pt x="1338" y="934"/>
                        </a:lnTo>
                        <a:lnTo>
                          <a:pt x="1338" y="933"/>
                        </a:lnTo>
                        <a:lnTo>
                          <a:pt x="1338" y="931"/>
                        </a:lnTo>
                        <a:lnTo>
                          <a:pt x="1337" y="929"/>
                        </a:lnTo>
                        <a:lnTo>
                          <a:pt x="1335" y="928"/>
                        </a:lnTo>
                        <a:lnTo>
                          <a:pt x="1334" y="928"/>
                        </a:lnTo>
                        <a:lnTo>
                          <a:pt x="1332" y="928"/>
                        </a:lnTo>
                        <a:lnTo>
                          <a:pt x="1327" y="928"/>
                        </a:lnTo>
                        <a:lnTo>
                          <a:pt x="1319" y="928"/>
                        </a:lnTo>
                        <a:lnTo>
                          <a:pt x="1308" y="929"/>
                        </a:lnTo>
                        <a:lnTo>
                          <a:pt x="1299" y="931"/>
                        </a:lnTo>
                        <a:lnTo>
                          <a:pt x="1297" y="931"/>
                        </a:lnTo>
                        <a:lnTo>
                          <a:pt x="1296" y="933"/>
                        </a:lnTo>
                        <a:lnTo>
                          <a:pt x="1296" y="934"/>
                        </a:lnTo>
                        <a:lnTo>
                          <a:pt x="1294" y="934"/>
                        </a:lnTo>
                        <a:lnTo>
                          <a:pt x="1292" y="936"/>
                        </a:lnTo>
                        <a:lnTo>
                          <a:pt x="1292" y="939"/>
                        </a:lnTo>
                        <a:lnTo>
                          <a:pt x="1291" y="941"/>
                        </a:lnTo>
                        <a:lnTo>
                          <a:pt x="1289" y="942"/>
                        </a:lnTo>
                        <a:lnTo>
                          <a:pt x="1286" y="945"/>
                        </a:lnTo>
                        <a:lnTo>
                          <a:pt x="1281" y="950"/>
                        </a:lnTo>
                        <a:lnTo>
                          <a:pt x="1281" y="952"/>
                        </a:lnTo>
                        <a:lnTo>
                          <a:pt x="1278" y="952"/>
                        </a:lnTo>
                        <a:lnTo>
                          <a:pt x="1277" y="950"/>
                        </a:lnTo>
                        <a:lnTo>
                          <a:pt x="1275" y="950"/>
                        </a:lnTo>
                        <a:lnTo>
                          <a:pt x="1272" y="948"/>
                        </a:lnTo>
                        <a:lnTo>
                          <a:pt x="1267" y="948"/>
                        </a:lnTo>
                        <a:lnTo>
                          <a:pt x="1261" y="948"/>
                        </a:lnTo>
                        <a:lnTo>
                          <a:pt x="1256" y="950"/>
                        </a:lnTo>
                        <a:lnTo>
                          <a:pt x="1253" y="950"/>
                        </a:lnTo>
                        <a:lnTo>
                          <a:pt x="1251" y="950"/>
                        </a:lnTo>
                        <a:lnTo>
                          <a:pt x="1246" y="948"/>
                        </a:lnTo>
                        <a:lnTo>
                          <a:pt x="1243" y="947"/>
                        </a:lnTo>
                        <a:lnTo>
                          <a:pt x="1240" y="945"/>
                        </a:lnTo>
                        <a:lnTo>
                          <a:pt x="1237" y="941"/>
                        </a:lnTo>
                        <a:lnTo>
                          <a:pt x="1234" y="937"/>
                        </a:lnTo>
                        <a:lnTo>
                          <a:pt x="1232" y="937"/>
                        </a:lnTo>
                        <a:lnTo>
                          <a:pt x="1229" y="937"/>
                        </a:lnTo>
                        <a:lnTo>
                          <a:pt x="1227" y="937"/>
                        </a:lnTo>
                        <a:lnTo>
                          <a:pt x="1226" y="937"/>
                        </a:lnTo>
                        <a:lnTo>
                          <a:pt x="1224" y="936"/>
                        </a:lnTo>
                        <a:lnTo>
                          <a:pt x="1223" y="936"/>
                        </a:lnTo>
                        <a:lnTo>
                          <a:pt x="1220" y="934"/>
                        </a:lnTo>
                        <a:lnTo>
                          <a:pt x="1218" y="934"/>
                        </a:lnTo>
                        <a:lnTo>
                          <a:pt x="1216" y="933"/>
                        </a:lnTo>
                        <a:lnTo>
                          <a:pt x="1215" y="931"/>
                        </a:lnTo>
                        <a:lnTo>
                          <a:pt x="1213" y="931"/>
                        </a:lnTo>
                        <a:lnTo>
                          <a:pt x="1212" y="931"/>
                        </a:lnTo>
                        <a:lnTo>
                          <a:pt x="1207" y="931"/>
                        </a:lnTo>
                        <a:lnTo>
                          <a:pt x="1201" y="931"/>
                        </a:lnTo>
                        <a:lnTo>
                          <a:pt x="1194" y="931"/>
                        </a:lnTo>
                        <a:lnTo>
                          <a:pt x="1189" y="929"/>
                        </a:lnTo>
                        <a:lnTo>
                          <a:pt x="1186" y="929"/>
                        </a:lnTo>
                        <a:lnTo>
                          <a:pt x="1185" y="929"/>
                        </a:lnTo>
                        <a:lnTo>
                          <a:pt x="1183" y="931"/>
                        </a:lnTo>
                        <a:lnTo>
                          <a:pt x="1180" y="934"/>
                        </a:lnTo>
                        <a:lnTo>
                          <a:pt x="1180" y="936"/>
                        </a:lnTo>
                        <a:lnTo>
                          <a:pt x="1178" y="939"/>
                        </a:lnTo>
                        <a:lnTo>
                          <a:pt x="1178" y="944"/>
                        </a:lnTo>
                        <a:lnTo>
                          <a:pt x="1177" y="947"/>
                        </a:lnTo>
                        <a:lnTo>
                          <a:pt x="1175" y="950"/>
                        </a:lnTo>
                        <a:lnTo>
                          <a:pt x="1174" y="953"/>
                        </a:lnTo>
                        <a:lnTo>
                          <a:pt x="1172" y="955"/>
                        </a:lnTo>
                        <a:lnTo>
                          <a:pt x="1172" y="956"/>
                        </a:lnTo>
                        <a:lnTo>
                          <a:pt x="1172" y="960"/>
                        </a:lnTo>
                        <a:lnTo>
                          <a:pt x="1170" y="961"/>
                        </a:lnTo>
                        <a:lnTo>
                          <a:pt x="1169" y="963"/>
                        </a:lnTo>
                        <a:lnTo>
                          <a:pt x="1166" y="964"/>
                        </a:lnTo>
                        <a:lnTo>
                          <a:pt x="1164" y="966"/>
                        </a:lnTo>
                        <a:lnTo>
                          <a:pt x="1163" y="967"/>
                        </a:lnTo>
                        <a:lnTo>
                          <a:pt x="1161" y="969"/>
                        </a:lnTo>
                        <a:lnTo>
                          <a:pt x="1156" y="971"/>
                        </a:lnTo>
                        <a:lnTo>
                          <a:pt x="1153" y="971"/>
                        </a:lnTo>
                        <a:lnTo>
                          <a:pt x="1151" y="969"/>
                        </a:lnTo>
                        <a:lnTo>
                          <a:pt x="1148" y="966"/>
                        </a:lnTo>
                        <a:lnTo>
                          <a:pt x="1147" y="966"/>
                        </a:lnTo>
                        <a:lnTo>
                          <a:pt x="1147" y="964"/>
                        </a:lnTo>
                        <a:lnTo>
                          <a:pt x="1145" y="963"/>
                        </a:lnTo>
                        <a:lnTo>
                          <a:pt x="1145" y="961"/>
                        </a:lnTo>
                        <a:lnTo>
                          <a:pt x="1145" y="960"/>
                        </a:lnTo>
                        <a:lnTo>
                          <a:pt x="1144" y="960"/>
                        </a:lnTo>
                        <a:lnTo>
                          <a:pt x="1144" y="958"/>
                        </a:lnTo>
                        <a:lnTo>
                          <a:pt x="1142" y="956"/>
                        </a:lnTo>
                        <a:lnTo>
                          <a:pt x="1142" y="955"/>
                        </a:lnTo>
                        <a:lnTo>
                          <a:pt x="1139" y="952"/>
                        </a:lnTo>
                        <a:lnTo>
                          <a:pt x="1139" y="950"/>
                        </a:lnTo>
                        <a:lnTo>
                          <a:pt x="1139" y="948"/>
                        </a:lnTo>
                        <a:lnTo>
                          <a:pt x="1139" y="947"/>
                        </a:lnTo>
                        <a:lnTo>
                          <a:pt x="1139" y="945"/>
                        </a:lnTo>
                        <a:lnTo>
                          <a:pt x="1139" y="944"/>
                        </a:lnTo>
                        <a:lnTo>
                          <a:pt x="1139" y="942"/>
                        </a:lnTo>
                        <a:lnTo>
                          <a:pt x="1139" y="941"/>
                        </a:lnTo>
                        <a:lnTo>
                          <a:pt x="1139" y="939"/>
                        </a:lnTo>
                        <a:lnTo>
                          <a:pt x="1140" y="937"/>
                        </a:lnTo>
                        <a:lnTo>
                          <a:pt x="1144" y="937"/>
                        </a:lnTo>
                        <a:lnTo>
                          <a:pt x="1145" y="936"/>
                        </a:lnTo>
                        <a:lnTo>
                          <a:pt x="1148" y="933"/>
                        </a:lnTo>
                        <a:lnTo>
                          <a:pt x="1150" y="928"/>
                        </a:lnTo>
                        <a:lnTo>
                          <a:pt x="1151" y="925"/>
                        </a:lnTo>
                        <a:lnTo>
                          <a:pt x="1153" y="922"/>
                        </a:lnTo>
                        <a:lnTo>
                          <a:pt x="1155" y="917"/>
                        </a:lnTo>
                        <a:lnTo>
                          <a:pt x="1156" y="915"/>
                        </a:lnTo>
                        <a:lnTo>
                          <a:pt x="1158" y="914"/>
                        </a:lnTo>
                        <a:lnTo>
                          <a:pt x="1158" y="912"/>
                        </a:lnTo>
                        <a:lnTo>
                          <a:pt x="1158" y="910"/>
                        </a:lnTo>
                        <a:lnTo>
                          <a:pt x="1158" y="909"/>
                        </a:lnTo>
                        <a:lnTo>
                          <a:pt x="1158" y="907"/>
                        </a:lnTo>
                        <a:lnTo>
                          <a:pt x="1158" y="906"/>
                        </a:lnTo>
                        <a:lnTo>
                          <a:pt x="1158" y="904"/>
                        </a:lnTo>
                        <a:lnTo>
                          <a:pt x="1156" y="904"/>
                        </a:lnTo>
                        <a:lnTo>
                          <a:pt x="1156" y="903"/>
                        </a:lnTo>
                        <a:lnTo>
                          <a:pt x="1155" y="901"/>
                        </a:lnTo>
                        <a:lnTo>
                          <a:pt x="1155" y="899"/>
                        </a:lnTo>
                        <a:lnTo>
                          <a:pt x="1156" y="898"/>
                        </a:lnTo>
                        <a:lnTo>
                          <a:pt x="1156" y="896"/>
                        </a:lnTo>
                        <a:lnTo>
                          <a:pt x="1158" y="896"/>
                        </a:lnTo>
                        <a:lnTo>
                          <a:pt x="1158" y="895"/>
                        </a:lnTo>
                        <a:lnTo>
                          <a:pt x="1158" y="893"/>
                        </a:lnTo>
                        <a:lnTo>
                          <a:pt x="1159" y="891"/>
                        </a:lnTo>
                        <a:lnTo>
                          <a:pt x="1159" y="890"/>
                        </a:lnTo>
                        <a:lnTo>
                          <a:pt x="1161" y="890"/>
                        </a:lnTo>
                        <a:lnTo>
                          <a:pt x="1161" y="888"/>
                        </a:lnTo>
                        <a:lnTo>
                          <a:pt x="1163" y="888"/>
                        </a:lnTo>
                        <a:lnTo>
                          <a:pt x="1163" y="887"/>
                        </a:lnTo>
                        <a:lnTo>
                          <a:pt x="1163" y="885"/>
                        </a:lnTo>
                        <a:lnTo>
                          <a:pt x="1161" y="884"/>
                        </a:lnTo>
                        <a:lnTo>
                          <a:pt x="1159" y="882"/>
                        </a:lnTo>
                        <a:lnTo>
                          <a:pt x="1158" y="884"/>
                        </a:lnTo>
                        <a:lnTo>
                          <a:pt x="1155" y="885"/>
                        </a:lnTo>
                        <a:lnTo>
                          <a:pt x="1150" y="885"/>
                        </a:lnTo>
                        <a:lnTo>
                          <a:pt x="1147" y="887"/>
                        </a:lnTo>
                        <a:lnTo>
                          <a:pt x="1140" y="888"/>
                        </a:lnTo>
                        <a:lnTo>
                          <a:pt x="1136" y="890"/>
                        </a:lnTo>
                        <a:lnTo>
                          <a:pt x="1134" y="890"/>
                        </a:lnTo>
                        <a:lnTo>
                          <a:pt x="1132" y="891"/>
                        </a:lnTo>
                        <a:lnTo>
                          <a:pt x="1131" y="893"/>
                        </a:lnTo>
                        <a:lnTo>
                          <a:pt x="1131" y="895"/>
                        </a:lnTo>
                        <a:lnTo>
                          <a:pt x="1128" y="898"/>
                        </a:lnTo>
                        <a:lnTo>
                          <a:pt x="1126" y="899"/>
                        </a:lnTo>
                        <a:lnTo>
                          <a:pt x="1125" y="899"/>
                        </a:lnTo>
                        <a:lnTo>
                          <a:pt x="1123" y="898"/>
                        </a:lnTo>
                        <a:lnTo>
                          <a:pt x="1121" y="898"/>
                        </a:lnTo>
                        <a:lnTo>
                          <a:pt x="1120" y="895"/>
                        </a:lnTo>
                        <a:lnTo>
                          <a:pt x="1120" y="893"/>
                        </a:lnTo>
                        <a:lnTo>
                          <a:pt x="1118" y="893"/>
                        </a:lnTo>
                        <a:lnTo>
                          <a:pt x="1115" y="893"/>
                        </a:lnTo>
                        <a:lnTo>
                          <a:pt x="1113" y="891"/>
                        </a:lnTo>
                        <a:lnTo>
                          <a:pt x="1110" y="890"/>
                        </a:lnTo>
                        <a:lnTo>
                          <a:pt x="1110" y="888"/>
                        </a:lnTo>
                        <a:lnTo>
                          <a:pt x="1102" y="890"/>
                        </a:lnTo>
                        <a:lnTo>
                          <a:pt x="1101" y="888"/>
                        </a:lnTo>
                        <a:lnTo>
                          <a:pt x="1099" y="888"/>
                        </a:lnTo>
                        <a:lnTo>
                          <a:pt x="1099" y="887"/>
                        </a:lnTo>
                        <a:lnTo>
                          <a:pt x="1098" y="885"/>
                        </a:lnTo>
                        <a:lnTo>
                          <a:pt x="1096" y="885"/>
                        </a:lnTo>
                        <a:lnTo>
                          <a:pt x="1093" y="884"/>
                        </a:lnTo>
                        <a:lnTo>
                          <a:pt x="1091" y="885"/>
                        </a:lnTo>
                        <a:lnTo>
                          <a:pt x="1090" y="885"/>
                        </a:lnTo>
                        <a:lnTo>
                          <a:pt x="1088" y="885"/>
                        </a:lnTo>
                        <a:lnTo>
                          <a:pt x="1086" y="887"/>
                        </a:lnTo>
                        <a:lnTo>
                          <a:pt x="1085" y="887"/>
                        </a:lnTo>
                        <a:lnTo>
                          <a:pt x="1083" y="890"/>
                        </a:lnTo>
                        <a:lnTo>
                          <a:pt x="1082" y="890"/>
                        </a:lnTo>
                        <a:lnTo>
                          <a:pt x="1080" y="890"/>
                        </a:lnTo>
                        <a:lnTo>
                          <a:pt x="1079" y="890"/>
                        </a:lnTo>
                        <a:lnTo>
                          <a:pt x="1075" y="888"/>
                        </a:lnTo>
                        <a:lnTo>
                          <a:pt x="1074" y="888"/>
                        </a:lnTo>
                        <a:lnTo>
                          <a:pt x="1072" y="888"/>
                        </a:lnTo>
                        <a:lnTo>
                          <a:pt x="1072" y="890"/>
                        </a:lnTo>
                        <a:lnTo>
                          <a:pt x="1072" y="891"/>
                        </a:lnTo>
                        <a:lnTo>
                          <a:pt x="1072" y="893"/>
                        </a:lnTo>
                        <a:lnTo>
                          <a:pt x="1066" y="890"/>
                        </a:lnTo>
                        <a:lnTo>
                          <a:pt x="1064" y="890"/>
                        </a:lnTo>
                        <a:lnTo>
                          <a:pt x="1063" y="890"/>
                        </a:lnTo>
                        <a:lnTo>
                          <a:pt x="1061" y="888"/>
                        </a:lnTo>
                        <a:lnTo>
                          <a:pt x="1060" y="887"/>
                        </a:lnTo>
                        <a:lnTo>
                          <a:pt x="1058" y="882"/>
                        </a:lnTo>
                        <a:lnTo>
                          <a:pt x="1056" y="882"/>
                        </a:lnTo>
                        <a:lnTo>
                          <a:pt x="1055" y="879"/>
                        </a:lnTo>
                        <a:lnTo>
                          <a:pt x="1053" y="876"/>
                        </a:lnTo>
                        <a:lnTo>
                          <a:pt x="1050" y="866"/>
                        </a:lnTo>
                        <a:lnTo>
                          <a:pt x="1048" y="860"/>
                        </a:lnTo>
                        <a:lnTo>
                          <a:pt x="1044" y="853"/>
                        </a:lnTo>
                        <a:lnTo>
                          <a:pt x="1042" y="849"/>
                        </a:lnTo>
                        <a:lnTo>
                          <a:pt x="1037" y="847"/>
                        </a:lnTo>
                        <a:lnTo>
                          <a:pt x="1034" y="845"/>
                        </a:lnTo>
                        <a:lnTo>
                          <a:pt x="1033" y="844"/>
                        </a:lnTo>
                        <a:lnTo>
                          <a:pt x="1031" y="841"/>
                        </a:lnTo>
                        <a:lnTo>
                          <a:pt x="1028" y="838"/>
                        </a:lnTo>
                        <a:lnTo>
                          <a:pt x="1023" y="834"/>
                        </a:lnTo>
                        <a:lnTo>
                          <a:pt x="1023" y="833"/>
                        </a:lnTo>
                        <a:lnTo>
                          <a:pt x="1018" y="830"/>
                        </a:lnTo>
                        <a:lnTo>
                          <a:pt x="1010" y="825"/>
                        </a:lnTo>
                        <a:lnTo>
                          <a:pt x="1009" y="823"/>
                        </a:lnTo>
                        <a:lnTo>
                          <a:pt x="1007" y="822"/>
                        </a:lnTo>
                        <a:lnTo>
                          <a:pt x="1009" y="820"/>
                        </a:lnTo>
                        <a:lnTo>
                          <a:pt x="1009" y="819"/>
                        </a:lnTo>
                        <a:lnTo>
                          <a:pt x="1009" y="815"/>
                        </a:lnTo>
                        <a:lnTo>
                          <a:pt x="1009" y="814"/>
                        </a:lnTo>
                        <a:lnTo>
                          <a:pt x="1006" y="811"/>
                        </a:lnTo>
                        <a:lnTo>
                          <a:pt x="1004" y="806"/>
                        </a:lnTo>
                        <a:lnTo>
                          <a:pt x="1004" y="801"/>
                        </a:lnTo>
                        <a:lnTo>
                          <a:pt x="1004" y="800"/>
                        </a:lnTo>
                        <a:lnTo>
                          <a:pt x="1004" y="798"/>
                        </a:lnTo>
                        <a:lnTo>
                          <a:pt x="1006" y="798"/>
                        </a:lnTo>
                        <a:lnTo>
                          <a:pt x="1006" y="795"/>
                        </a:lnTo>
                        <a:lnTo>
                          <a:pt x="1009" y="792"/>
                        </a:lnTo>
                        <a:lnTo>
                          <a:pt x="1009" y="790"/>
                        </a:lnTo>
                        <a:lnTo>
                          <a:pt x="1010" y="787"/>
                        </a:lnTo>
                        <a:lnTo>
                          <a:pt x="1012" y="785"/>
                        </a:lnTo>
                        <a:lnTo>
                          <a:pt x="1014" y="784"/>
                        </a:lnTo>
                        <a:lnTo>
                          <a:pt x="1012" y="784"/>
                        </a:lnTo>
                        <a:lnTo>
                          <a:pt x="1009" y="782"/>
                        </a:lnTo>
                        <a:lnTo>
                          <a:pt x="1006" y="782"/>
                        </a:lnTo>
                        <a:lnTo>
                          <a:pt x="1004" y="782"/>
                        </a:lnTo>
                        <a:lnTo>
                          <a:pt x="1003" y="781"/>
                        </a:lnTo>
                        <a:lnTo>
                          <a:pt x="1001" y="777"/>
                        </a:lnTo>
                        <a:lnTo>
                          <a:pt x="999" y="774"/>
                        </a:lnTo>
                        <a:lnTo>
                          <a:pt x="999" y="769"/>
                        </a:lnTo>
                        <a:lnTo>
                          <a:pt x="999" y="763"/>
                        </a:lnTo>
                        <a:lnTo>
                          <a:pt x="998" y="760"/>
                        </a:lnTo>
                        <a:lnTo>
                          <a:pt x="996" y="755"/>
                        </a:lnTo>
                        <a:lnTo>
                          <a:pt x="995" y="752"/>
                        </a:lnTo>
                        <a:lnTo>
                          <a:pt x="991" y="747"/>
                        </a:lnTo>
                        <a:lnTo>
                          <a:pt x="988" y="744"/>
                        </a:lnTo>
                        <a:lnTo>
                          <a:pt x="985" y="743"/>
                        </a:lnTo>
                        <a:lnTo>
                          <a:pt x="979" y="741"/>
                        </a:lnTo>
                        <a:lnTo>
                          <a:pt x="974" y="738"/>
                        </a:lnTo>
                        <a:lnTo>
                          <a:pt x="966" y="735"/>
                        </a:lnTo>
                        <a:lnTo>
                          <a:pt x="960" y="733"/>
                        </a:lnTo>
                        <a:lnTo>
                          <a:pt x="958" y="731"/>
                        </a:lnTo>
                        <a:lnTo>
                          <a:pt x="958" y="730"/>
                        </a:lnTo>
                        <a:lnTo>
                          <a:pt x="958" y="728"/>
                        </a:lnTo>
                        <a:lnTo>
                          <a:pt x="958" y="725"/>
                        </a:lnTo>
                        <a:lnTo>
                          <a:pt x="957" y="724"/>
                        </a:lnTo>
                        <a:lnTo>
                          <a:pt x="955" y="720"/>
                        </a:lnTo>
                        <a:lnTo>
                          <a:pt x="953" y="719"/>
                        </a:lnTo>
                        <a:lnTo>
                          <a:pt x="952" y="717"/>
                        </a:lnTo>
                        <a:lnTo>
                          <a:pt x="949" y="714"/>
                        </a:lnTo>
                        <a:lnTo>
                          <a:pt x="946" y="712"/>
                        </a:lnTo>
                        <a:lnTo>
                          <a:pt x="942" y="711"/>
                        </a:lnTo>
                        <a:lnTo>
                          <a:pt x="941" y="711"/>
                        </a:lnTo>
                        <a:lnTo>
                          <a:pt x="938" y="712"/>
                        </a:lnTo>
                        <a:lnTo>
                          <a:pt x="936" y="712"/>
                        </a:lnTo>
                        <a:lnTo>
                          <a:pt x="936" y="714"/>
                        </a:lnTo>
                        <a:lnTo>
                          <a:pt x="934" y="714"/>
                        </a:lnTo>
                        <a:lnTo>
                          <a:pt x="933" y="714"/>
                        </a:lnTo>
                        <a:lnTo>
                          <a:pt x="930" y="714"/>
                        </a:lnTo>
                        <a:lnTo>
                          <a:pt x="928" y="714"/>
                        </a:lnTo>
                        <a:lnTo>
                          <a:pt x="925" y="712"/>
                        </a:lnTo>
                        <a:lnTo>
                          <a:pt x="923" y="712"/>
                        </a:lnTo>
                        <a:lnTo>
                          <a:pt x="922" y="712"/>
                        </a:lnTo>
                        <a:lnTo>
                          <a:pt x="922" y="711"/>
                        </a:lnTo>
                        <a:lnTo>
                          <a:pt x="920" y="709"/>
                        </a:lnTo>
                        <a:lnTo>
                          <a:pt x="920" y="708"/>
                        </a:lnTo>
                        <a:lnTo>
                          <a:pt x="919" y="708"/>
                        </a:lnTo>
                        <a:lnTo>
                          <a:pt x="917" y="706"/>
                        </a:lnTo>
                        <a:lnTo>
                          <a:pt x="912" y="705"/>
                        </a:lnTo>
                        <a:lnTo>
                          <a:pt x="912" y="701"/>
                        </a:lnTo>
                        <a:lnTo>
                          <a:pt x="912" y="700"/>
                        </a:lnTo>
                        <a:lnTo>
                          <a:pt x="912" y="698"/>
                        </a:lnTo>
                        <a:lnTo>
                          <a:pt x="915" y="697"/>
                        </a:lnTo>
                        <a:lnTo>
                          <a:pt x="915" y="695"/>
                        </a:lnTo>
                        <a:lnTo>
                          <a:pt x="915" y="693"/>
                        </a:lnTo>
                        <a:lnTo>
                          <a:pt x="915" y="689"/>
                        </a:lnTo>
                        <a:lnTo>
                          <a:pt x="914" y="689"/>
                        </a:lnTo>
                        <a:lnTo>
                          <a:pt x="912" y="687"/>
                        </a:lnTo>
                        <a:lnTo>
                          <a:pt x="909" y="685"/>
                        </a:lnTo>
                        <a:lnTo>
                          <a:pt x="906" y="684"/>
                        </a:lnTo>
                        <a:lnTo>
                          <a:pt x="907" y="684"/>
                        </a:lnTo>
                        <a:lnTo>
                          <a:pt x="911" y="682"/>
                        </a:lnTo>
                        <a:lnTo>
                          <a:pt x="912" y="682"/>
                        </a:lnTo>
                        <a:lnTo>
                          <a:pt x="915" y="681"/>
                        </a:lnTo>
                        <a:lnTo>
                          <a:pt x="915" y="679"/>
                        </a:lnTo>
                        <a:lnTo>
                          <a:pt x="917" y="678"/>
                        </a:lnTo>
                        <a:lnTo>
                          <a:pt x="917" y="676"/>
                        </a:lnTo>
                        <a:lnTo>
                          <a:pt x="917" y="674"/>
                        </a:lnTo>
                        <a:lnTo>
                          <a:pt x="915" y="673"/>
                        </a:lnTo>
                        <a:lnTo>
                          <a:pt x="917" y="668"/>
                        </a:lnTo>
                        <a:lnTo>
                          <a:pt x="912" y="668"/>
                        </a:lnTo>
                        <a:lnTo>
                          <a:pt x="903" y="668"/>
                        </a:lnTo>
                        <a:lnTo>
                          <a:pt x="895" y="668"/>
                        </a:lnTo>
                        <a:lnTo>
                          <a:pt x="888" y="668"/>
                        </a:lnTo>
                        <a:lnTo>
                          <a:pt x="884" y="668"/>
                        </a:lnTo>
                        <a:lnTo>
                          <a:pt x="879" y="668"/>
                        </a:lnTo>
                        <a:lnTo>
                          <a:pt x="877" y="670"/>
                        </a:lnTo>
                        <a:lnTo>
                          <a:pt x="876" y="670"/>
                        </a:lnTo>
                        <a:lnTo>
                          <a:pt x="874" y="671"/>
                        </a:lnTo>
                        <a:lnTo>
                          <a:pt x="873" y="674"/>
                        </a:lnTo>
                        <a:lnTo>
                          <a:pt x="871" y="676"/>
                        </a:lnTo>
                        <a:lnTo>
                          <a:pt x="869" y="678"/>
                        </a:lnTo>
                        <a:lnTo>
                          <a:pt x="868" y="678"/>
                        </a:lnTo>
                        <a:lnTo>
                          <a:pt x="868" y="679"/>
                        </a:lnTo>
                        <a:lnTo>
                          <a:pt x="866" y="679"/>
                        </a:lnTo>
                        <a:lnTo>
                          <a:pt x="866" y="682"/>
                        </a:lnTo>
                        <a:lnTo>
                          <a:pt x="866" y="684"/>
                        </a:lnTo>
                        <a:lnTo>
                          <a:pt x="866" y="687"/>
                        </a:lnTo>
                        <a:lnTo>
                          <a:pt x="866" y="690"/>
                        </a:lnTo>
                        <a:lnTo>
                          <a:pt x="868" y="697"/>
                        </a:lnTo>
                        <a:lnTo>
                          <a:pt x="868" y="698"/>
                        </a:lnTo>
                        <a:lnTo>
                          <a:pt x="865" y="701"/>
                        </a:lnTo>
                        <a:lnTo>
                          <a:pt x="862" y="703"/>
                        </a:lnTo>
                        <a:lnTo>
                          <a:pt x="860" y="705"/>
                        </a:lnTo>
                        <a:lnTo>
                          <a:pt x="857" y="705"/>
                        </a:lnTo>
                        <a:lnTo>
                          <a:pt x="854" y="705"/>
                        </a:lnTo>
                        <a:lnTo>
                          <a:pt x="852" y="703"/>
                        </a:lnTo>
                        <a:lnTo>
                          <a:pt x="850" y="703"/>
                        </a:lnTo>
                        <a:lnTo>
                          <a:pt x="846" y="703"/>
                        </a:lnTo>
                        <a:lnTo>
                          <a:pt x="843" y="703"/>
                        </a:lnTo>
                        <a:lnTo>
                          <a:pt x="839" y="703"/>
                        </a:lnTo>
                        <a:lnTo>
                          <a:pt x="838" y="703"/>
                        </a:lnTo>
                        <a:lnTo>
                          <a:pt x="835" y="705"/>
                        </a:lnTo>
                        <a:lnTo>
                          <a:pt x="833" y="708"/>
                        </a:lnTo>
                        <a:lnTo>
                          <a:pt x="831" y="711"/>
                        </a:lnTo>
                        <a:lnTo>
                          <a:pt x="830" y="716"/>
                        </a:lnTo>
                        <a:lnTo>
                          <a:pt x="830" y="719"/>
                        </a:lnTo>
                        <a:lnTo>
                          <a:pt x="828" y="719"/>
                        </a:lnTo>
                        <a:lnTo>
                          <a:pt x="827" y="719"/>
                        </a:lnTo>
                        <a:lnTo>
                          <a:pt x="825" y="719"/>
                        </a:lnTo>
                        <a:lnTo>
                          <a:pt x="825" y="717"/>
                        </a:lnTo>
                        <a:lnTo>
                          <a:pt x="824" y="716"/>
                        </a:lnTo>
                        <a:lnTo>
                          <a:pt x="822" y="714"/>
                        </a:lnTo>
                        <a:lnTo>
                          <a:pt x="820" y="714"/>
                        </a:lnTo>
                        <a:lnTo>
                          <a:pt x="819" y="712"/>
                        </a:lnTo>
                        <a:lnTo>
                          <a:pt x="817" y="714"/>
                        </a:lnTo>
                        <a:lnTo>
                          <a:pt x="812" y="714"/>
                        </a:lnTo>
                        <a:lnTo>
                          <a:pt x="811" y="714"/>
                        </a:lnTo>
                        <a:lnTo>
                          <a:pt x="811" y="716"/>
                        </a:lnTo>
                        <a:lnTo>
                          <a:pt x="808" y="717"/>
                        </a:lnTo>
                        <a:lnTo>
                          <a:pt x="808" y="719"/>
                        </a:lnTo>
                        <a:lnTo>
                          <a:pt x="805" y="724"/>
                        </a:lnTo>
                        <a:lnTo>
                          <a:pt x="801" y="725"/>
                        </a:lnTo>
                        <a:lnTo>
                          <a:pt x="798" y="725"/>
                        </a:lnTo>
                        <a:lnTo>
                          <a:pt x="795" y="725"/>
                        </a:lnTo>
                        <a:lnTo>
                          <a:pt x="793" y="725"/>
                        </a:lnTo>
                        <a:lnTo>
                          <a:pt x="792" y="725"/>
                        </a:lnTo>
                        <a:lnTo>
                          <a:pt x="790" y="725"/>
                        </a:lnTo>
                        <a:lnTo>
                          <a:pt x="789" y="727"/>
                        </a:lnTo>
                        <a:lnTo>
                          <a:pt x="787" y="727"/>
                        </a:lnTo>
                        <a:lnTo>
                          <a:pt x="786" y="728"/>
                        </a:lnTo>
                        <a:lnTo>
                          <a:pt x="784" y="731"/>
                        </a:lnTo>
                        <a:lnTo>
                          <a:pt x="782" y="733"/>
                        </a:lnTo>
                        <a:lnTo>
                          <a:pt x="781" y="735"/>
                        </a:lnTo>
                        <a:lnTo>
                          <a:pt x="779" y="735"/>
                        </a:lnTo>
                        <a:lnTo>
                          <a:pt x="778" y="736"/>
                        </a:lnTo>
                        <a:lnTo>
                          <a:pt x="776" y="736"/>
                        </a:lnTo>
                        <a:lnTo>
                          <a:pt x="776" y="738"/>
                        </a:lnTo>
                        <a:lnTo>
                          <a:pt x="778" y="739"/>
                        </a:lnTo>
                        <a:lnTo>
                          <a:pt x="776" y="743"/>
                        </a:lnTo>
                        <a:lnTo>
                          <a:pt x="774" y="744"/>
                        </a:lnTo>
                        <a:lnTo>
                          <a:pt x="771" y="744"/>
                        </a:lnTo>
                        <a:lnTo>
                          <a:pt x="770" y="746"/>
                        </a:lnTo>
                        <a:lnTo>
                          <a:pt x="771" y="747"/>
                        </a:lnTo>
                        <a:lnTo>
                          <a:pt x="771" y="749"/>
                        </a:lnTo>
                        <a:lnTo>
                          <a:pt x="768" y="749"/>
                        </a:lnTo>
                        <a:lnTo>
                          <a:pt x="767" y="749"/>
                        </a:lnTo>
                        <a:lnTo>
                          <a:pt x="765" y="750"/>
                        </a:lnTo>
                        <a:lnTo>
                          <a:pt x="763" y="749"/>
                        </a:lnTo>
                        <a:lnTo>
                          <a:pt x="762" y="749"/>
                        </a:lnTo>
                        <a:lnTo>
                          <a:pt x="760" y="747"/>
                        </a:lnTo>
                        <a:lnTo>
                          <a:pt x="759" y="747"/>
                        </a:lnTo>
                        <a:lnTo>
                          <a:pt x="757" y="747"/>
                        </a:lnTo>
                        <a:lnTo>
                          <a:pt x="757" y="749"/>
                        </a:lnTo>
                        <a:lnTo>
                          <a:pt x="755" y="749"/>
                        </a:lnTo>
                        <a:lnTo>
                          <a:pt x="754" y="750"/>
                        </a:lnTo>
                        <a:lnTo>
                          <a:pt x="752" y="752"/>
                        </a:lnTo>
                        <a:lnTo>
                          <a:pt x="751" y="752"/>
                        </a:lnTo>
                        <a:lnTo>
                          <a:pt x="749" y="752"/>
                        </a:lnTo>
                        <a:lnTo>
                          <a:pt x="748" y="754"/>
                        </a:lnTo>
                        <a:lnTo>
                          <a:pt x="746" y="754"/>
                        </a:lnTo>
                        <a:lnTo>
                          <a:pt x="741" y="755"/>
                        </a:lnTo>
                        <a:lnTo>
                          <a:pt x="738" y="757"/>
                        </a:lnTo>
                        <a:lnTo>
                          <a:pt x="736" y="757"/>
                        </a:lnTo>
                        <a:lnTo>
                          <a:pt x="733" y="757"/>
                        </a:lnTo>
                        <a:lnTo>
                          <a:pt x="732" y="755"/>
                        </a:lnTo>
                        <a:lnTo>
                          <a:pt x="725" y="754"/>
                        </a:lnTo>
                        <a:lnTo>
                          <a:pt x="721" y="752"/>
                        </a:lnTo>
                        <a:lnTo>
                          <a:pt x="716" y="750"/>
                        </a:lnTo>
                        <a:lnTo>
                          <a:pt x="713" y="749"/>
                        </a:lnTo>
                        <a:lnTo>
                          <a:pt x="708" y="747"/>
                        </a:lnTo>
                        <a:lnTo>
                          <a:pt x="705" y="749"/>
                        </a:lnTo>
                        <a:lnTo>
                          <a:pt x="700" y="749"/>
                        </a:lnTo>
                        <a:lnTo>
                          <a:pt x="698" y="749"/>
                        </a:lnTo>
                        <a:lnTo>
                          <a:pt x="695" y="749"/>
                        </a:lnTo>
                        <a:lnTo>
                          <a:pt x="694" y="750"/>
                        </a:lnTo>
                        <a:lnTo>
                          <a:pt x="692" y="752"/>
                        </a:lnTo>
                        <a:lnTo>
                          <a:pt x="692" y="754"/>
                        </a:lnTo>
                        <a:lnTo>
                          <a:pt x="692" y="755"/>
                        </a:lnTo>
                        <a:lnTo>
                          <a:pt x="690" y="757"/>
                        </a:lnTo>
                        <a:lnTo>
                          <a:pt x="690" y="758"/>
                        </a:lnTo>
                        <a:lnTo>
                          <a:pt x="689" y="760"/>
                        </a:lnTo>
                        <a:lnTo>
                          <a:pt x="689" y="762"/>
                        </a:lnTo>
                        <a:lnTo>
                          <a:pt x="689" y="763"/>
                        </a:lnTo>
                        <a:lnTo>
                          <a:pt x="689" y="766"/>
                        </a:lnTo>
                        <a:lnTo>
                          <a:pt x="689" y="769"/>
                        </a:lnTo>
                        <a:lnTo>
                          <a:pt x="687" y="771"/>
                        </a:lnTo>
                        <a:lnTo>
                          <a:pt x="686" y="773"/>
                        </a:lnTo>
                        <a:lnTo>
                          <a:pt x="683" y="774"/>
                        </a:lnTo>
                        <a:lnTo>
                          <a:pt x="681" y="774"/>
                        </a:lnTo>
                        <a:lnTo>
                          <a:pt x="681" y="773"/>
                        </a:lnTo>
                        <a:lnTo>
                          <a:pt x="679" y="773"/>
                        </a:lnTo>
                        <a:lnTo>
                          <a:pt x="676" y="773"/>
                        </a:lnTo>
                        <a:lnTo>
                          <a:pt x="675" y="773"/>
                        </a:lnTo>
                        <a:lnTo>
                          <a:pt x="673" y="774"/>
                        </a:lnTo>
                        <a:lnTo>
                          <a:pt x="671" y="774"/>
                        </a:lnTo>
                        <a:lnTo>
                          <a:pt x="668" y="774"/>
                        </a:lnTo>
                        <a:lnTo>
                          <a:pt x="667" y="774"/>
                        </a:lnTo>
                        <a:lnTo>
                          <a:pt x="665" y="773"/>
                        </a:lnTo>
                        <a:lnTo>
                          <a:pt x="662" y="773"/>
                        </a:lnTo>
                        <a:lnTo>
                          <a:pt x="660" y="773"/>
                        </a:lnTo>
                        <a:lnTo>
                          <a:pt x="657" y="774"/>
                        </a:lnTo>
                        <a:lnTo>
                          <a:pt x="654" y="776"/>
                        </a:lnTo>
                        <a:lnTo>
                          <a:pt x="649" y="779"/>
                        </a:lnTo>
                        <a:lnTo>
                          <a:pt x="646" y="781"/>
                        </a:lnTo>
                        <a:lnTo>
                          <a:pt x="645" y="782"/>
                        </a:lnTo>
                        <a:lnTo>
                          <a:pt x="643" y="784"/>
                        </a:lnTo>
                        <a:lnTo>
                          <a:pt x="640" y="785"/>
                        </a:lnTo>
                        <a:lnTo>
                          <a:pt x="638" y="790"/>
                        </a:lnTo>
                        <a:lnTo>
                          <a:pt x="635" y="798"/>
                        </a:lnTo>
                        <a:lnTo>
                          <a:pt x="633" y="801"/>
                        </a:lnTo>
                        <a:lnTo>
                          <a:pt x="632" y="803"/>
                        </a:lnTo>
                        <a:lnTo>
                          <a:pt x="630" y="804"/>
                        </a:lnTo>
                        <a:lnTo>
                          <a:pt x="627" y="807"/>
                        </a:lnTo>
                        <a:lnTo>
                          <a:pt x="624" y="809"/>
                        </a:lnTo>
                        <a:lnTo>
                          <a:pt x="619" y="811"/>
                        </a:lnTo>
                        <a:lnTo>
                          <a:pt x="616" y="809"/>
                        </a:lnTo>
                        <a:lnTo>
                          <a:pt x="613" y="806"/>
                        </a:lnTo>
                        <a:lnTo>
                          <a:pt x="610" y="803"/>
                        </a:lnTo>
                        <a:lnTo>
                          <a:pt x="608" y="801"/>
                        </a:lnTo>
                        <a:lnTo>
                          <a:pt x="607" y="801"/>
                        </a:lnTo>
                        <a:lnTo>
                          <a:pt x="605" y="801"/>
                        </a:lnTo>
                        <a:lnTo>
                          <a:pt x="602" y="803"/>
                        </a:lnTo>
                        <a:lnTo>
                          <a:pt x="599" y="806"/>
                        </a:lnTo>
                        <a:lnTo>
                          <a:pt x="597" y="807"/>
                        </a:lnTo>
                        <a:lnTo>
                          <a:pt x="594" y="807"/>
                        </a:lnTo>
                        <a:lnTo>
                          <a:pt x="592" y="809"/>
                        </a:lnTo>
                        <a:lnTo>
                          <a:pt x="586" y="811"/>
                        </a:lnTo>
                        <a:lnTo>
                          <a:pt x="580" y="811"/>
                        </a:lnTo>
                        <a:lnTo>
                          <a:pt x="572" y="811"/>
                        </a:lnTo>
                        <a:lnTo>
                          <a:pt x="565" y="811"/>
                        </a:lnTo>
                        <a:lnTo>
                          <a:pt x="557" y="809"/>
                        </a:lnTo>
                        <a:lnTo>
                          <a:pt x="554" y="809"/>
                        </a:lnTo>
                        <a:lnTo>
                          <a:pt x="551" y="809"/>
                        </a:lnTo>
                        <a:lnTo>
                          <a:pt x="548" y="811"/>
                        </a:lnTo>
                        <a:lnTo>
                          <a:pt x="545" y="812"/>
                        </a:lnTo>
                        <a:lnTo>
                          <a:pt x="543" y="814"/>
                        </a:lnTo>
                        <a:lnTo>
                          <a:pt x="542" y="814"/>
                        </a:lnTo>
                        <a:lnTo>
                          <a:pt x="540" y="814"/>
                        </a:lnTo>
                        <a:lnTo>
                          <a:pt x="537" y="814"/>
                        </a:lnTo>
                        <a:lnTo>
                          <a:pt x="534" y="812"/>
                        </a:lnTo>
                        <a:lnTo>
                          <a:pt x="530" y="812"/>
                        </a:lnTo>
                        <a:lnTo>
                          <a:pt x="529" y="812"/>
                        </a:lnTo>
                        <a:lnTo>
                          <a:pt x="527" y="812"/>
                        </a:lnTo>
                        <a:lnTo>
                          <a:pt x="523" y="814"/>
                        </a:lnTo>
                        <a:lnTo>
                          <a:pt x="516" y="815"/>
                        </a:lnTo>
                        <a:lnTo>
                          <a:pt x="505" y="819"/>
                        </a:lnTo>
                        <a:lnTo>
                          <a:pt x="500" y="819"/>
                        </a:lnTo>
                        <a:lnTo>
                          <a:pt x="496" y="822"/>
                        </a:lnTo>
                        <a:lnTo>
                          <a:pt x="491" y="822"/>
                        </a:lnTo>
                        <a:lnTo>
                          <a:pt x="489" y="822"/>
                        </a:lnTo>
                        <a:lnTo>
                          <a:pt x="486" y="822"/>
                        </a:lnTo>
                        <a:lnTo>
                          <a:pt x="478" y="819"/>
                        </a:lnTo>
                        <a:lnTo>
                          <a:pt x="472" y="817"/>
                        </a:lnTo>
                        <a:lnTo>
                          <a:pt x="467" y="815"/>
                        </a:lnTo>
                        <a:lnTo>
                          <a:pt x="461" y="814"/>
                        </a:lnTo>
                        <a:lnTo>
                          <a:pt x="451" y="812"/>
                        </a:lnTo>
                        <a:lnTo>
                          <a:pt x="443" y="811"/>
                        </a:lnTo>
                        <a:lnTo>
                          <a:pt x="437" y="811"/>
                        </a:lnTo>
                        <a:lnTo>
                          <a:pt x="423" y="809"/>
                        </a:lnTo>
                        <a:lnTo>
                          <a:pt x="412" y="809"/>
                        </a:lnTo>
                        <a:lnTo>
                          <a:pt x="399" y="809"/>
                        </a:lnTo>
                        <a:lnTo>
                          <a:pt x="396" y="807"/>
                        </a:lnTo>
                        <a:lnTo>
                          <a:pt x="390" y="806"/>
                        </a:lnTo>
                        <a:lnTo>
                          <a:pt x="386" y="803"/>
                        </a:lnTo>
                        <a:lnTo>
                          <a:pt x="378" y="796"/>
                        </a:lnTo>
                        <a:lnTo>
                          <a:pt x="375" y="792"/>
                        </a:lnTo>
                        <a:lnTo>
                          <a:pt x="372" y="787"/>
                        </a:lnTo>
                        <a:lnTo>
                          <a:pt x="369" y="782"/>
                        </a:lnTo>
                        <a:lnTo>
                          <a:pt x="366" y="776"/>
                        </a:lnTo>
                        <a:lnTo>
                          <a:pt x="361" y="768"/>
                        </a:lnTo>
                        <a:lnTo>
                          <a:pt x="356" y="757"/>
                        </a:lnTo>
                        <a:lnTo>
                          <a:pt x="351" y="749"/>
                        </a:lnTo>
                        <a:lnTo>
                          <a:pt x="348" y="743"/>
                        </a:lnTo>
                        <a:lnTo>
                          <a:pt x="345" y="736"/>
                        </a:lnTo>
                        <a:lnTo>
                          <a:pt x="345" y="735"/>
                        </a:lnTo>
                        <a:lnTo>
                          <a:pt x="344" y="735"/>
                        </a:lnTo>
                        <a:lnTo>
                          <a:pt x="342" y="735"/>
                        </a:lnTo>
                        <a:lnTo>
                          <a:pt x="340" y="735"/>
                        </a:lnTo>
                        <a:lnTo>
                          <a:pt x="334" y="736"/>
                        </a:lnTo>
                        <a:lnTo>
                          <a:pt x="325" y="738"/>
                        </a:lnTo>
                        <a:lnTo>
                          <a:pt x="313" y="739"/>
                        </a:lnTo>
                        <a:lnTo>
                          <a:pt x="302" y="741"/>
                        </a:lnTo>
                        <a:lnTo>
                          <a:pt x="298" y="743"/>
                        </a:lnTo>
                        <a:lnTo>
                          <a:pt x="293" y="743"/>
                        </a:lnTo>
                        <a:lnTo>
                          <a:pt x="288" y="741"/>
                        </a:lnTo>
                        <a:lnTo>
                          <a:pt x="280" y="739"/>
                        </a:lnTo>
                        <a:lnTo>
                          <a:pt x="272" y="739"/>
                        </a:lnTo>
                        <a:lnTo>
                          <a:pt x="269" y="738"/>
                        </a:lnTo>
                        <a:lnTo>
                          <a:pt x="268" y="736"/>
                        </a:lnTo>
                        <a:lnTo>
                          <a:pt x="266" y="736"/>
                        </a:lnTo>
                        <a:lnTo>
                          <a:pt x="264" y="736"/>
                        </a:lnTo>
                        <a:lnTo>
                          <a:pt x="263" y="738"/>
                        </a:lnTo>
                        <a:lnTo>
                          <a:pt x="261" y="739"/>
                        </a:lnTo>
                        <a:lnTo>
                          <a:pt x="258" y="746"/>
                        </a:lnTo>
                        <a:lnTo>
                          <a:pt x="253" y="754"/>
                        </a:lnTo>
                        <a:lnTo>
                          <a:pt x="247" y="765"/>
                        </a:lnTo>
                        <a:lnTo>
                          <a:pt x="242" y="773"/>
                        </a:lnTo>
                        <a:lnTo>
                          <a:pt x="239" y="779"/>
                        </a:lnTo>
                        <a:lnTo>
                          <a:pt x="233" y="787"/>
                        </a:lnTo>
                        <a:lnTo>
                          <a:pt x="230" y="792"/>
                        </a:lnTo>
                        <a:lnTo>
                          <a:pt x="228" y="795"/>
                        </a:lnTo>
                        <a:lnTo>
                          <a:pt x="226" y="796"/>
                        </a:lnTo>
                        <a:lnTo>
                          <a:pt x="226" y="798"/>
                        </a:lnTo>
                        <a:lnTo>
                          <a:pt x="225" y="798"/>
                        </a:lnTo>
                        <a:lnTo>
                          <a:pt x="223" y="800"/>
                        </a:lnTo>
                        <a:lnTo>
                          <a:pt x="222" y="801"/>
                        </a:lnTo>
                        <a:lnTo>
                          <a:pt x="220" y="801"/>
                        </a:lnTo>
                        <a:lnTo>
                          <a:pt x="220" y="803"/>
                        </a:lnTo>
                        <a:lnTo>
                          <a:pt x="218" y="804"/>
                        </a:lnTo>
                        <a:lnTo>
                          <a:pt x="218" y="806"/>
                        </a:lnTo>
                        <a:lnTo>
                          <a:pt x="218" y="807"/>
                        </a:lnTo>
                        <a:lnTo>
                          <a:pt x="217" y="809"/>
                        </a:lnTo>
                        <a:lnTo>
                          <a:pt x="217" y="811"/>
                        </a:lnTo>
                        <a:lnTo>
                          <a:pt x="215" y="812"/>
                        </a:lnTo>
                        <a:lnTo>
                          <a:pt x="215" y="814"/>
                        </a:lnTo>
                        <a:lnTo>
                          <a:pt x="211" y="809"/>
                        </a:lnTo>
                        <a:lnTo>
                          <a:pt x="204" y="804"/>
                        </a:lnTo>
                        <a:lnTo>
                          <a:pt x="193" y="795"/>
                        </a:lnTo>
                        <a:lnTo>
                          <a:pt x="185" y="787"/>
                        </a:lnTo>
                        <a:lnTo>
                          <a:pt x="176" y="776"/>
                        </a:lnTo>
                        <a:lnTo>
                          <a:pt x="165" y="765"/>
                        </a:lnTo>
                        <a:lnTo>
                          <a:pt x="160" y="760"/>
                        </a:lnTo>
                        <a:lnTo>
                          <a:pt x="157" y="757"/>
                        </a:lnTo>
                        <a:lnTo>
                          <a:pt x="152" y="752"/>
                        </a:lnTo>
                        <a:lnTo>
                          <a:pt x="147" y="749"/>
                        </a:lnTo>
                        <a:lnTo>
                          <a:pt x="144" y="746"/>
                        </a:lnTo>
                        <a:lnTo>
                          <a:pt x="141" y="743"/>
                        </a:lnTo>
                        <a:lnTo>
                          <a:pt x="138" y="741"/>
                        </a:lnTo>
                        <a:lnTo>
                          <a:pt x="136" y="738"/>
                        </a:lnTo>
                        <a:lnTo>
                          <a:pt x="134" y="735"/>
                        </a:lnTo>
                        <a:lnTo>
                          <a:pt x="133" y="727"/>
                        </a:lnTo>
                        <a:lnTo>
                          <a:pt x="131" y="720"/>
                        </a:lnTo>
                        <a:lnTo>
                          <a:pt x="130" y="717"/>
                        </a:lnTo>
                        <a:lnTo>
                          <a:pt x="130" y="714"/>
                        </a:lnTo>
                        <a:lnTo>
                          <a:pt x="130" y="712"/>
                        </a:lnTo>
                        <a:lnTo>
                          <a:pt x="131" y="709"/>
                        </a:lnTo>
                        <a:lnTo>
                          <a:pt x="131" y="708"/>
                        </a:lnTo>
                        <a:lnTo>
                          <a:pt x="133" y="706"/>
                        </a:lnTo>
                        <a:lnTo>
                          <a:pt x="133" y="705"/>
                        </a:lnTo>
                        <a:lnTo>
                          <a:pt x="131" y="703"/>
                        </a:lnTo>
                        <a:lnTo>
                          <a:pt x="131" y="701"/>
                        </a:lnTo>
                        <a:lnTo>
                          <a:pt x="131" y="700"/>
                        </a:lnTo>
                        <a:lnTo>
                          <a:pt x="131" y="698"/>
                        </a:lnTo>
                        <a:lnTo>
                          <a:pt x="133" y="695"/>
                        </a:lnTo>
                        <a:lnTo>
                          <a:pt x="133" y="693"/>
                        </a:lnTo>
                        <a:lnTo>
                          <a:pt x="134" y="692"/>
                        </a:lnTo>
                        <a:lnTo>
                          <a:pt x="136" y="689"/>
                        </a:lnTo>
                        <a:lnTo>
                          <a:pt x="138" y="687"/>
                        </a:lnTo>
                        <a:lnTo>
                          <a:pt x="139" y="684"/>
                        </a:lnTo>
                        <a:lnTo>
                          <a:pt x="141" y="684"/>
                        </a:lnTo>
                        <a:lnTo>
                          <a:pt x="141" y="682"/>
                        </a:lnTo>
                        <a:lnTo>
                          <a:pt x="142" y="681"/>
                        </a:lnTo>
                        <a:lnTo>
                          <a:pt x="147" y="678"/>
                        </a:lnTo>
                        <a:lnTo>
                          <a:pt x="147" y="673"/>
                        </a:lnTo>
                        <a:lnTo>
                          <a:pt x="147" y="670"/>
                        </a:lnTo>
                        <a:lnTo>
                          <a:pt x="147" y="666"/>
                        </a:lnTo>
                        <a:lnTo>
                          <a:pt x="146" y="665"/>
                        </a:lnTo>
                        <a:lnTo>
                          <a:pt x="120" y="663"/>
                        </a:lnTo>
                        <a:lnTo>
                          <a:pt x="82" y="646"/>
                        </a:lnTo>
                        <a:lnTo>
                          <a:pt x="65" y="632"/>
                        </a:lnTo>
                        <a:lnTo>
                          <a:pt x="51" y="619"/>
                        </a:lnTo>
                        <a:lnTo>
                          <a:pt x="46" y="613"/>
                        </a:lnTo>
                        <a:lnTo>
                          <a:pt x="33" y="603"/>
                        </a:lnTo>
                        <a:lnTo>
                          <a:pt x="11" y="584"/>
                        </a:lnTo>
                        <a:lnTo>
                          <a:pt x="9" y="583"/>
                        </a:lnTo>
                        <a:lnTo>
                          <a:pt x="11" y="583"/>
                        </a:lnTo>
                        <a:lnTo>
                          <a:pt x="11" y="581"/>
                        </a:lnTo>
                        <a:lnTo>
                          <a:pt x="9" y="579"/>
                        </a:lnTo>
                        <a:lnTo>
                          <a:pt x="8" y="579"/>
                        </a:lnTo>
                        <a:lnTo>
                          <a:pt x="6" y="578"/>
                        </a:lnTo>
                        <a:lnTo>
                          <a:pt x="5" y="578"/>
                        </a:lnTo>
                        <a:lnTo>
                          <a:pt x="3" y="578"/>
                        </a:lnTo>
                        <a:lnTo>
                          <a:pt x="0" y="575"/>
                        </a:lnTo>
                        <a:lnTo>
                          <a:pt x="1" y="575"/>
                        </a:lnTo>
                        <a:lnTo>
                          <a:pt x="3" y="575"/>
                        </a:lnTo>
                        <a:lnTo>
                          <a:pt x="11" y="570"/>
                        </a:lnTo>
                        <a:lnTo>
                          <a:pt x="70" y="546"/>
                        </a:lnTo>
                        <a:lnTo>
                          <a:pt x="73" y="486"/>
                        </a:lnTo>
                        <a:lnTo>
                          <a:pt x="74" y="475"/>
                        </a:lnTo>
                        <a:lnTo>
                          <a:pt x="74" y="467"/>
                        </a:lnTo>
                        <a:lnTo>
                          <a:pt x="77" y="407"/>
                        </a:lnTo>
                        <a:lnTo>
                          <a:pt x="81" y="372"/>
                        </a:lnTo>
                        <a:lnTo>
                          <a:pt x="190" y="369"/>
                        </a:lnTo>
                        <a:lnTo>
                          <a:pt x="211" y="369"/>
                        </a:lnTo>
                        <a:lnTo>
                          <a:pt x="222" y="369"/>
                        </a:lnTo>
                        <a:lnTo>
                          <a:pt x="266" y="354"/>
                        </a:lnTo>
                        <a:lnTo>
                          <a:pt x="336" y="310"/>
                        </a:lnTo>
                        <a:lnTo>
                          <a:pt x="429" y="251"/>
                        </a:lnTo>
                        <a:lnTo>
                          <a:pt x="488" y="215"/>
                        </a:lnTo>
                        <a:lnTo>
                          <a:pt x="529" y="206"/>
                        </a:lnTo>
                        <a:lnTo>
                          <a:pt x="586" y="191"/>
                        </a:lnTo>
                        <a:lnTo>
                          <a:pt x="613" y="185"/>
                        </a:lnTo>
                        <a:lnTo>
                          <a:pt x="627" y="180"/>
                        </a:lnTo>
                        <a:lnTo>
                          <a:pt x="652" y="160"/>
                        </a:lnTo>
                        <a:lnTo>
                          <a:pt x="652" y="161"/>
                        </a:lnTo>
                        <a:lnTo>
                          <a:pt x="652" y="160"/>
                        </a:lnTo>
                        <a:lnTo>
                          <a:pt x="662" y="153"/>
                        </a:lnTo>
                        <a:lnTo>
                          <a:pt x="670" y="150"/>
                        </a:lnTo>
                        <a:lnTo>
                          <a:pt x="675" y="149"/>
                        </a:lnTo>
                        <a:lnTo>
                          <a:pt x="681" y="145"/>
                        </a:lnTo>
                        <a:lnTo>
                          <a:pt x="692" y="137"/>
                        </a:lnTo>
                        <a:lnTo>
                          <a:pt x="711" y="122"/>
                        </a:lnTo>
                        <a:lnTo>
                          <a:pt x="713" y="122"/>
                        </a:lnTo>
                        <a:lnTo>
                          <a:pt x="714" y="118"/>
                        </a:lnTo>
                        <a:lnTo>
                          <a:pt x="721" y="112"/>
                        </a:lnTo>
                        <a:lnTo>
                          <a:pt x="724" y="110"/>
                        </a:lnTo>
                        <a:lnTo>
                          <a:pt x="727" y="106"/>
                        </a:lnTo>
                        <a:lnTo>
                          <a:pt x="722" y="104"/>
                        </a:lnTo>
                        <a:lnTo>
                          <a:pt x="752" y="80"/>
                        </a:lnTo>
                        <a:lnTo>
                          <a:pt x="754" y="80"/>
                        </a:lnTo>
                        <a:lnTo>
                          <a:pt x="757" y="76"/>
                        </a:lnTo>
                        <a:lnTo>
                          <a:pt x="762" y="72"/>
                        </a:lnTo>
                        <a:lnTo>
                          <a:pt x="770" y="63"/>
                        </a:lnTo>
                        <a:lnTo>
                          <a:pt x="773" y="60"/>
                        </a:lnTo>
                        <a:lnTo>
                          <a:pt x="774" y="60"/>
                        </a:lnTo>
                        <a:lnTo>
                          <a:pt x="778" y="57"/>
                        </a:lnTo>
                        <a:lnTo>
                          <a:pt x="779" y="53"/>
                        </a:lnTo>
                        <a:lnTo>
                          <a:pt x="781" y="52"/>
                        </a:lnTo>
                        <a:lnTo>
                          <a:pt x="782" y="52"/>
                        </a:lnTo>
                        <a:lnTo>
                          <a:pt x="784" y="49"/>
                        </a:lnTo>
                        <a:lnTo>
                          <a:pt x="787" y="46"/>
                        </a:lnTo>
                        <a:lnTo>
                          <a:pt x="790" y="42"/>
                        </a:lnTo>
                        <a:lnTo>
                          <a:pt x="793" y="41"/>
                        </a:lnTo>
                        <a:lnTo>
                          <a:pt x="797" y="39"/>
                        </a:lnTo>
                        <a:lnTo>
                          <a:pt x="801" y="34"/>
                        </a:lnTo>
                        <a:lnTo>
                          <a:pt x="805" y="33"/>
                        </a:lnTo>
                        <a:lnTo>
                          <a:pt x="806" y="31"/>
                        </a:lnTo>
                        <a:lnTo>
                          <a:pt x="808" y="30"/>
                        </a:lnTo>
                        <a:lnTo>
                          <a:pt x="812" y="27"/>
                        </a:lnTo>
                        <a:lnTo>
                          <a:pt x="820" y="22"/>
                        </a:lnTo>
                        <a:lnTo>
                          <a:pt x="827" y="19"/>
                        </a:lnTo>
                        <a:lnTo>
                          <a:pt x="828" y="19"/>
                        </a:lnTo>
                        <a:lnTo>
                          <a:pt x="828" y="17"/>
                        </a:lnTo>
                        <a:lnTo>
                          <a:pt x="836" y="12"/>
                        </a:lnTo>
                        <a:lnTo>
                          <a:pt x="838" y="11"/>
                        </a:lnTo>
                        <a:lnTo>
                          <a:pt x="839" y="9"/>
                        </a:lnTo>
                        <a:lnTo>
                          <a:pt x="843" y="8"/>
                        </a:lnTo>
                        <a:lnTo>
                          <a:pt x="854" y="3"/>
                        </a:lnTo>
                        <a:lnTo>
                          <a:pt x="854" y="1"/>
                        </a:lnTo>
                        <a:lnTo>
                          <a:pt x="855" y="1"/>
                        </a:lnTo>
                        <a:lnTo>
                          <a:pt x="857" y="1"/>
                        </a:lnTo>
                        <a:lnTo>
                          <a:pt x="860" y="1"/>
                        </a:lnTo>
                        <a:lnTo>
                          <a:pt x="865" y="1"/>
                        </a:lnTo>
                        <a:lnTo>
                          <a:pt x="868" y="1"/>
                        </a:lnTo>
                        <a:lnTo>
                          <a:pt x="879" y="1"/>
                        </a:lnTo>
                        <a:lnTo>
                          <a:pt x="904" y="1"/>
                        </a:lnTo>
                        <a:lnTo>
                          <a:pt x="922" y="1"/>
                        </a:lnTo>
                        <a:lnTo>
                          <a:pt x="942" y="1"/>
                        </a:lnTo>
                        <a:lnTo>
                          <a:pt x="949" y="1"/>
                        </a:lnTo>
                        <a:lnTo>
                          <a:pt x="958" y="1"/>
                        </a:lnTo>
                        <a:lnTo>
                          <a:pt x="971" y="1"/>
                        </a:lnTo>
                        <a:lnTo>
                          <a:pt x="985" y="1"/>
                        </a:lnTo>
                        <a:lnTo>
                          <a:pt x="990" y="1"/>
                        </a:lnTo>
                        <a:lnTo>
                          <a:pt x="1004" y="1"/>
                        </a:lnTo>
                        <a:lnTo>
                          <a:pt x="1014" y="0"/>
                        </a:lnTo>
                        <a:lnTo>
                          <a:pt x="1015" y="1"/>
                        </a:lnTo>
                        <a:lnTo>
                          <a:pt x="1017" y="1"/>
                        </a:lnTo>
                        <a:close/>
                      </a:path>
                    </a:pathLst>
                  </a:custGeom>
                  <a:solidFill>
                    <a:srgbClr val="E1E1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71" name="Freeform 70"/>
                  <p:cNvSpPr>
                    <a:spLocks/>
                  </p:cNvSpPr>
                  <p:nvPr/>
                </p:nvSpPr>
                <p:spPr bwMode="auto">
                  <a:xfrm>
                    <a:off x="4566" y="636"/>
                    <a:ext cx="1261" cy="1301"/>
                  </a:xfrm>
                  <a:custGeom>
                    <a:avLst/>
                    <a:gdLst>
                      <a:gd name="T0" fmla="*/ 278 w 1261"/>
                      <a:gd name="T1" fmla="*/ 21 h 1301"/>
                      <a:gd name="T2" fmla="*/ 404 w 1261"/>
                      <a:gd name="T3" fmla="*/ 33 h 1301"/>
                      <a:gd name="T4" fmla="*/ 508 w 1261"/>
                      <a:gd name="T5" fmla="*/ 64 h 1301"/>
                      <a:gd name="T6" fmla="*/ 592 w 1261"/>
                      <a:gd name="T7" fmla="*/ 57 h 1301"/>
                      <a:gd name="T8" fmla="*/ 600 w 1261"/>
                      <a:gd name="T9" fmla="*/ 162 h 1301"/>
                      <a:gd name="T10" fmla="*/ 600 w 1261"/>
                      <a:gd name="T11" fmla="*/ 393 h 1301"/>
                      <a:gd name="T12" fmla="*/ 708 w 1261"/>
                      <a:gd name="T13" fmla="*/ 488 h 1301"/>
                      <a:gd name="T14" fmla="*/ 724 w 1261"/>
                      <a:gd name="T15" fmla="*/ 659 h 1301"/>
                      <a:gd name="T16" fmla="*/ 768 w 1261"/>
                      <a:gd name="T17" fmla="*/ 697 h 1301"/>
                      <a:gd name="T18" fmla="*/ 793 w 1261"/>
                      <a:gd name="T19" fmla="*/ 746 h 1301"/>
                      <a:gd name="T20" fmla="*/ 849 w 1261"/>
                      <a:gd name="T21" fmla="*/ 803 h 1301"/>
                      <a:gd name="T22" fmla="*/ 861 w 1261"/>
                      <a:gd name="T23" fmla="*/ 856 h 1301"/>
                      <a:gd name="T24" fmla="*/ 987 w 1261"/>
                      <a:gd name="T25" fmla="*/ 900 h 1301"/>
                      <a:gd name="T26" fmla="*/ 1083 w 1261"/>
                      <a:gd name="T27" fmla="*/ 930 h 1301"/>
                      <a:gd name="T28" fmla="*/ 1170 w 1261"/>
                      <a:gd name="T29" fmla="*/ 1028 h 1301"/>
                      <a:gd name="T30" fmla="*/ 1232 w 1261"/>
                      <a:gd name="T31" fmla="*/ 1077 h 1301"/>
                      <a:gd name="T32" fmla="*/ 1196 w 1261"/>
                      <a:gd name="T33" fmla="*/ 1085 h 1301"/>
                      <a:gd name="T34" fmla="*/ 1128 w 1261"/>
                      <a:gd name="T35" fmla="*/ 1060 h 1301"/>
                      <a:gd name="T36" fmla="*/ 1082 w 1261"/>
                      <a:gd name="T37" fmla="*/ 1182 h 1301"/>
                      <a:gd name="T38" fmla="*/ 1063 w 1261"/>
                      <a:gd name="T39" fmla="*/ 1231 h 1301"/>
                      <a:gd name="T40" fmla="*/ 1036 w 1261"/>
                      <a:gd name="T41" fmla="*/ 1234 h 1301"/>
                      <a:gd name="T42" fmla="*/ 1013 w 1261"/>
                      <a:gd name="T43" fmla="*/ 1248 h 1301"/>
                      <a:gd name="T44" fmla="*/ 998 w 1261"/>
                      <a:gd name="T45" fmla="*/ 1256 h 1301"/>
                      <a:gd name="T46" fmla="*/ 991 w 1261"/>
                      <a:gd name="T47" fmla="*/ 1269 h 1301"/>
                      <a:gd name="T48" fmla="*/ 974 w 1261"/>
                      <a:gd name="T49" fmla="*/ 1282 h 1301"/>
                      <a:gd name="T50" fmla="*/ 958 w 1261"/>
                      <a:gd name="T51" fmla="*/ 1267 h 1301"/>
                      <a:gd name="T52" fmla="*/ 949 w 1261"/>
                      <a:gd name="T53" fmla="*/ 1279 h 1301"/>
                      <a:gd name="T54" fmla="*/ 933 w 1261"/>
                      <a:gd name="T55" fmla="*/ 1290 h 1301"/>
                      <a:gd name="T56" fmla="*/ 907 w 1261"/>
                      <a:gd name="T57" fmla="*/ 1294 h 1301"/>
                      <a:gd name="T58" fmla="*/ 893 w 1261"/>
                      <a:gd name="T59" fmla="*/ 1279 h 1301"/>
                      <a:gd name="T60" fmla="*/ 877 w 1261"/>
                      <a:gd name="T61" fmla="*/ 1294 h 1301"/>
                      <a:gd name="T62" fmla="*/ 861 w 1261"/>
                      <a:gd name="T63" fmla="*/ 1283 h 1301"/>
                      <a:gd name="T64" fmla="*/ 841 w 1261"/>
                      <a:gd name="T65" fmla="*/ 1298 h 1301"/>
                      <a:gd name="T66" fmla="*/ 823 w 1261"/>
                      <a:gd name="T67" fmla="*/ 1274 h 1301"/>
                      <a:gd name="T68" fmla="*/ 803 w 1261"/>
                      <a:gd name="T69" fmla="*/ 1258 h 1301"/>
                      <a:gd name="T70" fmla="*/ 779 w 1261"/>
                      <a:gd name="T71" fmla="*/ 1240 h 1301"/>
                      <a:gd name="T72" fmla="*/ 763 w 1261"/>
                      <a:gd name="T73" fmla="*/ 1207 h 1301"/>
                      <a:gd name="T74" fmla="*/ 622 w 1261"/>
                      <a:gd name="T75" fmla="*/ 1122 h 1301"/>
                      <a:gd name="T76" fmla="*/ 613 w 1261"/>
                      <a:gd name="T77" fmla="*/ 1096 h 1301"/>
                      <a:gd name="T78" fmla="*/ 535 w 1261"/>
                      <a:gd name="T79" fmla="*/ 979 h 1301"/>
                      <a:gd name="T80" fmla="*/ 507 w 1261"/>
                      <a:gd name="T81" fmla="*/ 965 h 1301"/>
                      <a:gd name="T82" fmla="*/ 500 w 1261"/>
                      <a:gd name="T83" fmla="*/ 927 h 1301"/>
                      <a:gd name="T84" fmla="*/ 448 w 1261"/>
                      <a:gd name="T85" fmla="*/ 949 h 1301"/>
                      <a:gd name="T86" fmla="*/ 396 w 1261"/>
                      <a:gd name="T87" fmla="*/ 935 h 1301"/>
                      <a:gd name="T88" fmla="*/ 351 w 1261"/>
                      <a:gd name="T89" fmla="*/ 943 h 1301"/>
                      <a:gd name="T90" fmla="*/ 320 w 1261"/>
                      <a:gd name="T91" fmla="*/ 965 h 1301"/>
                      <a:gd name="T92" fmla="*/ 312 w 1261"/>
                      <a:gd name="T93" fmla="*/ 938 h 1301"/>
                      <a:gd name="T94" fmla="*/ 329 w 1261"/>
                      <a:gd name="T95" fmla="*/ 903 h 1301"/>
                      <a:gd name="T96" fmla="*/ 332 w 1261"/>
                      <a:gd name="T97" fmla="*/ 881 h 1301"/>
                      <a:gd name="T98" fmla="*/ 293 w 1261"/>
                      <a:gd name="T99" fmla="*/ 892 h 1301"/>
                      <a:gd name="T100" fmla="*/ 258 w 1261"/>
                      <a:gd name="T101" fmla="*/ 886 h 1301"/>
                      <a:gd name="T102" fmla="*/ 229 w 1261"/>
                      <a:gd name="T103" fmla="*/ 881 h 1301"/>
                      <a:gd name="T104" fmla="*/ 180 w 1261"/>
                      <a:gd name="T105" fmla="*/ 821 h 1301"/>
                      <a:gd name="T106" fmla="*/ 185 w 1261"/>
                      <a:gd name="T107" fmla="*/ 783 h 1301"/>
                      <a:gd name="T108" fmla="*/ 139 w 1261"/>
                      <a:gd name="T109" fmla="*/ 734 h 1301"/>
                      <a:gd name="T110" fmla="*/ 107 w 1261"/>
                      <a:gd name="T111" fmla="*/ 713 h 1301"/>
                      <a:gd name="T112" fmla="*/ 88 w 1261"/>
                      <a:gd name="T113" fmla="*/ 694 h 1301"/>
                      <a:gd name="T114" fmla="*/ 85 w 1261"/>
                      <a:gd name="T115" fmla="*/ 667 h 1301"/>
                      <a:gd name="T116" fmla="*/ 39 w 1261"/>
                      <a:gd name="T117" fmla="*/ 686 h 1301"/>
                      <a:gd name="T118" fmla="*/ 4 w 1261"/>
                      <a:gd name="T119" fmla="*/ 710 h 1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61" h="1301">
                        <a:moveTo>
                          <a:pt x="190" y="0"/>
                        </a:moveTo>
                        <a:lnTo>
                          <a:pt x="193" y="3"/>
                        </a:lnTo>
                        <a:lnTo>
                          <a:pt x="198" y="8"/>
                        </a:lnTo>
                        <a:lnTo>
                          <a:pt x="212" y="26"/>
                        </a:lnTo>
                        <a:lnTo>
                          <a:pt x="215" y="32"/>
                        </a:lnTo>
                        <a:lnTo>
                          <a:pt x="221" y="41"/>
                        </a:lnTo>
                        <a:lnTo>
                          <a:pt x="226" y="45"/>
                        </a:lnTo>
                        <a:lnTo>
                          <a:pt x="228" y="45"/>
                        </a:lnTo>
                        <a:lnTo>
                          <a:pt x="231" y="46"/>
                        </a:lnTo>
                        <a:lnTo>
                          <a:pt x="234" y="45"/>
                        </a:lnTo>
                        <a:lnTo>
                          <a:pt x="239" y="43"/>
                        </a:lnTo>
                        <a:lnTo>
                          <a:pt x="240" y="41"/>
                        </a:lnTo>
                        <a:lnTo>
                          <a:pt x="255" y="33"/>
                        </a:lnTo>
                        <a:lnTo>
                          <a:pt x="266" y="27"/>
                        </a:lnTo>
                        <a:lnTo>
                          <a:pt x="271" y="24"/>
                        </a:lnTo>
                        <a:lnTo>
                          <a:pt x="275" y="22"/>
                        </a:lnTo>
                        <a:lnTo>
                          <a:pt x="278" y="21"/>
                        </a:lnTo>
                        <a:lnTo>
                          <a:pt x="285" y="18"/>
                        </a:lnTo>
                        <a:lnTo>
                          <a:pt x="286" y="16"/>
                        </a:lnTo>
                        <a:lnTo>
                          <a:pt x="304" y="7"/>
                        </a:lnTo>
                        <a:lnTo>
                          <a:pt x="315" y="3"/>
                        </a:lnTo>
                        <a:lnTo>
                          <a:pt x="318" y="3"/>
                        </a:lnTo>
                        <a:lnTo>
                          <a:pt x="320" y="3"/>
                        </a:lnTo>
                        <a:lnTo>
                          <a:pt x="328" y="7"/>
                        </a:lnTo>
                        <a:lnTo>
                          <a:pt x="336" y="10"/>
                        </a:lnTo>
                        <a:lnTo>
                          <a:pt x="359" y="19"/>
                        </a:lnTo>
                        <a:lnTo>
                          <a:pt x="367" y="19"/>
                        </a:lnTo>
                        <a:lnTo>
                          <a:pt x="370" y="22"/>
                        </a:lnTo>
                        <a:lnTo>
                          <a:pt x="374" y="22"/>
                        </a:lnTo>
                        <a:lnTo>
                          <a:pt x="378" y="26"/>
                        </a:lnTo>
                        <a:lnTo>
                          <a:pt x="383" y="27"/>
                        </a:lnTo>
                        <a:lnTo>
                          <a:pt x="388" y="27"/>
                        </a:lnTo>
                        <a:lnTo>
                          <a:pt x="389" y="29"/>
                        </a:lnTo>
                        <a:lnTo>
                          <a:pt x="404" y="33"/>
                        </a:lnTo>
                        <a:lnTo>
                          <a:pt x="410" y="37"/>
                        </a:lnTo>
                        <a:lnTo>
                          <a:pt x="413" y="38"/>
                        </a:lnTo>
                        <a:lnTo>
                          <a:pt x="423" y="41"/>
                        </a:lnTo>
                        <a:lnTo>
                          <a:pt x="445" y="51"/>
                        </a:lnTo>
                        <a:lnTo>
                          <a:pt x="448" y="52"/>
                        </a:lnTo>
                        <a:lnTo>
                          <a:pt x="454" y="54"/>
                        </a:lnTo>
                        <a:lnTo>
                          <a:pt x="465" y="59"/>
                        </a:lnTo>
                        <a:lnTo>
                          <a:pt x="470" y="60"/>
                        </a:lnTo>
                        <a:lnTo>
                          <a:pt x="472" y="60"/>
                        </a:lnTo>
                        <a:lnTo>
                          <a:pt x="478" y="60"/>
                        </a:lnTo>
                        <a:lnTo>
                          <a:pt x="480" y="60"/>
                        </a:lnTo>
                        <a:lnTo>
                          <a:pt x="488" y="62"/>
                        </a:lnTo>
                        <a:lnTo>
                          <a:pt x="492" y="62"/>
                        </a:lnTo>
                        <a:lnTo>
                          <a:pt x="494" y="62"/>
                        </a:lnTo>
                        <a:lnTo>
                          <a:pt x="499" y="62"/>
                        </a:lnTo>
                        <a:lnTo>
                          <a:pt x="502" y="64"/>
                        </a:lnTo>
                        <a:lnTo>
                          <a:pt x="508" y="64"/>
                        </a:lnTo>
                        <a:lnTo>
                          <a:pt x="515" y="64"/>
                        </a:lnTo>
                        <a:lnTo>
                          <a:pt x="519" y="64"/>
                        </a:lnTo>
                        <a:lnTo>
                          <a:pt x="524" y="64"/>
                        </a:lnTo>
                        <a:lnTo>
                          <a:pt x="529" y="64"/>
                        </a:lnTo>
                        <a:lnTo>
                          <a:pt x="534" y="64"/>
                        </a:lnTo>
                        <a:lnTo>
                          <a:pt x="535" y="64"/>
                        </a:lnTo>
                        <a:lnTo>
                          <a:pt x="545" y="62"/>
                        </a:lnTo>
                        <a:lnTo>
                          <a:pt x="553" y="62"/>
                        </a:lnTo>
                        <a:lnTo>
                          <a:pt x="557" y="62"/>
                        </a:lnTo>
                        <a:lnTo>
                          <a:pt x="560" y="62"/>
                        </a:lnTo>
                        <a:lnTo>
                          <a:pt x="562" y="62"/>
                        </a:lnTo>
                        <a:lnTo>
                          <a:pt x="564" y="62"/>
                        </a:lnTo>
                        <a:lnTo>
                          <a:pt x="570" y="62"/>
                        </a:lnTo>
                        <a:lnTo>
                          <a:pt x="572" y="62"/>
                        </a:lnTo>
                        <a:lnTo>
                          <a:pt x="583" y="60"/>
                        </a:lnTo>
                        <a:lnTo>
                          <a:pt x="589" y="59"/>
                        </a:lnTo>
                        <a:lnTo>
                          <a:pt x="592" y="57"/>
                        </a:lnTo>
                        <a:lnTo>
                          <a:pt x="594" y="57"/>
                        </a:lnTo>
                        <a:lnTo>
                          <a:pt x="602" y="57"/>
                        </a:lnTo>
                        <a:lnTo>
                          <a:pt x="606" y="57"/>
                        </a:lnTo>
                        <a:lnTo>
                          <a:pt x="611" y="57"/>
                        </a:lnTo>
                        <a:lnTo>
                          <a:pt x="611" y="64"/>
                        </a:lnTo>
                        <a:lnTo>
                          <a:pt x="614" y="102"/>
                        </a:lnTo>
                        <a:lnTo>
                          <a:pt x="614" y="108"/>
                        </a:lnTo>
                        <a:lnTo>
                          <a:pt x="614" y="114"/>
                        </a:lnTo>
                        <a:lnTo>
                          <a:pt x="616" y="116"/>
                        </a:lnTo>
                        <a:lnTo>
                          <a:pt x="616" y="117"/>
                        </a:lnTo>
                        <a:lnTo>
                          <a:pt x="616" y="121"/>
                        </a:lnTo>
                        <a:lnTo>
                          <a:pt x="611" y="130"/>
                        </a:lnTo>
                        <a:lnTo>
                          <a:pt x="597" y="148"/>
                        </a:lnTo>
                        <a:lnTo>
                          <a:pt x="595" y="149"/>
                        </a:lnTo>
                        <a:lnTo>
                          <a:pt x="595" y="152"/>
                        </a:lnTo>
                        <a:lnTo>
                          <a:pt x="597" y="152"/>
                        </a:lnTo>
                        <a:lnTo>
                          <a:pt x="600" y="162"/>
                        </a:lnTo>
                        <a:lnTo>
                          <a:pt x="606" y="178"/>
                        </a:lnTo>
                        <a:lnTo>
                          <a:pt x="606" y="181"/>
                        </a:lnTo>
                        <a:lnTo>
                          <a:pt x="608" y="182"/>
                        </a:lnTo>
                        <a:lnTo>
                          <a:pt x="610" y="187"/>
                        </a:lnTo>
                        <a:lnTo>
                          <a:pt x="616" y="205"/>
                        </a:lnTo>
                        <a:lnTo>
                          <a:pt x="616" y="208"/>
                        </a:lnTo>
                        <a:lnTo>
                          <a:pt x="614" y="211"/>
                        </a:lnTo>
                        <a:lnTo>
                          <a:pt x="614" y="216"/>
                        </a:lnTo>
                        <a:lnTo>
                          <a:pt x="613" y="222"/>
                        </a:lnTo>
                        <a:lnTo>
                          <a:pt x="602" y="255"/>
                        </a:lnTo>
                        <a:lnTo>
                          <a:pt x="579" y="307"/>
                        </a:lnTo>
                        <a:lnTo>
                          <a:pt x="573" y="338"/>
                        </a:lnTo>
                        <a:lnTo>
                          <a:pt x="575" y="344"/>
                        </a:lnTo>
                        <a:lnTo>
                          <a:pt x="578" y="355"/>
                        </a:lnTo>
                        <a:lnTo>
                          <a:pt x="579" y="363"/>
                        </a:lnTo>
                        <a:lnTo>
                          <a:pt x="589" y="382"/>
                        </a:lnTo>
                        <a:lnTo>
                          <a:pt x="600" y="393"/>
                        </a:lnTo>
                        <a:lnTo>
                          <a:pt x="602" y="391"/>
                        </a:lnTo>
                        <a:lnTo>
                          <a:pt x="603" y="390"/>
                        </a:lnTo>
                        <a:lnTo>
                          <a:pt x="608" y="396"/>
                        </a:lnTo>
                        <a:lnTo>
                          <a:pt x="613" y="401"/>
                        </a:lnTo>
                        <a:lnTo>
                          <a:pt x="624" y="412"/>
                        </a:lnTo>
                        <a:lnTo>
                          <a:pt x="635" y="426"/>
                        </a:lnTo>
                        <a:lnTo>
                          <a:pt x="640" y="433"/>
                        </a:lnTo>
                        <a:lnTo>
                          <a:pt x="654" y="441"/>
                        </a:lnTo>
                        <a:lnTo>
                          <a:pt x="655" y="441"/>
                        </a:lnTo>
                        <a:lnTo>
                          <a:pt x="670" y="444"/>
                        </a:lnTo>
                        <a:lnTo>
                          <a:pt x="673" y="447"/>
                        </a:lnTo>
                        <a:lnTo>
                          <a:pt x="679" y="455"/>
                        </a:lnTo>
                        <a:lnTo>
                          <a:pt x="684" y="463"/>
                        </a:lnTo>
                        <a:lnTo>
                          <a:pt x="689" y="469"/>
                        </a:lnTo>
                        <a:lnTo>
                          <a:pt x="692" y="471"/>
                        </a:lnTo>
                        <a:lnTo>
                          <a:pt x="698" y="477"/>
                        </a:lnTo>
                        <a:lnTo>
                          <a:pt x="708" y="488"/>
                        </a:lnTo>
                        <a:lnTo>
                          <a:pt x="719" y="510"/>
                        </a:lnTo>
                        <a:lnTo>
                          <a:pt x="719" y="512"/>
                        </a:lnTo>
                        <a:lnTo>
                          <a:pt x="709" y="529"/>
                        </a:lnTo>
                        <a:lnTo>
                          <a:pt x="711" y="550"/>
                        </a:lnTo>
                        <a:lnTo>
                          <a:pt x="700" y="559"/>
                        </a:lnTo>
                        <a:lnTo>
                          <a:pt x="690" y="575"/>
                        </a:lnTo>
                        <a:lnTo>
                          <a:pt x="692" y="582"/>
                        </a:lnTo>
                        <a:lnTo>
                          <a:pt x="695" y="588"/>
                        </a:lnTo>
                        <a:lnTo>
                          <a:pt x="706" y="604"/>
                        </a:lnTo>
                        <a:lnTo>
                          <a:pt x="708" y="607"/>
                        </a:lnTo>
                        <a:lnTo>
                          <a:pt x="708" y="608"/>
                        </a:lnTo>
                        <a:lnTo>
                          <a:pt x="714" y="613"/>
                        </a:lnTo>
                        <a:lnTo>
                          <a:pt x="708" y="623"/>
                        </a:lnTo>
                        <a:lnTo>
                          <a:pt x="709" y="631"/>
                        </a:lnTo>
                        <a:lnTo>
                          <a:pt x="716" y="650"/>
                        </a:lnTo>
                        <a:lnTo>
                          <a:pt x="722" y="658"/>
                        </a:lnTo>
                        <a:lnTo>
                          <a:pt x="724" y="659"/>
                        </a:lnTo>
                        <a:lnTo>
                          <a:pt x="727" y="664"/>
                        </a:lnTo>
                        <a:lnTo>
                          <a:pt x="730" y="667"/>
                        </a:lnTo>
                        <a:lnTo>
                          <a:pt x="743" y="675"/>
                        </a:lnTo>
                        <a:lnTo>
                          <a:pt x="743" y="677"/>
                        </a:lnTo>
                        <a:lnTo>
                          <a:pt x="744" y="677"/>
                        </a:lnTo>
                        <a:lnTo>
                          <a:pt x="746" y="678"/>
                        </a:lnTo>
                        <a:lnTo>
                          <a:pt x="747" y="680"/>
                        </a:lnTo>
                        <a:lnTo>
                          <a:pt x="751" y="684"/>
                        </a:lnTo>
                        <a:lnTo>
                          <a:pt x="747" y="692"/>
                        </a:lnTo>
                        <a:lnTo>
                          <a:pt x="751" y="697"/>
                        </a:lnTo>
                        <a:lnTo>
                          <a:pt x="757" y="696"/>
                        </a:lnTo>
                        <a:lnTo>
                          <a:pt x="760" y="694"/>
                        </a:lnTo>
                        <a:lnTo>
                          <a:pt x="762" y="692"/>
                        </a:lnTo>
                        <a:lnTo>
                          <a:pt x="762" y="691"/>
                        </a:lnTo>
                        <a:lnTo>
                          <a:pt x="766" y="688"/>
                        </a:lnTo>
                        <a:lnTo>
                          <a:pt x="768" y="691"/>
                        </a:lnTo>
                        <a:lnTo>
                          <a:pt x="768" y="697"/>
                        </a:lnTo>
                        <a:lnTo>
                          <a:pt x="768" y="699"/>
                        </a:lnTo>
                        <a:lnTo>
                          <a:pt x="766" y="702"/>
                        </a:lnTo>
                        <a:lnTo>
                          <a:pt x="763" y="705"/>
                        </a:lnTo>
                        <a:lnTo>
                          <a:pt x="762" y="705"/>
                        </a:lnTo>
                        <a:lnTo>
                          <a:pt x="762" y="707"/>
                        </a:lnTo>
                        <a:lnTo>
                          <a:pt x="762" y="710"/>
                        </a:lnTo>
                        <a:lnTo>
                          <a:pt x="762" y="718"/>
                        </a:lnTo>
                        <a:lnTo>
                          <a:pt x="763" y="718"/>
                        </a:lnTo>
                        <a:lnTo>
                          <a:pt x="765" y="721"/>
                        </a:lnTo>
                        <a:lnTo>
                          <a:pt x="771" y="729"/>
                        </a:lnTo>
                        <a:lnTo>
                          <a:pt x="774" y="732"/>
                        </a:lnTo>
                        <a:lnTo>
                          <a:pt x="777" y="734"/>
                        </a:lnTo>
                        <a:lnTo>
                          <a:pt x="782" y="737"/>
                        </a:lnTo>
                        <a:lnTo>
                          <a:pt x="787" y="740"/>
                        </a:lnTo>
                        <a:lnTo>
                          <a:pt x="790" y="743"/>
                        </a:lnTo>
                        <a:lnTo>
                          <a:pt x="792" y="745"/>
                        </a:lnTo>
                        <a:lnTo>
                          <a:pt x="793" y="746"/>
                        </a:lnTo>
                        <a:lnTo>
                          <a:pt x="795" y="749"/>
                        </a:lnTo>
                        <a:lnTo>
                          <a:pt x="795" y="754"/>
                        </a:lnTo>
                        <a:lnTo>
                          <a:pt x="795" y="761"/>
                        </a:lnTo>
                        <a:lnTo>
                          <a:pt x="796" y="762"/>
                        </a:lnTo>
                        <a:lnTo>
                          <a:pt x="798" y="765"/>
                        </a:lnTo>
                        <a:lnTo>
                          <a:pt x="803" y="768"/>
                        </a:lnTo>
                        <a:lnTo>
                          <a:pt x="811" y="770"/>
                        </a:lnTo>
                        <a:lnTo>
                          <a:pt x="812" y="773"/>
                        </a:lnTo>
                        <a:lnTo>
                          <a:pt x="819" y="775"/>
                        </a:lnTo>
                        <a:lnTo>
                          <a:pt x="819" y="776"/>
                        </a:lnTo>
                        <a:lnTo>
                          <a:pt x="827" y="781"/>
                        </a:lnTo>
                        <a:lnTo>
                          <a:pt x="830" y="784"/>
                        </a:lnTo>
                        <a:lnTo>
                          <a:pt x="831" y="792"/>
                        </a:lnTo>
                        <a:lnTo>
                          <a:pt x="834" y="797"/>
                        </a:lnTo>
                        <a:lnTo>
                          <a:pt x="842" y="802"/>
                        </a:lnTo>
                        <a:lnTo>
                          <a:pt x="847" y="802"/>
                        </a:lnTo>
                        <a:lnTo>
                          <a:pt x="849" y="803"/>
                        </a:lnTo>
                        <a:lnTo>
                          <a:pt x="849" y="802"/>
                        </a:lnTo>
                        <a:lnTo>
                          <a:pt x="849" y="800"/>
                        </a:lnTo>
                        <a:lnTo>
                          <a:pt x="849" y="799"/>
                        </a:lnTo>
                        <a:lnTo>
                          <a:pt x="853" y="799"/>
                        </a:lnTo>
                        <a:lnTo>
                          <a:pt x="853" y="802"/>
                        </a:lnTo>
                        <a:lnTo>
                          <a:pt x="852" y="803"/>
                        </a:lnTo>
                        <a:lnTo>
                          <a:pt x="853" y="805"/>
                        </a:lnTo>
                        <a:lnTo>
                          <a:pt x="857" y="808"/>
                        </a:lnTo>
                        <a:lnTo>
                          <a:pt x="857" y="811"/>
                        </a:lnTo>
                        <a:lnTo>
                          <a:pt x="853" y="818"/>
                        </a:lnTo>
                        <a:lnTo>
                          <a:pt x="849" y="822"/>
                        </a:lnTo>
                        <a:lnTo>
                          <a:pt x="841" y="832"/>
                        </a:lnTo>
                        <a:lnTo>
                          <a:pt x="841" y="840"/>
                        </a:lnTo>
                        <a:lnTo>
                          <a:pt x="842" y="844"/>
                        </a:lnTo>
                        <a:lnTo>
                          <a:pt x="844" y="844"/>
                        </a:lnTo>
                        <a:lnTo>
                          <a:pt x="852" y="852"/>
                        </a:lnTo>
                        <a:lnTo>
                          <a:pt x="861" y="856"/>
                        </a:lnTo>
                        <a:lnTo>
                          <a:pt x="874" y="856"/>
                        </a:lnTo>
                        <a:lnTo>
                          <a:pt x="882" y="856"/>
                        </a:lnTo>
                        <a:lnTo>
                          <a:pt x="892" y="856"/>
                        </a:lnTo>
                        <a:lnTo>
                          <a:pt x="914" y="856"/>
                        </a:lnTo>
                        <a:lnTo>
                          <a:pt x="933" y="856"/>
                        </a:lnTo>
                        <a:lnTo>
                          <a:pt x="944" y="856"/>
                        </a:lnTo>
                        <a:lnTo>
                          <a:pt x="947" y="856"/>
                        </a:lnTo>
                        <a:lnTo>
                          <a:pt x="953" y="860"/>
                        </a:lnTo>
                        <a:lnTo>
                          <a:pt x="961" y="865"/>
                        </a:lnTo>
                        <a:lnTo>
                          <a:pt x="955" y="868"/>
                        </a:lnTo>
                        <a:lnTo>
                          <a:pt x="953" y="868"/>
                        </a:lnTo>
                        <a:lnTo>
                          <a:pt x="953" y="870"/>
                        </a:lnTo>
                        <a:lnTo>
                          <a:pt x="950" y="873"/>
                        </a:lnTo>
                        <a:lnTo>
                          <a:pt x="952" y="887"/>
                        </a:lnTo>
                        <a:lnTo>
                          <a:pt x="958" y="889"/>
                        </a:lnTo>
                        <a:lnTo>
                          <a:pt x="980" y="902"/>
                        </a:lnTo>
                        <a:lnTo>
                          <a:pt x="987" y="900"/>
                        </a:lnTo>
                        <a:lnTo>
                          <a:pt x="993" y="898"/>
                        </a:lnTo>
                        <a:lnTo>
                          <a:pt x="996" y="898"/>
                        </a:lnTo>
                        <a:lnTo>
                          <a:pt x="999" y="898"/>
                        </a:lnTo>
                        <a:lnTo>
                          <a:pt x="1002" y="898"/>
                        </a:lnTo>
                        <a:lnTo>
                          <a:pt x="1007" y="900"/>
                        </a:lnTo>
                        <a:lnTo>
                          <a:pt x="1029" y="902"/>
                        </a:lnTo>
                        <a:lnTo>
                          <a:pt x="1031" y="903"/>
                        </a:lnTo>
                        <a:lnTo>
                          <a:pt x="1032" y="905"/>
                        </a:lnTo>
                        <a:lnTo>
                          <a:pt x="1034" y="905"/>
                        </a:lnTo>
                        <a:lnTo>
                          <a:pt x="1044" y="911"/>
                        </a:lnTo>
                        <a:lnTo>
                          <a:pt x="1048" y="914"/>
                        </a:lnTo>
                        <a:lnTo>
                          <a:pt x="1056" y="921"/>
                        </a:lnTo>
                        <a:lnTo>
                          <a:pt x="1061" y="925"/>
                        </a:lnTo>
                        <a:lnTo>
                          <a:pt x="1063" y="925"/>
                        </a:lnTo>
                        <a:lnTo>
                          <a:pt x="1071" y="928"/>
                        </a:lnTo>
                        <a:lnTo>
                          <a:pt x="1080" y="927"/>
                        </a:lnTo>
                        <a:lnTo>
                          <a:pt x="1083" y="930"/>
                        </a:lnTo>
                        <a:lnTo>
                          <a:pt x="1086" y="933"/>
                        </a:lnTo>
                        <a:lnTo>
                          <a:pt x="1088" y="936"/>
                        </a:lnTo>
                        <a:lnTo>
                          <a:pt x="1091" y="938"/>
                        </a:lnTo>
                        <a:lnTo>
                          <a:pt x="1093" y="944"/>
                        </a:lnTo>
                        <a:lnTo>
                          <a:pt x="1096" y="955"/>
                        </a:lnTo>
                        <a:lnTo>
                          <a:pt x="1091" y="963"/>
                        </a:lnTo>
                        <a:lnTo>
                          <a:pt x="1093" y="971"/>
                        </a:lnTo>
                        <a:lnTo>
                          <a:pt x="1096" y="982"/>
                        </a:lnTo>
                        <a:lnTo>
                          <a:pt x="1102" y="984"/>
                        </a:lnTo>
                        <a:lnTo>
                          <a:pt x="1112" y="985"/>
                        </a:lnTo>
                        <a:lnTo>
                          <a:pt x="1113" y="987"/>
                        </a:lnTo>
                        <a:lnTo>
                          <a:pt x="1115" y="987"/>
                        </a:lnTo>
                        <a:lnTo>
                          <a:pt x="1129" y="998"/>
                        </a:lnTo>
                        <a:lnTo>
                          <a:pt x="1135" y="998"/>
                        </a:lnTo>
                        <a:lnTo>
                          <a:pt x="1140" y="998"/>
                        </a:lnTo>
                        <a:lnTo>
                          <a:pt x="1148" y="1006"/>
                        </a:lnTo>
                        <a:lnTo>
                          <a:pt x="1170" y="1028"/>
                        </a:lnTo>
                        <a:lnTo>
                          <a:pt x="1183" y="1028"/>
                        </a:lnTo>
                        <a:lnTo>
                          <a:pt x="1185" y="1030"/>
                        </a:lnTo>
                        <a:lnTo>
                          <a:pt x="1185" y="1033"/>
                        </a:lnTo>
                        <a:lnTo>
                          <a:pt x="1196" y="1036"/>
                        </a:lnTo>
                        <a:lnTo>
                          <a:pt x="1205" y="1039"/>
                        </a:lnTo>
                        <a:lnTo>
                          <a:pt x="1211" y="1041"/>
                        </a:lnTo>
                        <a:lnTo>
                          <a:pt x="1219" y="1042"/>
                        </a:lnTo>
                        <a:lnTo>
                          <a:pt x="1223" y="1044"/>
                        </a:lnTo>
                        <a:lnTo>
                          <a:pt x="1227" y="1042"/>
                        </a:lnTo>
                        <a:lnTo>
                          <a:pt x="1235" y="1041"/>
                        </a:lnTo>
                        <a:lnTo>
                          <a:pt x="1261" y="1061"/>
                        </a:lnTo>
                        <a:lnTo>
                          <a:pt x="1261" y="1066"/>
                        </a:lnTo>
                        <a:lnTo>
                          <a:pt x="1259" y="1066"/>
                        </a:lnTo>
                        <a:lnTo>
                          <a:pt x="1246" y="1073"/>
                        </a:lnTo>
                        <a:lnTo>
                          <a:pt x="1243" y="1073"/>
                        </a:lnTo>
                        <a:lnTo>
                          <a:pt x="1242" y="1073"/>
                        </a:lnTo>
                        <a:lnTo>
                          <a:pt x="1232" y="1077"/>
                        </a:lnTo>
                        <a:lnTo>
                          <a:pt x="1229" y="1077"/>
                        </a:lnTo>
                        <a:lnTo>
                          <a:pt x="1223" y="1066"/>
                        </a:lnTo>
                        <a:lnTo>
                          <a:pt x="1223" y="1060"/>
                        </a:lnTo>
                        <a:lnTo>
                          <a:pt x="1221" y="1054"/>
                        </a:lnTo>
                        <a:lnTo>
                          <a:pt x="1216" y="1052"/>
                        </a:lnTo>
                        <a:lnTo>
                          <a:pt x="1215" y="1052"/>
                        </a:lnTo>
                        <a:lnTo>
                          <a:pt x="1211" y="1052"/>
                        </a:lnTo>
                        <a:lnTo>
                          <a:pt x="1211" y="1060"/>
                        </a:lnTo>
                        <a:lnTo>
                          <a:pt x="1213" y="1068"/>
                        </a:lnTo>
                        <a:lnTo>
                          <a:pt x="1211" y="1069"/>
                        </a:lnTo>
                        <a:lnTo>
                          <a:pt x="1211" y="1076"/>
                        </a:lnTo>
                        <a:lnTo>
                          <a:pt x="1207" y="1082"/>
                        </a:lnTo>
                        <a:lnTo>
                          <a:pt x="1205" y="1082"/>
                        </a:lnTo>
                        <a:lnTo>
                          <a:pt x="1202" y="1087"/>
                        </a:lnTo>
                        <a:lnTo>
                          <a:pt x="1199" y="1087"/>
                        </a:lnTo>
                        <a:lnTo>
                          <a:pt x="1197" y="1085"/>
                        </a:lnTo>
                        <a:lnTo>
                          <a:pt x="1196" y="1085"/>
                        </a:lnTo>
                        <a:lnTo>
                          <a:pt x="1178" y="1084"/>
                        </a:lnTo>
                        <a:lnTo>
                          <a:pt x="1177" y="1079"/>
                        </a:lnTo>
                        <a:lnTo>
                          <a:pt x="1175" y="1079"/>
                        </a:lnTo>
                        <a:lnTo>
                          <a:pt x="1170" y="1076"/>
                        </a:lnTo>
                        <a:lnTo>
                          <a:pt x="1169" y="1074"/>
                        </a:lnTo>
                        <a:lnTo>
                          <a:pt x="1166" y="1077"/>
                        </a:lnTo>
                        <a:lnTo>
                          <a:pt x="1162" y="1077"/>
                        </a:lnTo>
                        <a:lnTo>
                          <a:pt x="1161" y="1077"/>
                        </a:lnTo>
                        <a:lnTo>
                          <a:pt x="1153" y="1074"/>
                        </a:lnTo>
                        <a:lnTo>
                          <a:pt x="1143" y="1068"/>
                        </a:lnTo>
                        <a:lnTo>
                          <a:pt x="1139" y="1065"/>
                        </a:lnTo>
                        <a:lnTo>
                          <a:pt x="1137" y="1065"/>
                        </a:lnTo>
                        <a:lnTo>
                          <a:pt x="1135" y="1063"/>
                        </a:lnTo>
                        <a:lnTo>
                          <a:pt x="1134" y="1063"/>
                        </a:lnTo>
                        <a:lnTo>
                          <a:pt x="1132" y="1061"/>
                        </a:lnTo>
                        <a:lnTo>
                          <a:pt x="1131" y="1061"/>
                        </a:lnTo>
                        <a:lnTo>
                          <a:pt x="1128" y="1060"/>
                        </a:lnTo>
                        <a:lnTo>
                          <a:pt x="1128" y="1058"/>
                        </a:lnTo>
                        <a:lnTo>
                          <a:pt x="1126" y="1058"/>
                        </a:lnTo>
                        <a:lnTo>
                          <a:pt x="1121" y="1057"/>
                        </a:lnTo>
                        <a:lnTo>
                          <a:pt x="1120" y="1055"/>
                        </a:lnTo>
                        <a:lnTo>
                          <a:pt x="1104" y="1057"/>
                        </a:lnTo>
                        <a:lnTo>
                          <a:pt x="1101" y="1055"/>
                        </a:lnTo>
                        <a:lnTo>
                          <a:pt x="1099" y="1054"/>
                        </a:lnTo>
                        <a:lnTo>
                          <a:pt x="1086" y="1052"/>
                        </a:lnTo>
                        <a:lnTo>
                          <a:pt x="1085" y="1054"/>
                        </a:lnTo>
                        <a:lnTo>
                          <a:pt x="1082" y="1054"/>
                        </a:lnTo>
                        <a:lnTo>
                          <a:pt x="1082" y="1082"/>
                        </a:lnTo>
                        <a:lnTo>
                          <a:pt x="1082" y="1084"/>
                        </a:lnTo>
                        <a:lnTo>
                          <a:pt x="1082" y="1090"/>
                        </a:lnTo>
                        <a:lnTo>
                          <a:pt x="1082" y="1122"/>
                        </a:lnTo>
                        <a:lnTo>
                          <a:pt x="1082" y="1158"/>
                        </a:lnTo>
                        <a:lnTo>
                          <a:pt x="1082" y="1164"/>
                        </a:lnTo>
                        <a:lnTo>
                          <a:pt x="1082" y="1182"/>
                        </a:lnTo>
                        <a:lnTo>
                          <a:pt x="1082" y="1201"/>
                        </a:lnTo>
                        <a:lnTo>
                          <a:pt x="1082" y="1217"/>
                        </a:lnTo>
                        <a:lnTo>
                          <a:pt x="1082" y="1225"/>
                        </a:lnTo>
                        <a:lnTo>
                          <a:pt x="1082" y="1231"/>
                        </a:lnTo>
                        <a:lnTo>
                          <a:pt x="1080" y="1231"/>
                        </a:lnTo>
                        <a:lnTo>
                          <a:pt x="1078" y="1231"/>
                        </a:lnTo>
                        <a:lnTo>
                          <a:pt x="1078" y="1229"/>
                        </a:lnTo>
                        <a:lnTo>
                          <a:pt x="1077" y="1231"/>
                        </a:lnTo>
                        <a:lnTo>
                          <a:pt x="1075" y="1231"/>
                        </a:lnTo>
                        <a:lnTo>
                          <a:pt x="1074" y="1231"/>
                        </a:lnTo>
                        <a:lnTo>
                          <a:pt x="1072" y="1231"/>
                        </a:lnTo>
                        <a:lnTo>
                          <a:pt x="1071" y="1231"/>
                        </a:lnTo>
                        <a:lnTo>
                          <a:pt x="1069" y="1229"/>
                        </a:lnTo>
                        <a:lnTo>
                          <a:pt x="1067" y="1231"/>
                        </a:lnTo>
                        <a:lnTo>
                          <a:pt x="1066" y="1231"/>
                        </a:lnTo>
                        <a:lnTo>
                          <a:pt x="1064" y="1231"/>
                        </a:lnTo>
                        <a:lnTo>
                          <a:pt x="1063" y="1231"/>
                        </a:lnTo>
                        <a:lnTo>
                          <a:pt x="1061" y="1231"/>
                        </a:lnTo>
                        <a:lnTo>
                          <a:pt x="1059" y="1233"/>
                        </a:lnTo>
                        <a:lnTo>
                          <a:pt x="1056" y="1233"/>
                        </a:lnTo>
                        <a:lnTo>
                          <a:pt x="1055" y="1233"/>
                        </a:lnTo>
                        <a:lnTo>
                          <a:pt x="1053" y="1231"/>
                        </a:lnTo>
                        <a:lnTo>
                          <a:pt x="1052" y="1231"/>
                        </a:lnTo>
                        <a:lnTo>
                          <a:pt x="1048" y="1233"/>
                        </a:lnTo>
                        <a:lnTo>
                          <a:pt x="1047" y="1233"/>
                        </a:lnTo>
                        <a:lnTo>
                          <a:pt x="1045" y="1233"/>
                        </a:lnTo>
                        <a:lnTo>
                          <a:pt x="1044" y="1233"/>
                        </a:lnTo>
                        <a:lnTo>
                          <a:pt x="1042" y="1233"/>
                        </a:lnTo>
                        <a:lnTo>
                          <a:pt x="1042" y="1231"/>
                        </a:lnTo>
                        <a:lnTo>
                          <a:pt x="1042" y="1233"/>
                        </a:lnTo>
                        <a:lnTo>
                          <a:pt x="1040" y="1234"/>
                        </a:lnTo>
                        <a:lnTo>
                          <a:pt x="1039" y="1234"/>
                        </a:lnTo>
                        <a:lnTo>
                          <a:pt x="1037" y="1234"/>
                        </a:lnTo>
                        <a:lnTo>
                          <a:pt x="1036" y="1234"/>
                        </a:lnTo>
                        <a:lnTo>
                          <a:pt x="1034" y="1237"/>
                        </a:lnTo>
                        <a:lnTo>
                          <a:pt x="1032" y="1239"/>
                        </a:lnTo>
                        <a:lnTo>
                          <a:pt x="1031" y="1239"/>
                        </a:lnTo>
                        <a:lnTo>
                          <a:pt x="1029" y="1240"/>
                        </a:lnTo>
                        <a:lnTo>
                          <a:pt x="1028" y="1242"/>
                        </a:lnTo>
                        <a:lnTo>
                          <a:pt x="1028" y="1244"/>
                        </a:lnTo>
                        <a:lnTo>
                          <a:pt x="1025" y="1244"/>
                        </a:lnTo>
                        <a:lnTo>
                          <a:pt x="1025" y="1245"/>
                        </a:lnTo>
                        <a:lnTo>
                          <a:pt x="1025" y="1247"/>
                        </a:lnTo>
                        <a:lnTo>
                          <a:pt x="1025" y="1248"/>
                        </a:lnTo>
                        <a:lnTo>
                          <a:pt x="1023" y="1248"/>
                        </a:lnTo>
                        <a:lnTo>
                          <a:pt x="1021" y="1248"/>
                        </a:lnTo>
                        <a:lnTo>
                          <a:pt x="1020" y="1250"/>
                        </a:lnTo>
                        <a:lnTo>
                          <a:pt x="1018" y="1250"/>
                        </a:lnTo>
                        <a:lnTo>
                          <a:pt x="1017" y="1248"/>
                        </a:lnTo>
                        <a:lnTo>
                          <a:pt x="1015" y="1248"/>
                        </a:lnTo>
                        <a:lnTo>
                          <a:pt x="1013" y="1248"/>
                        </a:lnTo>
                        <a:lnTo>
                          <a:pt x="1013" y="1250"/>
                        </a:lnTo>
                        <a:lnTo>
                          <a:pt x="1015" y="1252"/>
                        </a:lnTo>
                        <a:lnTo>
                          <a:pt x="1015" y="1253"/>
                        </a:lnTo>
                        <a:lnTo>
                          <a:pt x="1015" y="1255"/>
                        </a:lnTo>
                        <a:lnTo>
                          <a:pt x="1015" y="1258"/>
                        </a:lnTo>
                        <a:lnTo>
                          <a:pt x="1013" y="1258"/>
                        </a:lnTo>
                        <a:lnTo>
                          <a:pt x="1012" y="1260"/>
                        </a:lnTo>
                        <a:lnTo>
                          <a:pt x="1010" y="1260"/>
                        </a:lnTo>
                        <a:lnTo>
                          <a:pt x="1009" y="1261"/>
                        </a:lnTo>
                        <a:lnTo>
                          <a:pt x="1007" y="1261"/>
                        </a:lnTo>
                        <a:lnTo>
                          <a:pt x="1006" y="1261"/>
                        </a:lnTo>
                        <a:lnTo>
                          <a:pt x="1004" y="1261"/>
                        </a:lnTo>
                        <a:lnTo>
                          <a:pt x="1002" y="1260"/>
                        </a:lnTo>
                        <a:lnTo>
                          <a:pt x="1001" y="1260"/>
                        </a:lnTo>
                        <a:lnTo>
                          <a:pt x="1001" y="1258"/>
                        </a:lnTo>
                        <a:lnTo>
                          <a:pt x="999" y="1256"/>
                        </a:lnTo>
                        <a:lnTo>
                          <a:pt x="998" y="1256"/>
                        </a:lnTo>
                        <a:lnTo>
                          <a:pt x="996" y="1256"/>
                        </a:lnTo>
                        <a:lnTo>
                          <a:pt x="994" y="1256"/>
                        </a:lnTo>
                        <a:lnTo>
                          <a:pt x="994" y="1255"/>
                        </a:lnTo>
                        <a:lnTo>
                          <a:pt x="993" y="1255"/>
                        </a:lnTo>
                        <a:lnTo>
                          <a:pt x="993" y="1256"/>
                        </a:lnTo>
                        <a:lnTo>
                          <a:pt x="991" y="1256"/>
                        </a:lnTo>
                        <a:lnTo>
                          <a:pt x="990" y="1256"/>
                        </a:lnTo>
                        <a:lnTo>
                          <a:pt x="988" y="1258"/>
                        </a:lnTo>
                        <a:lnTo>
                          <a:pt x="988" y="1260"/>
                        </a:lnTo>
                        <a:lnTo>
                          <a:pt x="987" y="1260"/>
                        </a:lnTo>
                        <a:lnTo>
                          <a:pt x="987" y="1261"/>
                        </a:lnTo>
                        <a:lnTo>
                          <a:pt x="985" y="1263"/>
                        </a:lnTo>
                        <a:lnTo>
                          <a:pt x="985" y="1264"/>
                        </a:lnTo>
                        <a:lnTo>
                          <a:pt x="987" y="1266"/>
                        </a:lnTo>
                        <a:lnTo>
                          <a:pt x="988" y="1267"/>
                        </a:lnTo>
                        <a:lnTo>
                          <a:pt x="990" y="1267"/>
                        </a:lnTo>
                        <a:lnTo>
                          <a:pt x="991" y="1269"/>
                        </a:lnTo>
                        <a:lnTo>
                          <a:pt x="990" y="1272"/>
                        </a:lnTo>
                        <a:lnTo>
                          <a:pt x="990" y="1274"/>
                        </a:lnTo>
                        <a:lnTo>
                          <a:pt x="988" y="1274"/>
                        </a:lnTo>
                        <a:lnTo>
                          <a:pt x="987" y="1274"/>
                        </a:lnTo>
                        <a:lnTo>
                          <a:pt x="985" y="1274"/>
                        </a:lnTo>
                        <a:lnTo>
                          <a:pt x="985" y="1275"/>
                        </a:lnTo>
                        <a:lnTo>
                          <a:pt x="985" y="1277"/>
                        </a:lnTo>
                        <a:lnTo>
                          <a:pt x="983" y="1277"/>
                        </a:lnTo>
                        <a:lnTo>
                          <a:pt x="982" y="1277"/>
                        </a:lnTo>
                        <a:lnTo>
                          <a:pt x="980" y="1277"/>
                        </a:lnTo>
                        <a:lnTo>
                          <a:pt x="980" y="1279"/>
                        </a:lnTo>
                        <a:lnTo>
                          <a:pt x="979" y="1279"/>
                        </a:lnTo>
                        <a:lnTo>
                          <a:pt x="977" y="1279"/>
                        </a:lnTo>
                        <a:lnTo>
                          <a:pt x="975" y="1279"/>
                        </a:lnTo>
                        <a:lnTo>
                          <a:pt x="975" y="1280"/>
                        </a:lnTo>
                        <a:lnTo>
                          <a:pt x="974" y="1280"/>
                        </a:lnTo>
                        <a:lnTo>
                          <a:pt x="974" y="1282"/>
                        </a:lnTo>
                        <a:lnTo>
                          <a:pt x="972" y="1282"/>
                        </a:lnTo>
                        <a:lnTo>
                          <a:pt x="971" y="1280"/>
                        </a:lnTo>
                        <a:lnTo>
                          <a:pt x="969" y="1280"/>
                        </a:lnTo>
                        <a:lnTo>
                          <a:pt x="968" y="1279"/>
                        </a:lnTo>
                        <a:lnTo>
                          <a:pt x="966" y="1280"/>
                        </a:lnTo>
                        <a:lnTo>
                          <a:pt x="966" y="1279"/>
                        </a:lnTo>
                        <a:lnTo>
                          <a:pt x="966" y="1277"/>
                        </a:lnTo>
                        <a:lnTo>
                          <a:pt x="964" y="1279"/>
                        </a:lnTo>
                        <a:lnTo>
                          <a:pt x="963" y="1277"/>
                        </a:lnTo>
                        <a:lnTo>
                          <a:pt x="963" y="1275"/>
                        </a:lnTo>
                        <a:lnTo>
                          <a:pt x="961" y="1275"/>
                        </a:lnTo>
                        <a:lnTo>
                          <a:pt x="961" y="1274"/>
                        </a:lnTo>
                        <a:lnTo>
                          <a:pt x="960" y="1272"/>
                        </a:lnTo>
                        <a:lnTo>
                          <a:pt x="961" y="1271"/>
                        </a:lnTo>
                        <a:lnTo>
                          <a:pt x="960" y="1271"/>
                        </a:lnTo>
                        <a:lnTo>
                          <a:pt x="960" y="1269"/>
                        </a:lnTo>
                        <a:lnTo>
                          <a:pt x="958" y="1267"/>
                        </a:lnTo>
                        <a:lnTo>
                          <a:pt x="958" y="1266"/>
                        </a:lnTo>
                        <a:lnTo>
                          <a:pt x="956" y="1266"/>
                        </a:lnTo>
                        <a:lnTo>
                          <a:pt x="955" y="1266"/>
                        </a:lnTo>
                        <a:lnTo>
                          <a:pt x="953" y="1266"/>
                        </a:lnTo>
                        <a:lnTo>
                          <a:pt x="953" y="1267"/>
                        </a:lnTo>
                        <a:lnTo>
                          <a:pt x="952" y="1267"/>
                        </a:lnTo>
                        <a:lnTo>
                          <a:pt x="950" y="1267"/>
                        </a:lnTo>
                        <a:lnTo>
                          <a:pt x="949" y="1267"/>
                        </a:lnTo>
                        <a:lnTo>
                          <a:pt x="947" y="1267"/>
                        </a:lnTo>
                        <a:lnTo>
                          <a:pt x="947" y="1269"/>
                        </a:lnTo>
                        <a:lnTo>
                          <a:pt x="945" y="1271"/>
                        </a:lnTo>
                        <a:lnTo>
                          <a:pt x="947" y="1272"/>
                        </a:lnTo>
                        <a:lnTo>
                          <a:pt x="947" y="1274"/>
                        </a:lnTo>
                        <a:lnTo>
                          <a:pt x="947" y="1275"/>
                        </a:lnTo>
                        <a:lnTo>
                          <a:pt x="945" y="1277"/>
                        </a:lnTo>
                        <a:lnTo>
                          <a:pt x="947" y="1277"/>
                        </a:lnTo>
                        <a:lnTo>
                          <a:pt x="949" y="1279"/>
                        </a:lnTo>
                        <a:lnTo>
                          <a:pt x="949" y="1280"/>
                        </a:lnTo>
                        <a:lnTo>
                          <a:pt x="950" y="1282"/>
                        </a:lnTo>
                        <a:lnTo>
                          <a:pt x="950" y="1285"/>
                        </a:lnTo>
                        <a:lnTo>
                          <a:pt x="950" y="1286"/>
                        </a:lnTo>
                        <a:lnTo>
                          <a:pt x="950" y="1290"/>
                        </a:lnTo>
                        <a:lnTo>
                          <a:pt x="949" y="1291"/>
                        </a:lnTo>
                        <a:lnTo>
                          <a:pt x="947" y="1293"/>
                        </a:lnTo>
                        <a:lnTo>
                          <a:pt x="947" y="1294"/>
                        </a:lnTo>
                        <a:lnTo>
                          <a:pt x="945" y="1294"/>
                        </a:lnTo>
                        <a:lnTo>
                          <a:pt x="944" y="1294"/>
                        </a:lnTo>
                        <a:lnTo>
                          <a:pt x="942" y="1294"/>
                        </a:lnTo>
                        <a:lnTo>
                          <a:pt x="942" y="1293"/>
                        </a:lnTo>
                        <a:lnTo>
                          <a:pt x="941" y="1293"/>
                        </a:lnTo>
                        <a:lnTo>
                          <a:pt x="939" y="1293"/>
                        </a:lnTo>
                        <a:lnTo>
                          <a:pt x="936" y="1291"/>
                        </a:lnTo>
                        <a:lnTo>
                          <a:pt x="934" y="1290"/>
                        </a:lnTo>
                        <a:lnTo>
                          <a:pt x="933" y="1290"/>
                        </a:lnTo>
                        <a:lnTo>
                          <a:pt x="931" y="1290"/>
                        </a:lnTo>
                        <a:lnTo>
                          <a:pt x="930" y="1288"/>
                        </a:lnTo>
                        <a:lnTo>
                          <a:pt x="928" y="1288"/>
                        </a:lnTo>
                        <a:lnTo>
                          <a:pt x="926" y="1286"/>
                        </a:lnTo>
                        <a:lnTo>
                          <a:pt x="925" y="1286"/>
                        </a:lnTo>
                        <a:lnTo>
                          <a:pt x="923" y="1286"/>
                        </a:lnTo>
                        <a:lnTo>
                          <a:pt x="923" y="1288"/>
                        </a:lnTo>
                        <a:lnTo>
                          <a:pt x="922" y="1288"/>
                        </a:lnTo>
                        <a:lnTo>
                          <a:pt x="920" y="1288"/>
                        </a:lnTo>
                        <a:lnTo>
                          <a:pt x="918" y="1290"/>
                        </a:lnTo>
                        <a:lnTo>
                          <a:pt x="917" y="1291"/>
                        </a:lnTo>
                        <a:lnTo>
                          <a:pt x="915" y="1291"/>
                        </a:lnTo>
                        <a:lnTo>
                          <a:pt x="912" y="1293"/>
                        </a:lnTo>
                        <a:lnTo>
                          <a:pt x="911" y="1291"/>
                        </a:lnTo>
                        <a:lnTo>
                          <a:pt x="909" y="1293"/>
                        </a:lnTo>
                        <a:lnTo>
                          <a:pt x="907" y="1293"/>
                        </a:lnTo>
                        <a:lnTo>
                          <a:pt x="907" y="1294"/>
                        </a:lnTo>
                        <a:lnTo>
                          <a:pt x="906" y="1294"/>
                        </a:lnTo>
                        <a:lnTo>
                          <a:pt x="904" y="1294"/>
                        </a:lnTo>
                        <a:lnTo>
                          <a:pt x="903" y="1293"/>
                        </a:lnTo>
                        <a:lnTo>
                          <a:pt x="901" y="1293"/>
                        </a:lnTo>
                        <a:lnTo>
                          <a:pt x="899" y="1293"/>
                        </a:lnTo>
                        <a:lnTo>
                          <a:pt x="898" y="1293"/>
                        </a:lnTo>
                        <a:lnTo>
                          <a:pt x="896" y="1291"/>
                        </a:lnTo>
                        <a:lnTo>
                          <a:pt x="896" y="1290"/>
                        </a:lnTo>
                        <a:lnTo>
                          <a:pt x="895" y="1290"/>
                        </a:lnTo>
                        <a:lnTo>
                          <a:pt x="895" y="1288"/>
                        </a:lnTo>
                        <a:lnTo>
                          <a:pt x="895" y="1286"/>
                        </a:lnTo>
                        <a:lnTo>
                          <a:pt x="895" y="1283"/>
                        </a:lnTo>
                        <a:lnTo>
                          <a:pt x="896" y="1282"/>
                        </a:lnTo>
                        <a:lnTo>
                          <a:pt x="896" y="1280"/>
                        </a:lnTo>
                        <a:lnTo>
                          <a:pt x="895" y="1280"/>
                        </a:lnTo>
                        <a:lnTo>
                          <a:pt x="895" y="1279"/>
                        </a:lnTo>
                        <a:lnTo>
                          <a:pt x="893" y="1279"/>
                        </a:lnTo>
                        <a:lnTo>
                          <a:pt x="892" y="1280"/>
                        </a:lnTo>
                        <a:lnTo>
                          <a:pt x="890" y="1280"/>
                        </a:lnTo>
                        <a:lnTo>
                          <a:pt x="888" y="1280"/>
                        </a:lnTo>
                        <a:lnTo>
                          <a:pt x="887" y="1280"/>
                        </a:lnTo>
                        <a:lnTo>
                          <a:pt x="885" y="1280"/>
                        </a:lnTo>
                        <a:lnTo>
                          <a:pt x="885" y="1282"/>
                        </a:lnTo>
                        <a:lnTo>
                          <a:pt x="885" y="1283"/>
                        </a:lnTo>
                        <a:lnTo>
                          <a:pt x="884" y="1286"/>
                        </a:lnTo>
                        <a:lnTo>
                          <a:pt x="885" y="1288"/>
                        </a:lnTo>
                        <a:lnTo>
                          <a:pt x="885" y="1290"/>
                        </a:lnTo>
                        <a:lnTo>
                          <a:pt x="885" y="1291"/>
                        </a:lnTo>
                        <a:lnTo>
                          <a:pt x="885" y="1293"/>
                        </a:lnTo>
                        <a:lnTo>
                          <a:pt x="884" y="1293"/>
                        </a:lnTo>
                        <a:lnTo>
                          <a:pt x="882" y="1294"/>
                        </a:lnTo>
                        <a:lnTo>
                          <a:pt x="880" y="1294"/>
                        </a:lnTo>
                        <a:lnTo>
                          <a:pt x="879" y="1294"/>
                        </a:lnTo>
                        <a:lnTo>
                          <a:pt x="877" y="1294"/>
                        </a:lnTo>
                        <a:lnTo>
                          <a:pt x="874" y="1294"/>
                        </a:lnTo>
                        <a:lnTo>
                          <a:pt x="873" y="1294"/>
                        </a:lnTo>
                        <a:lnTo>
                          <a:pt x="871" y="1293"/>
                        </a:lnTo>
                        <a:lnTo>
                          <a:pt x="873" y="1291"/>
                        </a:lnTo>
                        <a:lnTo>
                          <a:pt x="873" y="1290"/>
                        </a:lnTo>
                        <a:lnTo>
                          <a:pt x="871" y="1288"/>
                        </a:lnTo>
                        <a:lnTo>
                          <a:pt x="871" y="1286"/>
                        </a:lnTo>
                        <a:lnTo>
                          <a:pt x="869" y="1283"/>
                        </a:lnTo>
                        <a:lnTo>
                          <a:pt x="869" y="1282"/>
                        </a:lnTo>
                        <a:lnTo>
                          <a:pt x="868" y="1280"/>
                        </a:lnTo>
                        <a:lnTo>
                          <a:pt x="866" y="1280"/>
                        </a:lnTo>
                        <a:lnTo>
                          <a:pt x="865" y="1280"/>
                        </a:lnTo>
                        <a:lnTo>
                          <a:pt x="865" y="1279"/>
                        </a:lnTo>
                        <a:lnTo>
                          <a:pt x="861" y="1279"/>
                        </a:lnTo>
                        <a:lnTo>
                          <a:pt x="860" y="1280"/>
                        </a:lnTo>
                        <a:lnTo>
                          <a:pt x="860" y="1282"/>
                        </a:lnTo>
                        <a:lnTo>
                          <a:pt x="861" y="1283"/>
                        </a:lnTo>
                        <a:lnTo>
                          <a:pt x="860" y="1285"/>
                        </a:lnTo>
                        <a:lnTo>
                          <a:pt x="858" y="1286"/>
                        </a:lnTo>
                        <a:lnTo>
                          <a:pt x="857" y="1285"/>
                        </a:lnTo>
                        <a:lnTo>
                          <a:pt x="853" y="1285"/>
                        </a:lnTo>
                        <a:lnTo>
                          <a:pt x="852" y="1285"/>
                        </a:lnTo>
                        <a:lnTo>
                          <a:pt x="850" y="1286"/>
                        </a:lnTo>
                        <a:lnTo>
                          <a:pt x="849" y="1286"/>
                        </a:lnTo>
                        <a:lnTo>
                          <a:pt x="847" y="1286"/>
                        </a:lnTo>
                        <a:lnTo>
                          <a:pt x="847" y="1288"/>
                        </a:lnTo>
                        <a:lnTo>
                          <a:pt x="847" y="1290"/>
                        </a:lnTo>
                        <a:lnTo>
                          <a:pt x="847" y="1291"/>
                        </a:lnTo>
                        <a:lnTo>
                          <a:pt x="846" y="1291"/>
                        </a:lnTo>
                        <a:lnTo>
                          <a:pt x="844" y="1291"/>
                        </a:lnTo>
                        <a:lnTo>
                          <a:pt x="844" y="1293"/>
                        </a:lnTo>
                        <a:lnTo>
                          <a:pt x="844" y="1294"/>
                        </a:lnTo>
                        <a:lnTo>
                          <a:pt x="842" y="1296"/>
                        </a:lnTo>
                        <a:lnTo>
                          <a:pt x="841" y="1298"/>
                        </a:lnTo>
                        <a:lnTo>
                          <a:pt x="839" y="1299"/>
                        </a:lnTo>
                        <a:lnTo>
                          <a:pt x="838" y="1301"/>
                        </a:lnTo>
                        <a:lnTo>
                          <a:pt x="836" y="1301"/>
                        </a:lnTo>
                        <a:lnTo>
                          <a:pt x="834" y="1299"/>
                        </a:lnTo>
                        <a:lnTo>
                          <a:pt x="834" y="1298"/>
                        </a:lnTo>
                        <a:lnTo>
                          <a:pt x="833" y="1298"/>
                        </a:lnTo>
                        <a:lnTo>
                          <a:pt x="831" y="1298"/>
                        </a:lnTo>
                        <a:lnTo>
                          <a:pt x="828" y="1294"/>
                        </a:lnTo>
                        <a:lnTo>
                          <a:pt x="827" y="1291"/>
                        </a:lnTo>
                        <a:lnTo>
                          <a:pt x="827" y="1290"/>
                        </a:lnTo>
                        <a:lnTo>
                          <a:pt x="825" y="1288"/>
                        </a:lnTo>
                        <a:lnTo>
                          <a:pt x="825" y="1286"/>
                        </a:lnTo>
                        <a:lnTo>
                          <a:pt x="823" y="1285"/>
                        </a:lnTo>
                        <a:lnTo>
                          <a:pt x="823" y="1282"/>
                        </a:lnTo>
                        <a:lnTo>
                          <a:pt x="823" y="1280"/>
                        </a:lnTo>
                        <a:lnTo>
                          <a:pt x="823" y="1275"/>
                        </a:lnTo>
                        <a:lnTo>
                          <a:pt x="823" y="1274"/>
                        </a:lnTo>
                        <a:lnTo>
                          <a:pt x="823" y="1272"/>
                        </a:lnTo>
                        <a:lnTo>
                          <a:pt x="823" y="1271"/>
                        </a:lnTo>
                        <a:lnTo>
                          <a:pt x="822" y="1269"/>
                        </a:lnTo>
                        <a:lnTo>
                          <a:pt x="822" y="1266"/>
                        </a:lnTo>
                        <a:lnTo>
                          <a:pt x="822" y="1264"/>
                        </a:lnTo>
                        <a:lnTo>
                          <a:pt x="820" y="1264"/>
                        </a:lnTo>
                        <a:lnTo>
                          <a:pt x="819" y="1264"/>
                        </a:lnTo>
                        <a:lnTo>
                          <a:pt x="819" y="1263"/>
                        </a:lnTo>
                        <a:lnTo>
                          <a:pt x="817" y="1263"/>
                        </a:lnTo>
                        <a:lnTo>
                          <a:pt x="815" y="1263"/>
                        </a:lnTo>
                        <a:lnTo>
                          <a:pt x="814" y="1261"/>
                        </a:lnTo>
                        <a:lnTo>
                          <a:pt x="812" y="1261"/>
                        </a:lnTo>
                        <a:lnTo>
                          <a:pt x="811" y="1261"/>
                        </a:lnTo>
                        <a:lnTo>
                          <a:pt x="809" y="1260"/>
                        </a:lnTo>
                        <a:lnTo>
                          <a:pt x="808" y="1260"/>
                        </a:lnTo>
                        <a:lnTo>
                          <a:pt x="806" y="1258"/>
                        </a:lnTo>
                        <a:lnTo>
                          <a:pt x="803" y="1258"/>
                        </a:lnTo>
                        <a:lnTo>
                          <a:pt x="801" y="1256"/>
                        </a:lnTo>
                        <a:lnTo>
                          <a:pt x="800" y="1256"/>
                        </a:lnTo>
                        <a:lnTo>
                          <a:pt x="798" y="1255"/>
                        </a:lnTo>
                        <a:lnTo>
                          <a:pt x="796" y="1255"/>
                        </a:lnTo>
                        <a:lnTo>
                          <a:pt x="796" y="1253"/>
                        </a:lnTo>
                        <a:lnTo>
                          <a:pt x="795" y="1253"/>
                        </a:lnTo>
                        <a:lnTo>
                          <a:pt x="793" y="1253"/>
                        </a:lnTo>
                        <a:lnTo>
                          <a:pt x="792" y="1253"/>
                        </a:lnTo>
                        <a:lnTo>
                          <a:pt x="790" y="1252"/>
                        </a:lnTo>
                        <a:lnTo>
                          <a:pt x="789" y="1250"/>
                        </a:lnTo>
                        <a:lnTo>
                          <a:pt x="787" y="1250"/>
                        </a:lnTo>
                        <a:lnTo>
                          <a:pt x="785" y="1250"/>
                        </a:lnTo>
                        <a:lnTo>
                          <a:pt x="785" y="1248"/>
                        </a:lnTo>
                        <a:lnTo>
                          <a:pt x="784" y="1248"/>
                        </a:lnTo>
                        <a:lnTo>
                          <a:pt x="782" y="1247"/>
                        </a:lnTo>
                        <a:lnTo>
                          <a:pt x="781" y="1242"/>
                        </a:lnTo>
                        <a:lnTo>
                          <a:pt x="779" y="1240"/>
                        </a:lnTo>
                        <a:lnTo>
                          <a:pt x="777" y="1239"/>
                        </a:lnTo>
                        <a:lnTo>
                          <a:pt x="776" y="1237"/>
                        </a:lnTo>
                        <a:lnTo>
                          <a:pt x="774" y="1234"/>
                        </a:lnTo>
                        <a:lnTo>
                          <a:pt x="773" y="1229"/>
                        </a:lnTo>
                        <a:lnTo>
                          <a:pt x="773" y="1226"/>
                        </a:lnTo>
                        <a:lnTo>
                          <a:pt x="773" y="1225"/>
                        </a:lnTo>
                        <a:lnTo>
                          <a:pt x="771" y="1223"/>
                        </a:lnTo>
                        <a:lnTo>
                          <a:pt x="773" y="1221"/>
                        </a:lnTo>
                        <a:lnTo>
                          <a:pt x="773" y="1220"/>
                        </a:lnTo>
                        <a:lnTo>
                          <a:pt x="774" y="1218"/>
                        </a:lnTo>
                        <a:lnTo>
                          <a:pt x="773" y="1217"/>
                        </a:lnTo>
                        <a:lnTo>
                          <a:pt x="771" y="1215"/>
                        </a:lnTo>
                        <a:lnTo>
                          <a:pt x="771" y="1212"/>
                        </a:lnTo>
                        <a:lnTo>
                          <a:pt x="770" y="1210"/>
                        </a:lnTo>
                        <a:lnTo>
                          <a:pt x="768" y="1209"/>
                        </a:lnTo>
                        <a:lnTo>
                          <a:pt x="766" y="1209"/>
                        </a:lnTo>
                        <a:lnTo>
                          <a:pt x="763" y="1207"/>
                        </a:lnTo>
                        <a:lnTo>
                          <a:pt x="758" y="1206"/>
                        </a:lnTo>
                        <a:lnTo>
                          <a:pt x="755" y="1206"/>
                        </a:lnTo>
                        <a:lnTo>
                          <a:pt x="749" y="1204"/>
                        </a:lnTo>
                        <a:lnTo>
                          <a:pt x="747" y="1204"/>
                        </a:lnTo>
                        <a:lnTo>
                          <a:pt x="744" y="1204"/>
                        </a:lnTo>
                        <a:lnTo>
                          <a:pt x="741" y="1202"/>
                        </a:lnTo>
                        <a:lnTo>
                          <a:pt x="738" y="1188"/>
                        </a:lnTo>
                        <a:lnTo>
                          <a:pt x="735" y="1177"/>
                        </a:lnTo>
                        <a:lnTo>
                          <a:pt x="733" y="1176"/>
                        </a:lnTo>
                        <a:lnTo>
                          <a:pt x="733" y="1174"/>
                        </a:lnTo>
                        <a:lnTo>
                          <a:pt x="732" y="1174"/>
                        </a:lnTo>
                        <a:lnTo>
                          <a:pt x="716" y="1168"/>
                        </a:lnTo>
                        <a:lnTo>
                          <a:pt x="689" y="1158"/>
                        </a:lnTo>
                        <a:lnTo>
                          <a:pt x="676" y="1153"/>
                        </a:lnTo>
                        <a:lnTo>
                          <a:pt x="648" y="1142"/>
                        </a:lnTo>
                        <a:lnTo>
                          <a:pt x="633" y="1142"/>
                        </a:lnTo>
                        <a:lnTo>
                          <a:pt x="622" y="1122"/>
                        </a:lnTo>
                        <a:lnTo>
                          <a:pt x="621" y="1120"/>
                        </a:lnTo>
                        <a:lnTo>
                          <a:pt x="622" y="1119"/>
                        </a:lnTo>
                        <a:lnTo>
                          <a:pt x="624" y="1117"/>
                        </a:lnTo>
                        <a:lnTo>
                          <a:pt x="624" y="1115"/>
                        </a:lnTo>
                        <a:lnTo>
                          <a:pt x="622" y="1114"/>
                        </a:lnTo>
                        <a:lnTo>
                          <a:pt x="622" y="1112"/>
                        </a:lnTo>
                        <a:lnTo>
                          <a:pt x="621" y="1109"/>
                        </a:lnTo>
                        <a:lnTo>
                          <a:pt x="619" y="1107"/>
                        </a:lnTo>
                        <a:lnTo>
                          <a:pt x="617" y="1107"/>
                        </a:lnTo>
                        <a:lnTo>
                          <a:pt x="616" y="1106"/>
                        </a:lnTo>
                        <a:lnTo>
                          <a:pt x="614" y="1106"/>
                        </a:lnTo>
                        <a:lnTo>
                          <a:pt x="613" y="1106"/>
                        </a:lnTo>
                        <a:lnTo>
                          <a:pt x="613" y="1104"/>
                        </a:lnTo>
                        <a:lnTo>
                          <a:pt x="613" y="1103"/>
                        </a:lnTo>
                        <a:lnTo>
                          <a:pt x="613" y="1100"/>
                        </a:lnTo>
                        <a:lnTo>
                          <a:pt x="613" y="1098"/>
                        </a:lnTo>
                        <a:lnTo>
                          <a:pt x="613" y="1096"/>
                        </a:lnTo>
                        <a:lnTo>
                          <a:pt x="611" y="1096"/>
                        </a:lnTo>
                        <a:lnTo>
                          <a:pt x="610" y="1095"/>
                        </a:lnTo>
                        <a:lnTo>
                          <a:pt x="602" y="1090"/>
                        </a:lnTo>
                        <a:lnTo>
                          <a:pt x="587" y="1081"/>
                        </a:lnTo>
                        <a:lnTo>
                          <a:pt x="581" y="1076"/>
                        </a:lnTo>
                        <a:lnTo>
                          <a:pt x="579" y="1074"/>
                        </a:lnTo>
                        <a:lnTo>
                          <a:pt x="578" y="1071"/>
                        </a:lnTo>
                        <a:lnTo>
                          <a:pt x="568" y="1057"/>
                        </a:lnTo>
                        <a:lnTo>
                          <a:pt x="562" y="1049"/>
                        </a:lnTo>
                        <a:lnTo>
                          <a:pt x="557" y="1039"/>
                        </a:lnTo>
                        <a:lnTo>
                          <a:pt x="554" y="1033"/>
                        </a:lnTo>
                        <a:lnTo>
                          <a:pt x="551" y="1025"/>
                        </a:lnTo>
                        <a:lnTo>
                          <a:pt x="546" y="1014"/>
                        </a:lnTo>
                        <a:lnTo>
                          <a:pt x="543" y="1004"/>
                        </a:lnTo>
                        <a:lnTo>
                          <a:pt x="540" y="997"/>
                        </a:lnTo>
                        <a:lnTo>
                          <a:pt x="537" y="985"/>
                        </a:lnTo>
                        <a:lnTo>
                          <a:pt x="535" y="979"/>
                        </a:lnTo>
                        <a:lnTo>
                          <a:pt x="530" y="981"/>
                        </a:lnTo>
                        <a:lnTo>
                          <a:pt x="526" y="982"/>
                        </a:lnTo>
                        <a:lnTo>
                          <a:pt x="521" y="984"/>
                        </a:lnTo>
                        <a:lnTo>
                          <a:pt x="518" y="984"/>
                        </a:lnTo>
                        <a:lnTo>
                          <a:pt x="513" y="984"/>
                        </a:lnTo>
                        <a:lnTo>
                          <a:pt x="511" y="984"/>
                        </a:lnTo>
                        <a:lnTo>
                          <a:pt x="511" y="982"/>
                        </a:lnTo>
                        <a:lnTo>
                          <a:pt x="510" y="981"/>
                        </a:lnTo>
                        <a:lnTo>
                          <a:pt x="510" y="979"/>
                        </a:lnTo>
                        <a:lnTo>
                          <a:pt x="508" y="976"/>
                        </a:lnTo>
                        <a:lnTo>
                          <a:pt x="508" y="974"/>
                        </a:lnTo>
                        <a:lnTo>
                          <a:pt x="508" y="973"/>
                        </a:lnTo>
                        <a:lnTo>
                          <a:pt x="507" y="971"/>
                        </a:lnTo>
                        <a:lnTo>
                          <a:pt x="507" y="970"/>
                        </a:lnTo>
                        <a:lnTo>
                          <a:pt x="507" y="968"/>
                        </a:lnTo>
                        <a:lnTo>
                          <a:pt x="507" y="966"/>
                        </a:lnTo>
                        <a:lnTo>
                          <a:pt x="507" y="965"/>
                        </a:lnTo>
                        <a:lnTo>
                          <a:pt x="507" y="963"/>
                        </a:lnTo>
                        <a:lnTo>
                          <a:pt x="508" y="962"/>
                        </a:lnTo>
                        <a:lnTo>
                          <a:pt x="510" y="960"/>
                        </a:lnTo>
                        <a:lnTo>
                          <a:pt x="511" y="955"/>
                        </a:lnTo>
                        <a:lnTo>
                          <a:pt x="511" y="952"/>
                        </a:lnTo>
                        <a:lnTo>
                          <a:pt x="513" y="947"/>
                        </a:lnTo>
                        <a:lnTo>
                          <a:pt x="513" y="946"/>
                        </a:lnTo>
                        <a:lnTo>
                          <a:pt x="513" y="941"/>
                        </a:lnTo>
                        <a:lnTo>
                          <a:pt x="511" y="936"/>
                        </a:lnTo>
                        <a:lnTo>
                          <a:pt x="511" y="933"/>
                        </a:lnTo>
                        <a:lnTo>
                          <a:pt x="511" y="932"/>
                        </a:lnTo>
                        <a:lnTo>
                          <a:pt x="511" y="930"/>
                        </a:lnTo>
                        <a:lnTo>
                          <a:pt x="510" y="928"/>
                        </a:lnTo>
                        <a:lnTo>
                          <a:pt x="508" y="927"/>
                        </a:lnTo>
                        <a:lnTo>
                          <a:pt x="507" y="927"/>
                        </a:lnTo>
                        <a:lnTo>
                          <a:pt x="505" y="927"/>
                        </a:lnTo>
                        <a:lnTo>
                          <a:pt x="500" y="927"/>
                        </a:lnTo>
                        <a:lnTo>
                          <a:pt x="492" y="927"/>
                        </a:lnTo>
                        <a:lnTo>
                          <a:pt x="481" y="928"/>
                        </a:lnTo>
                        <a:lnTo>
                          <a:pt x="472" y="930"/>
                        </a:lnTo>
                        <a:lnTo>
                          <a:pt x="470" y="930"/>
                        </a:lnTo>
                        <a:lnTo>
                          <a:pt x="469" y="932"/>
                        </a:lnTo>
                        <a:lnTo>
                          <a:pt x="469" y="933"/>
                        </a:lnTo>
                        <a:lnTo>
                          <a:pt x="467" y="933"/>
                        </a:lnTo>
                        <a:lnTo>
                          <a:pt x="465" y="935"/>
                        </a:lnTo>
                        <a:lnTo>
                          <a:pt x="465" y="938"/>
                        </a:lnTo>
                        <a:lnTo>
                          <a:pt x="464" y="940"/>
                        </a:lnTo>
                        <a:lnTo>
                          <a:pt x="462" y="941"/>
                        </a:lnTo>
                        <a:lnTo>
                          <a:pt x="459" y="944"/>
                        </a:lnTo>
                        <a:lnTo>
                          <a:pt x="454" y="949"/>
                        </a:lnTo>
                        <a:lnTo>
                          <a:pt x="454" y="951"/>
                        </a:lnTo>
                        <a:lnTo>
                          <a:pt x="451" y="951"/>
                        </a:lnTo>
                        <a:lnTo>
                          <a:pt x="450" y="949"/>
                        </a:lnTo>
                        <a:lnTo>
                          <a:pt x="448" y="949"/>
                        </a:lnTo>
                        <a:lnTo>
                          <a:pt x="445" y="947"/>
                        </a:lnTo>
                        <a:lnTo>
                          <a:pt x="440" y="947"/>
                        </a:lnTo>
                        <a:lnTo>
                          <a:pt x="434" y="947"/>
                        </a:lnTo>
                        <a:lnTo>
                          <a:pt x="429" y="949"/>
                        </a:lnTo>
                        <a:lnTo>
                          <a:pt x="426" y="949"/>
                        </a:lnTo>
                        <a:lnTo>
                          <a:pt x="424" y="949"/>
                        </a:lnTo>
                        <a:lnTo>
                          <a:pt x="419" y="947"/>
                        </a:lnTo>
                        <a:lnTo>
                          <a:pt x="416" y="946"/>
                        </a:lnTo>
                        <a:lnTo>
                          <a:pt x="413" y="944"/>
                        </a:lnTo>
                        <a:lnTo>
                          <a:pt x="410" y="940"/>
                        </a:lnTo>
                        <a:lnTo>
                          <a:pt x="407" y="936"/>
                        </a:lnTo>
                        <a:lnTo>
                          <a:pt x="405" y="936"/>
                        </a:lnTo>
                        <a:lnTo>
                          <a:pt x="402" y="936"/>
                        </a:lnTo>
                        <a:lnTo>
                          <a:pt x="400" y="936"/>
                        </a:lnTo>
                        <a:lnTo>
                          <a:pt x="399" y="936"/>
                        </a:lnTo>
                        <a:lnTo>
                          <a:pt x="397" y="935"/>
                        </a:lnTo>
                        <a:lnTo>
                          <a:pt x="396" y="935"/>
                        </a:lnTo>
                        <a:lnTo>
                          <a:pt x="393" y="933"/>
                        </a:lnTo>
                        <a:lnTo>
                          <a:pt x="391" y="933"/>
                        </a:lnTo>
                        <a:lnTo>
                          <a:pt x="389" y="932"/>
                        </a:lnTo>
                        <a:lnTo>
                          <a:pt x="388" y="930"/>
                        </a:lnTo>
                        <a:lnTo>
                          <a:pt x="386" y="930"/>
                        </a:lnTo>
                        <a:lnTo>
                          <a:pt x="385" y="930"/>
                        </a:lnTo>
                        <a:lnTo>
                          <a:pt x="380" y="930"/>
                        </a:lnTo>
                        <a:lnTo>
                          <a:pt x="374" y="930"/>
                        </a:lnTo>
                        <a:lnTo>
                          <a:pt x="367" y="930"/>
                        </a:lnTo>
                        <a:lnTo>
                          <a:pt x="362" y="928"/>
                        </a:lnTo>
                        <a:lnTo>
                          <a:pt x="359" y="928"/>
                        </a:lnTo>
                        <a:lnTo>
                          <a:pt x="358" y="928"/>
                        </a:lnTo>
                        <a:lnTo>
                          <a:pt x="356" y="930"/>
                        </a:lnTo>
                        <a:lnTo>
                          <a:pt x="353" y="933"/>
                        </a:lnTo>
                        <a:lnTo>
                          <a:pt x="353" y="935"/>
                        </a:lnTo>
                        <a:lnTo>
                          <a:pt x="351" y="938"/>
                        </a:lnTo>
                        <a:lnTo>
                          <a:pt x="351" y="943"/>
                        </a:lnTo>
                        <a:lnTo>
                          <a:pt x="350" y="946"/>
                        </a:lnTo>
                        <a:lnTo>
                          <a:pt x="348" y="949"/>
                        </a:lnTo>
                        <a:lnTo>
                          <a:pt x="347" y="952"/>
                        </a:lnTo>
                        <a:lnTo>
                          <a:pt x="345" y="954"/>
                        </a:lnTo>
                        <a:lnTo>
                          <a:pt x="345" y="955"/>
                        </a:lnTo>
                        <a:lnTo>
                          <a:pt x="345" y="959"/>
                        </a:lnTo>
                        <a:lnTo>
                          <a:pt x="343" y="960"/>
                        </a:lnTo>
                        <a:lnTo>
                          <a:pt x="342" y="962"/>
                        </a:lnTo>
                        <a:lnTo>
                          <a:pt x="339" y="963"/>
                        </a:lnTo>
                        <a:lnTo>
                          <a:pt x="337" y="965"/>
                        </a:lnTo>
                        <a:lnTo>
                          <a:pt x="336" y="966"/>
                        </a:lnTo>
                        <a:lnTo>
                          <a:pt x="334" y="968"/>
                        </a:lnTo>
                        <a:lnTo>
                          <a:pt x="329" y="970"/>
                        </a:lnTo>
                        <a:lnTo>
                          <a:pt x="326" y="970"/>
                        </a:lnTo>
                        <a:lnTo>
                          <a:pt x="324" y="968"/>
                        </a:lnTo>
                        <a:lnTo>
                          <a:pt x="321" y="965"/>
                        </a:lnTo>
                        <a:lnTo>
                          <a:pt x="320" y="965"/>
                        </a:lnTo>
                        <a:lnTo>
                          <a:pt x="320" y="963"/>
                        </a:lnTo>
                        <a:lnTo>
                          <a:pt x="318" y="962"/>
                        </a:lnTo>
                        <a:lnTo>
                          <a:pt x="318" y="960"/>
                        </a:lnTo>
                        <a:lnTo>
                          <a:pt x="318" y="959"/>
                        </a:lnTo>
                        <a:lnTo>
                          <a:pt x="317" y="959"/>
                        </a:lnTo>
                        <a:lnTo>
                          <a:pt x="317" y="957"/>
                        </a:lnTo>
                        <a:lnTo>
                          <a:pt x="315" y="955"/>
                        </a:lnTo>
                        <a:lnTo>
                          <a:pt x="315" y="954"/>
                        </a:lnTo>
                        <a:lnTo>
                          <a:pt x="312" y="951"/>
                        </a:lnTo>
                        <a:lnTo>
                          <a:pt x="312" y="949"/>
                        </a:lnTo>
                        <a:lnTo>
                          <a:pt x="312" y="947"/>
                        </a:lnTo>
                        <a:lnTo>
                          <a:pt x="312" y="946"/>
                        </a:lnTo>
                        <a:lnTo>
                          <a:pt x="312" y="944"/>
                        </a:lnTo>
                        <a:lnTo>
                          <a:pt x="312" y="943"/>
                        </a:lnTo>
                        <a:lnTo>
                          <a:pt x="312" y="941"/>
                        </a:lnTo>
                        <a:lnTo>
                          <a:pt x="312" y="940"/>
                        </a:lnTo>
                        <a:lnTo>
                          <a:pt x="312" y="938"/>
                        </a:lnTo>
                        <a:lnTo>
                          <a:pt x="313" y="936"/>
                        </a:lnTo>
                        <a:lnTo>
                          <a:pt x="317" y="936"/>
                        </a:lnTo>
                        <a:lnTo>
                          <a:pt x="318" y="935"/>
                        </a:lnTo>
                        <a:lnTo>
                          <a:pt x="321" y="932"/>
                        </a:lnTo>
                        <a:lnTo>
                          <a:pt x="323" y="927"/>
                        </a:lnTo>
                        <a:lnTo>
                          <a:pt x="324" y="924"/>
                        </a:lnTo>
                        <a:lnTo>
                          <a:pt x="326" y="921"/>
                        </a:lnTo>
                        <a:lnTo>
                          <a:pt x="328" y="916"/>
                        </a:lnTo>
                        <a:lnTo>
                          <a:pt x="329" y="914"/>
                        </a:lnTo>
                        <a:lnTo>
                          <a:pt x="331" y="913"/>
                        </a:lnTo>
                        <a:lnTo>
                          <a:pt x="331" y="911"/>
                        </a:lnTo>
                        <a:lnTo>
                          <a:pt x="331" y="909"/>
                        </a:lnTo>
                        <a:lnTo>
                          <a:pt x="331" y="908"/>
                        </a:lnTo>
                        <a:lnTo>
                          <a:pt x="331" y="906"/>
                        </a:lnTo>
                        <a:lnTo>
                          <a:pt x="331" y="905"/>
                        </a:lnTo>
                        <a:lnTo>
                          <a:pt x="331" y="903"/>
                        </a:lnTo>
                        <a:lnTo>
                          <a:pt x="329" y="903"/>
                        </a:lnTo>
                        <a:lnTo>
                          <a:pt x="329" y="902"/>
                        </a:lnTo>
                        <a:lnTo>
                          <a:pt x="328" y="900"/>
                        </a:lnTo>
                        <a:lnTo>
                          <a:pt x="328" y="898"/>
                        </a:lnTo>
                        <a:lnTo>
                          <a:pt x="329" y="897"/>
                        </a:lnTo>
                        <a:lnTo>
                          <a:pt x="329" y="895"/>
                        </a:lnTo>
                        <a:lnTo>
                          <a:pt x="331" y="895"/>
                        </a:lnTo>
                        <a:lnTo>
                          <a:pt x="331" y="894"/>
                        </a:lnTo>
                        <a:lnTo>
                          <a:pt x="331" y="892"/>
                        </a:lnTo>
                        <a:lnTo>
                          <a:pt x="332" y="890"/>
                        </a:lnTo>
                        <a:lnTo>
                          <a:pt x="332" y="889"/>
                        </a:lnTo>
                        <a:lnTo>
                          <a:pt x="334" y="889"/>
                        </a:lnTo>
                        <a:lnTo>
                          <a:pt x="334" y="887"/>
                        </a:lnTo>
                        <a:lnTo>
                          <a:pt x="336" y="887"/>
                        </a:lnTo>
                        <a:lnTo>
                          <a:pt x="336" y="886"/>
                        </a:lnTo>
                        <a:lnTo>
                          <a:pt x="336" y="884"/>
                        </a:lnTo>
                        <a:lnTo>
                          <a:pt x="334" y="883"/>
                        </a:lnTo>
                        <a:lnTo>
                          <a:pt x="332" y="881"/>
                        </a:lnTo>
                        <a:lnTo>
                          <a:pt x="331" y="883"/>
                        </a:lnTo>
                        <a:lnTo>
                          <a:pt x="328" y="884"/>
                        </a:lnTo>
                        <a:lnTo>
                          <a:pt x="323" y="884"/>
                        </a:lnTo>
                        <a:lnTo>
                          <a:pt x="320" y="886"/>
                        </a:lnTo>
                        <a:lnTo>
                          <a:pt x="313" y="887"/>
                        </a:lnTo>
                        <a:lnTo>
                          <a:pt x="309" y="889"/>
                        </a:lnTo>
                        <a:lnTo>
                          <a:pt x="307" y="889"/>
                        </a:lnTo>
                        <a:lnTo>
                          <a:pt x="305" y="890"/>
                        </a:lnTo>
                        <a:lnTo>
                          <a:pt x="304" y="892"/>
                        </a:lnTo>
                        <a:lnTo>
                          <a:pt x="304" y="894"/>
                        </a:lnTo>
                        <a:lnTo>
                          <a:pt x="301" y="897"/>
                        </a:lnTo>
                        <a:lnTo>
                          <a:pt x="299" y="898"/>
                        </a:lnTo>
                        <a:lnTo>
                          <a:pt x="298" y="898"/>
                        </a:lnTo>
                        <a:lnTo>
                          <a:pt x="296" y="897"/>
                        </a:lnTo>
                        <a:lnTo>
                          <a:pt x="294" y="897"/>
                        </a:lnTo>
                        <a:lnTo>
                          <a:pt x="293" y="894"/>
                        </a:lnTo>
                        <a:lnTo>
                          <a:pt x="293" y="892"/>
                        </a:lnTo>
                        <a:lnTo>
                          <a:pt x="291" y="892"/>
                        </a:lnTo>
                        <a:lnTo>
                          <a:pt x="288" y="892"/>
                        </a:lnTo>
                        <a:lnTo>
                          <a:pt x="286" y="890"/>
                        </a:lnTo>
                        <a:lnTo>
                          <a:pt x="283" y="889"/>
                        </a:lnTo>
                        <a:lnTo>
                          <a:pt x="283" y="887"/>
                        </a:lnTo>
                        <a:lnTo>
                          <a:pt x="275" y="889"/>
                        </a:lnTo>
                        <a:lnTo>
                          <a:pt x="274" y="887"/>
                        </a:lnTo>
                        <a:lnTo>
                          <a:pt x="272" y="887"/>
                        </a:lnTo>
                        <a:lnTo>
                          <a:pt x="272" y="886"/>
                        </a:lnTo>
                        <a:lnTo>
                          <a:pt x="271" y="884"/>
                        </a:lnTo>
                        <a:lnTo>
                          <a:pt x="269" y="884"/>
                        </a:lnTo>
                        <a:lnTo>
                          <a:pt x="266" y="883"/>
                        </a:lnTo>
                        <a:lnTo>
                          <a:pt x="264" y="884"/>
                        </a:lnTo>
                        <a:lnTo>
                          <a:pt x="263" y="884"/>
                        </a:lnTo>
                        <a:lnTo>
                          <a:pt x="261" y="884"/>
                        </a:lnTo>
                        <a:lnTo>
                          <a:pt x="259" y="886"/>
                        </a:lnTo>
                        <a:lnTo>
                          <a:pt x="258" y="886"/>
                        </a:lnTo>
                        <a:lnTo>
                          <a:pt x="256" y="889"/>
                        </a:lnTo>
                        <a:lnTo>
                          <a:pt x="255" y="889"/>
                        </a:lnTo>
                        <a:lnTo>
                          <a:pt x="253" y="889"/>
                        </a:lnTo>
                        <a:lnTo>
                          <a:pt x="252" y="889"/>
                        </a:lnTo>
                        <a:lnTo>
                          <a:pt x="248" y="887"/>
                        </a:lnTo>
                        <a:lnTo>
                          <a:pt x="247" y="887"/>
                        </a:lnTo>
                        <a:lnTo>
                          <a:pt x="245" y="887"/>
                        </a:lnTo>
                        <a:lnTo>
                          <a:pt x="245" y="889"/>
                        </a:lnTo>
                        <a:lnTo>
                          <a:pt x="245" y="890"/>
                        </a:lnTo>
                        <a:lnTo>
                          <a:pt x="245" y="892"/>
                        </a:lnTo>
                        <a:lnTo>
                          <a:pt x="239" y="889"/>
                        </a:lnTo>
                        <a:lnTo>
                          <a:pt x="237" y="889"/>
                        </a:lnTo>
                        <a:lnTo>
                          <a:pt x="236" y="889"/>
                        </a:lnTo>
                        <a:lnTo>
                          <a:pt x="234" y="887"/>
                        </a:lnTo>
                        <a:lnTo>
                          <a:pt x="233" y="886"/>
                        </a:lnTo>
                        <a:lnTo>
                          <a:pt x="231" y="881"/>
                        </a:lnTo>
                        <a:lnTo>
                          <a:pt x="229" y="881"/>
                        </a:lnTo>
                        <a:lnTo>
                          <a:pt x="228" y="878"/>
                        </a:lnTo>
                        <a:lnTo>
                          <a:pt x="226" y="875"/>
                        </a:lnTo>
                        <a:lnTo>
                          <a:pt x="223" y="865"/>
                        </a:lnTo>
                        <a:lnTo>
                          <a:pt x="221" y="859"/>
                        </a:lnTo>
                        <a:lnTo>
                          <a:pt x="217" y="852"/>
                        </a:lnTo>
                        <a:lnTo>
                          <a:pt x="215" y="848"/>
                        </a:lnTo>
                        <a:lnTo>
                          <a:pt x="210" y="846"/>
                        </a:lnTo>
                        <a:lnTo>
                          <a:pt x="207" y="844"/>
                        </a:lnTo>
                        <a:lnTo>
                          <a:pt x="206" y="843"/>
                        </a:lnTo>
                        <a:lnTo>
                          <a:pt x="204" y="840"/>
                        </a:lnTo>
                        <a:lnTo>
                          <a:pt x="201" y="837"/>
                        </a:lnTo>
                        <a:lnTo>
                          <a:pt x="196" y="833"/>
                        </a:lnTo>
                        <a:lnTo>
                          <a:pt x="196" y="832"/>
                        </a:lnTo>
                        <a:lnTo>
                          <a:pt x="191" y="829"/>
                        </a:lnTo>
                        <a:lnTo>
                          <a:pt x="183" y="824"/>
                        </a:lnTo>
                        <a:lnTo>
                          <a:pt x="182" y="822"/>
                        </a:lnTo>
                        <a:lnTo>
                          <a:pt x="180" y="821"/>
                        </a:lnTo>
                        <a:lnTo>
                          <a:pt x="182" y="819"/>
                        </a:lnTo>
                        <a:lnTo>
                          <a:pt x="182" y="818"/>
                        </a:lnTo>
                        <a:lnTo>
                          <a:pt x="182" y="814"/>
                        </a:lnTo>
                        <a:lnTo>
                          <a:pt x="182" y="813"/>
                        </a:lnTo>
                        <a:lnTo>
                          <a:pt x="179" y="810"/>
                        </a:lnTo>
                        <a:lnTo>
                          <a:pt x="177" y="805"/>
                        </a:lnTo>
                        <a:lnTo>
                          <a:pt x="177" y="800"/>
                        </a:lnTo>
                        <a:lnTo>
                          <a:pt x="177" y="799"/>
                        </a:lnTo>
                        <a:lnTo>
                          <a:pt x="177" y="797"/>
                        </a:lnTo>
                        <a:lnTo>
                          <a:pt x="179" y="797"/>
                        </a:lnTo>
                        <a:lnTo>
                          <a:pt x="179" y="794"/>
                        </a:lnTo>
                        <a:lnTo>
                          <a:pt x="182" y="791"/>
                        </a:lnTo>
                        <a:lnTo>
                          <a:pt x="182" y="789"/>
                        </a:lnTo>
                        <a:lnTo>
                          <a:pt x="183" y="786"/>
                        </a:lnTo>
                        <a:lnTo>
                          <a:pt x="185" y="784"/>
                        </a:lnTo>
                        <a:lnTo>
                          <a:pt x="187" y="783"/>
                        </a:lnTo>
                        <a:lnTo>
                          <a:pt x="185" y="783"/>
                        </a:lnTo>
                        <a:lnTo>
                          <a:pt x="182" y="781"/>
                        </a:lnTo>
                        <a:lnTo>
                          <a:pt x="179" y="781"/>
                        </a:lnTo>
                        <a:lnTo>
                          <a:pt x="177" y="781"/>
                        </a:lnTo>
                        <a:lnTo>
                          <a:pt x="176" y="780"/>
                        </a:lnTo>
                        <a:lnTo>
                          <a:pt x="174" y="776"/>
                        </a:lnTo>
                        <a:lnTo>
                          <a:pt x="172" y="773"/>
                        </a:lnTo>
                        <a:lnTo>
                          <a:pt x="172" y="768"/>
                        </a:lnTo>
                        <a:lnTo>
                          <a:pt x="172" y="762"/>
                        </a:lnTo>
                        <a:lnTo>
                          <a:pt x="171" y="759"/>
                        </a:lnTo>
                        <a:lnTo>
                          <a:pt x="169" y="754"/>
                        </a:lnTo>
                        <a:lnTo>
                          <a:pt x="168" y="751"/>
                        </a:lnTo>
                        <a:lnTo>
                          <a:pt x="164" y="746"/>
                        </a:lnTo>
                        <a:lnTo>
                          <a:pt x="161" y="743"/>
                        </a:lnTo>
                        <a:lnTo>
                          <a:pt x="158" y="742"/>
                        </a:lnTo>
                        <a:lnTo>
                          <a:pt x="152" y="740"/>
                        </a:lnTo>
                        <a:lnTo>
                          <a:pt x="147" y="737"/>
                        </a:lnTo>
                        <a:lnTo>
                          <a:pt x="139" y="734"/>
                        </a:lnTo>
                        <a:lnTo>
                          <a:pt x="133" y="732"/>
                        </a:lnTo>
                        <a:lnTo>
                          <a:pt x="131" y="730"/>
                        </a:lnTo>
                        <a:lnTo>
                          <a:pt x="131" y="729"/>
                        </a:lnTo>
                        <a:lnTo>
                          <a:pt x="131" y="727"/>
                        </a:lnTo>
                        <a:lnTo>
                          <a:pt x="131" y="724"/>
                        </a:lnTo>
                        <a:lnTo>
                          <a:pt x="130" y="723"/>
                        </a:lnTo>
                        <a:lnTo>
                          <a:pt x="128" y="719"/>
                        </a:lnTo>
                        <a:lnTo>
                          <a:pt x="126" y="718"/>
                        </a:lnTo>
                        <a:lnTo>
                          <a:pt x="125" y="716"/>
                        </a:lnTo>
                        <a:lnTo>
                          <a:pt x="122" y="713"/>
                        </a:lnTo>
                        <a:lnTo>
                          <a:pt x="119" y="711"/>
                        </a:lnTo>
                        <a:lnTo>
                          <a:pt x="115" y="710"/>
                        </a:lnTo>
                        <a:lnTo>
                          <a:pt x="114" y="710"/>
                        </a:lnTo>
                        <a:lnTo>
                          <a:pt x="111" y="711"/>
                        </a:lnTo>
                        <a:lnTo>
                          <a:pt x="109" y="711"/>
                        </a:lnTo>
                        <a:lnTo>
                          <a:pt x="109" y="713"/>
                        </a:lnTo>
                        <a:lnTo>
                          <a:pt x="107" y="713"/>
                        </a:lnTo>
                        <a:lnTo>
                          <a:pt x="106" y="713"/>
                        </a:lnTo>
                        <a:lnTo>
                          <a:pt x="103" y="713"/>
                        </a:lnTo>
                        <a:lnTo>
                          <a:pt x="101" y="713"/>
                        </a:lnTo>
                        <a:lnTo>
                          <a:pt x="98" y="711"/>
                        </a:lnTo>
                        <a:lnTo>
                          <a:pt x="96" y="711"/>
                        </a:lnTo>
                        <a:lnTo>
                          <a:pt x="95" y="711"/>
                        </a:lnTo>
                        <a:lnTo>
                          <a:pt x="95" y="710"/>
                        </a:lnTo>
                        <a:lnTo>
                          <a:pt x="93" y="708"/>
                        </a:lnTo>
                        <a:lnTo>
                          <a:pt x="93" y="707"/>
                        </a:lnTo>
                        <a:lnTo>
                          <a:pt x="92" y="707"/>
                        </a:lnTo>
                        <a:lnTo>
                          <a:pt x="90" y="705"/>
                        </a:lnTo>
                        <a:lnTo>
                          <a:pt x="85" y="704"/>
                        </a:lnTo>
                        <a:lnTo>
                          <a:pt x="85" y="700"/>
                        </a:lnTo>
                        <a:lnTo>
                          <a:pt x="85" y="699"/>
                        </a:lnTo>
                        <a:lnTo>
                          <a:pt x="85" y="697"/>
                        </a:lnTo>
                        <a:lnTo>
                          <a:pt x="88" y="696"/>
                        </a:lnTo>
                        <a:lnTo>
                          <a:pt x="88" y="694"/>
                        </a:lnTo>
                        <a:lnTo>
                          <a:pt x="88" y="692"/>
                        </a:lnTo>
                        <a:lnTo>
                          <a:pt x="88" y="688"/>
                        </a:lnTo>
                        <a:lnTo>
                          <a:pt x="87" y="688"/>
                        </a:lnTo>
                        <a:lnTo>
                          <a:pt x="85" y="686"/>
                        </a:lnTo>
                        <a:lnTo>
                          <a:pt x="82" y="684"/>
                        </a:lnTo>
                        <a:lnTo>
                          <a:pt x="79" y="683"/>
                        </a:lnTo>
                        <a:lnTo>
                          <a:pt x="80" y="683"/>
                        </a:lnTo>
                        <a:lnTo>
                          <a:pt x="84" y="681"/>
                        </a:lnTo>
                        <a:lnTo>
                          <a:pt x="85" y="681"/>
                        </a:lnTo>
                        <a:lnTo>
                          <a:pt x="88" y="680"/>
                        </a:lnTo>
                        <a:lnTo>
                          <a:pt x="88" y="678"/>
                        </a:lnTo>
                        <a:lnTo>
                          <a:pt x="90" y="677"/>
                        </a:lnTo>
                        <a:lnTo>
                          <a:pt x="90" y="675"/>
                        </a:lnTo>
                        <a:lnTo>
                          <a:pt x="90" y="673"/>
                        </a:lnTo>
                        <a:lnTo>
                          <a:pt x="88" y="672"/>
                        </a:lnTo>
                        <a:lnTo>
                          <a:pt x="90" y="667"/>
                        </a:lnTo>
                        <a:lnTo>
                          <a:pt x="85" y="667"/>
                        </a:lnTo>
                        <a:lnTo>
                          <a:pt x="76" y="667"/>
                        </a:lnTo>
                        <a:lnTo>
                          <a:pt x="68" y="667"/>
                        </a:lnTo>
                        <a:lnTo>
                          <a:pt x="61" y="667"/>
                        </a:lnTo>
                        <a:lnTo>
                          <a:pt x="57" y="667"/>
                        </a:lnTo>
                        <a:lnTo>
                          <a:pt x="52" y="667"/>
                        </a:lnTo>
                        <a:lnTo>
                          <a:pt x="50" y="669"/>
                        </a:lnTo>
                        <a:lnTo>
                          <a:pt x="49" y="669"/>
                        </a:lnTo>
                        <a:lnTo>
                          <a:pt x="47" y="670"/>
                        </a:lnTo>
                        <a:lnTo>
                          <a:pt x="46" y="673"/>
                        </a:lnTo>
                        <a:lnTo>
                          <a:pt x="44" y="675"/>
                        </a:lnTo>
                        <a:lnTo>
                          <a:pt x="42" y="677"/>
                        </a:lnTo>
                        <a:lnTo>
                          <a:pt x="41" y="677"/>
                        </a:lnTo>
                        <a:lnTo>
                          <a:pt x="41" y="678"/>
                        </a:lnTo>
                        <a:lnTo>
                          <a:pt x="39" y="678"/>
                        </a:lnTo>
                        <a:lnTo>
                          <a:pt x="39" y="681"/>
                        </a:lnTo>
                        <a:lnTo>
                          <a:pt x="39" y="683"/>
                        </a:lnTo>
                        <a:lnTo>
                          <a:pt x="39" y="686"/>
                        </a:lnTo>
                        <a:lnTo>
                          <a:pt x="39" y="689"/>
                        </a:lnTo>
                        <a:lnTo>
                          <a:pt x="41" y="696"/>
                        </a:lnTo>
                        <a:lnTo>
                          <a:pt x="41" y="697"/>
                        </a:lnTo>
                        <a:lnTo>
                          <a:pt x="38" y="700"/>
                        </a:lnTo>
                        <a:lnTo>
                          <a:pt x="35" y="702"/>
                        </a:lnTo>
                        <a:lnTo>
                          <a:pt x="33" y="704"/>
                        </a:lnTo>
                        <a:lnTo>
                          <a:pt x="30" y="704"/>
                        </a:lnTo>
                        <a:lnTo>
                          <a:pt x="27" y="704"/>
                        </a:lnTo>
                        <a:lnTo>
                          <a:pt x="25" y="702"/>
                        </a:lnTo>
                        <a:lnTo>
                          <a:pt x="23" y="702"/>
                        </a:lnTo>
                        <a:lnTo>
                          <a:pt x="19" y="702"/>
                        </a:lnTo>
                        <a:lnTo>
                          <a:pt x="16" y="702"/>
                        </a:lnTo>
                        <a:lnTo>
                          <a:pt x="12" y="702"/>
                        </a:lnTo>
                        <a:lnTo>
                          <a:pt x="11" y="702"/>
                        </a:lnTo>
                        <a:lnTo>
                          <a:pt x="8" y="704"/>
                        </a:lnTo>
                        <a:lnTo>
                          <a:pt x="6" y="707"/>
                        </a:lnTo>
                        <a:lnTo>
                          <a:pt x="4" y="710"/>
                        </a:lnTo>
                        <a:lnTo>
                          <a:pt x="3" y="715"/>
                        </a:lnTo>
                        <a:lnTo>
                          <a:pt x="3" y="718"/>
                        </a:lnTo>
                        <a:lnTo>
                          <a:pt x="1" y="718"/>
                        </a:lnTo>
                        <a:lnTo>
                          <a:pt x="0" y="718"/>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72" name="Freeform 71"/>
                  <p:cNvSpPr>
                    <a:spLocks/>
                  </p:cNvSpPr>
                  <p:nvPr/>
                </p:nvSpPr>
                <p:spPr bwMode="auto">
                  <a:xfrm>
                    <a:off x="3739" y="635"/>
                    <a:ext cx="1017" cy="822"/>
                  </a:xfrm>
                  <a:custGeom>
                    <a:avLst/>
                    <a:gdLst>
                      <a:gd name="T0" fmla="*/ 820 w 1017"/>
                      <a:gd name="T1" fmla="*/ 714 h 822"/>
                      <a:gd name="T2" fmla="*/ 808 w 1017"/>
                      <a:gd name="T3" fmla="*/ 717 h 822"/>
                      <a:gd name="T4" fmla="*/ 793 w 1017"/>
                      <a:gd name="T5" fmla="*/ 725 h 822"/>
                      <a:gd name="T6" fmla="*/ 784 w 1017"/>
                      <a:gd name="T7" fmla="*/ 731 h 822"/>
                      <a:gd name="T8" fmla="*/ 776 w 1017"/>
                      <a:gd name="T9" fmla="*/ 738 h 822"/>
                      <a:gd name="T10" fmla="*/ 771 w 1017"/>
                      <a:gd name="T11" fmla="*/ 747 h 822"/>
                      <a:gd name="T12" fmla="*/ 762 w 1017"/>
                      <a:gd name="T13" fmla="*/ 749 h 822"/>
                      <a:gd name="T14" fmla="*/ 754 w 1017"/>
                      <a:gd name="T15" fmla="*/ 750 h 822"/>
                      <a:gd name="T16" fmla="*/ 741 w 1017"/>
                      <a:gd name="T17" fmla="*/ 755 h 822"/>
                      <a:gd name="T18" fmla="*/ 721 w 1017"/>
                      <a:gd name="T19" fmla="*/ 752 h 822"/>
                      <a:gd name="T20" fmla="*/ 698 w 1017"/>
                      <a:gd name="T21" fmla="*/ 749 h 822"/>
                      <a:gd name="T22" fmla="*/ 690 w 1017"/>
                      <a:gd name="T23" fmla="*/ 757 h 822"/>
                      <a:gd name="T24" fmla="*/ 689 w 1017"/>
                      <a:gd name="T25" fmla="*/ 769 h 822"/>
                      <a:gd name="T26" fmla="*/ 679 w 1017"/>
                      <a:gd name="T27" fmla="*/ 773 h 822"/>
                      <a:gd name="T28" fmla="*/ 667 w 1017"/>
                      <a:gd name="T29" fmla="*/ 774 h 822"/>
                      <a:gd name="T30" fmla="*/ 649 w 1017"/>
                      <a:gd name="T31" fmla="*/ 779 h 822"/>
                      <a:gd name="T32" fmla="*/ 635 w 1017"/>
                      <a:gd name="T33" fmla="*/ 798 h 822"/>
                      <a:gd name="T34" fmla="*/ 619 w 1017"/>
                      <a:gd name="T35" fmla="*/ 811 h 822"/>
                      <a:gd name="T36" fmla="*/ 605 w 1017"/>
                      <a:gd name="T37" fmla="*/ 801 h 822"/>
                      <a:gd name="T38" fmla="*/ 586 w 1017"/>
                      <a:gd name="T39" fmla="*/ 811 h 822"/>
                      <a:gd name="T40" fmla="*/ 551 w 1017"/>
                      <a:gd name="T41" fmla="*/ 809 h 822"/>
                      <a:gd name="T42" fmla="*/ 537 w 1017"/>
                      <a:gd name="T43" fmla="*/ 814 h 822"/>
                      <a:gd name="T44" fmla="*/ 516 w 1017"/>
                      <a:gd name="T45" fmla="*/ 815 h 822"/>
                      <a:gd name="T46" fmla="*/ 486 w 1017"/>
                      <a:gd name="T47" fmla="*/ 822 h 822"/>
                      <a:gd name="T48" fmla="*/ 443 w 1017"/>
                      <a:gd name="T49" fmla="*/ 811 h 822"/>
                      <a:gd name="T50" fmla="*/ 390 w 1017"/>
                      <a:gd name="T51" fmla="*/ 806 h 822"/>
                      <a:gd name="T52" fmla="*/ 366 w 1017"/>
                      <a:gd name="T53" fmla="*/ 776 h 822"/>
                      <a:gd name="T54" fmla="*/ 345 w 1017"/>
                      <a:gd name="T55" fmla="*/ 735 h 822"/>
                      <a:gd name="T56" fmla="*/ 313 w 1017"/>
                      <a:gd name="T57" fmla="*/ 739 h 822"/>
                      <a:gd name="T58" fmla="*/ 272 w 1017"/>
                      <a:gd name="T59" fmla="*/ 739 h 822"/>
                      <a:gd name="T60" fmla="*/ 261 w 1017"/>
                      <a:gd name="T61" fmla="*/ 739 h 822"/>
                      <a:gd name="T62" fmla="*/ 233 w 1017"/>
                      <a:gd name="T63" fmla="*/ 787 h 822"/>
                      <a:gd name="T64" fmla="*/ 223 w 1017"/>
                      <a:gd name="T65" fmla="*/ 800 h 822"/>
                      <a:gd name="T66" fmla="*/ 218 w 1017"/>
                      <a:gd name="T67" fmla="*/ 807 h 822"/>
                      <a:gd name="T68" fmla="*/ 204 w 1017"/>
                      <a:gd name="T69" fmla="*/ 804 h 822"/>
                      <a:gd name="T70" fmla="*/ 157 w 1017"/>
                      <a:gd name="T71" fmla="*/ 757 h 822"/>
                      <a:gd name="T72" fmla="*/ 136 w 1017"/>
                      <a:gd name="T73" fmla="*/ 738 h 822"/>
                      <a:gd name="T74" fmla="*/ 130 w 1017"/>
                      <a:gd name="T75" fmla="*/ 712 h 822"/>
                      <a:gd name="T76" fmla="*/ 131 w 1017"/>
                      <a:gd name="T77" fmla="*/ 701 h 822"/>
                      <a:gd name="T78" fmla="*/ 136 w 1017"/>
                      <a:gd name="T79" fmla="*/ 689 h 822"/>
                      <a:gd name="T80" fmla="*/ 147 w 1017"/>
                      <a:gd name="T81" fmla="*/ 678 h 822"/>
                      <a:gd name="T82" fmla="*/ 82 w 1017"/>
                      <a:gd name="T83" fmla="*/ 646 h 822"/>
                      <a:gd name="T84" fmla="*/ 9 w 1017"/>
                      <a:gd name="T85" fmla="*/ 583 h 822"/>
                      <a:gd name="T86" fmla="*/ 5 w 1017"/>
                      <a:gd name="T87" fmla="*/ 578 h 822"/>
                      <a:gd name="T88" fmla="*/ 70 w 1017"/>
                      <a:gd name="T89" fmla="*/ 546 h 822"/>
                      <a:gd name="T90" fmla="*/ 190 w 1017"/>
                      <a:gd name="T91" fmla="*/ 369 h 822"/>
                      <a:gd name="T92" fmla="*/ 488 w 1017"/>
                      <a:gd name="T93" fmla="*/ 215 h 822"/>
                      <a:gd name="T94" fmla="*/ 652 w 1017"/>
                      <a:gd name="T95" fmla="*/ 161 h 822"/>
                      <a:gd name="T96" fmla="*/ 692 w 1017"/>
                      <a:gd name="T97" fmla="*/ 137 h 822"/>
                      <a:gd name="T98" fmla="*/ 727 w 1017"/>
                      <a:gd name="T99" fmla="*/ 106 h 822"/>
                      <a:gd name="T100" fmla="*/ 770 w 1017"/>
                      <a:gd name="T101" fmla="*/ 63 h 822"/>
                      <a:gd name="T102" fmla="*/ 782 w 1017"/>
                      <a:gd name="T103" fmla="*/ 52 h 822"/>
                      <a:gd name="T104" fmla="*/ 801 w 1017"/>
                      <a:gd name="T105" fmla="*/ 34 h 822"/>
                      <a:gd name="T106" fmla="*/ 827 w 1017"/>
                      <a:gd name="T107" fmla="*/ 19 h 822"/>
                      <a:gd name="T108" fmla="*/ 843 w 1017"/>
                      <a:gd name="T109" fmla="*/ 8 h 822"/>
                      <a:gd name="T110" fmla="*/ 865 w 1017"/>
                      <a:gd name="T111" fmla="*/ 1 h 822"/>
                      <a:gd name="T112" fmla="*/ 949 w 1017"/>
                      <a:gd name="T113" fmla="*/ 1 h 822"/>
                      <a:gd name="T114" fmla="*/ 1014 w 1017"/>
                      <a:gd name="T115" fmla="*/ 0 h 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17" h="822">
                        <a:moveTo>
                          <a:pt x="827" y="719"/>
                        </a:moveTo>
                        <a:lnTo>
                          <a:pt x="825" y="719"/>
                        </a:lnTo>
                        <a:lnTo>
                          <a:pt x="825" y="717"/>
                        </a:lnTo>
                        <a:lnTo>
                          <a:pt x="824" y="716"/>
                        </a:lnTo>
                        <a:lnTo>
                          <a:pt x="822" y="714"/>
                        </a:lnTo>
                        <a:lnTo>
                          <a:pt x="820" y="714"/>
                        </a:lnTo>
                        <a:lnTo>
                          <a:pt x="819" y="712"/>
                        </a:lnTo>
                        <a:lnTo>
                          <a:pt x="817" y="714"/>
                        </a:lnTo>
                        <a:lnTo>
                          <a:pt x="812" y="714"/>
                        </a:lnTo>
                        <a:lnTo>
                          <a:pt x="811" y="714"/>
                        </a:lnTo>
                        <a:lnTo>
                          <a:pt x="811" y="716"/>
                        </a:lnTo>
                        <a:lnTo>
                          <a:pt x="808" y="717"/>
                        </a:lnTo>
                        <a:lnTo>
                          <a:pt x="808" y="719"/>
                        </a:lnTo>
                        <a:lnTo>
                          <a:pt x="805" y="724"/>
                        </a:lnTo>
                        <a:lnTo>
                          <a:pt x="801" y="725"/>
                        </a:lnTo>
                        <a:lnTo>
                          <a:pt x="798" y="725"/>
                        </a:lnTo>
                        <a:lnTo>
                          <a:pt x="795" y="725"/>
                        </a:lnTo>
                        <a:lnTo>
                          <a:pt x="793" y="725"/>
                        </a:lnTo>
                        <a:lnTo>
                          <a:pt x="792" y="725"/>
                        </a:lnTo>
                        <a:lnTo>
                          <a:pt x="790" y="725"/>
                        </a:lnTo>
                        <a:lnTo>
                          <a:pt x="789" y="727"/>
                        </a:lnTo>
                        <a:lnTo>
                          <a:pt x="787" y="727"/>
                        </a:lnTo>
                        <a:lnTo>
                          <a:pt x="786" y="728"/>
                        </a:lnTo>
                        <a:lnTo>
                          <a:pt x="784" y="731"/>
                        </a:lnTo>
                        <a:lnTo>
                          <a:pt x="782" y="733"/>
                        </a:lnTo>
                        <a:lnTo>
                          <a:pt x="781" y="735"/>
                        </a:lnTo>
                        <a:lnTo>
                          <a:pt x="779" y="735"/>
                        </a:lnTo>
                        <a:lnTo>
                          <a:pt x="778" y="736"/>
                        </a:lnTo>
                        <a:lnTo>
                          <a:pt x="776" y="736"/>
                        </a:lnTo>
                        <a:lnTo>
                          <a:pt x="776" y="738"/>
                        </a:lnTo>
                        <a:lnTo>
                          <a:pt x="778" y="739"/>
                        </a:lnTo>
                        <a:lnTo>
                          <a:pt x="776" y="743"/>
                        </a:lnTo>
                        <a:lnTo>
                          <a:pt x="774" y="744"/>
                        </a:lnTo>
                        <a:lnTo>
                          <a:pt x="771" y="744"/>
                        </a:lnTo>
                        <a:lnTo>
                          <a:pt x="770" y="746"/>
                        </a:lnTo>
                        <a:lnTo>
                          <a:pt x="771" y="747"/>
                        </a:lnTo>
                        <a:lnTo>
                          <a:pt x="771" y="749"/>
                        </a:lnTo>
                        <a:lnTo>
                          <a:pt x="768" y="749"/>
                        </a:lnTo>
                        <a:lnTo>
                          <a:pt x="767" y="749"/>
                        </a:lnTo>
                        <a:lnTo>
                          <a:pt x="765" y="750"/>
                        </a:lnTo>
                        <a:lnTo>
                          <a:pt x="763" y="749"/>
                        </a:lnTo>
                        <a:lnTo>
                          <a:pt x="762" y="749"/>
                        </a:lnTo>
                        <a:lnTo>
                          <a:pt x="760" y="747"/>
                        </a:lnTo>
                        <a:lnTo>
                          <a:pt x="759" y="747"/>
                        </a:lnTo>
                        <a:lnTo>
                          <a:pt x="757" y="747"/>
                        </a:lnTo>
                        <a:lnTo>
                          <a:pt x="757" y="749"/>
                        </a:lnTo>
                        <a:lnTo>
                          <a:pt x="755" y="749"/>
                        </a:lnTo>
                        <a:lnTo>
                          <a:pt x="754" y="750"/>
                        </a:lnTo>
                        <a:lnTo>
                          <a:pt x="752" y="752"/>
                        </a:lnTo>
                        <a:lnTo>
                          <a:pt x="751" y="752"/>
                        </a:lnTo>
                        <a:lnTo>
                          <a:pt x="749" y="752"/>
                        </a:lnTo>
                        <a:lnTo>
                          <a:pt x="748" y="754"/>
                        </a:lnTo>
                        <a:lnTo>
                          <a:pt x="746" y="754"/>
                        </a:lnTo>
                        <a:lnTo>
                          <a:pt x="741" y="755"/>
                        </a:lnTo>
                        <a:lnTo>
                          <a:pt x="738" y="757"/>
                        </a:lnTo>
                        <a:lnTo>
                          <a:pt x="736" y="757"/>
                        </a:lnTo>
                        <a:lnTo>
                          <a:pt x="733" y="757"/>
                        </a:lnTo>
                        <a:lnTo>
                          <a:pt x="732" y="755"/>
                        </a:lnTo>
                        <a:lnTo>
                          <a:pt x="725" y="754"/>
                        </a:lnTo>
                        <a:lnTo>
                          <a:pt x="721" y="752"/>
                        </a:lnTo>
                        <a:lnTo>
                          <a:pt x="716" y="750"/>
                        </a:lnTo>
                        <a:lnTo>
                          <a:pt x="713" y="749"/>
                        </a:lnTo>
                        <a:lnTo>
                          <a:pt x="708" y="747"/>
                        </a:lnTo>
                        <a:lnTo>
                          <a:pt x="705" y="749"/>
                        </a:lnTo>
                        <a:lnTo>
                          <a:pt x="700" y="749"/>
                        </a:lnTo>
                        <a:lnTo>
                          <a:pt x="698" y="749"/>
                        </a:lnTo>
                        <a:lnTo>
                          <a:pt x="695" y="749"/>
                        </a:lnTo>
                        <a:lnTo>
                          <a:pt x="694" y="750"/>
                        </a:lnTo>
                        <a:lnTo>
                          <a:pt x="692" y="752"/>
                        </a:lnTo>
                        <a:lnTo>
                          <a:pt x="692" y="754"/>
                        </a:lnTo>
                        <a:lnTo>
                          <a:pt x="692" y="755"/>
                        </a:lnTo>
                        <a:lnTo>
                          <a:pt x="690" y="757"/>
                        </a:lnTo>
                        <a:lnTo>
                          <a:pt x="690" y="758"/>
                        </a:lnTo>
                        <a:lnTo>
                          <a:pt x="689" y="760"/>
                        </a:lnTo>
                        <a:lnTo>
                          <a:pt x="689" y="762"/>
                        </a:lnTo>
                        <a:lnTo>
                          <a:pt x="689" y="763"/>
                        </a:lnTo>
                        <a:lnTo>
                          <a:pt x="689" y="766"/>
                        </a:lnTo>
                        <a:lnTo>
                          <a:pt x="689" y="769"/>
                        </a:lnTo>
                        <a:lnTo>
                          <a:pt x="687" y="771"/>
                        </a:lnTo>
                        <a:lnTo>
                          <a:pt x="686" y="773"/>
                        </a:lnTo>
                        <a:lnTo>
                          <a:pt x="683" y="774"/>
                        </a:lnTo>
                        <a:lnTo>
                          <a:pt x="681" y="774"/>
                        </a:lnTo>
                        <a:lnTo>
                          <a:pt x="681" y="773"/>
                        </a:lnTo>
                        <a:lnTo>
                          <a:pt x="679" y="773"/>
                        </a:lnTo>
                        <a:lnTo>
                          <a:pt x="676" y="773"/>
                        </a:lnTo>
                        <a:lnTo>
                          <a:pt x="675" y="773"/>
                        </a:lnTo>
                        <a:lnTo>
                          <a:pt x="673" y="774"/>
                        </a:lnTo>
                        <a:lnTo>
                          <a:pt x="671" y="774"/>
                        </a:lnTo>
                        <a:lnTo>
                          <a:pt x="668" y="774"/>
                        </a:lnTo>
                        <a:lnTo>
                          <a:pt x="667" y="774"/>
                        </a:lnTo>
                        <a:lnTo>
                          <a:pt x="665" y="773"/>
                        </a:lnTo>
                        <a:lnTo>
                          <a:pt x="662" y="773"/>
                        </a:lnTo>
                        <a:lnTo>
                          <a:pt x="660" y="773"/>
                        </a:lnTo>
                        <a:lnTo>
                          <a:pt x="657" y="774"/>
                        </a:lnTo>
                        <a:lnTo>
                          <a:pt x="654" y="776"/>
                        </a:lnTo>
                        <a:lnTo>
                          <a:pt x="649" y="779"/>
                        </a:lnTo>
                        <a:lnTo>
                          <a:pt x="646" y="781"/>
                        </a:lnTo>
                        <a:lnTo>
                          <a:pt x="645" y="782"/>
                        </a:lnTo>
                        <a:lnTo>
                          <a:pt x="643" y="784"/>
                        </a:lnTo>
                        <a:lnTo>
                          <a:pt x="640" y="785"/>
                        </a:lnTo>
                        <a:lnTo>
                          <a:pt x="638" y="790"/>
                        </a:lnTo>
                        <a:lnTo>
                          <a:pt x="635" y="798"/>
                        </a:lnTo>
                        <a:lnTo>
                          <a:pt x="633" y="801"/>
                        </a:lnTo>
                        <a:lnTo>
                          <a:pt x="632" y="803"/>
                        </a:lnTo>
                        <a:lnTo>
                          <a:pt x="630" y="804"/>
                        </a:lnTo>
                        <a:lnTo>
                          <a:pt x="627" y="807"/>
                        </a:lnTo>
                        <a:lnTo>
                          <a:pt x="624" y="809"/>
                        </a:lnTo>
                        <a:lnTo>
                          <a:pt x="619" y="811"/>
                        </a:lnTo>
                        <a:lnTo>
                          <a:pt x="616" y="809"/>
                        </a:lnTo>
                        <a:lnTo>
                          <a:pt x="613" y="806"/>
                        </a:lnTo>
                        <a:lnTo>
                          <a:pt x="610" y="803"/>
                        </a:lnTo>
                        <a:lnTo>
                          <a:pt x="608" y="801"/>
                        </a:lnTo>
                        <a:lnTo>
                          <a:pt x="607" y="801"/>
                        </a:lnTo>
                        <a:lnTo>
                          <a:pt x="605" y="801"/>
                        </a:lnTo>
                        <a:lnTo>
                          <a:pt x="602" y="803"/>
                        </a:lnTo>
                        <a:lnTo>
                          <a:pt x="599" y="806"/>
                        </a:lnTo>
                        <a:lnTo>
                          <a:pt x="597" y="807"/>
                        </a:lnTo>
                        <a:lnTo>
                          <a:pt x="594" y="807"/>
                        </a:lnTo>
                        <a:lnTo>
                          <a:pt x="592" y="809"/>
                        </a:lnTo>
                        <a:lnTo>
                          <a:pt x="586" y="811"/>
                        </a:lnTo>
                        <a:lnTo>
                          <a:pt x="580" y="811"/>
                        </a:lnTo>
                        <a:lnTo>
                          <a:pt x="572" y="811"/>
                        </a:lnTo>
                        <a:lnTo>
                          <a:pt x="565" y="811"/>
                        </a:lnTo>
                        <a:lnTo>
                          <a:pt x="557" y="809"/>
                        </a:lnTo>
                        <a:lnTo>
                          <a:pt x="554" y="809"/>
                        </a:lnTo>
                        <a:lnTo>
                          <a:pt x="551" y="809"/>
                        </a:lnTo>
                        <a:lnTo>
                          <a:pt x="548" y="811"/>
                        </a:lnTo>
                        <a:lnTo>
                          <a:pt x="545" y="812"/>
                        </a:lnTo>
                        <a:lnTo>
                          <a:pt x="543" y="814"/>
                        </a:lnTo>
                        <a:lnTo>
                          <a:pt x="542" y="814"/>
                        </a:lnTo>
                        <a:lnTo>
                          <a:pt x="540" y="814"/>
                        </a:lnTo>
                        <a:lnTo>
                          <a:pt x="537" y="814"/>
                        </a:lnTo>
                        <a:lnTo>
                          <a:pt x="534" y="812"/>
                        </a:lnTo>
                        <a:lnTo>
                          <a:pt x="530" y="812"/>
                        </a:lnTo>
                        <a:lnTo>
                          <a:pt x="529" y="812"/>
                        </a:lnTo>
                        <a:lnTo>
                          <a:pt x="527" y="812"/>
                        </a:lnTo>
                        <a:lnTo>
                          <a:pt x="523" y="814"/>
                        </a:lnTo>
                        <a:lnTo>
                          <a:pt x="516" y="815"/>
                        </a:lnTo>
                        <a:lnTo>
                          <a:pt x="505" y="819"/>
                        </a:lnTo>
                        <a:lnTo>
                          <a:pt x="500" y="819"/>
                        </a:lnTo>
                        <a:lnTo>
                          <a:pt x="496" y="822"/>
                        </a:lnTo>
                        <a:lnTo>
                          <a:pt x="491" y="822"/>
                        </a:lnTo>
                        <a:lnTo>
                          <a:pt x="489" y="822"/>
                        </a:lnTo>
                        <a:lnTo>
                          <a:pt x="486" y="822"/>
                        </a:lnTo>
                        <a:lnTo>
                          <a:pt x="478" y="819"/>
                        </a:lnTo>
                        <a:lnTo>
                          <a:pt x="472" y="817"/>
                        </a:lnTo>
                        <a:lnTo>
                          <a:pt x="467" y="815"/>
                        </a:lnTo>
                        <a:lnTo>
                          <a:pt x="461" y="814"/>
                        </a:lnTo>
                        <a:lnTo>
                          <a:pt x="451" y="812"/>
                        </a:lnTo>
                        <a:lnTo>
                          <a:pt x="443" y="811"/>
                        </a:lnTo>
                        <a:lnTo>
                          <a:pt x="437" y="811"/>
                        </a:lnTo>
                        <a:lnTo>
                          <a:pt x="423" y="809"/>
                        </a:lnTo>
                        <a:lnTo>
                          <a:pt x="412" y="809"/>
                        </a:lnTo>
                        <a:lnTo>
                          <a:pt x="399" y="809"/>
                        </a:lnTo>
                        <a:lnTo>
                          <a:pt x="396" y="807"/>
                        </a:lnTo>
                        <a:lnTo>
                          <a:pt x="390" y="806"/>
                        </a:lnTo>
                        <a:lnTo>
                          <a:pt x="386" y="803"/>
                        </a:lnTo>
                        <a:lnTo>
                          <a:pt x="378" y="796"/>
                        </a:lnTo>
                        <a:lnTo>
                          <a:pt x="375" y="792"/>
                        </a:lnTo>
                        <a:lnTo>
                          <a:pt x="372" y="787"/>
                        </a:lnTo>
                        <a:lnTo>
                          <a:pt x="369" y="782"/>
                        </a:lnTo>
                        <a:lnTo>
                          <a:pt x="366" y="776"/>
                        </a:lnTo>
                        <a:lnTo>
                          <a:pt x="361" y="768"/>
                        </a:lnTo>
                        <a:lnTo>
                          <a:pt x="356" y="757"/>
                        </a:lnTo>
                        <a:lnTo>
                          <a:pt x="351" y="749"/>
                        </a:lnTo>
                        <a:lnTo>
                          <a:pt x="348" y="743"/>
                        </a:lnTo>
                        <a:lnTo>
                          <a:pt x="345" y="736"/>
                        </a:lnTo>
                        <a:lnTo>
                          <a:pt x="345" y="735"/>
                        </a:lnTo>
                        <a:lnTo>
                          <a:pt x="344" y="735"/>
                        </a:lnTo>
                        <a:lnTo>
                          <a:pt x="342" y="735"/>
                        </a:lnTo>
                        <a:lnTo>
                          <a:pt x="340" y="735"/>
                        </a:lnTo>
                        <a:lnTo>
                          <a:pt x="334" y="736"/>
                        </a:lnTo>
                        <a:lnTo>
                          <a:pt x="325" y="738"/>
                        </a:lnTo>
                        <a:lnTo>
                          <a:pt x="313" y="739"/>
                        </a:lnTo>
                        <a:lnTo>
                          <a:pt x="302" y="741"/>
                        </a:lnTo>
                        <a:lnTo>
                          <a:pt x="298" y="743"/>
                        </a:lnTo>
                        <a:lnTo>
                          <a:pt x="293" y="743"/>
                        </a:lnTo>
                        <a:lnTo>
                          <a:pt x="288" y="741"/>
                        </a:lnTo>
                        <a:lnTo>
                          <a:pt x="280" y="739"/>
                        </a:lnTo>
                        <a:lnTo>
                          <a:pt x="272" y="739"/>
                        </a:lnTo>
                        <a:lnTo>
                          <a:pt x="269" y="738"/>
                        </a:lnTo>
                        <a:lnTo>
                          <a:pt x="268" y="736"/>
                        </a:lnTo>
                        <a:lnTo>
                          <a:pt x="266" y="736"/>
                        </a:lnTo>
                        <a:lnTo>
                          <a:pt x="264" y="736"/>
                        </a:lnTo>
                        <a:lnTo>
                          <a:pt x="263" y="738"/>
                        </a:lnTo>
                        <a:lnTo>
                          <a:pt x="261" y="739"/>
                        </a:lnTo>
                        <a:lnTo>
                          <a:pt x="258" y="746"/>
                        </a:lnTo>
                        <a:lnTo>
                          <a:pt x="253" y="754"/>
                        </a:lnTo>
                        <a:lnTo>
                          <a:pt x="247" y="765"/>
                        </a:lnTo>
                        <a:lnTo>
                          <a:pt x="242" y="773"/>
                        </a:lnTo>
                        <a:lnTo>
                          <a:pt x="239" y="779"/>
                        </a:lnTo>
                        <a:lnTo>
                          <a:pt x="233" y="787"/>
                        </a:lnTo>
                        <a:lnTo>
                          <a:pt x="230" y="792"/>
                        </a:lnTo>
                        <a:lnTo>
                          <a:pt x="228" y="795"/>
                        </a:lnTo>
                        <a:lnTo>
                          <a:pt x="226" y="796"/>
                        </a:lnTo>
                        <a:lnTo>
                          <a:pt x="226" y="798"/>
                        </a:lnTo>
                        <a:lnTo>
                          <a:pt x="225" y="798"/>
                        </a:lnTo>
                        <a:lnTo>
                          <a:pt x="223" y="800"/>
                        </a:lnTo>
                        <a:lnTo>
                          <a:pt x="222" y="801"/>
                        </a:lnTo>
                        <a:lnTo>
                          <a:pt x="220" y="801"/>
                        </a:lnTo>
                        <a:lnTo>
                          <a:pt x="220" y="803"/>
                        </a:lnTo>
                        <a:lnTo>
                          <a:pt x="218" y="804"/>
                        </a:lnTo>
                        <a:lnTo>
                          <a:pt x="218" y="806"/>
                        </a:lnTo>
                        <a:lnTo>
                          <a:pt x="218" y="807"/>
                        </a:lnTo>
                        <a:lnTo>
                          <a:pt x="217" y="809"/>
                        </a:lnTo>
                        <a:lnTo>
                          <a:pt x="217" y="811"/>
                        </a:lnTo>
                        <a:lnTo>
                          <a:pt x="215" y="812"/>
                        </a:lnTo>
                        <a:lnTo>
                          <a:pt x="215" y="814"/>
                        </a:lnTo>
                        <a:lnTo>
                          <a:pt x="211" y="809"/>
                        </a:lnTo>
                        <a:lnTo>
                          <a:pt x="204" y="804"/>
                        </a:lnTo>
                        <a:lnTo>
                          <a:pt x="193" y="795"/>
                        </a:lnTo>
                        <a:lnTo>
                          <a:pt x="185" y="787"/>
                        </a:lnTo>
                        <a:lnTo>
                          <a:pt x="176" y="776"/>
                        </a:lnTo>
                        <a:lnTo>
                          <a:pt x="165" y="765"/>
                        </a:lnTo>
                        <a:lnTo>
                          <a:pt x="160" y="760"/>
                        </a:lnTo>
                        <a:lnTo>
                          <a:pt x="157" y="757"/>
                        </a:lnTo>
                        <a:lnTo>
                          <a:pt x="152" y="752"/>
                        </a:lnTo>
                        <a:lnTo>
                          <a:pt x="147" y="749"/>
                        </a:lnTo>
                        <a:lnTo>
                          <a:pt x="144" y="746"/>
                        </a:lnTo>
                        <a:lnTo>
                          <a:pt x="141" y="743"/>
                        </a:lnTo>
                        <a:lnTo>
                          <a:pt x="138" y="741"/>
                        </a:lnTo>
                        <a:lnTo>
                          <a:pt x="136" y="738"/>
                        </a:lnTo>
                        <a:lnTo>
                          <a:pt x="134" y="735"/>
                        </a:lnTo>
                        <a:lnTo>
                          <a:pt x="133" y="727"/>
                        </a:lnTo>
                        <a:lnTo>
                          <a:pt x="131" y="720"/>
                        </a:lnTo>
                        <a:lnTo>
                          <a:pt x="130" y="717"/>
                        </a:lnTo>
                        <a:lnTo>
                          <a:pt x="130" y="714"/>
                        </a:lnTo>
                        <a:lnTo>
                          <a:pt x="130" y="712"/>
                        </a:lnTo>
                        <a:lnTo>
                          <a:pt x="131" y="709"/>
                        </a:lnTo>
                        <a:lnTo>
                          <a:pt x="131" y="708"/>
                        </a:lnTo>
                        <a:lnTo>
                          <a:pt x="133" y="706"/>
                        </a:lnTo>
                        <a:lnTo>
                          <a:pt x="133" y="705"/>
                        </a:lnTo>
                        <a:lnTo>
                          <a:pt x="131" y="703"/>
                        </a:lnTo>
                        <a:lnTo>
                          <a:pt x="131" y="701"/>
                        </a:lnTo>
                        <a:lnTo>
                          <a:pt x="131" y="700"/>
                        </a:lnTo>
                        <a:lnTo>
                          <a:pt x="131" y="698"/>
                        </a:lnTo>
                        <a:lnTo>
                          <a:pt x="133" y="695"/>
                        </a:lnTo>
                        <a:lnTo>
                          <a:pt x="133" y="693"/>
                        </a:lnTo>
                        <a:lnTo>
                          <a:pt x="134" y="692"/>
                        </a:lnTo>
                        <a:lnTo>
                          <a:pt x="136" y="689"/>
                        </a:lnTo>
                        <a:lnTo>
                          <a:pt x="138" y="687"/>
                        </a:lnTo>
                        <a:lnTo>
                          <a:pt x="139" y="684"/>
                        </a:lnTo>
                        <a:lnTo>
                          <a:pt x="141" y="684"/>
                        </a:lnTo>
                        <a:lnTo>
                          <a:pt x="141" y="682"/>
                        </a:lnTo>
                        <a:lnTo>
                          <a:pt x="142" y="681"/>
                        </a:lnTo>
                        <a:lnTo>
                          <a:pt x="147" y="678"/>
                        </a:lnTo>
                        <a:lnTo>
                          <a:pt x="147" y="673"/>
                        </a:lnTo>
                        <a:lnTo>
                          <a:pt x="147" y="670"/>
                        </a:lnTo>
                        <a:lnTo>
                          <a:pt x="147" y="666"/>
                        </a:lnTo>
                        <a:lnTo>
                          <a:pt x="146" y="665"/>
                        </a:lnTo>
                        <a:lnTo>
                          <a:pt x="120" y="663"/>
                        </a:lnTo>
                        <a:lnTo>
                          <a:pt x="82" y="646"/>
                        </a:lnTo>
                        <a:lnTo>
                          <a:pt x="65" y="632"/>
                        </a:lnTo>
                        <a:lnTo>
                          <a:pt x="51" y="619"/>
                        </a:lnTo>
                        <a:lnTo>
                          <a:pt x="46" y="613"/>
                        </a:lnTo>
                        <a:lnTo>
                          <a:pt x="33" y="603"/>
                        </a:lnTo>
                        <a:lnTo>
                          <a:pt x="11" y="584"/>
                        </a:lnTo>
                        <a:lnTo>
                          <a:pt x="9" y="583"/>
                        </a:lnTo>
                        <a:lnTo>
                          <a:pt x="11" y="583"/>
                        </a:lnTo>
                        <a:lnTo>
                          <a:pt x="11" y="581"/>
                        </a:lnTo>
                        <a:lnTo>
                          <a:pt x="9" y="579"/>
                        </a:lnTo>
                        <a:lnTo>
                          <a:pt x="8" y="579"/>
                        </a:lnTo>
                        <a:lnTo>
                          <a:pt x="6" y="578"/>
                        </a:lnTo>
                        <a:lnTo>
                          <a:pt x="5" y="578"/>
                        </a:lnTo>
                        <a:lnTo>
                          <a:pt x="3" y="578"/>
                        </a:lnTo>
                        <a:lnTo>
                          <a:pt x="0" y="575"/>
                        </a:lnTo>
                        <a:lnTo>
                          <a:pt x="1" y="575"/>
                        </a:lnTo>
                        <a:lnTo>
                          <a:pt x="3" y="575"/>
                        </a:lnTo>
                        <a:lnTo>
                          <a:pt x="11" y="570"/>
                        </a:lnTo>
                        <a:lnTo>
                          <a:pt x="70" y="546"/>
                        </a:lnTo>
                        <a:lnTo>
                          <a:pt x="73" y="486"/>
                        </a:lnTo>
                        <a:lnTo>
                          <a:pt x="74" y="475"/>
                        </a:lnTo>
                        <a:lnTo>
                          <a:pt x="74" y="467"/>
                        </a:lnTo>
                        <a:lnTo>
                          <a:pt x="77" y="407"/>
                        </a:lnTo>
                        <a:lnTo>
                          <a:pt x="81" y="372"/>
                        </a:lnTo>
                        <a:lnTo>
                          <a:pt x="190" y="369"/>
                        </a:lnTo>
                        <a:lnTo>
                          <a:pt x="211" y="369"/>
                        </a:lnTo>
                        <a:lnTo>
                          <a:pt x="222" y="369"/>
                        </a:lnTo>
                        <a:lnTo>
                          <a:pt x="266" y="354"/>
                        </a:lnTo>
                        <a:lnTo>
                          <a:pt x="336" y="310"/>
                        </a:lnTo>
                        <a:lnTo>
                          <a:pt x="429" y="251"/>
                        </a:lnTo>
                        <a:lnTo>
                          <a:pt x="488" y="215"/>
                        </a:lnTo>
                        <a:lnTo>
                          <a:pt x="529" y="206"/>
                        </a:lnTo>
                        <a:lnTo>
                          <a:pt x="586" y="191"/>
                        </a:lnTo>
                        <a:lnTo>
                          <a:pt x="613" y="185"/>
                        </a:lnTo>
                        <a:lnTo>
                          <a:pt x="627" y="180"/>
                        </a:lnTo>
                        <a:lnTo>
                          <a:pt x="652" y="160"/>
                        </a:lnTo>
                        <a:lnTo>
                          <a:pt x="652" y="161"/>
                        </a:lnTo>
                        <a:lnTo>
                          <a:pt x="652" y="160"/>
                        </a:lnTo>
                        <a:lnTo>
                          <a:pt x="662" y="153"/>
                        </a:lnTo>
                        <a:lnTo>
                          <a:pt x="670" y="150"/>
                        </a:lnTo>
                        <a:lnTo>
                          <a:pt x="675" y="149"/>
                        </a:lnTo>
                        <a:lnTo>
                          <a:pt x="681" y="145"/>
                        </a:lnTo>
                        <a:lnTo>
                          <a:pt x="692" y="137"/>
                        </a:lnTo>
                        <a:lnTo>
                          <a:pt x="711" y="122"/>
                        </a:lnTo>
                        <a:lnTo>
                          <a:pt x="713" y="122"/>
                        </a:lnTo>
                        <a:lnTo>
                          <a:pt x="714" y="118"/>
                        </a:lnTo>
                        <a:lnTo>
                          <a:pt x="721" y="112"/>
                        </a:lnTo>
                        <a:lnTo>
                          <a:pt x="724" y="110"/>
                        </a:lnTo>
                        <a:lnTo>
                          <a:pt x="727" y="106"/>
                        </a:lnTo>
                        <a:lnTo>
                          <a:pt x="722" y="104"/>
                        </a:lnTo>
                        <a:lnTo>
                          <a:pt x="752" y="80"/>
                        </a:lnTo>
                        <a:lnTo>
                          <a:pt x="754" y="80"/>
                        </a:lnTo>
                        <a:lnTo>
                          <a:pt x="757" y="76"/>
                        </a:lnTo>
                        <a:lnTo>
                          <a:pt x="762" y="72"/>
                        </a:lnTo>
                        <a:lnTo>
                          <a:pt x="770" y="63"/>
                        </a:lnTo>
                        <a:lnTo>
                          <a:pt x="773" y="60"/>
                        </a:lnTo>
                        <a:lnTo>
                          <a:pt x="774" y="60"/>
                        </a:lnTo>
                        <a:lnTo>
                          <a:pt x="778" y="57"/>
                        </a:lnTo>
                        <a:lnTo>
                          <a:pt x="779" y="53"/>
                        </a:lnTo>
                        <a:lnTo>
                          <a:pt x="781" y="52"/>
                        </a:lnTo>
                        <a:lnTo>
                          <a:pt x="782" y="52"/>
                        </a:lnTo>
                        <a:lnTo>
                          <a:pt x="784" y="49"/>
                        </a:lnTo>
                        <a:lnTo>
                          <a:pt x="787" y="46"/>
                        </a:lnTo>
                        <a:lnTo>
                          <a:pt x="790" y="42"/>
                        </a:lnTo>
                        <a:lnTo>
                          <a:pt x="793" y="41"/>
                        </a:lnTo>
                        <a:lnTo>
                          <a:pt x="797" y="39"/>
                        </a:lnTo>
                        <a:lnTo>
                          <a:pt x="801" y="34"/>
                        </a:lnTo>
                        <a:lnTo>
                          <a:pt x="805" y="33"/>
                        </a:lnTo>
                        <a:lnTo>
                          <a:pt x="806" y="31"/>
                        </a:lnTo>
                        <a:lnTo>
                          <a:pt x="808" y="30"/>
                        </a:lnTo>
                        <a:lnTo>
                          <a:pt x="812" y="27"/>
                        </a:lnTo>
                        <a:lnTo>
                          <a:pt x="820" y="22"/>
                        </a:lnTo>
                        <a:lnTo>
                          <a:pt x="827" y="19"/>
                        </a:lnTo>
                        <a:lnTo>
                          <a:pt x="828" y="19"/>
                        </a:lnTo>
                        <a:lnTo>
                          <a:pt x="828" y="17"/>
                        </a:lnTo>
                        <a:lnTo>
                          <a:pt x="836" y="12"/>
                        </a:lnTo>
                        <a:lnTo>
                          <a:pt x="838" y="11"/>
                        </a:lnTo>
                        <a:lnTo>
                          <a:pt x="839" y="9"/>
                        </a:lnTo>
                        <a:lnTo>
                          <a:pt x="843" y="8"/>
                        </a:lnTo>
                        <a:lnTo>
                          <a:pt x="854" y="3"/>
                        </a:lnTo>
                        <a:lnTo>
                          <a:pt x="854" y="1"/>
                        </a:lnTo>
                        <a:lnTo>
                          <a:pt x="855" y="1"/>
                        </a:lnTo>
                        <a:lnTo>
                          <a:pt x="857" y="1"/>
                        </a:lnTo>
                        <a:lnTo>
                          <a:pt x="860" y="1"/>
                        </a:lnTo>
                        <a:lnTo>
                          <a:pt x="865" y="1"/>
                        </a:lnTo>
                        <a:lnTo>
                          <a:pt x="868" y="1"/>
                        </a:lnTo>
                        <a:lnTo>
                          <a:pt x="879" y="1"/>
                        </a:lnTo>
                        <a:lnTo>
                          <a:pt x="904" y="1"/>
                        </a:lnTo>
                        <a:lnTo>
                          <a:pt x="922" y="1"/>
                        </a:lnTo>
                        <a:lnTo>
                          <a:pt x="942" y="1"/>
                        </a:lnTo>
                        <a:lnTo>
                          <a:pt x="949" y="1"/>
                        </a:lnTo>
                        <a:lnTo>
                          <a:pt x="958" y="1"/>
                        </a:lnTo>
                        <a:lnTo>
                          <a:pt x="971" y="1"/>
                        </a:lnTo>
                        <a:lnTo>
                          <a:pt x="985" y="1"/>
                        </a:lnTo>
                        <a:lnTo>
                          <a:pt x="990" y="1"/>
                        </a:lnTo>
                        <a:lnTo>
                          <a:pt x="1004" y="1"/>
                        </a:lnTo>
                        <a:lnTo>
                          <a:pt x="1014" y="0"/>
                        </a:lnTo>
                        <a:lnTo>
                          <a:pt x="1015" y="1"/>
                        </a:lnTo>
                        <a:lnTo>
                          <a:pt x="1017" y="1"/>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73" name="Freeform 72"/>
                  <p:cNvSpPr>
                    <a:spLocks/>
                  </p:cNvSpPr>
                  <p:nvPr/>
                </p:nvSpPr>
                <p:spPr bwMode="auto">
                  <a:xfrm>
                    <a:off x="2571" y="2924"/>
                    <a:ext cx="861" cy="1211"/>
                  </a:xfrm>
                  <a:custGeom>
                    <a:avLst/>
                    <a:gdLst>
                      <a:gd name="T0" fmla="*/ 558 w 861"/>
                      <a:gd name="T1" fmla="*/ 17 h 1211"/>
                      <a:gd name="T2" fmla="*/ 593 w 861"/>
                      <a:gd name="T3" fmla="*/ 4 h 1211"/>
                      <a:gd name="T4" fmla="*/ 637 w 861"/>
                      <a:gd name="T5" fmla="*/ 17 h 1211"/>
                      <a:gd name="T6" fmla="*/ 699 w 861"/>
                      <a:gd name="T7" fmla="*/ 42 h 1211"/>
                      <a:gd name="T8" fmla="*/ 696 w 861"/>
                      <a:gd name="T9" fmla="*/ 74 h 1211"/>
                      <a:gd name="T10" fmla="*/ 739 w 861"/>
                      <a:gd name="T11" fmla="*/ 80 h 1211"/>
                      <a:gd name="T12" fmla="*/ 748 w 861"/>
                      <a:gd name="T13" fmla="*/ 142 h 1211"/>
                      <a:gd name="T14" fmla="*/ 805 w 861"/>
                      <a:gd name="T15" fmla="*/ 104 h 1211"/>
                      <a:gd name="T16" fmla="*/ 857 w 861"/>
                      <a:gd name="T17" fmla="*/ 150 h 1211"/>
                      <a:gd name="T18" fmla="*/ 821 w 861"/>
                      <a:gd name="T19" fmla="*/ 193 h 1211"/>
                      <a:gd name="T20" fmla="*/ 764 w 861"/>
                      <a:gd name="T21" fmla="*/ 228 h 1211"/>
                      <a:gd name="T22" fmla="*/ 715 w 861"/>
                      <a:gd name="T23" fmla="*/ 296 h 1211"/>
                      <a:gd name="T24" fmla="*/ 678 w 861"/>
                      <a:gd name="T25" fmla="*/ 375 h 1211"/>
                      <a:gd name="T26" fmla="*/ 658 w 861"/>
                      <a:gd name="T27" fmla="*/ 443 h 1211"/>
                      <a:gd name="T28" fmla="*/ 704 w 861"/>
                      <a:gd name="T29" fmla="*/ 570 h 1211"/>
                      <a:gd name="T30" fmla="*/ 707 w 861"/>
                      <a:gd name="T31" fmla="*/ 644 h 1211"/>
                      <a:gd name="T32" fmla="*/ 742 w 861"/>
                      <a:gd name="T33" fmla="*/ 746 h 1211"/>
                      <a:gd name="T34" fmla="*/ 762 w 861"/>
                      <a:gd name="T35" fmla="*/ 923 h 1211"/>
                      <a:gd name="T36" fmla="*/ 745 w 861"/>
                      <a:gd name="T37" fmla="*/ 1012 h 1211"/>
                      <a:gd name="T38" fmla="*/ 781 w 861"/>
                      <a:gd name="T39" fmla="*/ 1132 h 1211"/>
                      <a:gd name="T40" fmla="*/ 732 w 861"/>
                      <a:gd name="T41" fmla="*/ 1192 h 1211"/>
                      <a:gd name="T42" fmla="*/ 604 w 861"/>
                      <a:gd name="T43" fmla="*/ 1004 h 1211"/>
                      <a:gd name="T44" fmla="*/ 528 w 861"/>
                      <a:gd name="T45" fmla="*/ 937 h 1211"/>
                      <a:gd name="T46" fmla="*/ 472 w 861"/>
                      <a:gd name="T47" fmla="*/ 906 h 1211"/>
                      <a:gd name="T48" fmla="*/ 425 w 861"/>
                      <a:gd name="T49" fmla="*/ 907 h 1211"/>
                      <a:gd name="T50" fmla="*/ 305 w 861"/>
                      <a:gd name="T51" fmla="*/ 890 h 1211"/>
                      <a:gd name="T52" fmla="*/ 179 w 861"/>
                      <a:gd name="T53" fmla="*/ 880 h 1211"/>
                      <a:gd name="T54" fmla="*/ 65 w 861"/>
                      <a:gd name="T55" fmla="*/ 895 h 1211"/>
                      <a:gd name="T56" fmla="*/ 50 w 861"/>
                      <a:gd name="T57" fmla="*/ 857 h 1211"/>
                      <a:gd name="T58" fmla="*/ 8 w 861"/>
                      <a:gd name="T59" fmla="*/ 823 h 1211"/>
                      <a:gd name="T60" fmla="*/ 34 w 861"/>
                      <a:gd name="T61" fmla="*/ 776 h 1211"/>
                      <a:gd name="T62" fmla="*/ 81 w 861"/>
                      <a:gd name="T63" fmla="*/ 779 h 1211"/>
                      <a:gd name="T64" fmla="*/ 135 w 861"/>
                      <a:gd name="T65" fmla="*/ 731 h 1211"/>
                      <a:gd name="T66" fmla="*/ 160 w 861"/>
                      <a:gd name="T67" fmla="*/ 684 h 1211"/>
                      <a:gd name="T68" fmla="*/ 145 w 861"/>
                      <a:gd name="T69" fmla="*/ 636 h 1211"/>
                      <a:gd name="T70" fmla="*/ 178 w 861"/>
                      <a:gd name="T71" fmla="*/ 571 h 1211"/>
                      <a:gd name="T72" fmla="*/ 181 w 861"/>
                      <a:gd name="T73" fmla="*/ 516 h 1211"/>
                      <a:gd name="T74" fmla="*/ 184 w 861"/>
                      <a:gd name="T75" fmla="*/ 475 h 1211"/>
                      <a:gd name="T76" fmla="*/ 179 w 861"/>
                      <a:gd name="T77" fmla="*/ 422 h 1211"/>
                      <a:gd name="T78" fmla="*/ 132 w 861"/>
                      <a:gd name="T79" fmla="*/ 389 h 1211"/>
                      <a:gd name="T80" fmla="*/ 183 w 861"/>
                      <a:gd name="T81" fmla="*/ 378 h 1211"/>
                      <a:gd name="T82" fmla="*/ 194 w 861"/>
                      <a:gd name="T83" fmla="*/ 350 h 1211"/>
                      <a:gd name="T84" fmla="*/ 175 w 861"/>
                      <a:gd name="T85" fmla="*/ 321 h 1211"/>
                      <a:gd name="T86" fmla="*/ 176 w 861"/>
                      <a:gd name="T87" fmla="*/ 296 h 1211"/>
                      <a:gd name="T88" fmla="*/ 200 w 861"/>
                      <a:gd name="T89" fmla="*/ 301 h 1211"/>
                      <a:gd name="T90" fmla="*/ 214 w 861"/>
                      <a:gd name="T91" fmla="*/ 277 h 1211"/>
                      <a:gd name="T92" fmla="*/ 217 w 861"/>
                      <a:gd name="T93" fmla="*/ 250 h 1211"/>
                      <a:gd name="T94" fmla="*/ 246 w 861"/>
                      <a:gd name="T95" fmla="*/ 239 h 1211"/>
                      <a:gd name="T96" fmla="*/ 260 w 861"/>
                      <a:gd name="T97" fmla="*/ 210 h 1211"/>
                      <a:gd name="T98" fmla="*/ 252 w 861"/>
                      <a:gd name="T99" fmla="*/ 194 h 1211"/>
                      <a:gd name="T100" fmla="*/ 267 w 861"/>
                      <a:gd name="T101" fmla="*/ 177 h 1211"/>
                      <a:gd name="T102" fmla="*/ 281 w 861"/>
                      <a:gd name="T103" fmla="*/ 185 h 1211"/>
                      <a:gd name="T104" fmla="*/ 298 w 861"/>
                      <a:gd name="T105" fmla="*/ 158 h 1211"/>
                      <a:gd name="T106" fmla="*/ 314 w 861"/>
                      <a:gd name="T107" fmla="*/ 129 h 1211"/>
                      <a:gd name="T108" fmla="*/ 344 w 861"/>
                      <a:gd name="T109" fmla="*/ 123 h 1211"/>
                      <a:gd name="T110" fmla="*/ 376 w 861"/>
                      <a:gd name="T111" fmla="*/ 114 h 1211"/>
                      <a:gd name="T112" fmla="*/ 403 w 861"/>
                      <a:gd name="T113" fmla="*/ 90 h 1211"/>
                      <a:gd name="T114" fmla="*/ 427 w 861"/>
                      <a:gd name="T115" fmla="*/ 109 h 1211"/>
                      <a:gd name="T116" fmla="*/ 439 w 861"/>
                      <a:gd name="T117" fmla="*/ 83 h 1211"/>
                      <a:gd name="T118" fmla="*/ 458 w 861"/>
                      <a:gd name="T119" fmla="*/ 49 h 1211"/>
                      <a:gd name="T120" fmla="*/ 477 w 861"/>
                      <a:gd name="T121" fmla="*/ 19 h 1211"/>
                      <a:gd name="T122" fmla="*/ 512 w 861"/>
                      <a:gd name="T123" fmla="*/ 7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61" h="1211">
                        <a:moveTo>
                          <a:pt x="536" y="6"/>
                        </a:moveTo>
                        <a:lnTo>
                          <a:pt x="536" y="7"/>
                        </a:lnTo>
                        <a:lnTo>
                          <a:pt x="537" y="9"/>
                        </a:lnTo>
                        <a:lnTo>
                          <a:pt x="539" y="9"/>
                        </a:lnTo>
                        <a:lnTo>
                          <a:pt x="539" y="11"/>
                        </a:lnTo>
                        <a:lnTo>
                          <a:pt x="541" y="11"/>
                        </a:lnTo>
                        <a:lnTo>
                          <a:pt x="541" y="12"/>
                        </a:lnTo>
                        <a:lnTo>
                          <a:pt x="542" y="12"/>
                        </a:lnTo>
                        <a:lnTo>
                          <a:pt x="542" y="14"/>
                        </a:lnTo>
                        <a:lnTo>
                          <a:pt x="542" y="15"/>
                        </a:lnTo>
                        <a:lnTo>
                          <a:pt x="544" y="15"/>
                        </a:lnTo>
                        <a:lnTo>
                          <a:pt x="544" y="17"/>
                        </a:lnTo>
                        <a:lnTo>
                          <a:pt x="545" y="19"/>
                        </a:lnTo>
                        <a:lnTo>
                          <a:pt x="545" y="20"/>
                        </a:lnTo>
                        <a:lnTo>
                          <a:pt x="547" y="20"/>
                        </a:lnTo>
                        <a:lnTo>
                          <a:pt x="547" y="22"/>
                        </a:lnTo>
                        <a:lnTo>
                          <a:pt x="548" y="22"/>
                        </a:lnTo>
                        <a:lnTo>
                          <a:pt x="550" y="22"/>
                        </a:lnTo>
                        <a:lnTo>
                          <a:pt x="550" y="20"/>
                        </a:lnTo>
                        <a:lnTo>
                          <a:pt x="552" y="20"/>
                        </a:lnTo>
                        <a:lnTo>
                          <a:pt x="552" y="19"/>
                        </a:lnTo>
                        <a:lnTo>
                          <a:pt x="553" y="19"/>
                        </a:lnTo>
                        <a:lnTo>
                          <a:pt x="555" y="19"/>
                        </a:lnTo>
                        <a:lnTo>
                          <a:pt x="556" y="19"/>
                        </a:lnTo>
                        <a:lnTo>
                          <a:pt x="558" y="17"/>
                        </a:lnTo>
                        <a:lnTo>
                          <a:pt x="560" y="17"/>
                        </a:lnTo>
                        <a:lnTo>
                          <a:pt x="561" y="15"/>
                        </a:lnTo>
                        <a:lnTo>
                          <a:pt x="563" y="15"/>
                        </a:lnTo>
                        <a:lnTo>
                          <a:pt x="564" y="15"/>
                        </a:lnTo>
                        <a:lnTo>
                          <a:pt x="566" y="15"/>
                        </a:lnTo>
                        <a:lnTo>
                          <a:pt x="567" y="15"/>
                        </a:lnTo>
                        <a:lnTo>
                          <a:pt x="569" y="15"/>
                        </a:lnTo>
                        <a:lnTo>
                          <a:pt x="571" y="15"/>
                        </a:lnTo>
                        <a:lnTo>
                          <a:pt x="572" y="15"/>
                        </a:lnTo>
                        <a:lnTo>
                          <a:pt x="574" y="15"/>
                        </a:lnTo>
                        <a:lnTo>
                          <a:pt x="575" y="15"/>
                        </a:lnTo>
                        <a:lnTo>
                          <a:pt x="577" y="15"/>
                        </a:lnTo>
                        <a:lnTo>
                          <a:pt x="579" y="14"/>
                        </a:lnTo>
                        <a:lnTo>
                          <a:pt x="580" y="14"/>
                        </a:lnTo>
                        <a:lnTo>
                          <a:pt x="582" y="14"/>
                        </a:lnTo>
                        <a:lnTo>
                          <a:pt x="583" y="14"/>
                        </a:lnTo>
                        <a:lnTo>
                          <a:pt x="583" y="12"/>
                        </a:lnTo>
                        <a:lnTo>
                          <a:pt x="585" y="12"/>
                        </a:lnTo>
                        <a:lnTo>
                          <a:pt x="585" y="11"/>
                        </a:lnTo>
                        <a:lnTo>
                          <a:pt x="586" y="9"/>
                        </a:lnTo>
                        <a:lnTo>
                          <a:pt x="588" y="7"/>
                        </a:lnTo>
                        <a:lnTo>
                          <a:pt x="590" y="7"/>
                        </a:lnTo>
                        <a:lnTo>
                          <a:pt x="590" y="6"/>
                        </a:lnTo>
                        <a:lnTo>
                          <a:pt x="591" y="6"/>
                        </a:lnTo>
                        <a:lnTo>
                          <a:pt x="593" y="4"/>
                        </a:lnTo>
                        <a:lnTo>
                          <a:pt x="594" y="4"/>
                        </a:lnTo>
                        <a:lnTo>
                          <a:pt x="596" y="3"/>
                        </a:lnTo>
                        <a:lnTo>
                          <a:pt x="598" y="3"/>
                        </a:lnTo>
                        <a:lnTo>
                          <a:pt x="599" y="3"/>
                        </a:lnTo>
                        <a:lnTo>
                          <a:pt x="601" y="3"/>
                        </a:lnTo>
                        <a:lnTo>
                          <a:pt x="602" y="3"/>
                        </a:lnTo>
                        <a:lnTo>
                          <a:pt x="604" y="3"/>
                        </a:lnTo>
                        <a:lnTo>
                          <a:pt x="606" y="3"/>
                        </a:lnTo>
                        <a:lnTo>
                          <a:pt x="607" y="4"/>
                        </a:lnTo>
                        <a:lnTo>
                          <a:pt x="609" y="4"/>
                        </a:lnTo>
                        <a:lnTo>
                          <a:pt x="610" y="4"/>
                        </a:lnTo>
                        <a:lnTo>
                          <a:pt x="612" y="4"/>
                        </a:lnTo>
                        <a:lnTo>
                          <a:pt x="613" y="4"/>
                        </a:lnTo>
                        <a:lnTo>
                          <a:pt x="613" y="6"/>
                        </a:lnTo>
                        <a:lnTo>
                          <a:pt x="615" y="6"/>
                        </a:lnTo>
                        <a:lnTo>
                          <a:pt x="617" y="6"/>
                        </a:lnTo>
                        <a:lnTo>
                          <a:pt x="617" y="7"/>
                        </a:lnTo>
                        <a:lnTo>
                          <a:pt x="617" y="6"/>
                        </a:lnTo>
                        <a:lnTo>
                          <a:pt x="620" y="7"/>
                        </a:lnTo>
                        <a:lnTo>
                          <a:pt x="621" y="9"/>
                        </a:lnTo>
                        <a:lnTo>
                          <a:pt x="623" y="11"/>
                        </a:lnTo>
                        <a:lnTo>
                          <a:pt x="626" y="12"/>
                        </a:lnTo>
                        <a:lnTo>
                          <a:pt x="628" y="14"/>
                        </a:lnTo>
                        <a:lnTo>
                          <a:pt x="632" y="15"/>
                        </a:lnTo>
                        <a:lnTo>
                          <a:pt x="637" y="17"/>
                        </a:lnTo>
                        <a:lnTo>
                          <a:pt x="642" y="19"/>
                        </a:lnTo>
                        <a:lnTo>
                          <a:pt x="648" y="22"/>
                        </a:lnTo>
                        <a:lnTo>
                          <a:pt x="650" y="23"/>
                        </a:lnTo>
                        <a:lnTo>
                          <a:pt x="651" y="23"/>
                        </a:lnTo>
                        <a:lnTo>
                          <a:pt x="653" y="25"/>
                        </a:lnTo>
                        <a:lnTo>
                          <a:pt x="656" y="26"/>
                        </a:lnTo>
                        <a:lnTo>
                          <a:pt x="659" y="26"/>
                        </a:lnTo>
                        <a:lnTo>
                          <a:pt x="661" y="26"/>
                        </a:lnTo>
                        <a:lnTo>
                          <a:pt x="661" y="28"/>
                        </a:lnTo>
                        <a:lnTo>
                          <a:pt x="664" y="30"/>
                        </a:lnTo>
                        <a:lnTo>
                          <a:pt x="666" y="30"/>
                        </a:lnTo>
                        <a:lnTo>
                          <a:pt x="667" y="31"/>
                        </a:lnTo>
                        <a:lnTo>
                          <a:pt x="669" y="33"/>
                        </a:lnTo>
                        <a:lnTo>
                          <a:pt x="670" y="33"/>
                        </a:lnTo>
                        <a:lnTo>
                          <a:pt x="674" y="34"/>
                        </a:lnTo>
                        <a:lnTo>
                          <a:pt x="677" y="36"/>
                        </a:lnTo>
                        <a:lnTo>
                          <a:pt x="680" y="38"/>
                        </a:lnTo>
                        <a:lnTo>
                          <a:pt x="683" y="39"/>
                        </a:lnTo>
                        <a:lnTo>
                          <a:pt x="685" y="39"/>
                        </a:lnTo>
                        <a:lnTo>
                          <a:pt x="688" y="41"/>
                        </a:lnTo>
                        <a:lnTo>
                          <a:pt x="689" y="41"/>
                        </a:lnTo>
                        <a:lnTo>
                          <a:pt x="691" y="42"/>
                        </a:lnTo>
                        <a:lnTo>
                          <a:pt x="694" y="42"/>
                        </a:lnTo>
                        <a:lnTo>
                          <a:pt x="697" y="42"/>
                        </a:lnTo>
                        <a:lnTo>
                          <a:pt x="699" y="42"/>
                        </a:lnTo>
                        <a:lnTo>
                          <a:pt x="701" y="42"/>
                        </a:lnTo>
                        <a:lnTo>
                          <a:pt x="704" y="44"/>
                        </a:lnTo>
                        <a:lnTo>
                          <a:pt x="707" y="44"/>
                        </a:lnTo>
                        <a:lnTo>
                          <a:pt x="708" y="42"/>
                        </a:lnTo>
                        <a:lnTo>
                          <a:pt x="710" y="42"/>
                        </a:lnTo>
                        <a:lnTo>
                          <a:pt x="710" y="44"/>
                        </a:lnTo>
                        <a:lnTo>
                          <a:pt x="707" y="47"/>
                        </a:lnTo>
                        <a:lnTo>
                          <a:pt x="705" y="50"/>
                        </a:lnTo>
                        <a:lnTo>
                          <a:pt x="704" y="52"/>
                        </a:lnTo>
                        <a:lnTo>
                          <a:pt x="702" y="53"/>
                        </a:lnTo>
                        <a:lnTo>
                          <a:pt x="702" y="57"/>
                        </a:lnTo>
                        <a:lnTo>
                          <a:pt x="701" y="57"/>
                        </a:lnTo>
                        <a:lnTo>
                          <a:pt x="699" y="58"/>
                        </a:lnTo>
                        <a:lnTo>
                          <a:pt x="697" y="60"/>
                        </a:lnTo>
                        <a:lnTo>
                          <a:pt x="696" y="60"/>
                        </a:lnTo>
                        <a:lnTo>
                          <a:pt x="694" y="61"/>
                        </a:lnTo>
                        <a:lnTo>
                          <a:pt x="693" y="63"/>
                        </a:lnTo>
                        <a:lnTo>
                          <a:pt x="691" y="64"/>
                        </a:lnTo>
                        <a:lnTo>
                          <a:pt x="691" y="66"/>
                        </a:lnTo>
                        <a:lnTo>
                          <a:pt x="691" y="69"/>
                        </a:lnTo>
                        <a:lnTo>
                          <a:pt x="691" y="71"/>
                        </a:lnTo>
                        <a:lnTo>
                          <a:pt x="691" y="72"/>
                        </a:lnTo>
                        <a:lnTo>
                          <a:pt x="693" y="72"/>
                        </a:lnTo>
                        <a:lnTo>
                          <a:pt x="694" y="74"/>
                        </a:lnTo>
                        <a:lnTo>
                          <a:pt x="696" y="74"/>
                        </a:lnTo>
                        <a:lnTo>
                          <a:pt x="697" y="76"/>
                        </a:lnTo>
                        <a:lnTo>
                          <a:pt x="699" y="76"/>
                        </a:lnTo>
                        <a:lnTo>
                          <a:pt x="701" y="76"/>
                        </a:lnTo>
                        <a:lnTo>
                          <a:pt x="702" y="76"/>
                        </a:lnTo>
                        <a:lnTo>
                          <a:pt x="705" y="76"/>
                        </a:lnTo>
                        <a:lnTo>
                          <a:pt x="707" y="76"/>
                        </a:lnTo>
                        <a:lnTo>
                          <a:pt x="708" y="76"/>
                        </a:lnTo>
                        <a:lnTo>
                          <a:pt x="712" y="77"/>
                        </a:lnTo>
                        <a:lnTo>
                          <a:pt x="713" y="77"/>
                        </a:lnTo>
                        <a:lnTo>
                          <a:pt x="713" y="76"/>
                        </a:lnTo>
                        <a:lnTo>
                          <a:pt x="715" y="76"/>
                        </a:lnTo>
                        <a:lnTo>
                          <a:pt x="715" y="77"/>
                        </a:lnTo>
                        <a:lnTo>
                          <a:pt x="716" y="77"/>
                        </a:lnTo>
                        <a:lnTo>
                          <a:pt x="718" y="77"/>
                        </a:lnTo>
                        <a:lnTo>
                          <a:pt x="718" y="76"/>
                        </a:lnTo>
                        <a:lnTo>
                          <a:pt x="720" y="76"/>
                        </a:lnTo>
                        <a:lnTo>
                          <a:pt x="721" y="76"/>
                        </a:lnTo>
                        <a:lnTo>
                          <a:pt x="724" y="76"/>
                        </a:lnTo>
                        <a:lnTo>
                          <a:pt x="726" y="77"/>
                        </a:lnTo>
                        <a:lnTo>
                          <a:pt x="729" y="77"/>
                        </a:lnTo>
                        <a:lnTo>
                          <a:pt x="731" y="77"/>
                        </a:lnTo>
                        <a:lnTo>
                          <a:pt x="734" y="77"/>
                        </a:lnTo>
                        <a:lnTo>
                          <a:pt x="735" y="79"/>
                        </a:lnTo>
                        <a:lnTo>
                          <a:pt x="737" y="79"/>
                        </a:lnTo>
                        <a:lnTo>
                          <a:pt x="739" y="80"/>
                        </a:lnTo>
                        <a:lnTo>
                          <a:pt x="739" y="82"/>
                        </a:lnTo>
                        <a:lnTo>
                          <a:pt x="740" y="83"/>
                        </a:lnTo>
                        <a:lnTo>
                          <a:pt x="742" y="90"/>
                        </a:lnTo>
                        <a:lnTo>
                          <a:pt x="742" y="91"/>
                        </a:lnTo>
                        <a:lnTo>
                          <a:pt x="742" y="95"/>
                        </a:lnTo>
                        <a:lnTo>
                          <a:pt x="742" y="96"/>
                        </a:lnTo>
                        <a:lnTo>
                          <a:pt x="742" y="101"/>
                        </a:lnTo>
                        <a:lnTo>
                          <a:pt x="742" y="103"/>
                        </a:lnTo>
                        <a:lnTo>
                          <a:pt x="742" y="104"/>
                        </a:lnTo>
                        <a:lnTo>
                          <a:pt x="742" y="106"/>
                        </a:lnTo>
                        <a:lnTo>
                          <a:pt x="743" y="107"/>
                        </a:lnTo>
                        <a:lnTo>
                          <a:pt x="743" y="110"/>
                        </a:lnTo>
                        <a:lnTo>
                          <a:pt x="743" y="112"/>
                        </a:lnTo>
                        <a:lnTo>
                          <a:pt x="743" y="114"/>
                        </a:lnTo>
                        <a:lnTo>
                          <a:pt x="743" y="115"/>
                        </a:lnTo>
                        <a:lnTo>
                          <a:pt x="743" y="118"/>
                        </a:lnTo>
                        <a:lnTo>
                          <a:pt x="743" y="120"/>
                        </a:lnTo>
                        <a:lnTo>
                          <a:pt x="745" y="123"/>
                        </a:lnTo>
                        <a:lnTo>
                          <a:pt x="746" y="126"/>
                        </a:lnTo>
                        <a:lnTo>
                          <a:pt x="746" y="129"/>
                        </a:lnTo>
                        <a:lnTo>
                          <a:pt x="748" y="134"/>
                        </a:lnTo>
                        <a:lnTo>
                          <a:pt x="748" y="136"/>
                        </a:lnTo>
                        <a:lnTo>
                          <a:pt x="748" y="137"/>
                        </a:lnTo>
                        <a:lnTo>
                          <a:pt x="748" y="141"/>
                        </a:lnTo>
                        <a:lnTo>
                          <a:pt x="748" y="142"/>
                        </a:lnTo>
                        <a:lnTo>
                          <a:pt x="751" y="141"/>
                        </a:lnTo>
                        <a:lnTo>
                          <a:pt x="754" y="139"/>
                        </a:lnTo>
                        <a:lnTo>
                          <a:pt x="758" y="139"/>
                        </a:lnTo>
                        <a:lnTo>
                          <a:pt x="762" y="136"/>
                        </a:lnTo>
                        <a:lnTo>
                          <a:pt x="770" y="133"/>
                        </a:lnTo>
                        <a:lnTo>
                          <a:pt x="780" y="129"/>
                        </a:lnTo>
                        <a:lnTo>
                          <a:pt x="783" y="129"/>
                        </a:lnTo>
                        <a:lnTo>
                          <a:pt x="785" y="128"/>
                        </a:lnTo>
                        <a:lnTo>
                          <a:pt x="785" y="126"/>
                        </a:lnTo>
                        <a:lnTo>
                          <a:pt x="785" y="125"/>
                        </a:lnTo>
                        <a:lnTo>
                          <a:pt x="783" y="123"/>
                        </a:lnTo>
                        <a:lnTo>
                          <a:pt x="783" y="120"/>
                        </a:lnTo>
                        <a:lnTo>
                          <a:pt x="781" y="117"/>
                        </a:lnTo>
                        <a:lnTo>
                          <a:pt x="780" y="112"/>
                        </a:lnTo>
                        <a:lnTo>
                          <a:pt x="780" y="107"/>
                        </a:lnTo>
                        <a:lnTo>
                          <a:pt x="781" y="106"/>
                        </a:lnTo>
                        <a:lnTo>
                          <a:pt x="783" y="104"/>
                        </a:lnTo>
                        <a:lnTo>
                          <a:pt x="785" y="103"/>
                        </a:lnTo>
                        <a:lnTo>
                          <a:pt x="786" y="103"/>
                        </a:lnTo>
                        <a:lnTo>
                          <a:pt x="789" y="103"/>
                        </a:lnTo>
                        <a:lnTo>
                          <a:pt x="792" y="101"/>
                        </a:lnTo>
                        <a:lnTo>
                          <a:pt x="796" y="101"/>
                        </a:lnTo>
                        <a:lnTo>
                          <a:pt x="799" y="103"/>
                        </a:lnTo>
                        <a:lnTo>
                          <a:pt x="804" y="103"/>
                        </a:lnTo>
                        <a:lnTo>
                          <a:pt x="805" y="104"/>
                        </a:lnTo>
                        <a:lnTo>
                          <a:pt x="807" y="106"/>
                        </a:lnTo>
                        <a:lnTo>
                          <a:pt x="808" y="106"/>
                        </a:lnTo>
                        <a:lnTo>
                          <a:pt x="808" y="107"/>
                        </a:lnTo>
                        <a:lnTo>
                          <a:pt x="811" y="109"/>
                        </a:lnTo>
                        <a:lnTo>
                          <a:pt x="813" y="112"/>
                        </a:lnTo>
                        <a:lnTo>
                          <a:pt x="818" y="117"/>
                        </a:lnTo>
                        <a:lnTo>
                          <a:pt x="821" y="118"/>
                        </a:lnTo>
                        <a:lnTo>
                          <a:pt x="823" y="118"/>
                        </a:lnTo>
                        <a:lnTo>
                          <a:pt x="824" y="120"/>
                        </a:lnTo>
                        <a:lnTo>
                          <a:pt x="826" y="122"/>
                        </a:lnTo>
                        <a:lnTo>
                          <a:pt x="827" y="123"/>
                        </a:lnTo>
                        <a:lnTo>
                          <a:pt x="829" y="125"/>
                        </a:lnTo>
                        <a:lnTo>
                          <a:pt x="829" y="128"/>
                        </a:lnTo>
                        <a:lnTo>
                          <a:pt x="832" y="131"/>
                        </a:lnTo>
                        <a:lnTo>
                          <a:pt x="834" y="134"/>
                        </a:lnTo>
                        <a:lnTo>
                          <a:pt x="838" y="137"/>
                        </a:lnTo>
                        <a:lnTo>
                          <a:pt x="845" y="141"/>
                        </a:lnTo>
                        <a:lnTo>
                          <a:pt x="846" y="144"/>
                        </a:lnTo>
                        <a:lnTo>
                          <a:pt x="848" y="144"/>
                        </a:lnTo>
                        <a:lnTo>
                          <a:pt x="849" y="145"/>
                        </a:lnTo>
                        <a:lnTo>
                          <a:pt x="853" y="145"/>
                        </a:lnTo>
                        <a:lnTo>
                          <a:pt x="853" y="147"/>
                        </a:lnTo>
                        <a:lnTo>
                          <a:pt x="854" y="147"/>
                        </a:lnTo>
                        <a:lnTo>
                          <a:pt x="856" y="148"/>
                        </a:lnTo>
                        <a:lnTo>
                          <a:pt x="857" y="150"/>
                        </a:lnTo>
                        <a:lnTo>
                          <a:pt x="859" y="152"/>
                        </a:lnTo>
                        <a:lnTo>
                          <a:pt x="859" y="153"/>
                        </a:lnTo>
                        <a:lnTo>
                          <a:pt x="859" y="155"/>
                        </a:lnTo>
                        <a:lnTo>
                          <a:pt x="861" y="158"/>
                        </a:lnTo>
                        <a:lnTo>
                          <a:pt x="859" y="160"/>
                        </a:lnTo>
                        <a:lnTo>
                          <a:pt x="859" y="163"/>
                        </a:lnTo>
                        <a:lnTo>
                          <a:pt x="859" y="166"/>
                        </a:lnTo>
                        <a:lnTo>
                          <a:pt x="857" y="172"/>
                        </a:lnTo>
                        <a:lnTo>
                          <a:pt x="857" y="175"/>
                        </a:lnTo>
                        <a:lnTo>
                          <a:pt x="856" y="179"/>
                        </a:lnTo>
                        <a:lnTo>
                          <a:pt x="854" y="182"/>
                        </a:lnTo>
                        <a:lnTo>
                          <a:pt x="853" y="185"/>
                        </a:lnTo>
                        <a:lnTo>
                          <a:pt x="853" y="188"/>
                        </a:lnTo>
                        <a:lnTo>
                          <a:pt x="851" y="191"/>
                        </a:lnTo>
                        <a:lnTo>
                          <a:pt x="849" y="193"/>
                        </a:lnTo>
                        <a:lnTo>
                          <a:pt x="848" y="194"/>
                        </a:lnTo>
                        <a:lnTo>
                          <a:pt x="845" y="194"/>
                        </a:lnTo>
                        <a:lnTo>
                          <a:pt x="843" y="194"/>
                        </a:lnTo>
                        <a:lnTo>
                          <a:pt x="840" y="194"/>
                        </a:lnTo>
                        <a:lnTo>
                          <a:pt x="837" y="193"/>
                        </a:lnTo>
                        <a:lnTo>
                          <a:pt x="834" y="193"/>
                        </a:lnTo>
                        <a:lnTo>
                          <a:pt x="832" y="193"/>
                        </a:lnTo>
                        <a:lnTo>
                          <a:pt x="829" y="193"/>
                        </a:lnTo>
                        <a:lnTo>
                          <a:pt x="826" y="193"/>
                        </a:lnTo>
                        <a:lnTo>
                          <a:pt x="821" y="193"/>
                        </a:lnTo>
                        <a:lnTo>
                          <a:pt x="819" y="193"/>
                        </a:lnTo>
                        <a:lnTo>
                          <a:pt x="816" y="194"/>
                        </a:lnTo>
                        <a:lnTo>
                          <a:pt x="815" y="194"/>
                        </a:lnTo>
                        <a:lnTo>
                          <a:pt x="815" y="198"/>
                        </a:lnTo>
                        <a:lnTo>
                          <a:pt x="815" y="199"/>
                        </a:lnTo>
                        <a:lnTo>
                          <a:pt x="815" y="201"/>
                        </a:lnTo>
                        <a:lnTo>
                          <a:pt x="813" y="202"/>
                        </a:lnTo>
                        <a:lnTo>
                          <a:pt x="813" y="204"/>
                        </a:lnTo>
                        <a:lnTo>
                          <a:pt x="811" y="207"/>
                        </a:lnTo>
                        <a:lnTo>
                          <a:pt x="808" y="210"/>
                        </a:lnTo>
                        <a:lnTo>
                          <a:pt x="807" y="212"/>
                        </a:lnTo>
                        <a:lnTo>
                          <a:pt x="802" y="213"/>
                        </a:lnTo>
                        <a:lnTo>
                          <a:pt x="799" y="215"/>
                        </a:lnTo>
                        <a:lnTo>
                          <a:pt x="797" y="217"/>
                        </a:lnTo>
                        <a:lnTo>
                          <a:pt x="796" y="220"/>
                        </a:lnTo>
                        <a:lnTo>
                          <a:pt x="794" y="221"/>
                        </a:lnTo>
                        <a:lnTo>
                          <a:pt x="792" y="224"/>
                        </a:lnTo>
                        <a:lnTo>
                          <a:pt x="792" y="229"/>
                        </a:lnTo>
                        <a:lnTo>
                          <a:pt x="791" y="229"/>
                        </a:lnTo>
                        <a:lnTo>
                          <a:pt x="789" y="229"/>
                        </a:lnTo>
                        <a:lnTo>
                          <a:pt x="785" y="229"/>
                        </a:lnTo>
                        <a:lnTo>
                          <a:pt x="775" y="229"/>
                        </a:lnTo>
                        <a:lnTo>
                          <a:pt x="770" y="228"/>
                        </a:lnTo>
                        <a:lnTo>
                          <a:pt x="769" y="228"/>
                        </a:lnTo>
                        <a:lnTo>
                          <a:pt x="764" y="228"/>
                        </a:lnTo>
                        <a:lnTo>
                          <a:pt x="758" y="224"/>
                        </a:lnTo>
                        <a:lnTo>
                          <a:pt x="751" y="224"/>
                        </a:lnTo>
                        <a:lnTo>
                          <a:pt x="734" y="224"/>
                        </a:lnTo>
                        <a:lnTo>
                          <a:pt x="729" y="224"/>
                        </a:lnTo>
                        <a:lnTo>
                          <a:pt x="720" y="224"/>
                        </a:lnTo>
                        <a:lnTo>
                          <a:pt x="718" y="226"/>
                        </a:lnTo>
                        <a:lnTo>
                          <a:pt x="718" y="228"/>
                        </a:lnTo>
                        <a:lnTo>
                          <a:pt x="716" y="232"/>
                        </a:lnTo>
                        <a:lnTo>
                          <a:pt x="715" y="239"/>
                        </a:lnTo>
                        <a:lnTo>
                          <a:pt x="715" y="240"/>
                        </a:lnTo>
                        <a:lnTo>
                          <a:pt x="715" y="242"/>
                        </a:lnTo>
                        <a:lnTo>
                          <a:pt x="715" y="243"/>
                        </a:lnTo>
                        <a:lnTo>
                          <a:pt x="715" y="245"/>
                        </a:lnTo>
                        <a:lnTo>
                          <a:pt x="713" y="250"/>
                        </a:lnTo>
                        <a:lnTo>
                          <a:pt x="713" y="251"/>
                        </a:lnTo>
                        <a:lnTo>
                          <a:pt x="715" y="256"/>
                        </a:lnTo>
                        <a:lnTo>
                          <a:pt x="716" y="258"/>
                        </a:lnTo>
                        <a:lnTo>
                          <a:pt x="720" y="261"/>
                        </a:lnTo>
                        <a:lnTo>
                          <a:pt x="723" y="264"/>
                        </a:lnTo>
                        <a:lnTo>
                          <a:pt x="726" y="269"/>
                        </a:lnTo>
                        <a:lnTo>
                          <a:pt x="726" y="270"/>
                        </a:lnTo>
                        <a:lnTo>
                          <a:pt x="726" y="272"/>
                        </a:lnTo>
                        <a:lnTo>
                          <a:pt x="724" y="280"/>
                        </a:lnTo>
                        <a:lnTo>
                          <a:pt x="720" y="291"/>
                        </a:lnTo>
                        <a:lnTo>
                          <a:pt x="715" y="296"/>
                        </a:lnTo>
                        <a:lnTo>
                          <a:pt x="708" y="297"/>
                        </a:lnTo>
                        <a:lnTo>
                          <a:pt x="707" y="299"/>
                        </a:lnTo>
                        <a:lnTo>
                          <a:pt x="702" y="297"/>
                        </a:lnTo>
                        <a:lnTo>
                          <a:pt x="702" y="299"/>
                        </a:lnTo>
                        <a:lnTo>
                          <a:pt x="701" y="299"/>
                        </a:lnTo>
                        <a:lnTo>
                          <a:pt x="699" y="301"/>
                        </a:lnTo>
                        <a:lnTo>
                          <a:pt x="697" y="301"/>
                        </a:lnTo>
                        <a:lnTo>
                          <a:pt x="697" y="302"/>
                        </a:lnTo>
                        <a:lnTo>
                          <a:pt x="697" y="304"/>
                        </a:lnTo>
                        <a:lnTo>
                          <a:pt x="697" y="310"/>
                        </a:lnTo>
                        <a:lnTo>
                          <a:pt x="697" y="313"/>
                        </a:lnTo>
                        <a:lnTo>
                          <a:pt x="697" y="315"/>
                        </a:lnTo>
                        <a:lnTo>
                          <a:pt x="697" y="318"/>
                        </a:lnTo>
                        <a:lnTo>
                          <a:pt x="697" y="320"/>
                        </a:lnTo>
                        <a:lnTo>
                          <a:pt x="696" y="321"/>
                        </a:lnTo>
                        <a:lnTo>
                          <a:pt x="696" y="323"/>
                        </a:lnTo>
                        <a:lnTo>
                          <a:pt x="689" y="334"/>
                        </a:lnTo>
                        <a:lnTo>
                          <a:pt x="689" y="343"/>
                        </a:lnTo>
                        <a:lnTo>
                          <a:pt x="688" y="348"/>
                        </a:lnTo>
                        <a:lnTo>
                          <a:pt x="688" y="351"/>
                        </a:lnTo>
                        <a:lnTo>
                          <a:pt x="686" y="356"/>
                        </a:lnTo>
                        <a:lnTo>
                          <a:pt x="683" y="365"/>
                        </a:lnTo>
                        <a:lnTo>
                          <a:pt x="680" y="370"/>
                        </a:lnTo>
                        <a:lnTo>
                          <a:pt x="680" y="372"/>
                        </a:lnTo>
                        <a:lnTo>
                          <a:pt x="678" y="375"/>
                        </a:lnTo>
                        <a:lnTo>
                          <a:pt x="675" y="378"/>
                        </a:lnTo>
                        <a:lnTo>
                          <a:pt x="666" y="389"/>
                        </a:lnTo>
                        <a:lnTo>
                          <a:pt x="663" y="392"/>
                        </a:lnTo>
                        <a:lnTo>
                          <a:pt x="658" y="396"/>
                        </a:lnTo>
                        <a:lnTo>
                          <a:pt x="656" y="397"/>
                        </a:lnTo>
                        <a:lnTo>
                          <a:pt x="655" y="399"/>
                        </a:lnTo>
                        <a:lnTo>
                          <a:pt x="655" y="400"/>
                        </a:lnTo>
                        <a:lnTo>
                          <a:pt x="653" y="402"/>
                        </a:lnTo>
                        <a:lnTo>
                          <a:pt x="653" y="405"/>
                        </a:lnTo>
                        <a:lnTo>
                          <a:pt x="651" y="407"/>
                        </a:lnTo>
                        <a:lnTo>
                          <a:pt x="653" y="408"/>
                        </a:lnTo>
                        <a:lnTo>
                          <a:pt x="653" y="410"/>
                        </a:lnTo>
                        <a:lnTo>
                          <a:pt x="655" y="408"/>
                        </a:lnTo>
                        <a:lnTo>
                          <a:pt x="656" y="408"/>
                        </a:lnTo>
                        <a:lnTo>
                          <a:pt x="658" y="410"/>
                        </a:lnTo>
                        <a:lnTo>
                          <a:pt x="661" y="413"/>
                        </a:lnTo>
                        <a:lnTo>
                          <a:pt x="669" y="415"/>
                        </a:lnTo>
                        <a:lnTo>
                          <a:pt x="672" y="416"/>
                        </a:lnTo>
                        <a:lnTo>
                          <a:pt x="672" y="419"/>
                        </a:lnTo>
                        <a:lnTo>
                          <a:pt x="672" y="421"/>
                        </a:lnTo>
                        <a:lnTo>
                          <a:pt x="670" y="422"/>
                        </a:lnTo>
                        <a:lnTo>
                          <a:pt x="669" y="427"/>
                        </a:lnTo>
                        <a:lnTo>
                          <a:pt x="669" y="432"/>
                        </a:lnTo>
                        <a:lnTo>
                          <a:pt x="666" y="437"/>
                        </a:lnTo>
                        <a:lnTo>
                          <a:pt x="658" y="443"/>
                        </a:lnTo>
                        <a:lnTo>
                          <a:pt x="653" y="446"/>
                        </a:lnTo>
                        <a:lnTo>
                          <a:pt x="653" y="448"/>
                        </a:lnTo>
                        <a:lnTo>
                          <a:pt x="651" y="449"/>
                        </a:lnTo>
                        <a:lnTo>
                          <a:pt x="651" y="453"/>
                        </a:lnTo>
                        <a:lnTo>
                          <a:pt x="651" y="456"/>
                        </a:lnTo>
                        <a:lnTo>
                          <a:pt x="653" y="465"/>
                        </a:lnTo>
                        <a:lnTo>
                          <a:pt x="663" y="483"/>
                        </a:lnTo>
                        <a:lnTo>
                          <a:pt x="667" y="494"/>
                        </a:lnTo>
                        <a:lnTo>
                          <a:pt x="670" y="500"/>
                        </a:lnTo>
                        <a:lnTo>
                          <a:pt x="675" y="506"/>
                        </a:lnTo>
                        <a:lnTo>
                          <a:pt x="677" y="518"/>
                        </a:lnTo>
                        <a:lnTo>
                          <a:pt x="680" y="529"/>
                        </a:lnTo>
                        <a:lnTo>
                          <a:pt x="683" y="532"/>
                        </a:lnTo>
                        <a:lnTo>
                          <a:pt x="686" y="537"/>
                        </a:lnTo>
                        <a:lnTo>
                          <a:pt x="689" y="540"/>
                        </a:lnTo>
                        <a:lnTo>
                          <a:pt x="689" y="541"/>
                        </a:lnTo>
                        <a:lnTo>
                          <a:pt x="691" y="544"/>
                        </a:lnTo>
                        <a:lnTo>
                          <a:pt x="693" y="549"/>
                        </a:lnTo>
                        <a:lnTo>
                          <a:pt x="693" y="552"/>
                        </a:lnTo>
                        <a:lnTo>
                          <a:pt x="696" y="559"/>
                        </a:lnTo>
                        <a:lnTo>
                          <a:pt x="696" y="560"/>
                        </a:lnTo>
                        <a:lnTo>
                          <a:pt x="697" y="565"/>
                        </a:lnTo>
                        <a:lnTo>
                          <a:pt x="699" y="567"/>
                        </a:lnTo>
                        <a:lnTo>
                          <a:pt x="701" y="568"/>
                        </a:lnTo>
                        <a:lnTo>
                          <a:pt x="704" y="570"/>
                        </a:lnTo>
                        <a:lnTo>
                          <a:pt x="712" y="573"/>
                        </a:lnTo>
                        <a:lnTo>
                          <a:pt x="716" y="575"/>
                        </a:lnTo>
                        <a:lnTo>
                          <a:pt x="723" y="579"/>
                        </a:lnTo>
                        <a:lnTo>
                          <a:pt x="735" y="582"/>
                        </a:lnTo>
                        <a:lnTo>
                          <a:pt x="750" y="582"/>
                        </a:lnTo>
                        <a:lnTo>
                          <a:pt x="750" y="584"/>
                        </a:lnTo>
                        <a:lnTo>
                          <a:pt x="751" y="584"/>
                        </a:lnTo>
                        <a:lnTo>
                          <a:pt x="754" y="586"/>
                        </a:lnTo>
                        <a:lnTo>
                          <a:pt x="753" y="590"/>
                        </a:lnTo>
                        <a:lnTo>
                          <a:pt x="746" y="597"/>
                        </a:lnTo>
                        <a:lnTo>
                          <a:pt x="743" y="597"/>
                        </a:lnTo>
                        <a:lnTo>
                          <a:pt x="740" y="598"/>
                        </a:lnTo>
                        <a:lnTo>
                          <a:pt x="737" y="601"/>
                        </a:lnTo>
                        <a:lnTo>
                          <a:pt x="735" y="601"/>
                        </a:lnTo>
                        <a:lnTo>
                          <a:pt x="734" y="600"/>
                        </a:lnTo>
                        <a:lnTo>
                          <a:pt x="729" y="600"/>
                        </a:lnTo>
                        <a:lnTo>
                          <a:pt x="726" y="601"/>
                        </a:lnTo>
                        <a:lnTo>
                          <a:pt x="724" y="601"/>
                        </a:lnTo>
                        <a:lnTo>
                          <a:pt x="720" y="606"/>
                        </a:lnTo>
                        <a:lnTo>
                          <a:pt x="716" y="611"/>
                        </a:lnTo>
                        <a:lnTo>
                          <a:pt x="713" y="624"/>
                        </a:lnTo>
                        <a:lnTo>
                          <a:pt x="712" y="632"/>
                        </a:lnTo>
                        <a:lnTo>
                          <a:pt x="710" y="635"/>
                        </a:lnTo>
                        <a:lnTo>
                          <a:pt x="708" y="641"/>
                        </a:lnTo>
                        <a:lnTo>
                          <a:pt x="707" y="644"/>
                        </a:lnTo>
                        <a:lnTo>
                          <a:pt x="707" y="647"/>
                        </a:lnTo>
                        <a:lnTo>
                          <a:pt x="708" y="651"/>
                        </a:lnTo>
                        <a:lnTo>
                          <a:pt x="710" y="655"/>
                        </a:lnTo>
                        <a:lnTo>
                          <a:pt x="712" y="655"/>
                        </a:lnTo>
                        <a:lnTo>
                          <a:pt x="712" y="657"/>
                        </a:lnTo>
                        <a:lnTo>
                          <a:pt x="715" y="660"/>
                        </a:lnTo>
                        <a:lnTo>
                          <a:pt x="716" y="662"/>
                        </a:lnTo>
                        <a:lnTo>
                          <a:pt x="724" y="668"/>
                        </a:lnTo>
                        <a:lnTo>
                          <a:pt x="735" y="674"/>
                        </a:lnTo>
                        <a:lnTo>
                          <a:pt x="739" y="676"/>
                        </a:lnTo>
                        <a:lnTo>
                          <a:pt x="754" y="681"/>
                        </a:lnTo>
                        <a:lnTo>
                          <a:pt x="759" y="685"/>
                        </a:lnTo>
                        <a:lnTo>
                          <a:pt x="761" y="687"/>
                        </a:lnTo>
                        <a:lnTo>
                          <a:pt x="762" y="692"/>
                        </a:lnTo>
                        <a:lnTo>
                          <a:pt x="764" y="697"/>
                        </a:lnTo>
                        <a:lnTo>
                          <a:pt x="762" y="701"/>
                        </a:lnTo>
                        <a:lnTo>
                          <a:pt x="759" y="708"/>
                        </a:lnTo>
                        <a:lnTo>
                          <a:pt x="759" y="709"/>
                        </a:lnTo>
                        <a:lnTo>
                          <a:pt x="745" y="723"/>
                        </a:lnTo>
                        <a:lnTo>
                          <a:pt x="743" y="723"/>
                        </a:lnTo>
                        <a:lnTo>
                          <a:pt x="740" y="731"/>
                        </a:lnTo>
                        <a:lnTo>
                          <a:pt x="740" y="733"/>
                        </a:lnTo>
                        <a:lnTo>
                          <a:pt x="742" y="735"/>
                        </a:lnTo>
                        <a:lnTo>
                          <a:pt x="742" y="738"/>
                        </a:lnTo>
                        <a:lnTo>
                          <a:pt x="742" y="746"/>
                        </a:lnTo>
                        <a:lnTo>
                          <a:pt x="743" y="749"/>
                        </a:lnTo>
                        <a:lnTo>
                          <a:pt x="746" y="760"/>
                        </a:lnTo>
                        <a:lnTo>
                          <a:pt x="746" y="763"/>
                        </a:lnTo>
                        <a:lnTo>
                          <a:pt x="745" y="768"/>
                        </a:lnTo>
                        <a:lnTo>
                          <a:pt x="743" y="777"/>
                        </a:lnTo>
                        <a:lnTo>
                          <a:pt x="745" y="793"/>
                        </a:lnTo>
                        <a:lnTo>
                          <a:pt x="745" y="795"/>
                        </a:lnTo>
                        <a:lnTo>
                          <a:pt x="745" y="799"/>
                        </a:lnTo>
                        <a:lnTo>
                          <a:pt x="745" y="811"/>
                        </a:lnTo>
                        <a:lnTo>
                          <a:pt x="750" y="822"/>
                        </a:lnTo>
                        <a:lnTo>
                          <a:pt x="750" y="826"/>
                        </a:lnTo>
                        <a:lnTo>
                          <a:pt x="751" y="828"/>
                        </a:lnTo>
                        <a:lnTo>
                          <a:pt x="759" y="842"/>
                        </a:lnTo>
                        <a:lnTo>
                          <a:pt x="761" y="845"/>
                        </a:lnTo>
                        <a:lnTo>
                          <a:pt x="764" y="855"/>
                        </a:lnTo>
                        <a:lnTo>
                          <a:pt x="770" y="869"/>
                        </a:lnTo>
                        <a:lnTo>
                          <a:pt x="770" y="876"/>
                        </a:lnTo>
                        <a:lnTo>
                          <a:pt x="759" y="896"/>
                        </a:lnTo>
                        <a:lnTo>
                          <a:pt x="758" y="899"/>
                        </a:lnTo>
                        <a:lnTo>
                          <a:pt x="758" y="902"/>
                        </a:lnTo>
                        <a:lnTo>
                          <a:pt x="758" y="904"/>
                        </a:lnTo>
                        <a:lnTo>
                          <a:pt x="758" y="906"/>
                        </a:lnTo>
                        <a:lnTo>
                          <a:pt x="758" y="907"/>
                        </a:lnTo>
                        <a:lnTo>
                          <a:pt x="758" y="909"/>
                        </a:lnTo>
                        <a:lnTo>
                          <a:pt x="762" y="923"/>
                        </a:lnTo>
                        <a:lnTo>
                          <a:pt x="762" y="925"/>
                        </a:lnTo>
                        <a:lnTo>
                          <a:pt x="762" y="926"/>
                        </a:lnTo>
                        <a:lnTo>
                          <a:pt x="767" y="933"/>
                        </a:lnTo>
                        <a:lnTo>
                          <a:pt x="769" y="934"/>
                        </a:lnTo>
                        <a:lnTo>
                          <a:pt x="772" y="937"/>
                        </a:lnTo>
                        <a:lnTo>
                          <a:pt x="778" y="945"/>
                        </a:lnTo>
                        <a:lnTo>
                          <a:pt x="780" y="945"/>
                        </a:lnTo>
                        <a:lnTo>
                          <a:pt x="780" y="948"/>
                        </a:lnTo>
                        <a:lnTo>
                          <a:pt x="780" y="950"/>
                        </a:lnTo>
                        <a:lnTo>
                          <a:pt x="780" y="953"/>
                        </a:lnTo>
                        <a:lnTo>
                          <a:pt x="778" y="955"/>
                        </a:lnTo>
                        <a:lnTo>
                          <a:pt x="777" y="956"/>
                        </a:lnTo>
                        <a:lnTo>
                          <a:pt x="772" y="959"/>
                        </a:lnTo>
                        <a:lnTo>
                          <a:pt x="765" y="964"/>
                        </a:lnTo>
                        <a:lnTo>
                          <a:pt x="762" y="966"/>
                        </a:lnTo>
                        <a:lnTo>
                          <a:pt x="759" y="969"/>
                        </a:lnTo>
                        <a:lnTo>
                          <a:pt x="753" y="980"/>
                        </a:lnTo>
                        <a:lnTo>
                          <a:pt x="753" y="982"/>
                        </a:lnTo>
                        <a:lnTo>
                          <a:pt x="751" y="986"/>
                        </a:lnTo>
                        <a:lnTo>
                          <a:pt x="750" y="991"/>
                        </a:lnTo>
                        <a:lnTo>
                          <a:pt x="743" y="999"/>
                        </a:lnTo>
                        <a:lnTo>
                          <a:pt x="742" y="1002"/>
                        </a:lnTo>
                        <a:lnTo>
                          <a:pt x="743" y="1005"/>
                        </a:lnTo>
                        <a:lnTo>
                          <a:pt x="745" y="1009"/>
                        </a:lnTo>
                        <a:lnTo>
                          <a:pt x="745" y="1012"/>
                        </a:lnTo>
                        <a:lnTo>
                          <a:pt x="745" y="1013"/>
                        </a:lnTo>
                        <a:lnTo>
                          <a:pt x="745" y="1015"/>
                        </a:lnTo>
                        <a:lnTo>
                          <a:pt x="743" y="1024"/>
                        </a:lnTo>
                        <a:lnTo>
                          <a:pt x="745" y="1029"/>
                        </a:lnTo>
                        <a:lnTo>
                          <a:pt x="746" y="1031"/>
                        </a:lnTo>
                        <a:lnTo>
                          <a:pt x="748" y="1034"/>
                        </a:lnTo>
                        <a:lnTo>
                          <a:pt x="753" y="1036"/>
                        </a:lnTo>
                        <a:lnTo>
                          <a:pt x="759" y="1039"/>
                        </a:lnTo>
                        <a:lnTo>
                          <a:pt x="764" y="1043"/>
                        </a:lnTo>
                        <a:lnTo>
                          <a:pt x="765" y="1053"/>
                        </a:lnTo>
                        <a:lnTo>
                          <a:pt x="765" y="1055"/>
                        </a:lnTo>
                        <a:lnTo>
                          <a:pt x="765" y="1056"/>
                        </a:lnTo>
                        <a:lnTo>
                          <a:pt x="767" y="1059"/>
                        </a:lnTo>
                        <a:lnTo>
                          <a:pt x="769" y="1064"/>
                        </a:lnTo>
                        <a:lnTo>
                          <a:pt x="767" y="1067"/>
                        </a:lnTo>
                        <a:lnTo>
                          <a:pt x="761" y="1075"/>
                        </a:lnTo>
                        <a:lnTo>
                          <a:pt x="758" y="1083"/>
                        </a:lnTo>
                        <a:lnTo>
                          <a:pt x="754" y="1091"/>
                        </a:lnTo>
                        <a:lnTo>
                          <a:pt x="753" y="1099"/>
                        </a:lnTo>
                        <a:lnTo>
                          <a:pt x="754" y="1104"/>
                        </a:lnTo>
                        <a:lnTo>
                          <a:pt x="758" y="1112"/>
                        </a:lnTo>
                        <a:lnTo>
                          <a:pt x="761" y="1116"/>
                        </a:lnTo>
                        <a:lnTo>
                          <a:pt x="769" y="1123"/>
                        </a:lnTo>
                        <a:lnTo>
                          <a:pt x="773" y="1126"/>
                        </a:lnTo>
                        <a:lnTo>
                          <a:pt x="781" y="1132"/>
                        </a:lnTo>
                        <a:lnTo>
                          <a:pt x="791" y="1135"/>
                        </a:lnTo>
                        <a:lnTo>
                          <a:pt x="792" y="1137"/>
                        </a:lnTo>
                        <a:lnTo>
                          <a:pt x="794" y="1137"/>
                        </a:lnTo>
                        <a:lnTo>
                          <a:pt x="796" y="1140"/>
                        </a:lnTo>
                        <a:lnTo>
                          <a:pt x="802" y="1146"/>
                        </a:lnTo>
                        <a:lnTo>
                          <a:pt x="808" y="1153"/>
                        </a:lnTo>
                        <a:lnTo>
                          <a:pt x="808" y="1154"/>
                        </a:lnTo>
                        <a:lnTo>
                          <a:pt x="808" y="1157"/>
                        </a:lnTo>
                        <a:lnTo>
                          <a:pt x="808" y="1159"/>
                        </a:lnTo>
                        <a:lnTo>
                          <a:pt x="804" y="1161"/>
                        </a:lnTo>
                        <a:lnTo>
                          <a:pt x="802" y="1162"/>
                        </a:lnTo>
                        <a:lnTo>
                          <a:pt x="797" y="1167"/>
                        </a:lnTo>
                        <a:lnTo>
                          <a:pt x="786" y="1181"/>
                        </a:lnTo>
                        <a:lnTo>
                          <a:pt x="783" y="1188"/>
                        </a:lnTo>
                        <a:lnTo>
                          <a:pt x="781" y="1189"/>
                        </a:lnTo>
                        <a:lnTo>
                          <a:pt x="780" y="1191"/>
                        </a:lnTo>
                        <a:lnTo>
                          <a:pt x="778" y="1194"/>
                        </a:lnTo>
                        <a:lnTo>
                          <a:pt x="769" y="1207"/>
                        </a:lnTo>
                        <a:lnTo>
                          <a:pt x="762" y="1211"/>
                        </a:lnTo>
                        <a:lnTo>
                          <a:pt x="761" y="1211"/>
                        </a:lnTo>
                        <a:lnTo>
                          <a:pt x="758" y="1211"/>
                        </a:lnTo>
                        <a:lnTo>
                          <a:pt x="748" y="1207"/>
                        </a:lnTo>
                        <a:lnTo>
                          <a:pt x="742" y="1200"/>
                        </a:lnTo>
                        <a:lnTo>
                          <a:pt x="737" y="1197"/>
                        </a:lnTo>
                        <a:lnTo>
                          <a:pt x="732" y="1192"/>
                        </a:lnTo>
                        <a:lnTo>
                          <a:pt x="716" y="1175"/>
                        </a:lnTo>
                        <a:lnTo>
                          <a:pt x="712" y="1169"/>
                        </a:lnTo>
                        <a:lnTo>
                          <a:pt x="697" y="1157"/>
                        </a:lnTo>
                        <a:lnTo>
                          <a:pt x="691" y="1150"/>
                        </a:lnTo>
                        <a:lnTo>
                          <a:pt x="678" y="1132"/>
                        </a:lnTo>
                        <a:lnTo>
                          <a:pt x="674" y="1126"/>
                        </a:lnTo>
                        <a:lnTo>
                          <a:pt x="672" y="1123"/>
                        </a:lnTo>
                        <a:lnTo>
                          <a:pt x="666" y="1108"/>
                        </a:lnTo>
                        <a:lnTo>
                          <a:pt x="663" y="1105"/>
                        </a:lnTo>
                        <a:lnTo>
                          <a:pt x="653" y="1085"/>
                        </a:lnTo>
                        <a:lnTo>
                          <a:pt x="651" y="1085"/>
                        </a:lnTo>
                        <a:lnTo>
                          <a:pt x="647" y="1077"/>
                        </a:lnTo>
                        <a:lnTo>
                          <a:pt x="639" y="1061"/>
                        </a:lnTo>
                        <a:lnTo>
                          <a:pt x="637" y="1058"/>
                        </a:lnTo>
                        <a:lnTo>
                          <a:pt x="636" y="1056"/>
                        </a:lnTo>
                        <a:lnTo>
                          <a:pt x="634" y="1053"/>
                        </a:lnTo>
                        <a:lnTo>
                          <a:pt x="631" y="1045"/>
                        </a:lnTo>
                        <a:lnTo>
                          <a:pt x="628" y="1034"/>
                        </a:lnTo>
                        <a:lnTo>
                          <a:pt x="626" y="1031"/>
                        </a:lnTo>
                        <a:lnTo>
                          <a:pt x="620" y="1016"/>
                        </a:lnTo>
                        <a:lnTo>
                          <a:pt x="613" y="1005"/>
                        </a:lnTo>
                        <a:lnTo>
                          <a:pt x="609" y="1001"/>
                        </a:lnTo>
                        <a:lnTo>
                          <a:pt x="607" y="1001"/>
                        </a:lnTo>
                        <a:lnTo>
                          <a:pt x="606" y="1002"/>
                        </a:lnTo>
                        <a:lnTo>
                          <a:pt x="604" y="1004"/>
                        </a:lnTo>
                        <a:lnTo>
                          <a:pt x="602" y="1004"/>
                        </a:lnTo>
                        <a:lnTo>
                          <a:pt x="591" y="1013"/>
                        </a:lnTo>
                        <a:lnTo>
                          <a:pt x="590" y="1015"/>
                        </a:lnTo>
                        <a:lnTo>
                          <a:pt x="588" y="1016"/>
                        </a:lnTo>
                        <a:lnTo>
                          <a:pt x="580" y="1016"/>
                        </a:lnTo>
                        <a:lnTo>
                          <a:pt x="577" y="1013"/>
                        </a:lnTo>
                        <a:lnTo>
                          <a:pt x="572" y="1007"/>
                        </a:lnTo>
                        <a:lnTo>
                          <a:pt x="569" y="1002"/>
                        </a:lnTo>
                        <a:lnTo>
                          <a:pt x="567" y="1001"/>
                        </a:lnTo>
                        <a:lnTo>
                          <a:pt x="564" y="993"/>
                        </a:lnTo>
                        <a:lnTo>
                          <a:pt x="563" y="993"/>
                        </a:lnTo>
                        <a:lnTo>
                          <a:pt x="561" y="990"/>
                        </a:lnTo>
                        <a:lnTo>
                          <a:pt x="560" y="983"/>
                        </a:lnTo>
                        <a:lnTo>
                          <a:pt x="558" y="974"/>
                        </a:lnTo>
                        <a:lnTo>
                          <a:pt x="558" y="972"/>
                        </a:lnTo>
                        <a:lnTo>
                          <a:pt x="555" y="966"/>
                        </a:lnTo>
                        <a:lnTo>
                          <a:pt x="550" y="961"/>
                        </a:lnTo>
                        <a:lnTo>
                          <a:pt x="547" y="952"/>
                        </a:lnTo>
                        <a:lnTo>
                          <a:pt x="542" y="942"/>
                        </a:lnTo>
                        <a:lnTo>
                          <a:pt x="541" y="940"/>
                        </a:lnTo>
                        <a:lnTo>
                          <a:pt x="541" y="939"/>
                        </a:lnTo>
                        <a:lnTo>
                          <a:pt x="539" y="939"/>
                        </a:lnTo>
                        <a:lnTo>
                          <a:pt x="537" y="939"/>
                        </a:lnTo>
                        <a:lnTo>
                          <a:pt x="533" y="937"/>
                        </a:lnTo>
                        <a:lnTo>
                          <a:pt x="528" y="937"/>
                        </a:lnTo>
                        <a:lnTo>
                          <a:pt x="515" y="940"/>
                        </a:lnTo>
                        <a:lnTo>
                          <a:pt x="504" y="940"/>
                        </a:lnTo>
                        <a:lnTo>
                          <a:pt x="503" y="939"/>
                        </a:lnTo>
                        <a:lnTo>
                          <a:pt x="498" y="934"/>
                        </a:lnTo>
                        <a:lnTo>
                          <a:pt x="498" y="933"/>
                        </a:lnTo>
                        <a:lnTo>
                          <a:pt x="498" y="931"/>
                        </a:lnTo>
                        <a:lnTo>
                          <a:pt x="498" y="925"/>
                        </a:lnTo>
                        <a:lnTo>
                          <a:pt x="498" y="918"/>
                        </a:lnTo>
                        <a:lnTo>
                          <a:pt x="498" y="914"/>
                        </a:lnTo>
                        <a:lnTo>
                          <a:pt x="498" y="910"/>
                        </a:lnTo>
                        <a:lnTo>
                          <a:pt x="498" y="907"/>
                        </a:lnTo>
                        <a:lnTo>
                          <a:pt x="498" y="898"/>
                        </a:lnTo>
                        <a:lnTo>
                          <a:pt x="499" y="896"/>
                        </a:lnTo>
                        <a:lnTo>
                          <a:pt x="496" y="888"/>
                        </a:lnTo>
                        <a:lnTo>
                          <a:pt x="495" y="888"/>
                        </a:lnTo>
                        <a:lnTo>
                          <a:pt x="493" y="888"/>
                        </a:lnTo>
                        <a:lnTo>
                          <a:pt x="491" y="890"/>
                        </a:lnTo>
                        <a:lnTo>
                          <a:pt x="490" y="890"/>
                        </a:lnTo>
                        <a:lnTo>
                          <a:pt x="488" y="890"/>
                        </a:lnTo>
                        <a:lnTo>
                          <a:pt x="485" y="891"/>
                        </a:lnTo>
                        <a:lnTo>
                          <a:pt x="485" y="896"/>
                        </a:lnTo>
                        <a:lnTo>
                          <a:pt x="484" y="899"/>
                        </a:lnTo>
                        <a:lnTo>
                          <a:pt x="479" y="906"/>
                        </a:lnTo>
                        <a:lnTo>
                          <a:pt x="477" y="906"/>
                        </a:lnTo>
                        <a:lnTo>
                          <a:pt x="472" y="906"/>
                        </a:lnTo>
                        <a:lnTo>
                          <a:pt x="471" y="907"/>
                        </a:lnTo>
                        <a:lnTo>
                          <a:pt x="469" y="907"/>
                        </a:lnTo>
                        <a:lnTo>
                          <a:pt x="469" y="909"/>
                        </a:lnTo>
                        <a:lnTo>
                          <a:pt x="466" y="910"/>
                        </a:lnTo>
                        <a:lnTo>
                          <a:pt x="465" y="915"/>
                        </a:lnTo>
                        <a:lnTo>
                          <a:pt x="461" y="918"/>
                        </a:lnTo>
                        <a:lnTo>
                          <a:pt x="461" y="920"/>
                        </a:lnTo>
                        <a:lnTo>
                          <a:pt x="455" y="921"/>
                        </a:lnTo>
                        <a:lnTo>
                          <a:pt x="455" y="923"/>
                        </a:lnTo>
                        <a:lnTo>
                          <a:pt x="450" y="928"/>
                        </a:lnTo>
                        <a:lnTo>
                          <a:pt x="446" y="934"/>
                        </a:lnTo>
                        <a:lnTo>
                          <a:pt x="444" y="934"/>
                        </a:lnTo>
                        <a:lnTo>
                          <a:pt x="439" y="931"/>
                        </a:lnTo>
                        <a:lnTo>
                          <a:pt x="434" y="934"/>
                        </a:lnTo>
                        <a:lnTo>
                          <a:pt x="433" y="934"/>
                        </a:lnTo>
                        <a:lnTo>
                          <a:pt x="425" y="933"/>
                        </a:lnTo>
                        <a:lnTo>
                          <a:pt x="425" y="934"/>
                        </a:lnTo>
                        <a:lnTo>
                          <a:pt x="423" y="933"/>
                        </a:lnTo>
                        <a:lnTo>
                          <a:pt x="420" y="929"/>
                        </a:lnTo>
                        <a:lnTo>
                          <a:pt x="420" y="926"/>
                        </a:lnTo>
                        <a:lnTo>
                          <a:pt x="425" y="917"/>
                        </a:lnTo>
                        <a:lnTo>
                          <a:pt x="425" y="914"/>
                        </a:lnTo>
                        <a:lnTo>
                          <a:pt x="427" y="912"/>
                        </a:lnTo>
                        <a:lnTo>
                          <a:pt x="427" y="910"/>
                        </a:lnTo>
                        <a:lnTo>
                          <a:pt x="425" y="907"/>
                        </a:lnTo>
                        <a:lnTo>
                          <a:pt x="423" y="904"/>
                        </a:lnTo>
                        <a:lnTo>
                          <a:pt x="422" y="904"/>
                        </a:lnTo>
                        <a:lnTo>
                          <a:pt x="420" y="902"/>
                        </a:lnTo>
                        <a:lnTo>
                          <a:pt x="411" y="907"/>
                        </a:lnTo>
                        <a:lnTo>
                          <a:pt x="408" y="910"/>
                        </a:lnTo>
                        <a:lnTo>
                          <a:pt x="406" y="910"/>
                        </a:lnTo>
                        <a:lnTo>
                          <a:pt x="404" y="910"/>
                        </a:lnTo>
                        <a:lnTo>
                          <a:pt x="401" y="910"/>
                        </a:lnTo>
                        <a:lnTo>
                          <a:pt x="401" y="909"/>
                        </a:lnTo>
                        <a:lnTo>
                          <a:pt x="398" y="906"/>
                        </a:lnTo>
                        <a:lnTo>
                          <a:pt x="392" y="902"/>
                        </a:lnTo>
                        <a:lnTo>
                          <a:pt x="373" y="895"/>
                        </a:lnTo>
                        <a:lnTo>
                          <a:pt x="368" y="895"/>
                        </a:lnTo>
                        <a:lnTo>
                          <a:pt x="363" y="896"/>
                        </a:lnTo>
                        <a:lnTo>
                          <a:pt x="358" y="898"/>
                        </a:lnTo>
                        <a:lnTo>
                          <a:pt x="350" y="896"/>
                        </a:lnTo>
                        <a:lnTo>
                          <a:pt x="333" y="890"/>
                        </a:lnTo>
                        <a:lnTo>
                          <a:pt x="331" y="890"/>
                        </a:lnTo>
                        <a:lnTo>
                          <a:pt x="328" y="890"/>
                        </a:lnTo>
                        <a:lnTo>
                          <a:pt x="322" y="890"/>
                        </a:lnTo>
                        <a:lnTo>
                          <a:pt x="317" y="890"/>
                        </a:lnTo>
                        <a:lnTo>
                          <a:pt x="314" y="890"/>
                        </a:lnTo>
                        <a:lnTo>
                          <a:pt x="308" y="890"/>
                        </a:lnTo>
                        <a:lnTo>
                          <a:pt x="306" y="890"/>
                        </a:lnTo>
                        <a:lnTo>
                          <a:pt x="305" y="890"/>
                        </a:lnTo>
                        <a:lnTo>
                          <a:pt x="295" y="890"/>
                        </a:lnTo>
                        <a:lnTo>
                          <a:pt x="287" y="890"/>
                        </a:lnTo>
                        <a:lnTo>
                          <a:pt x="279" y="888"/>
                        </a:lnTo>
                        <a:lnTo>
                          <a:pt x="271" y="888"/>
                        </a:lnTo>
                        <a:lnTo>
                          <a:pt x="267" y="888"/>
                        </a:lnTo>
                        <a:lnTo>
                          <a:pt x="263" y="890"/>
                        </a:lnTo>
                        <a:lnTo>
                          <a:pt x="260" y="891"/>
                        </a:lnTo>
                        <a:lnTo>
                          <a:pt x="252" y="893"/>
                        </a:lnTo>
                        <a:lnTo>
                          <a:pt x="249" y="893"/>
                        </a:lnTo>
                        <a:lnTo>
                          <a:pt x="248" y="893"/>
                        </a:lnTo>
                        <a:lnTo>
                          <a:pt x="246" y="890"/>
                        </a:lnTo>
                        <a:lnTo>
                          <a:pt x="243" y="887"/>
                        </a:lnTo>
                        <a:lnTo>
                          <a:pt x="235" y="879"/>
                        </a:lnTo>
                        <a:lnTo>
                          <a:pt x="229" y="874"/>
                        </a:lnTo>
                        <a:lnTo>
                          <a:pt x="227" y="872"/>
                        </a:lnTo>
                        <a:lnTo>
                          <a:pt x="224" y="871"/>
                        </a:lnTo>
                        <a:lnTo>
                          <a:pt x="222" y="869"/>
                        </a:lnTo>
                        <a:lnTo>
                          <a:pt x="217" y="871"/>
                        </a:lnTo>
                        <a:lnTo>
                          <a:pt x="214" y="872"/>
                        </a:lnTo>
                        <a:lnTo>
                          <a:pt x="202" y="880"/>
                        </a:lnTo>
                        <a:lnTo>
                          <a:pt x="197" y="880"/>
                        </a:lnTo>
                        <a:lnTo>
                          <a:pt x="194" y="880"/>
                        </a:lnTo>
                        <a:lnTo>
                          <a:pt x="190" y="879"/>
                        </a:lnTo>
                        <a:lnTo>
                          <a:pt x="181" y="879"/>
                        </a:lnTo>
                        <a:lnTo>
                          <a:pt x="179" y="880"/>
                        </a:lnTo>
                        <a:lnTo>
                          <a:pt x="176" y="880"/>
                        </a:lnTo>
                        <a:lnTo>
                          <a:pt x="173" y="880"/>
                        </a:lnTo>
                        <a:lnTo>
                          <a:pt x="170" y="880"/>
                        </a:lnTo>
                        <a:lnTo>
                          <a:pt x="154" y="885"/>
                        </a:lnTo>
                        <a:lnTo>
                          <a:pt x="149" y="887"/>
                        </a:lnTo>
                        <a:lnTo>
                          <a:pt x="141" y="890"/>
                        </a:lnTo>
                        <a:lnTo>
                          <a:pt x="138" y="893"/>
                        </a:lnTo>
                        <a:lnTo>
                          <a:pt x="132" y="898"/>
                        </a:lnTo>
                        <a:lnTo>
                          <a:pt x="119" y="910"/>
                        </a:lnTo>
                        <a:lnTo>
                          <a:pt x="119" y="912"/>
                        </a:lnTo>
                        <a:lnTo>
                          <a:pt x="116" y="912"/>
                        </a:lnTo>
                        <a:lnTo>
                          <a:pt x="102" y="909"/>
                        </a:lnTo>
                        <a:lnTo>
                          <a:pt x="99" y="909"/>
                        </a:lnTo>
                        <a:lnTo>
                          <a:pt x="89" y="909"/>
                        </a:lnTo>
                        <a:lnTo>
                          <a:pt x="84" y="907"/>
                        </a:lnTo>
                        <a:lnTo>
                          <a:pt x="80" y="906"/>
                        </a:lnTo>
                        <a:lnTo>
                          <a:pt x="75" y="906"/>
                        </a:lnTo>
                        <a:lnTo>
                          <a:pt x="73" y="906"/>
                        </a:lnTo>
                        <a:lnTo>
                          <a:pt x="69" y="906"/>
                        </a:lnTo>
                        <a:lnTo>
                          <a:pt x="62" y="904"/>
                        </a:lnTo>
                        <a:lnTo>
                          <a:pt x="65" y="902"/>
                        </a:lnTo>
                        <a:lnTo>
                          <a:pt x="65" y="901"/>
                        </a:lnTo>
                        <a:lnTo>
                          <a:pt x="65" y="899"/>
                        </a:lnTo>
                        <a:lnTo>
                          <a:pt x="65" y="896"/>
                        </a:lnTo>
                        <a:lnTo>
                          <a:pt x="65" y="895"/>
                        </a:lnTo>
                        <a:lnTo>
                          <a:pt x="65" y="893"/>
                        </a:lnTo>
                        <a:lnTo>
                          <a:pt x="65" y="888"/>
                        </a:lnTo>
                        <a:lnTo>
                          <a:pt x="67" y="887"/>
                        </a:lnTo>
                        <a:lnTo>
                          <a:pt x="67" y="885"/>
                        </a:lnTo>
                        <a:lnTo>
                          <a:pt x="69" y="883"/>
                        </a:lnTo>
                        <a:lnTo>
                          <a:pt x="69" y="882"/>
                        </a:lnTo>
                        <a:lnTo>
                          <a:pt x="69" y="880"/>
                        </a:lnTo>
                        <a:lnTo>
                          <a:pt x="69" y="879"/>
                        </a:lnTo>
                        <a:lnTo>
                          <a:pt x="70" y="877"/>
                        </a:lnTo>
                        <a:lnTo>
                          <a:pt x="67" y="877"/>
                        </a:lnTo>
                        <a:lnTo>
                          <a:pt x="67" y="876"/>
                        </a:lnTo>
                        <a:lnTo>
                          <a:pt x="65" y="874"/>
                        </a:lnTo>
                        <a:lnTo>
                          <a:pt x="64" y="872"/>
                        </a:lnTo>
                        <a:lnTo>
                          <a:pt x="62" y="872"/>
                        </a:lnTo>
                        <a:lnTo>
                          <a:pt x="61" y="871"/>
                        </a:lnTo>
                        <a:lnTo>
                          <a:pt x="61" y="869"/>
                        </a:lnTo>
                        <a:lnTo>
                          <a:pt x="59" y="868"/>
                        </a:lnTo>
                        <a:lnTo>
                          <a:pt x="57" y="868"/>
                        </a:lnTo>
                        <a:lnTo>
                          <a:pt x="56" y="866"/>
                        </a:lnTo>
                        <a:lnTo>
                          <a:pt x="56" y="864"/>
                        </a:lnTo>
                        <a:lnTo>
                          <a:pt x="56" y="863"/>
                        </a:lnTo>
                        <a:lnTo>
                          <a:pt x="54" y="861"/>
                        </a:lnTo>
                        <a:lnTo>
                          <a:pt x="53" y="861"/>
                        </a:lnTo>
                        <a:lnTo>
                          <a:pt x="51" y="861"/>
                        </a:lnTo>
                        <a:lnTo>
                          <a:pt x="50" y="857"/>
                        </a:lnTo>
                        <a:lnTo>
                          <a:pt x="48" y="855"/>
                        </a:lnTo>
                        <a:lnTo>
                          <a:pt x="45" y="855"/>
                        </a:lnTo>
                        <a:lnTo>
                          <a:pt x="43" y="853"/>
                        </a:lnTo>
                        <a:lnTo>
                          <a:pt x="40" y="853"/>
                        </a:lnTo>
                        <a:lnTo>
                          <a:pt x="37" y="853"/>
                        </a:lnTo>
                        <a:lnTo>
                          <a:pt x="35" y="852"/>
                        </a:lnTo>
                        <a:lnTo>
                          <a:pt x="34" y="850"/>
                        </a:lnTo>
                        <a:lnTo>
                          <a:pt x="31" y="850"/>
                        </a:lnTo>
                        <a:lnTo>
                          <a:pt x="29" y="850"/>
                        </a:lnTo>
                        <a:lnTo>
                          <a:pt x="29" y="849"/>
                        </a:lnTo>
                        <a:lnTo>
                          <a:pt x="27" y="847"/>
                        </a:lnTo>
                        <a:lnTo>
                          <a:pt x="24" y="842"/>
                        </a:lnTo>
                        <a:lnTo>
                          <a:pt x="26" y="842"/>
                        </a:lnTo>
                        <a:lnTo>
                          <a:pt x="24" y="842"/>
                        </a:lnTo>
                        <a:lnTo>
                          <a:pt x="26" y="837"/>
                        </a:lnTo>
                        <a:lnTo>
                          <a:pt x="24" y="836"/>
                        </a:lnTo>
                        <a:lnTo>
                          <a:pt x="23" y="833"/>
                        </a:lnTo>
                        <a:lnTo>
                          <a:pt x="19" y="833"/>
                        </a:lnTo>
                        <a:lnTo>
                          <a:pt x="18" y="831"/>
                        </a:lnTo>
                        <a:lnTo>
                          <a:pt x="16" y="830"/>
                        </a:lnTo>
                        <a:lnTo>
                          <a:pt x="13" y="828"/>
                        </a:lnTo>
                        <a:lnTo>
                          <a:pt x="11" y="828"/>
                        </a:lnTo>
                        <a:lnTo>
                          <a:pt x="10" y="826"/>
                        </a:lnTo>
                        <a:lnTo>
                          <a:pt x="10" y="825"/>
                        </a:lnTo>
                        <a:lnTo>
                          <a:pt x="8" y="823"/>
                        </a:lnTo>
                        <a:lnTo>
                          <a:pt x="7" y="822"/>
                        </a:lnTo>
                        <a:lnTo>
                          <a:pt x="5" y="822"/>
                        </a:lnTo>
                        <a:lnTo>
                          <a:pt x="4" y="822"/>
                        </a:lnTo>
                        <a:lnTo>
                          <a:pt x="0" y="818"/>
                        </a:lnTo>
                        <a:lnTo>
                          <a:pt x="2" y="817"/>
                        </a:lnTo>
                        <a:lnTo>
                          <a:pt x="2" y="814"/>
                        </a:lnTo>
                        <a:lnTo>
                          <a:pt x="2" y="811"/>
                        </a:lnTo>
                        <a:lnTo>
                          <a:pt x="4" y="806"/>
                        </a:lnTo>
                        <a:lnTo>
                          <a:pt x="4" y="803"/>
                        </a:lnTo>
                        <a:lnTo>
                          <a:pt x="7" y="799"/>
                        </a:lnTo>
                        <a:lnTo>
                          <a:pt x="8" y="793"/>
                        </a:lnTo>
                        <a:lnTo>
                          <a:pt x="10" y="790"/>
                        </a:lnTo>
                        <a:lnTo>
                          <a:pt x="11" y="787"/>
                        </a:lnTo>
                        <a:lnTo>
                          <a:pt x="13" y="784"/>
                        </a:lnTo>
                        <a:lnTo>
                          <a:pt x="15" y="779"/>
                        </a:lnTo>
                        <a:lnTo>
                          <a:pt x="16" y="777"/>
                        </a:lnTo>
                        <a:lnTo>
                          <a:pt x="18" y="776"/>
                        </a:lnTo>
                        <a:lnTo>
                          <a:pt x="19" y="774"/>
                        </a:lnTo>
                        <a:lnTo>
                          <a:pt x="21" y="774"/>
                        </a:lnTo>
                        <a:lnTo>
                          <a:pt x="24" y="774"/>
                        </a:lnTo>
                        <a:lnTo>
                          <a:pt x="27" y="774"/>
                        </a:lnTo>
                        <a:lnTo>
                          <a:pt x="29" y="774"/>
                        </a:lnTo>
                        <a:lnTo>
                          <a:pt x="32" y="774"/>
                        </a:lnTo>
                        <a:lnTo>
                          <a:pt x="34" y="774"/>
                        </a:lnTo>
                        <a:lnTo>
                          <a:pt x="34" y="776"/>
                        </a:lnTo>
                        <a:lnTo>
                          <a:pt x="35" y="777"/>
                        </a:lnTo>
                        <a:lnTo>
                          <a:pt x="37" y="777"/>
                        </a:lnTo>
                        <a:lnTo>
                          <a:pt x="38" y="777"/>
                        </a:lnTo>
                        <a:lnTo>
                          <a:pt x="40" y="777"/>
                        </a:lnTo>
                        <a:lnTo>
                          <a:pt x="43" y="777"/>
                        </a:lnTo>
                        <a:lnTo>
                          <a:pt x="45" y="776"/>
                        </a:lnTo>
                        <a:lnTo>
                          <a:pt x="46" y="776"/>
                        </a:lnTo>
                        <a:lnTo>
                          <a:pt x="48" y="776"/>
                        </a:lnTo>
                        <a:lnTo>
                          <a:pt x="50" y="776"/>
                        </a:lnTo>
                        <a:lnTo>
                          <a:pt x="50" y="777"/>
                        </a:lnTo>
                        <a:lnTo>
                          <a:pt x="51" y="777"/>
                        </a:lnTo>
                        <a:lnTo>
                          <a:pt x="53" y="779"/>
                        </a:lnTo>
                        <a:lnTo>
                          <a:pt x="56" y="780"/>
                        </a:lnTo>
                        <a:lnTo>
                          <a:pt x="57" y="782"/>
                        </a:lnTo>
                        <a:lnTo>
                          <a:pt x="61" y="782"/>
                        </a:lnTo>
                        <a:lnTo>
                          <a:pt x="61" y="784"/>
                        </a:lnTo>
                        <a:lnTo>
                          <a:pt x="64" y="782"/>
                        </a:lnTo>
                        <a:lnTo>
                          <a:pt x="67" y="780"/>
                        </a:lnTo>
                        <a:lnTo>
                          <a:pt x="69" y="780"/>
                        </a:lnTo>
                        <a:lnTo>
                          <a:pt x="70" y="780"/>
                        </a:lnTo>
                        <a:lnTo>
                          <a:pt x="72" y="779"/>
                        </a:lnTo>
                        <a:lnTo>
                          <a:pt x="73" y="779"/>
                        </a:lnTo>
                        <a:lnTo>
                          <a:pt x="78" y="779"/>
                        </a:lnTo>
                        <a:lnTo>
                          <a:pt x="80" y="779"/>
                        </a:lnTo>
                        <a:lnTo>
                          <a:pt x="81" y="779"/>
                        </a:lnTo>
                        <a:lnTo>
                          <a:pt x="86" y="774"/>
                        </a:lnTo>
                        <a:lnTo>
                          <a:pt x="89" y="774"/>
                        </a:lnTo>
                        <a:lnTo>
                          <a:pt x="91" y="774"/>
                        </a:lnTo>
                        <a:lnTo>
                          <a:pt x="92" y="773"/>
                        </a:lnTo>
                        <a:lnTo>
                          <a:pt x="95" y="771"/>
                        </a:lnTo>
                        <a:lnTo>
                          <a:pt x="100" y="768"/>
                        </a:lnTo>
                        <a:lnTo>
                          <a:pt x="108" y="763"/>
                        </a:lnTo>
                        <a:lnTo>
                          <a:pt x="110" y="761"/>
                        </a:lnTo>
                        <a:lnTo>
                          <a:pt x="111" y="761"/>
                        </a:lnTo>
                        <a:lnTo>
                          <a:pt x="113" y="761"/>
                        </a:lnTo>
                        <a:lnTo>
                          <a:pt x="116" y="763"/>
                        </a:lnTo>
                        <a:lnTo>
                          <a:pt x="121" y="763"/>
                        </a:lnTo>
                        <a:lnTo>
                          <a:pt x="122" y="763"/>
                        </a:lnTo>
                        <a:lnTo>
                          <a:pt x="124" y="763"/>
                        </a:lnTo>
                        <a:lnTo>
                          <a:pt x="126" y="761"/>
                        </a:lnTo>
                        <a:lnTo>
                          <a:pt x="126" y="760"/>
                        </a:lnTo>
                        <a:lnTo>
                          <a:pt x="127" y="757"/>
                        </a:lnTo>
                        <a:lnTo>
                          <a:pt x="127" y="754"/>
                        </a:lnTo>
                        <a:lnTo>
                          <a:pt x="127" y="749"/>
                        </a:lnTo>
                        <a:lnTo>
                          <a:pt x="127" y="744"/>
                        </a:lnTo>
                        <a:lnTo>
                          <a:pt x="129" y="741"/>
                        </a:lnTo>
                        <a:lnTo>
                          <a:pt x="130" y="736"/>
                        </a:lnTo>
                        <a:lnTo>
                          <a:pt x="133" y="733"/>
                        </a:lnTo>
                        <a:lnTo>
                          <a:pt x="135" y="733"/>
                        </a:lnTo>
                        <a:lnTo>
                          <a:pt x="135" y="731"/>
                        </a:lnTo>
                        <a:lnTo>
                          <a:pt x="137" y="730"/>
                        </a:lnTo>
                        <a:lnTo>
                          <a:pt x="140" y="727"/>
                        </a:lnTo>
                        <a:lnTo>
                          <a:pt x="146" y="720"/>
                        </a:lnTo>
                        <a:lnTo>
                          <a:pt x="148" y="717"/>
                        </a:lnTo>
                        <a:lnTo>
                          <a:pt x="148" y="716"/>
                        </a:lnTo>
                        <a:lnTo>
                          <a:pt x="148" y="714"/>
                        </a:lnTo>
                        <a:lnTo>
                          <a:pt x="149" y="714"/>
                        </a:lnTo>
                        <a:lnTo>
                          <a:pt x="149" y="712"/>
                        </a:lnTo>
                        <a:lnTo>
                          <a:pt x="149" y="708"/>
                        </a:lnTo>
                        <a:lnTo>
                          <a:pt x="151" y="708"/>
                        </a:lnTo>
                        <a:lnTo>
                          <a:pt x="151" y="704"/>
                        </a:lnTo>
                        <a:lnTo>
                          <a:pt x="152" y="704"/>
                        </a:lnTo>
                        <a:lnTo>
                          <a:pt x="154" y="703"/>
                        </a:lnTo>
                        <a:lnTo>
                          <a:pt x="156" y="703"/>
                        </a:lnTo>
                        <a:lnTo>
                          <a:pt x="156" y="701"/>
                        </a:lnTo>
                        <a:lnTo>
                          <a:pt x="157" y="701"/>
                        </a:lnTo>
                        <a:lnTo>
                          <a:pt x="160" y="700"/>
                        </a:lnTo>
                        <a:lnTo>
                          <a:pt x="162" y="698"/>
                        </a:lnTo>
                        <a:lnTo>
                          <a:pt x="164" y="695"/>
                        </a:lnTo>
                        <a:lnTo>
                          <a:pt x="162" y="693"/>
                        </a:lnTo>
                        <a:lnTo>
                          <a:pt x="164" y="690"/>
                        </a:lnTo>
                        <a:lnTo>
                          <a:pt x="162" y="689"/>
                        </a:lnTo>
                        <a:lnTo>
                          <a:pt x="160" y="687"/>
                        </a:lnTo>
                        <a:lnTo>
                          <a:pt x="160" y="685"/>
                        </a:lnTo>
                        <a:lnTo>
                          <a:pt x="160" y="684"/>
                        </a:lnTo>
                        <a:lnTo>
                          <a:pt x="160" y="682"/>
                        </a:lnTo>
                        <a:lnTo>
                          <a:pt x="162" y="682"/>
                        </a:lnTo>
                        <a:lnTo>
                          <a:pt x="162" y="676"/>
                        </a:lnTo>
                        <a:lnTo>
                          <a:pt x="160" y="676"/>
                        </a:lnTo>
                        <a:lnTo>
                          <a:pt x="160" y="674"/>
                        </a:lnTo>
                        <a:lnTo>
                          <a:pt x="159" y="673"/>
                        </a:lnTo>
                        <a:lnTo>
                          <a:pt x="157" y="671"/>
                        </a:lnTo>
                        <a:lnTo>
                          <a:pt x="156" y="670"/>
                        </a:lnTo>
                        <a:lnTo>
                          <a:pt x="154" y="668"/>
                        </a:lnTo>
                        <a:lnTo>
                          <a:pt x="154" y="665"/>
                        </a:lnTo>
                        <a:lnTo>
                          <a:pt x="152" y="665"/>
                        </a:lnTo>
                        <a:lnTo>
                          <a:pt x="152" y="663"/>
                        </a:lnTo>
                        <a:lnTo>
                          <a:pt x="152" y="662"/>
                        </a:lnTo>
                        <a:lnTo>
                          <a:pt x="152" y="659"/>
                        </a:lnTo>
                        <a:lnTo>
                          <a:pt x="149" y="657"/>
                        </a:lnTo>
                        <a:lnTo>
                          <a:pt x="149" y="655"/>
                        </a:lnTo>
                        <a:lnTo>
                          <a:pt x="149" y="654"/>
                        </a:lnTo>
                        <a:lnTo>
                          <a:pt x="149" y="652"/>
                        </a:lnTo>
                        <a:lnTo>
                          <a:pt x="151" y="646"/>
                        </a:lnTo>
                        <a:lnTo>
                          <a:pt x="151" y="644"/>
                        </a:lnTo>
                        <a:lnTo>
                          <a:pt x="151" y="643"/>
                        </a:lnTo>
                        <a:lnTo>
                          <a:pt x="152" y="643"/>
                        </a:lnTo>
                        <a:lnTo>
                          <a:pt x="149" y="641"/>
                        </a:lnTo>
                        <a:lnTo>
                          <a:pt x="146" y="636"/>
                        </a:lnTo>
                        <a:lnTo>
                          <a:pt x="145" y="636"/>
                        </a:lnTo>
                        <a:lnTo>
                          <a:pt x="140" y="635"/>
                        </a:lnTo>
                        <a:lnTo>
                          <a:pt x="140" y="633"/>
                        </a:lnTo>
                        <a:lnTo>
                          <a:pt x="138" y="633"/>
                        </a:lnTo>
                        <a:lnTo>
                          <a:pt x="137" y="633"/>
                        </a:lnTo>
                        <a:lnTo>
                          <a:pt x="137" y="632"/>
                        </a:lnTo>
                        <a:lnTo>
                          <a:pt x="135" y="630"/>
                        </a:lnTo>
                        <a:lnTo>
                          <a:pt x="137" y="628"/>
                        </a:lnTo>
                        <a:lnTo>
                          <a:pt x="137" y="627"/>
                        </a:lnTo>
                        <a:lnTo>
                          <a:pt x="138" y="625"/>
                        </a:lnTo>
                        <a:lnTo>
                          <a:pt x="141" y="624"/>
                        </a:lnTo>
                        <a:lnTo>
                          <a:pt x="145" y="622"/>
                        </a:lnTo>
                        <a:lnTo>
                          <a:pt x="151" y="616"/>
                        </a:lnTo>
                        <a:lnTo>
                          <a:pt x="156" y="613"/>
                        </a:lnTo>
                        <a:lnTo>
                          <a:pt x="164" y="606"/>
                        </a:lnTo>
                        <a:lnTo>
                          <a:pt x="171" y="598"/>
                        </a:lnTo>
                        <a:lnTo>
                          <a:pt x="173" y="597"/>
                        </a:lnTo>
                        <a:lnTo>
                          <a:pt x="175" y="594"/>
                        </a:lnTo>
                        <a:lnTo>
                          <a:pt x="176" y="590"/>
                        </a:lnTo>
                        <a:lnTo>
                          <a:pt x="178" y="589"/>
                        </a:lnTo>
                        <a:lnTo>
                          <a:pt x="178" y="586"/>
                        </a:lnTo>
                        <a:lnTo>
                          <a:pt x="178" y="582"/>
                        </a:lnTo>
                        <a:lnTo>
                          <a:pt x="178" y="581"/>
                        </a:lnTo>
                        <a:lnTo>
                          <a:pt x="178" y="578"/>
                        </a:lnTo>
                        <a:lnTo>
                          <a:pt x="178" y="576"/>
                        </a:lnTo>
                        <a:lnTo>
                          <a:pt x="178" y="571"/>
                        </a:lnTo>
                        <a:lnTo>
                          <a:pt x="178" y="568"/>
                        </a:lnTo>
                        <a:lnTo>
                          <a:pt x="179" y="565"/>
                        </a:lnTo>
                        <a:lnTo>
                          <a:pt x="181" y="562"/>
                        </a:lnTo>
                        <a:lnTo>
                          <a:pt x="184" y="557"/>
                        </a:lnTo>
                        <a:lnTo>
                          <a:pt x="189" y="552"/>
                        </a:lnTo>
                        <a:lnTo>
                          <a:pt x="190" y="551"/>
                        </a:lnTo>
                        <a:lnTo>
                          <a:pt x="190" y="549"/>
                        </a:lnTo>
                        <a:lnTo>
                          <a:pt x="190" y="546"/>
                        </a:lnTo>
                        <a:lnTo>
                          <a:pt x="190" y="543"/>
                        </a:lnTo>
                        <a:lnTo>
                          <a:pt x="190" y="540"/>
                        </a:lnTo>
                        <a:lnTo>
                          <a:pt x="189" y="538"/>
                        </a:lnTo>
                        <a:lnTo>
                          <a:pt x="189" y="537"/>
                        </a:lnTo>
                        <a:lnTo>
                          <a:pt x="190" y="535"/>
                        </a:lnTo>
                        <a:lnTo>
                          <a:pt x="190" y="533"/>
                        </a:lnTo>
                        <a:lnTo>
                          <a:pt x="192" y="532"/>
                        </a:lnTo>
                        <a:lnTo>
                          <a:pt x="192" y="530"/>
                        </a:lnTo>
                        <a:lnTo>
                          <a:pt x="194" y="529"/>
                        </a:lnTo>
                        <a:lnTo>
                          <a:pt x="192" y="527"/>
                        </a:lnTo>
                        <a:lnTo>
                          <a:pt x="192" y="525"/>
                        </a:lnTo>
                        <a:lnTo>
                          <a:pt x="190" y="524"/>
                        </a:lnTo>
                        <a:lnTo>
                          <a:pt x="189" y="522"/>
                        </a:lnTo>
                        <a:lnTo>
                          <a:pt x="186" y="521"/>
                        </a:lnTo>
                        <a:lnTo>
                          <a:pt x="183" y="519"/>
                        </a:lnTo>
                        <a:lnTo>
                          <a:pt x="181" y="518"/>
                        </a:lnTo>
                        <a:lnTo>
                          <a:pt x="181" y="516"/>
                        </a:lnTo>
                        <a:lnTo>
                          <a:pt x="183" y="514"/>
                        </a:lnTo>
                        <a:lnTo>
                          <a:pt x="183" y="513"/>
                        </a:lnTo>
                        <a:lnTo>
                          <a:pt x="184" y="513"/>
                        </a:lnTo>
                        <a:lnTo>
                          <a:pt x="184" y="511"/>
                        </a:lnTo>
                        <a:lnTo>
                          <a:pt x="184" y="510"/>
                        </a:lnTo>
                        <a:lnTo>
                          <a:pt x="184" y="508"/>
                        </a:lnTo>
                        <a:lnTo>
                          <a:pt x="184" y="506"/>
                        </a:lnTo>
                        <a:lnTo>
                          <a:pt x="184" y="505"/>
                        </a:lnTo>
                        <a:lnTo>
                          <a:pt x="184" y="503"/>
                        </a:lnTo>
                        <a:lnTo>
                          <a:pt x="186" y="502"/>
                        </a:lnTo>
                        <a:lnTo>
                          <a:pt x="186" y="500"/>
                        </a:lnTo>
                        <a:lnTo>
                          <a:pt x="186" y="497"/>
                        </a:lnTo>
                        <a:lnTo>
                          <a:pt x="184" y="495"/>
                        </a:lnTo>
                        <a:lnTo>
                          <a:pt x="183" y="492"/>
                        </a:lnTo>
                        <a:lnTo>
                          <a:pt x="181" y="491"/>
                        </a:lnTo>
                        <a:lnTo>
                          <a:pt x="179" y="489"/>
                        </a:lnTo>
                        <a:lnTo>
                          <a:pt x="179" y="487"/>
                        </a:lnTo>
                        <a:lnTo>
                          <a:pt x="179" y="486"/>
                        </a:lnTo>
                        <a:lnTo>
                          <a:pt x="181" y="484"/>
                        </a:lnTo>
                        <a:lnTo>
                          <a:pt x="181" y="483"/>
                        </a:lnTo>
                        <a:lnTo>
                          <a:pt x="183" y="481"/>
                        </a:lnTo>
                        <a:lnTo>
                          <a:pt x="184" y="480"/>
                        </a:lnTo>
                        <a:lnTo>
                          <a:pt x="184" y="478"/>
                        </a:lnTo>
                        <a:lnTo>
                          <a:pt x="184" y="476"/>
                        </a:lnTo>
                        <a:lnTo>
                          <a:pt x="184" y="475"/>
                        </a:lnTo>
                        <a:lnTo>
                          <a:pt x="184" y="473"/>
                        </a:lnTo>
                        <a:lnTo>
                          <a:pt x="183" y="472"/>
                        </a:lnTo>
                        <a:lnTo>
                          <a:pt x="181" y="470"/>
                        </a:lnTo>
                        <a:lnTo>
                          <a:pt x="181" y="468"/>
                        </a:lnTo>
                        <a:lnTo>
                          <a:pt x="179" y="468"/>
                        </a:lnTo>
                        <a:lnTo>
                          <a:pt x="179" y="467"/>
                        </a:lnTo>
                        <a:lnTo>
                          <a:pt x="179" y="465"/>
                        </a:lnTo>
                        <a:lnTo>
                          <a:pt x="179" y="459"/>
                        </a:lnTo>
                        <a:lnTo>
                          <a:pt x="181" y="456"/>
                        </a:lnTo>
                        <a:lnTo>
                          <a:pt x="183" y="453"/>
                        </a:lnTo>
                        <a:lnTo>
                          <a:pt x="184" y="451"/>
                        </a:lnTo>
                        <a:lnTo>
                          <a:pt x="184" y="449"/>
                        </a:lnTo>
                        <a:lnTo>
                          <a:pt x="184" y="446"/>
                        </a:lnTo>
                        <a:lnTo>
                          <a:pt x="184" y="441"/>
                        </a:lnTo>
                        <a:lnTo>
                          <a:pt x="183" y="440"/>
                        </a:lnTo>
                        <a:lnTo>
                          <a:pt x="181" y="438"/>
                        </a:lnTo>
                        <a:lnTo>
                          <a:pt x="179" y="435"/>
                        </a:lnTo>
                        <a:lnTo>
                          <a:pt x="178" y="434"/>
                        </a:lnTo>
                        <a:lnTo>
                          <a:pt x="178" y="432"/>
                        </a:lnTo>
                        <a:lnTo>
                          <a:pt x="178" y="430"/>
                        </a:lnTo>
                        <a:lnTo>
                          <a:pt x="178" y="429"/>
                        </a:lnTo>
                        <a:lnTo>
                          <a:pt x="178" y="427"/>
                        </a:lnTo>
                        <a:lnTo>
                          <a:pt x="179" y="426"/>
                        </a:lnTo>
                        <a:lnTo>
                          <a:pt x="179" y="424"/>
                        </a:lnTo>
                        <a:lnTo>
                          <a:pt x="179" y="422"/>
                        </a:lnTo>
                        <a:lnTo>
                          <a:pt x="178" y="419"/>
                        </a:lnTo>
                        <a:lnTo>
                          <a:pt x="178" y="418"/>
                        </a:lnTo>
                        <a:lnTo>
                          <a:pt x="176" y="416"/>
                        </a:lnTo>
                        <a:lnTo>
                          <a:pt x="175" y="416"/>
                        </a:lnTo>
                        <a:lnTo>
                          <a:pt x="173" y="415"/>
                        </a:lnTo>
                        <a:lnTo>
                          <a:pt x="170" y="413"/>
                        </a:lnTo>
                        <a:lnTo>
                          <a:pt x="168" y="413"/>
                        </a:lnTo>
                        <a:lnTo>
                          <a:pt x="165" y="413"/>
                        </a:lnTo>
                        <a:lnTo>
                          <a:pt x="164" y="413"/>
                        </a:lnTo>
                        <a:lnTo>
                          <a:pt x="160" y="415"/>
                        </a:lnTo>
                        <a:lnTo>
                          <a:pt x="157" y="415"/>
                        </a:lnTo>
                        <a:lnTo>
                          <a:pt x="154" y="416"/>
                        </a:lnTo>
                        <a:lnTo>
                          <a:pt x="149" y="415"/>
                        </a:lnTo>
                        <a:lnTo>
                          <a:pt x="143" y="413"/>
                        </a:lnTo>
                        <a:lnTo>
                          <a:pt x="140" y="411"/>
                        </a:lnTo>
                        <a:lnTo>
                          <a:pt x="138" y="410"/>
                        </a:lnTo>
                        <a:lnTo>
                          <a:pt x="135" y="408"/>
                        </a:lnTo>
                        <a:lnTo>
                          <a:pt x="133" y="405"/>
                        </a:lnTo>
                        <a:lnTo>
                          <a:pt x="132" y="402"/>
                        </a:lnTo>
                        <a:lnTo>
                          <a:pt x="130" y="400"/>
                        </a:lnTo>
                        <a:lnTo>
                          <a:pt x="130" y="397"/>
                        </a:lnTo>
                        <a:lnTo>
                          <a:pt x="129" y="396"/>
                        </a:lnTo>
                        <a:lnTo>
                          <a:pt x="130" y="394"/>
                        </a:lnTo>
                        <a:lnTo>
                          <a:pt x="130" y="392"/>
                        </a:lnTo>
                        <a:lnTo>
                          <a:pt x="132" y="389"/>
                        </a:lnTo>
                        <a:lnTo>
                          <a:pt x="133" y="388"/>
                        </a:lnTo>
                        <a:lnTo>
                          <a:pt x="135" y="384"/>
                        </a:lnTo>
                        <a:lnTo>
                          <a:pt x="137" y="381"/>
                        </a:lnTo>
                        <a:lnTo>
                          <a:pt x="138" y="380"/>
                        </a:lnTo>
                        <a:lnTo>
                          <a:pt x="140" y="380"/>
                        </a:lnTo>
                        <a:lnTo>
                          <a:pt x="141" y="380"/>
                        </a:lnTo>
                        <a:lnTo>
                          <a:pt x="143" y="380"/>
                        </a:lnTo>
                        <a:lnTo>
                          <a:pt x="145" y="380"/>
                        </a:lnTo>
                        <a:lnTo>
                          <a:pt x="146" y="381"/>
                        </a:lnTo>
                        <a:lnTo>
                          <a:pt x="148" y="381"/>
                        </a:lnTo>
                        <a:lnTo>
                          <a:pt x="152" y="381"/>
                        </a:lnTo>
                        <a:lnTo>
                          <a:pt x="156" y="381"/>
                        </a:lnTo>
                        <a:lnTo>
                          <a:pt x="157" y="381"/>
                        </a:lnTo>
                        <a:lnTo>
                          <a:pt x="159" y="380"/>
                        </a:lnTo>
                        <a:lnTo>
                          <a:pt x="160" y="380"/>
                        </a:lnTo>
                        <a:lnTo>
                          <a:pt x="162" y="380"/>
                        </a:lnTo>
                        <a:lnTo>
                          <a:pt x="164" y="380"/>
                        </a:lnTo>
                        <a:lnTo>
                          <a:pt x="165" y="380"/>
                        </a:lnTo>
                        <a:lnTo>
                          <a:pt x="168" y="381"/>
                        </a:lnTo>
                        <a:lnTo>
                          <a:pt x="170" y="381"/>
                        </a:lnTo>
                        <a:lnTo>
                          <a:pt x="175" y="383"/>
                        </a:lnTo>
                        <a:lnTo>
                          <a:pt x="176" y="381"/>
                        </a:lnTo>
                        <a:lnTo>
                          <a:pt x="178" y="380"/>
                        </a:lnTo>
                        <a:lnTo>
                          <a:pt x="179" y="380"/>
                        </a:lnTo>
                        <a:lnTo>
                          <a:pt x="183" y="378"/>
                        </a:lnTo>
                        <a:lnTo>
                          <a:pt x="184" y="377"/>
                        </a:lnTo>
                        <a:lnTo>
                          <a:pt x="187" y="375"/>
                        </a:lnTo>
                        <a:lnTo>
                          <a:pt x="189" y="375"/>
                        </a:lnTo>
                        <a:lnTo>
                          <a:pt x="190" y="375"/>
                        </a:lnTo>
                        <a:lnTo>
                          <a:pt x="194" y="375"/>
                        </a:lnTo>
                        <a:lnTo>
                          <a:pt x="195" y="375"/>
                        </a:lnTo>
                        <a:lnTo>
                          <a:pt x="197" y="375"/>
                        </a:lnTo>
                        <a:lnTo>
                          <a:pt x="198" y="373"/>
                        </a:lnTo>
                        <a:lnTo>
                          <a:pt x="200" y="372"/>
                        </a:lnTo>
                        <a:lnTo>
                          <a:pt x="202" y="372"/>
                        </a:lnTo>
                        <a:lnTo>
                          <a:pt x="203" y="370"/>
                        </a:lnTo>
                        <a:lnTo>
                          <a:pt x="202" y="370"/>
                        </a:lnTo>
                        <a:lnTo>
                          <a:pt x="200" y="367"/>
                        </a:lnTo>
                        <a:lnTo>
                          <a:pt x="200" y="365"/>
                        </a:lnTo>
                        <a:lnTo>
                          <a:pt x="200" y="364"/>
                        </a:lnTo>
                        <a:lnTo>
                          <a:pt x="198" y="362"/>
                        </a:lnTo>
                        <a:lnTo>
                          <a:pt x="197" y="359"/>
                        </a:lnTo>
                        <a:lnTo>
                          <a:pt x="195" y="358"/>
                        </a:lnTo>
                        <a:lnTo>
                          <a:pt x="195" y="356"/>
                        </a:lnTo>
                        <a:lnTo>
                          <a:pt x="194" y="356"/>
                        </a:lnTo>
                        <a:lnTo>
                          <a:pt x="194" y="354"/>
                        </a:lnTo>
                        <a:lnTo>
                          <a:pt x="195" y="353"/>
                        </a:lnTo>
                        <a:lnTo>
                          <a:pt x="195" y="351"/>
                        </a:lnTo>
                        <a:lnTo>
                          <a:pt x="195" y="350"/>
                        </a:lnTo>
                        <a:lnTo>
                          <a:pt x="194" y="350"/>
                        </a:lnTo>
                        <a:lnTo>
                          <a:pt x="192" y="350"/>
                        </a:lnTo>
                        <a:lnTo>
                          <a:pt x="190" y="350"/>
                        </a:lnTo>
                        <a:lnTo>
                          <a:pt x="190" y="348"/>
                        </a:lnTo>
                        <a:lnTo>
                          <a:pt x="189" y="346"/>
                        </a:lnTo>
                        <a:lnTo>
                          <a:pt x="187" y="345"/>
                        </a:lnTo>
                        <a:lnTo>
                          <a:pt x="186" y="343"/>
                        </a:lnTo>
                        <a:lnTo>
                          <a:pt x="184" y="342"/>
                        </a:lnTo>
                        <a:lnTo>
                          <a:pt x="184" y="340"/>
                        </a:lnTo>
                        <a:lnTo>
                          <a:pt x="183" y="340"/>
                        </a:lnTo>
                        <a:lnTo>
                          <a:pt x="181" y="340"/>
                        </a:lnTo>
                        <a:lnTo>
                          <a:pt x="183" y="340"/>
                        </a:lnTo>
                        <a:lnTo>
                          <a:pt x="184" y="340"/>
                        </a:lnTo>
                        <a:lnTo>
                          <a:pt x="183" y="339"/>
                        </a:lnTo>
                        <a:lnTo>
                          <a:pt x="181" y="337"/>
                        </a:lnTo>
                        <a:lnTo>
                          <a:pt x="179" y="337"/>
                        </a:lnTo>
                        <a:lnTo>
                          <a:pt x="179" y="335"/>
                        </a:lnTo>
                        <a:lnTo>
                          <a:pt x="179" y="332"/>
                        </a:lnTo>
                        <a:lnTo>
                          <a:pt x="179" y="331"/>
                        </a:lnTo>
                        <a:lnTo>
                          <a:pt x="179" y="329"/>
                        </a:lnTo>
                        <a:lnTo>
                          <a:pt x="179" y="327"/>
                        </a:lnTo>
                        <a:lnTo>
                          <a:pt x="178" y="326"/>
                        </a:lnTo>
                        <a:lnTo>
                          <a:pt x="178" y="324"/>
                        </a:lnTo>
                        <a:lnTo>
                          <a:pt x="178" y="323"/>
                        </a:lnTo>
                        <a:lnTo>
                          <a:pt x="176" y="321"/>
                        </a:lnTo>
                        <a:lnTo>
                          <a:pt x="175" y="321"/>
                        </a:lnTo>
                        <a:lnTo>
                          <a:pt x="175" y="320"/>
                        </a:lnTo>
                        <a:lnTo>
                          <a:pt x="175" y="318"/>
                        </a:lnTo>
                        <a:lnTo>
                          <a:pt x="173" y="316"/>
                        </a:lnTo>
                        <a:lnTo>
                          <a:pt x="171" y="315"/>
                        </a:lnTo>
                        <a:lnTo>
                          <a:pt x="170" y="315"/>
                        </a:lnTo>
                        <a:lnTo>
                          <a:pt x="168" y="313"/>
                        </a:lnTo>
                        <a:lnTo>
                          <a:pt x="167" y="312"/>
                        </a:lnTo>
                        <a:lnTo>
                          <a:pt x="167" y="310"/>
                        </a:lnTo>
                        <a:lnTo>
                          <a:pt x="165" y="310"/>
                        </a:lnTo>
                        <a:lnTo>
                          <a:pt x="165" y="308"/>
                        </a:lnTo>
                        <a:lnTo>
                          <a:pt x="167" y="307"/>
                        </a:lnTo>
                        <a:lnTo>
                          <a:pt x="168" y="307"/>
                        </a:lnTo>
                        <a:lnTo>
                          <a:pt x="170" y="308"/>
                        </a:lnTo>
                        <a:lnTo>
                          <a:pt x="171" y="308"/>
                        </a:lnTo>
                        <a:lnTo>
                          <a:pt x="173" y="308"/>
                        </a:lnTo>
                        <a:lnTo>
                          <a:pt x="175" y="307"/>
                        </a:lnTo>
                        <a:lnTo>
                          <a:pt x="176" y="305"/>
                        </a:lnTo>
                        <a:lnTo>
                          <a:pt x="176" y="304"/>
                        </a:lnTo>
                        <a:lnTo>
                          <a:pt x="176" y="302"/>
                        </a:lnTo>
                        <a:lnTo>
                          <a:pt x="176" y="301"/>
                        </a:lnTo>
                        <a:lnTo>
                          <a:pt x="175" y="301"/>
                        </a:lnTo>
                        <a:lnTo>
                          <a:pt x="173" y="297"/>
                        </a:lnTo>
                        <a:lnTo>
                          <a:pt x="173" y="296"/>
                        </a:lnTo>
                        <a:lnTo>
                          <a:pt x="175" y="296"/>
                        </a:lnTo>
                        <a:lnTo>
                          <a:pt x="176" y="296"/>
                        </a:lnTo>
                        <a:lnTo>
                          <a:pt x="178" y="296"/>
                        </a:lnTo>
                        <a:lnTo>
                          <a:pt x="178" y="297"/>
                        </a:lnTo>
                        <a:lnTo>
                          <a:pt x="179" y="297"/>
                        </a:lnTo>
                        <a:lnTo>
                          <a:pt x="181" y="299"/>
                        </a:lnTo>
                        <a:lnTo>
                          <a:pt x="183" y="302"/>
                        </a:lnTo>
                        <a:lnTo>
                          <a:pt x="184" y="304"/>
                        </a:lnTo>
                        <a:lnTo>
                          <a:pt x="186" y="305"/>
                        </a:lnTo>
                        <a:lnTo>
                          <a:pt x="187" y="305"/>
                        </a:lnTo>
                        <a:lnTo>
                          <a:pt x="187" y="304"/>
                        </a:lnTo>
                        <a:lnTo>
                          <a:pt x="187" y="301"/>
                        </a:lnTo>
                        <a:lnTo>
                          <a:pt x="187" y="299"/>
                        </a:lnTo>
                        <a:lnTo>
                          <a:pt x="189" y="297"/>
                        </a:lnTo>
                        <a:lnTo>
                          <a:pt x="190" y="294"/>
                        </a:lnTo>
                        <a:lnTo>
                          <a:pt x="190" y="293"/>
                        </a:lnTo>
                        <a:lnTo>
                          <a:pt x="192" y="293"/>
                        </a:lnTo>
                        <a:lnTo>
                          <a:pt x="192" y="291"/>
                        </a:lnTo>
                        <a:lnTo>
                          <a:pt x="194" y="291"/>
                        </a:lnTo>
                        <a:lnTo>
                          <a:pt x="195" y="293"/>
                        </a:lnTo>
                        <a:lnTo>
                          <a:pt x="197" y="293"/>
                        </a:lnTo>
                        <a:lnTo>
                          <a:pt x="197" y="294"/>
                        </a:lnTo>
                        <a:lnTo>
                          <a:pt x="197" y="296"/>
                        </a:lnTo>
                        <a:lnTo>
                          <a:pt x="197" y="297"/>
                        </a:lnTo>
                        <a:lnTo>
                          <a:pt x="197" y="299"/>
                        </a:lnTo>
                        <a:lnTo>
                          <a:pt x="198" y="299"/>
                        </a:lnTo>
                        <a:lnTo>
                          <a:pt x="200" y="301"/>
                        </a:lnTo>
                        <a:lnTo>
                          <a:pt x="202" y="301"/>
                        </a:lnTo>
                        <a:lnTo>
                          <a:pt x="203" y="301"/>
                        </a:lnTo>
                        <a:lnTo>
                          <a:pt x="203" y="297"/>
                        </a:lnTo>
                        <a:lnTo>
                          <a:pt x="203" y="294"/>
                        </a:lnTo>
                        <a:lnTo>
                          <a:pt x="205" y="294"/>
                        </a:lnTo>
                        <a:lnTo>
                          <a:pt x="206" y="294"/>
                        </a:lnTo>
                        <a:lnTo>
                          <a:pt x="208" y="294"/>
                        </a:lnTo>
                        <a:lnTo>
                          <a:pt x="209" y="294"/>
                        </a:lnTo>
                        <a:lnTo>
                          <a:pt x="211" y="294"/>
                        </a:lnTo>
                        <a:lnTo>
                          <a:pt x="213" y="297"/>
                        </a:lnTo>
                        <a:lnTo>
                          <a:pt x="214" y="297"/>
                        </a:lnTo>
                        <a:lnTo>
                          <a:pt x="217" y="297"/>
                        </a:lnTo>
                        <a:lnTo>
                          <a:pt x="219" y="296"/>
                        </a:lnTo>
                        <a:lnTo>
                          <a:pt x="219" y="294"/>
                        </a:lnTo>
                        <a:lnTo>
                          <a:pt x="217" y="291"/>
                        </a:lnTo>
                        <a:lnTo>
                          <a:pt x="216" y="289"/>
                        </a:lnTo>
                        <a:lnTo>
                          <a:pt x="216" y="288"/>
                        </a:lnTo>
                        <a:lnTo>
                          <a:pt x="217" y="286"/>
                        </a:lnTo>
                        <a:lnTo>
                          <a:pt x="217" y="285"/>
                        </a:lnTo>
                        <a:lnTo>
                          <a:pt x="216" y="285"/>
                        </a:lnTo>
                        <a:lnTo>
                          <a:pt x="216" y="282"/>
                        </a:lnTo>
                        <a:lnTo>
                          <a:pt x="216" y="280"/>
                        </a:lnTo>
                        <a:lnTo>
                          <a:pt x="217" y="277"/>
                        </a:lnTo>
                        <a:lnTo>
                          <a:pt x="216" y="277"/>
                        </a:lnTo>
                        <a:lnTo>
                          <a:pt x="214" y="277"/>
                        </a:lnTo>
                        <a:lnTo>
                          <a:pt x="214" y="278"/>
                        </a:lnTo>
                        <a:lnTo>
                          <a:pt x="214" y="280"/>
                        </a:lnTo>
                        <a:lnTo>
                          <a:pt x="213" y="282"/>
                        </a:lnTo>
                        <a:lnTo>
                          <a:pt x="211" y="282"/>
                        </a:lnTo>
                        <a:lnTo>
                          <a:pt x="211" y="280"/>
                        </a:lnTo>
                        <a:lnTo>
                          <a:pt x="208" y="277"/>
                        </a:lnTo>
                        <a:lnTo>
                          <a:pt x="208" y="272"/>
                        </a:lnTo>
                        <a:lnTo>
                          <a:pt x="208" y="270"/>
                        </a:lnTo>
                        <a:lnTo>
                          <a:pt x="209" y="270"/>
                        </a:lnTo>
                        <a:lnTo>
                          <a:pt x="211" y="272"/>
                        </a:lnTo>
                        <a:lnTo>
                          <a:pt x="213" y="272"/>
                        </a:lnTo>
                        <a:lnTo>
                          <a:pt x="213" y="269"/>
                        </a:lnTo>
                        <a:lnTo>
                          <a:pt x="214" y="269"/>
                        </a:lnTo>
                        <a:lnTo>
                          <a:pt x="214" y="266"/>
                        </a:lnTo>
                        <a:lnTo>
                          <a:pt x="213" y="264"/>
                        </a:lnTo>
                        <a:lnTo>
                          <a:pt x="213" y="266"/>
                        </a:lnTo>
                        <a:lnTo>
                          <a:pt x="211" y="264"/>
                        </a:lnTo>
                        <a:lnTo>
                          <a:pt x="213" y="262"/>
                        </a:lnTo>
                        <a:lnTo>
                          <a:pt x="216" y="261"/>
                        </a:lnTo>
                        <a:lnTo>
                          <a:pt x="217" y="259"/>
                        </a:lnTo>
                        <a:lnTo>
                          <a:pt x="219" y="258"/>
                        </a:lnTo>
                        <a:lnTo>
                          <a:pt x="219" y="256"/>
                        </a:lnTo>
                        <a:lnTo>
                          <a:pt x="217" y="253"/>
                        </a:lnTo>
                        <a:lnTo>
                          <a:pt x="217" y="251"/>
                        </a:lnTo>
                        <a:lnTo>
                          <a:pt x="217" y="250"/>
                        </a:lnTo>
                        <a:lnTo>
                          <a:pt x="219" y="248"/>
                        </a:lnTo>
                        <a:lnTo>
                          <a:pt x="219" y="247"/>
                        </a:lnTo>
                        <a:lnTo>
                          <a:pt x="221" y="248"/>
                        </a:lnTo>
                        <a:lnTo>
                          <a:pt x="221" y="250"/>
                        </a:lnTo>
                        <a:lnTo>
                          <a:pt x="222" y="250"/>
                        </a:lnTo>
                        <a:lnTo>
                          <a:pt x="225" y="248"/>
                        </a:lnTo>
                        <a:lnTo>
                          <a:pt x="225" y="250"/>
                        </a:lnTo>
                        <a:lnTo>
                          <a:pt x="225" y="253"/>
                        </a:lnTo>
                        <a:lnTo>
                          <a:pt x="230" y="253"/>
                        </a:lnTo>
                        <a:lnTo>
                          <a:pt x="232" y="253"/>
                        </a:lnTo>
                        <a:lnTo>
                          <a:pt x="236" y="253"/>
                        </a:lnTo>
                        <a:lnTo>
                          <a:pt x="238" y="253"/>
                        </a:lnTo>
                        <a:lnTo>
                          <a:pt x="238" y="251"/>
                        </a:lnTo>
                        <a:lnTo>
                          <a:pt x="236" y="251"/>
                        </a:lnTo>
                        <a:lnTo>
                          <a:pt x="238" y="250"/>
                        </a:lnTo>
                        <a:lnTo>
                          <a:pt x="238" y="248"/>
                        </a:lnTo>
                        <a:lnTo>
                          <a:pt x="238" y="247"/>
                        </a:lnTo>
                        <a:lnTo>
                          <a:pt x="238" y="242"/>
                        </a:lnTo>
                        <a:lnTo>
                          <a:pt x="240" y="242"/>
                        </a:lnTo>
                        <a:lnTo>
                          <a:pt x="240" y="240"/>
                        </a:lnTo>
                        <a:lnTo>
                          <a:pt x="243" y="242"/>
                        </a:lnTo>
                        <a:lnTo>
                          <a:pt x="244" y="242"/>
                        </a:lnTo>
                        <a:lnTo>
                          <a:pt x="244" y="243"/>
                        </a:lnTo>
                        <a:lnTo>
                          <a:pt x="246" y="240"/>
                        </a:lnTo>
                        <a:lnTo>
                          <a:pt x="246" y="239"/>
                        </a:lnTo>
                        <a:lnTo>
                          <a:pt x="246" y="237"/>
                        </a:lnTo>
                        <a:lnTo>
                          <a:pt x="248" y="236"/>
                        </a:lnTo>
                        <a:lnTo>
                          <a:pt x="244" y="232"/>
                        </a:lnTo>
                        <a:lnTo>
                          <a:pt x="243" y="231"/>
                        </a:lnTo>
                        <a:lnTo>
                          <a:pt x="243" y="228"/>
                        </a:lnTo>
                        <a:lnTo>
                          <a:pt x="244" y="228"/>
                        </a:lnTo>
                        <a:lnTo>
                          <a:pt x="246" y="229"/>
                        </a:lnTo>
                        <a:lnTo>
                          <a:pt x="249" y="228"/>
                        </a:lnTo>
                        <a:lnTo>
                          <a:pt x="251" y="226"/>
                        </a:lnTo>
                        <a:lnTo>
                          <a:pt x="249" y="226"/>
                        </a:lnTo>
                        <a:lnTo>
                          <a:pt x="249" y="224"/>
                        </a:lnTo>
                        <a:lnTo>
                          <a:pt x="251" y="223"/>
                        </a:lnTo>
                        <a:lnTo>
                          <a:pt x="252" y="223"/>
                        </a:lnTo>
                        <a:lnTo>
                          <a:pt x="254" y="223"/>
                        </a:lnTo>
                        <a:lnTo>
                          <a:pt x="254" y="221"/>
                        </a:lnTo>
                        <a:lnTo>
                          <a:pt x="255" y="221"/>
                        </a:lnTo>
                        <a:lnTo>
                          <a:pt x="255" y="220"/>
                        </a:lnTo>
                        <a:lnTo>
                          <a:pt x="255" y="218"/>
                        </a:lnTo>
                        <a:lnTo>
                          <a:pt x="255" y="217"/>
                        </a:lnTo>
                        <a:lnTo>
                          <a:pt x="255" y="215"/>
                        </a:lnTo>
                        <a:lnTo>
                          <a:pt x="257" y="215"/>
                        </a:lnTo>
                        <a:lnTo>
                          <a:pt x="259" y="213"/>
                        </a:lnTo>
                        <a:lnTo>
                          <a:pt x="260" y="213"/>
                        </a:lnTo>
                        <a:lnTo>
                          <a:pt x="260" y="212"/>
                        </a:lnTo>
                        <a:lnTo>
                          <a:pt x="260" y="210"/>
                        </a:lnTo>
                        <a:lnTo>
                          <a:pt x="260" y="209"/>
                        </a:lnTo>
                        <a:lnTo>
                          <a:pt x="260" y="207"/>
                        </a:lnTo>
                        <a:lnTo>
                          <a:pt x="259" y="205"/>
                        </a:lnTo>
                        <a:lnTo>
                          <a:pt x="259" y="204"/>
                        </a:lnTo>
                        <a:lnTo>
                          <a:pt x="259" y="202"/>
                        </a:lnTo>
                        <a:lnTo>
                          <a:pt x="257" y="202"/>
                        </a:lnTo>
                        <a:lnTo>
                          <a:pt x="257" y="201"/>
                        </a:lnTo>
                        <a:lnTo>
                          <a:pt x="255" y="201"/>
                        </a:lnTo>
                        <a:lnTo>
                          <a:pt x="255" y="202"/>
                        </a:lnTo>
                        <a:lnTo>
                          <a:pt x="254" y="204"/>
                        </a:lnTo>
                        <a:lnTo>
                          <a:pt x="252" y="204"/>
                        </a:lnTo>
                        <a:lnTo>
                          <a:pt x="251" y="205"/>
                        </a:lnTo>
                        <a:lnTo>
                          <a:pt x="249" y="205"/>
                        </a:lnTo>
                        <a:lnTo>
                          <a:pt x="249" y="204"/>
                        </a:lnTo>
                        <a:lnTo>
                          <a:pt x="248" y="204"/>
                        </a:lnTo>
                        <a:lnTo>
                          <a:pt x="248" y="202"/>
                        </a:lnTo>
                        <a:lnTo>
                          <a:pt x="246" y="202"/>
                        </a:lnTo>
                        <a:lnTo>
                          <a:pt x="246" y="201"/>
                        </a:lnTo>
                        <a:lnTo>
                          <a:pt x="248" y="201"/>
                        </a:lnTo>
                        <a:lnTo>
                          <a:pt x="248" y="199"/>
                        </a:lnTo>
                        <a:lnTo>
                          <a:pt x="249" y="199"/>
                        </a:lnTo>
                        <a:lnTo>
                          <a:pt x="249" y="198"/>
                        </a:lnTo>
                        <a:lnTo>
                          <a:pt x="251" y="198"/>
                        </a:lnTo>
                        <a:lnTo>
                          <a:pt x="252" y="196"/>
                        </a:lnTo>
                        <a:lnTo>
                          <a:pt x="252" y="194"/>
                        </a:lnTo>
                        <a:lnTo>
                          <a:pt x="251" y="194"/>
                        </a:lnTo>
                        <a:lnTo>
                          <a:pt x="251" y="193"/>
                        </a:lnTo>
                        <a:lnTo>
                          <a:pt x="252" y="193"/>
                        </a:lnTo>
                        <a:lnTo>
                          <a:pt x="254" y="191"/>
                        </a:lnTo>
                        <a:lnTo>
                          <a:pt x="255" y="191"/>
                        </a:lnTo>
                        <a:lnTo>
                          <a:pt x="255" y="193"/>
                        </a:lnTo>
                        <a:lnTo>
                          <a:pt x="255" y="191"/>
                        </a:lnTo>
                        <a:lnTo>
                          <a:pt x="257" y="191"/>
                        </a:lnTo>
                        <a:lnTo>
                          <a:pt x="259" y="191"/>
                        </a:lnTo>
                        <a:lnTo>
                          <a:pt x="260" y="191"/>
                        </a:lnTo>
                        <a:lnTo>
                          <a:pt x="262" y="191"/>
                        </a:lnTo>
                        <a:lnTo>
                          <a:pt x="263" y="190"/>
                        </a:lnTo>
                        <a:lnTo>
                          <a:pt x="263" y="191"/>
                        </a:lnTo>
                        <a:lnTo>
                          <a:pt x="265" y="191"/>
                        </a:lnTo>
                        <a:lnTo>
                          <a:pt x="267" y="190"/>
                        </a:lnTo>
                        <a:lnTo>
                          <a:pt x="265" y="190"/>
                        </a:lnTo>
                        <a:lnTo>
                          <a:pt x="265" y="188"/>
                        </a:lnTo>
                        <a:lnTo>
                          <a:pt x="265" y="186"/>
                        </a:lnTo>
                        <a:lnTo>
                          <a:pt x="263" y="186"/>
                        </a:lnTo>
                        <a:lnTo>
                          <a:pt x="262" y="185"/>
                        </a:lnTo>
                        <a:lnTo>
                          <a:pt x="262" y="183"/>
                        </a:lnTo>
                        <a:lnTo>
                          <a:pt x="262" y="182"/>
                        </a:lnTo>
                        <a:lnTo>
                          <a:pt x="263" y="180"/>
                        </a:lnTo>
                        <a:lnTo>
                          <a:pt x="265" y="179"/>
                        </a:lnTo>
                        <a:lnTo>
                          <a:pt x="267" y="177"/>
                        </a:lnTo>
                        <a:lnTo>
                          <a:pt x="268" y="175"/>
                        </a:lnTo>
                        <a:lnTo>
                          <a:pt x="268" y="174"/>
                        </a:lnTo>
                        <a:lnTo>
                          <a:pt x="270" y="174"/>
                        </a:lnTo>
                        <a:lnTo>
                          <a:pt x="271" y="174"/>
                        </a:lnTo>
                        <a:lnTo>
                          <a:pt x="271" y="172"/>
                        </a:lnTo>
                        <a:lnTo>
                          <a:pt x="273" y="172"/>
                        </a:lnTo>
                        <a:lnTo>
                          <a:pt x="274" y="172"/>
                        </a:lnTo>
                        <a:lnTo>
                          <a:pt x="276" y="172"/>
                        </a:lnTo>
                        <a:lnTo>
                          <a:pt x="278" y="174"/>
                        </a:lnTo>
                        <a:lnTo>
                          <a:pt x="276" y="174"/>
                        </a:lnTo>
                        <a:lnTo>
                          <a:pt x="276" y="175"/>
                        </a:lnTo>
                        <a:lnTo>
                          <a:pt x="274" y="175"/>
                        </a:lnTo>
                        <a:lnTo>
                          <a:pt x="273" y="175"/>
                        </a:lnTo>
                        <a:lnTo>
                          <a:pt x="273" y="177"/>
                        </a:lnTo>
                        <a:lnTo>
                          <a:pt x="273" y="179"/>
                        </a:lnTo>
                        <a:lnTo>
                          <a:pt x="274" y="179"/>
                        </a:lnTo>
                        <a:lnTo>
                          <a:pt x="274" y="180"/>
                        </a:lnTo>
                        <a:lnTo>
                          <a:pt x="276" y="180"/>
                        </a:lnTo>
                        <a:lnTo>
                          <a:pt x="276" y="182"/>
                        </a:lnTo>
                        <a:lnTo>
                          <a:pt x="276" y="183"/>
                        </a:lnTo>
                        <a:lnTo>
                          <a:pt x="276" y="185"/>
                        </a:lnTo>
                        <a:lnTo>
                          <a:pt x="276" y="186"/>
                        </a:lnTo>
                        <a:lnTo>
                          <a:pt x="278" y="186"/>
                        </a:lnTo>
                        <a:lnTo>
                          <a:pt x="279" y="186"/>
                        </a:lnTo>
                        <a:lnTo>
                          <a:pt x="281" y="185"/>
                        </a:lnTo>
                        <a:lnTo>
                          <a:pt x="281" y="183"/>
                        </a:lnTo>
                        <a:lnTo>
                          <a:pt x="281" y="182"/>
                        </a:lnTo>
                        <a:lnTo>
                          <a:pt x="281" y="180"/>
                        </a:lnTo>
                        <a:lnTo>
                          <a:pt x="281" y="179"/>
                        </a:lnTo>
                        <a:lnTo>
                          <a:pt x="281" y="177"/>
                        </a:lnTo>
                        <a:lnTo>
                          <a:pt x="281" y="175"/>
                        </a:lnTo>
                        <a:lnTo>
                          <a:pt x="282" y="175"/>
                        </a:lnTo>
                        <a:lnTo>
                          <a:pt x="282" y="174"/>
                        </a:lnTo>
                        <a:lnTo>
                          <a:pt x="284" y="174"/>
                        </a:lnTo>
                        <a:lnTo>
                          <a:pt x="284" y="172"/>
                        </a:lnTo>
                        <a:lnTo>
                          <a:pt x="286" y="172"/>
                        </a:lnTo>
                        <a:lnTo>
                          <a:pt x="286" y="171"/>
                        </a:lnTo>
                        <a:lnTo>
                          <a:pt x="287" y="169"/>
                        </a:lnTo>
                        <a:lnTo>
                          <a:pt x="289" y="169"/>
                        </a:lnTo>
                        <a:lnTo>
                          <a:pt x="289" y="167"/>
                        </a:lnTo>
                        <a:lnTo>
                          <a:pt x="290" y="167"/>
                        </a:lnTo>
                        <a:lnTo>
                          <a:pt x="290" y="166"/>
                        </a:lnTo>
                        <a:lnTo>
                          <a:pt x="292" y="164"/>
                        </a:lnTo>
                        <a:lnTo>
                          <a:pt x="292" y="163"/>
                        </a:lnTo>
                        <a:lnTo>
                          <a:pt x="293" y="163"/>
                        </a:lnTo>
                        <a:lnTo>
                          <a:pt x="295" y="161"/>
                        </a:lnTo>
                        <a:lnTo>
                          <a:pt x="297" y="161"/>
                        </a:lnTo>
                        <a:lnTo>
                          <a:pt x="297" y="160"/>
                        </a:lnTo>
                        <a:lnTo>
                          <a:pt x="298" y="160"/>
                        </a:lnTo>
                        <a:lnTo>
                          <a:pt x="298" y="158"/>
                        </a:lnTo>
                        <a:lnTo>
                          <a:pt x="300" y="158"/>
                        </a:lnTo>
                        <a:lnTo>
                          <a:pt x="300" y="156"/>
                        </a:lnTo>
                        <a:lnTo>
                          <a:pt x="301" y="155"/>
                        </a:lnTo>
                        <a:lnTo>
                          <a:pt x="303" y="153"/>
                        </a:lnTo>
                        <a:lnTo>
                          <a:pt x="303" y="152"/>
                        </a:lnTo>
                        <a:lnTo>
                          <a:pt x="305" y="150"/>
                        </a:lnTo>
                        <a:lnTo>
                          <a:pt x="305" y="148"/>
                        </a:lnTo>
                        <a:lnTo>
                          <a:pt x="306" y="148"/>
                        </a:lnTo>
                        <a:lnTo>
                          <a:pt x="306" y="147"/>
                        </a:lnTo>
                        <a:lnTo>
                          <a:pt x="308" y="147"/>
                        </a:lnTo>
                        <a:lnTo>
                          <a:pt x="308" y="145"/>
                        </a:lnTo>
                        <a:lnTo>
                          <a:pt x="308" y="144"/>
                        </a:lnTo>
                        <a:lnTo>
                          <a:pt x="309" y="144"/>
                        </a:lnTo>
                        <a:lnTo>
                          <a:pt x="311" y="142"/>
                        </a:lnTo>
                        <a:lnTo>
                          <a:pt x="311" y="141"/>
                        </a:lnTo>
                        <a:lnTo>
                          <a:pt x="311" y="139"/>
                        </a:lnTo>
                        <a:lnTo>
                          <a:pt x="309" y="139"/>
                        </a:lnTo>
                        <a:lnTo>
                          <a:pt x="309" y="137"/>
                        </a:lnTo>
                        <a:lnTo>
                          <a:pt x="309" y="136"/>
                        </a:lnTo>
                        <a:lnTo>
                          <a:pt x="309" y="134"/>
                        </a:lnTo>
                        <a:lnTo>
                          <a:pt x="309" y="133"/>
                        </a:lnTo>
                        <a:lnTo>
                          <a:pt x="311" y="131"/>
                        </a:lnTo>
                        <a:lnTo>
                          <a:pt x="311" y="129"/>
                        </a:lnTo>
                        <a:lnTo>
                          <a:pt x="312" y="129"/>
                        </a:lnTo>
                        <a:lnTo>
                          <a:pt x="314" y="129"/>
                        </a:lnTo>
                        <a:lnTo>
                          <a:pt x="316" y="128"/>
                        </a:lnTo>
                        <a:lnTo>
                          <a:pt x="317" y="128"/>
                        </a:lnTo>
                        <a:lnTo>
                          <a:pt x="317" y="126"/>
                        </a:lnTo>
                        <a:lnTo>
                          <a:pt x="319" y="126"/>
                        </a:lnTo>
                        <a:lnTo>
                          <a:pt x="320" y="128"/>
                        </a:lnTo>
                        <a:lnTo>
                          <a:pt x="322" y="129"/>
                        </a:lnTo>
                        <a:lnTo>
                          <a:pt x="324" y="131"/>
                        </a:lnTo>
                        <a:lnTo>
                          <a:pt x="325" y="133"/>
                        </a:lnTo>
                        <a:lnTo>
                          <a:pt x="327" y="134"/>
                        </a:lnTo>
                        <a:lnTo>
                          <a:pt x="328" y="134"/>
                        </a:lnTo>
                        <a:lnTo>
                          <a:pt x="330" y="134"/>
                        </a:lnTo>
                        <a:lnTo>
                          <a:pt x="331" y="134"/>
                        </a:lnTo>
                        <a:lnTo>
                          <a:pt x="333" y="134"/>
                        </a:lnTo>
                        <a:lnTo>
                          <a:pt x="335" y="134"/>
                        </a:lnTo>
                        <a:lnTo>
                          <a:pt x="336" y="134"/>
                        </a:lnTo>
                        <a:lnTo>
                          <a:pt x="338" y="133"/>
                        </a:lnTo>
                        <a:lnTo>
                          <a:pt x="339" y="133"/>
                        </a:lnTo>
                        <a:lnTo>
                          <a:pt x="339" y="131"/>
                        </a:lnTo>
                        <a:lnTo>
                          <a:pt x="339" y="129"/>
                        </a:lnTo>
                        <a:lnTo>
                          <a:pt x="341" y="129"/>
                        </a:lnTo>
                        <a:lnTo>
                          <a:pt x="341" y="128"/>
                        </a:lnTo>
                        <a:lnTo>
                          <a:pt x="343" y="128"/>
                        </a:lnTo>
                        <a:lnTo>
                          <a:pt x="343" y="126"/>
                        </a:lnTo>
                        <a:lnTo>
                          <a:pt x="344" y="125"/>
                        </a:lnTo>
                        <a:lnTo>
                          <a:pt x="344" y="123"/>
                        </a:lnTo>
                        <a:lnTo>
                          <a:pt x="346" y="122"/>
                        </a:lnTo>
                        <a:lnTo>
                          <a:pt x="346" y="120"/>
                        </a:lnTo>
                        <a:lnTo>
                          <a:pt x="346" y="118"/>
                        </a:lnTo>
                        <a:lnTo>
                          <a:pt x="347" y="117"/>
                        </a:lnTo>
                        <a:lnTo>
                          <a:pt x="347" y="115"/>
                        </a:lnTo>
                        <a:lnTo>
                          <a:pt x="349" y="115"/>
                        </a:lnTo>
                        <a:lnTo>
                          <a:pt x="350" y="115"/>
                        </a:lnTo>
                        <a:lnTo>
                          <a:pt x="352" y="115"/>
                        </a:lnTo>
                        <a:lnTo>
                          <a:pt x="354" y="115"/>
                        </a:lnTo>
                        <a:lnTo>
                          <a:pt x="355" y="115"/>
                        </a:lnTo>
                        <a:lnTo>
                          <a:pt x="357" y="115"/>
                        </a:lnTo>
                        <a:lnTo>
                          <a:pt x="358" y="115"/>
                        </a:lnTo>
                        <a:lnTo>
                          <a:pt x="360" y="115"/>
                        </a:lnTo>
                        <a:lnTo>
                          <a:pt x="362" y="115"/>
                        </a:lnTo>
                        <a:lnTo>
                          <a:pt x="363" y="117"/>
                        </a:lnTo>
                        <a:lnTo>
                          <a:pt x="365" y="117"/>
                        </a:lnTo>
                        <a:lnTo>
                          <a:pt x="366" y="117"/>
                        </a:lnTo>
                        <a:lnTo>
                          <a:pt x="368" y="117"/>
                        </a:lnTo>
                        <a:lnTo>
                          <a:pt x="368" y="115"/>
                        </a:lnTo>
                        <a:lnTo>
                          <a:pt x="369" y="115"/>
                        </a:lnTo>
                        <a:lnTo>
                          <a:pt x="371" y="115"/>
                        </a:lnTo>
                        <a:lnTo>
                          <a:pt x="373" y="115"/>
                        </a:lnTo>
                        <a:lnTo>
                          <a:pt x="373" y="114"/>
                        </a:lnTo>
                        <a:lnTo>
                          <a:pt x="374" y="114"/>
                        </a:lnTo>
                        <a:lnTo>
                          <a:pt x="376" y="114"/>
                        </a:lnTo>
                        <a:lnTo>
                          <a:pt x="377" y="112"/>
                        </a:lnTo>
                        <a:lnTo>
                          <a:pt x="379" y="112"/>
                        </a:lnTo>
                        <a:lnTo>
                          <a:pt x="381" y="112"/>
                        </a:lnTo>
                        <a:lnTo>
                          <a:pt x="381" y="110"/>
                        </a:lnTo>
                        <a:lnTo>
                          <a:pt x="382" y="110"/>
                        </a:lnTo>
                        <a:lnTo>
                          <a:pt x="384" y="109"/>
                        </a:lnTo>
                        <a:lnTo>
                          <a:pt x="385" y="107"/>
                        </a:lnTo>
                        <a:lnTo>
                          <a:pt x="387" y="107"/>
                        </a:lnTo>
                        <a:lnTo>
                          <a:pt x="388" y="106"/>
                        </a:lnTo>
                        <a:lnTo>
                          <a:pt x="390" y="104"/>
                        </a:lnTo>
                        <a:lnTo>
                          <a:pt x="392" y="103"/>
                        </a:lnTo>
                        <a:lnTo>
                          <a:pt x="393" y="103"/>
                        </a:lnTo>
                        <a:lnTo>
                          <a:pt x="393" y="101"/>
                        </a:lnTo>
                        <a:lnTo>
                          <a:pt x="395" y="99"/>
                        </a:lnTo>
                        <a:lnTo>
                          <a:pt x="396" y="99"/>
                        </a:lnTo>
                        <a:lnTo>
                          <a:pt x="396" y="98"/>
                        </a:lnTo>
                        <a:lnTo>
                          <a:pt x="396" y="96"/>
                        </a:lnTo>
                        <a:lnTo>
                          <a:pt x="398" y="96"/>
                        </a:lnTo>
                        <a:lnTo>
                          <a:pt x="398" y="95"/>
                        </a:lnTo>
                        <a:lnTo>
                          <a:pt x="398" y="93"/>
                        </a:lnTo>
                        <a:lnTo>
                          <a:pt x="400" y="93"/>
                        </a:lnTo>
                        <a:lnTo>
                          <a:pt x="400" y="91"/>
                        </a:lnTo>
                        <a:lnTo>
                          <a:pt x="401" y="91"/>
                        </a:lnTo>
                        <a:lnTo>
                          <a:pt x="401" y="90"/>
                        </a:lnTo>
                        <a:lnTo>
                          <a:pt x="403" y="90"/>
                        </a:lnTo>
                        <a:lnTo>
                          <a:pt x="404" y="90"/>
                        </a:lnTo>
                        <a:lnTo>
                          <a:pt x="406" y="90"/>
                        </a:lnTo>
                        <a:lnTo>
                          <a:pt x="408" y="91"/>
                        </a:lnTo>
                        <a:lnTo>
                          <a:pt x="409" y="93"/>
                        </a:lnTo>
                        <a:lnTo>
                          <a:pt x="411" y="93"/>
                        </a:lnTo>
                        <a:lnTo>
                          <a:pt x="411" y="95"/>
                        </a:lnTo>
                        <a:lnTo>
                          <a:pt x="412" y="95"/>
                        </a:lnTo>
                        <a:lnTo>
                          <a:pt x="414" y="95"/>
                        </a:lnTo>
                        <a:lnTo>
                          <a:pt x="414" y="96"/>
                        </a:lnTo>
                        <a:lnTo>
                          <a:pt x="415" y="96"/>
                        </a:lnTo>
                        <a:lnTo>
                          <a:pt x="415" y="98"/>
                        </a:lnTo>
                        <a:lnTo>
                          <a:pt x="417" y="98"/>
                        </a:lnTo>
                        <a:lnTo>
                          <a:pt x="419" y="98"/>
                        </a:lnTo>
                        <a:lnTo>
                          <a:pt x="419" y="99"/>
                        </a:lnTo>
                        <a:lnTo>
                          <a:pt x="417" y="99"/>
                        </a:lnTo>
                        <a:lnTo>
                          <a:pt x="417" y="101"/>
                        </a:lnTo>
                        <a:lnTo>
                          <a:pt x="417" y="103"/>
                        </a:lnTo>
                        <a:lnTo>
                          <a:pt x="419" y="103"/>
                        </a:lnTo>
                        <a:lnTo>
                          <a:pt x="420" y="104"/>
                        </a:lnTo>
                        <a:lnTo>
                          <a:pt x="420" y="106"/>
                        </a:lnTo>
                        <a:lnTo>
                          <a:pt x="422" y="107"/>
                        </a:lnTo>
                        <a:lnTo>
                          <a:pt x="423" y="107"/>
                        </a:lnTo>
                        <a:lnTo>
                          <a:pt x="425" y="107"/>
                        </a:lnTo>
                        <a:lnTo>
                          <a:pt x="425" y="109"/>
                        </a:lnTo>
                        <a:lnTo>
                          <a:pt x="427" y="109"/>
                        </a:lnTo>
                        <a:lnTo>
                          <a:pt x="427" y="107"/>
                        </a:lnTo>
                        <a:lnTo>
                          <a:pt x="427" y="106"/>
                        </a:lnTo>
                        <a:lnTo>
                          <a:pt x="428" y="104"/>
                        </a:lnTo>
                        <a:lnTo>
                          <a:pt x="430" y="104"/>
                        </a:lnTo>
                        <a:lnTo>
                          <a:pt x="430" y="103"/>
                        </a:lnTo>
                        <a:lnTo>
                          <a:pt x="430" y="101"/>
                        </a:lnTo>
                        <a:lnTo>
                          <a:pt x="431" y="101"/>
                        </a:lnTo>
                        <a:lnTo>
                          <a:pt x="433" y="101"/>
                        </a:lnTo>
                        <a:lnTo>
                          <a:pt x="434" y="101"/>
                        </a:lnTo>
                        <a:lnTo>
                          <a:pt x="436" y="101"/>
                        </a:lnTo>
                        <a:lnTo>
                          <a:pt x="438" y="101"/>
                        </a:lnTo>
                        <a:lnTo>
                          <a:pt x="438" y="103"/>
                        </a:lnTo>
                        <a:lnTo>
                          <a:pt x="439" y="103"/>
                        </a:lnTo>
                        <a:lnTo>
                          <a:pt x="439" y="101"/>
                        </a:lnTo>
                        <a:lnTo>
                          <a:pt x="438" y="99"/>
                        </a:lnTo>
                        <a:lnTo>
                          <a:pt x="439" y="98"/>
                        </a:lnTo>
                        <a:lnTo>
                          <a:pt x="439" y="96"/>
                        </a:lnTo>
                        <a:lnTo>
                          <a:pt x="439" y="95"/>
                        </a:lnTo>
                        <a:lnTo>
                          <a:pt x="441" y="91"/>
                        </a:lnTo>
                        <a:lnTo>
                          <a:pt x="439" y="91"/>
                        </a:lnTo>
                        <a:lnTo>
                          <a:pt x="441" y="90"/>
                        </a:lnTo>
                        <a:lnTo>
                          <a:pt x="441" y="88"/>
                        </a:lnTo>
                        <a:lnTo>
                          <a:pt x="441" y="87"/>
                        </a:lnTo>
                        <a:lnTo>
                          <a:pt x="439" y="85"/>
                        </a:lnTo>
                        <a:lnTo>
                          <a:pt x="439" y="83"/>
                        </a:lnTo>
                        <a:lnTo>
                          <a:pt x="439" y="82"/>
                        </a:lnTo>
                        <a:lnTo>
                          <a:pt x="438" y="80"/>
                        </a:lnTo>
                        <a:lnTo>
                          <a:pt x="438" y="79"/>
                        </a:lnTo>
                        <a:lnTo>
                          <a:pt x="438" y="77"/>
                        </a:lnTo>
                        <a:lnTo>
                          <a:pt x="438" y="76"/>
                        </a:lnTo>
                        <a:lnTo>
                          <a:pt x="438" y="74"/>
                        </a:lnTo>
                        <a:lnTo>
                          <a:pt x="438" y="72"/>
                        </a:lnTo>
                        <a:lnTo>
                          <a:pt x="439" y="71"/>
                        </a:lnTo>
                        <a:lnTo>
                          <a:pt x="439" y="69"/>
                        </a:lnTo>
                        <a:lnTo>
                          <a:pt x="439" y="68"/>
                        </a:lnTo>
                        <a:lnTo>
                          <a:pt x="441" y="68"/>
                        </a:lnTo>
                        <a:lnTo>
                          <a:pt x="441" y="66"/>
                        </a:lnTo>
                        <a:lnTo>
                          <a:pt x="441" y="64"/>
                        </a:lnTo>
                        <a:lnTo>
                          <a:pt x="442" y="64"/>
                        </a:lnTo>
                        <a:lnTo>
                          <a:pt x="442" y="63"/>
                        </a:lnTo>
                        <a:lnTo>
                          <a:pt x="444" y="63"/>
                        </a:lnTo>
                        <a:lnTo>
                          <a:pt x="444" y="61"/>
                        </a:lnTo>
                        <a:lnTo>
                          <a:pt x="450" y="57"/>
                        </a:lnTo>
                        <a:lnTo>
                          <a:pt x="452" y="55"/>
                        </a:lnTo>
                        <a:lnTo>
                          <a:pt x="453" y="53"/>
                        </a:lnTo>
                        <a:lnTo>
                          <a:pt x="455" y="52"/>
                        </a:lnTo>
                        <a:lnTo>
                          <a:pt x="457" y="52"/>
                        </a:lnTo>
                        <a:lnTo>
                          <a:pt x="457" y="50"/>
                        </a:lnTo>
                        <a:lnTo>
                          <a:pt x="458" y="50"/>
                        </a:lnTo>
                        <a:lnTo>
                          <a:pt x="458" y="49"/>
                        </a:lnTo>
                        <a:lnTo>
                          <a:pt x="460" y="49"/>
                        </a:lnTo>
                        <a:lnTo>
                          <a:pt x="460" y="47"/>
                        </a:lnTo>
                        <a:lnTo>
                          <a:pt x="461" y="47"/>
                        </a:lnTo>
                        <a:lnTo>
                          <a:pt x="461" y="45"/>
                        </a:lnTo>
                        <a:lnTo>
                          <a:pt x="463" y="45"/>
                        </a:lnTo>
                        <a:lnTo>
                          <a:pt x="463" y="44"/>
                        </a:lnTo>
                        <a:lnTo>
                          <a:pt x="465" y="42"/>
                        </a:lnTo>
                        <a:lnTo>
                          <a:pt x="466" y="41"/>
                        </a:lnTo>
                        <a:lnTo>
                          <a:pt x="466" y="39"/>
                        </a:lnTo>
                        <a:lnTo>
                          <a:pt x="466" y="38"/>
                        </a:lnTo>
                        <a:lnTo>
                          <a:pt x="468" y="38"/>
                        </a:lnTo>
                        <a:lnTo>
                          <a:pt x="468" y="36"/>
                        </a:lnTo>
                        <a:lnTo>
                          <a:pt x="468" y="34"/>
                        </a:lnTo>
                        <a:lnTo>
                          <a:pt x="469" y="34"/>
                        </a:lnTo>
                        <a:lnTo>
                          <a:pt x="469" y="33"/>
                        </a:lnTo>
                        <a:lnTo>
                          <a:pt x="469" y="31"/>
                        </a:lnTo>
                        <a:lnTo>
                          <a:pt x="471" y="31"/>
                        </a:lnTo>
                        <a:lnTo>
                          <a:pt x="471" y="30"/>
                        </a:lnTo>
                        <a:lnTo>
                          <a:pt x="472" y="28"/>
                        </a:lnTo>
                        <a:lnTo>
                          <a:pt x="472" y="26"/>
                        </a:lnTo>
                        <a:lnTo>
                          <a:pt x="474" y="25"/>
                        </a:lnTo>
                        <a:lnTo>
                          <a:pt x="476" y="23"/>
                        </a:lnTo>
                        <a:lnTo>
                          <a:pt x="476" y="22"/>
                        </a:lnTo>
                        <a:lnTo>
                          <a:pt x="477" y="20"/>
                        </a:lnTo>
                        <a:lnTo>
                          <a:pt x="477" y="19"/>
                        </a:lnTo>
                        <a:lnTo>
                          <a:pt x="479" y="17"/>
                        </a:lnTo>
                        <a:lnTo>
                          <a:pt x="479" y="15"/>
                        </a:lnTo>
                        <a:lnTo>
                          <a:pt x="480" y="15"/>
                        </a:lnTo>
                        <a:lnTo>
                          <a:pt x="480" y="14"/>
                        </a:lnTo>
                        <a:lnTo>
                          <a:pt x="482" y="14"/>
                        </a:lnTo>
                        <a:lnTo>
                          <a:pt x="484" y="12"/>
                        </a:lnTo>
                        <a:lnTo>
                          <a:pt x="485" y="11"/>
                        </a:lnTo>
                        <a:lnTo>
                          <a:pt x="487" y="11"/>
                        </a:lnTo>
                        <a:lnTo>
                          <a:pt x="488" y="11"/>
                        </a:lnTo>
                        <a:lnTo>
                          <a:pt x="490" y="11"/>
                        </a:lnTo>
                        <a:lnTo>
                          <a:pt x="490" y="9"/>
                        </a:lnTo>
                        <a:lnTo>
                          <a:pt x="491" y="9"/>
                        </a:lnTo>
                        <a:lnTo>
                          <a:pt x="493" y="9"/>
                        </a:lnTo>
                        <a:lnTo>
                          <a:pt x="495" y="7"/>
                        </a:lnTo>
                        <a:lnTo>
                          <a:pt x="496" y="7"/>
                        </a:lnTo>
                        <a:lnTo>
                          <a:pt x="498" y="7"/>
                        </a:lnTo>
                        <a:lnTo>
                          <a:pt x="499" y="7"/>
                        </a:lnTo>
                        <a:lnTo>
                          <a:pt x="501" y="6"/>
                        </a:lnTo>
                        <a:lnTo>
                          <a:pt x="503" y="6"/>
                        </a:lnTo>
                        <a:lnTo>
                          <a:pt x="504" y="7"/>
                        </a:lnTo>
                        <a:lnTo>
                          <a:pt x="506" y="7"/>
                        </a:lnTo>
                        <a:lnTo>
                          <a:pt x="507" y="7"/>
                        </a:lnTo>
                        <a:lnTo>
                          <a:pt x="509" y="7"/>
                        </a:lnTo>
                        <a:lnTo>
                          <a:pt x="510" y="7"/>
                        </a:lnTo>
                        <a:lnTo>
                          <a:pt x="512" y="7"/>
                        </a:lnTo>
                        <a:lnTo>
                          <a:pt x="514" y="7"/>
                        </a:lnTo>
                        <a:lnTo>
                          <a:pt x="515" y="7"/>
                        </a:lnTo>
                        <a:lnTo>
                          <a:pt x="517" y="7"/>
                        </a:lnTo>
                        <a:lnTo>
                          <a:pt x="518" y="6"/>
                        </a:lnTo>
                        <a:lnTo>
                          <a:pt x="520" y="6"/>
                        </a:lnTo>
                        <a:lnTo>
                          <a:pt x="520" y="4"/>
                        </a:lnTo>
                        <a:lnTo>
                          <a:pt x="522" y="4"/>
                        </a:lnTo>
                        <a:lnTo>
                          <a:pt x="523" y="3"/>
                        </a:lnTo>
                        <a:lnTo>
                          <a:pt x="525" y="3"/>
                        </a:lnTo>
                        <a:lnTo>
                          <a:pt x="526" y="1"/>
                        </a:lnTo>
                        <a:lnTo>
                          <a:pt x="528" y="0"/>
                        </a:lnTo>
                        <a:lnTo>
                          <a:pt x="528" y="1"/>
                        </a:lnTo>
                        <a:lnTo>
                          <a:pt x="529" y="1"/>
                        </a:lnTo>
                        <a:lnTo>
                          <a:pt x="531" y="3"/>
                        </a:lnTo>
                        <a:lnTo>
                          <a:pt x="533" y="3"/>
                        </a:lnTo>
                        <a:lnTo>
                          <a:pt x="533" y="4"/>
                        </a:lnTo>
                        <a:lnTo>
                          <a:pt x="534" y="4"/>
                        </a:lnTo>
                        <a:lnTo>
                          <a:pt x="534" y="6"/>
                        </a:lnTo>
                        <a:lnTo>
                          <a:pt x="536" y="6"/>
                        </a:lnTo>
                        <a:close/>
                      </a:path>
                    </a:pathLst>
                  </a:custGeom>
                  <a:solidFill>
                    <a:srgbClr val="E1E1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74" name="Freeform 73"/>
                  <p:cNvSpPr>
                    <a:spLocks/>
                  </p:cNvSpPr>
                  <p:nvPr/>
                </p:nvSpPr>
                <p:spPr bwMode="auto">
                  <a:xfrm>
                    <a:off x="2571" y="2927"/>
                    <a:ext cx="861" cy="1208"/>
                  </a:xfrm>
                  <a:custGeom>
                    <a:avLst/>
                    <a:gdLst>
                      <a:gd name="T0" fmla="*/ 548 w 861"/>
                      <a:gd name="T1" fmla="*/ 19 h 1208"/>
                      <a:gd name="T2" fmla="*/ 572 w 861"/>
                      <a:gd name="T3" fmla="*/ 12 h 1208"/>
                      <a:gd name="T4" fmla="*/ 594 w 861"/>
                      <a:gd name="T5" fmla="*/ 1 h 1208"/>
                      <a:gd name="T6" fmla="*/ 617 w 861"/>
                      <a:gd name="T7" fmla="*/ 3 h 1208"/>
                      <a:gd name="T8" fmla="*/ 664 w 861"/>
                      <a:gd name="T9" fmla="*/ 27 h 1208"/>
                      <a:gd name="T10" fmla="*/ 704 w 861"/>
                      <a:gd name="T11" fmla="*/ 41 h 1208"/>
                      <a:gd name="T12" fmla="*/ 691 w 861"/>
                      <a:gd name="T13" fmla="*/ 63 h 1208"/>
                      <a:gd name="T14" fmla="*/ 715 w 861"/>
                      <a:gd name="T15" fmla="*/ 73 h 1208"/>
                      <a:gd name="T16" fmla="*/ 742 w 861"/>
                      <a:gd name="T17" fmla="*/ 87 h 1208"/>
                      <a:gd name="T18" fmla="*/ 746 w 861"/>
                      <a:gd name="T19" fmla="*/ 126 h 1208"/>
                      <a:gd name="T20" fmla="*/ 783 w 861"/>
                      <a:gd name="T21" fmla="*/ 117 h 1208"/>
                      <a:gd name="T22" fmla="*/ 811 w 861"/>
                      <a:gd name="T23" fmla="*/ 106 h 1208"/>
                      <a:gd name="T24" fmla="*/ 853 w 861"/>
                      <a:gd name="T25" fmla="*/ 142 h 1208"/>
                      <a:gd name="T26" fmla="*/ 853 w 861"/>
                      <a:gd name="T27" fmla="*/ 185 h 1208"/>
                      <a:gd name="T28" fmla="*/ 815 w 861"/>
                      <a:gd name="T29" fmla="*/ 196 h 1208"/>
                      <a:gd name="T30" fmla="*/ 775 w 861"/>
                      <a:gd name="T31" fmla="*/ 226 h 1208"/>
                      <a:gd name="T32" fmla="*/ 713 w 861"/>
                      <a:gd name="T33" fmla="*/ 247 h 1208"/>
                      <a:gd name="T34" fmla="*/ 699 w 861"/>
                      <a:gd name="T35" fmla="*/ 298 h 1208"/>
                      <a:gd name="T36" fmla="*/ 680 w 861"/>
                      <a:gd name="T37" fmla="*/ 367 h 1208"/>
                      <a:gd name="T38" fmla="*/ 658 w 861"/>
                      <a:gd name="T39" fmla="*/ 407 h 1208"/>
                      <a:gd name="T40" fmla="*/ 663 w 861"/>
                      <a:gd name="T41" fmla="*/ 480 h 1208"/>
                      <a:gd name="T42" fmla="*/ 701 w 861"/>
                      <a:gd name="T43" fmla="*/ 565 h 1208"/>
                      <a:gd name="T44" fmla="*/ 729 w 861"/>
                      <a:gd name="T45" fmla="*/ 597 h 1208"/>
                      <a:gd name="T46" fmla="*/ 724 w 861"/>
                      <a:gd name="T47" fmla="*/ 665 h 1208"/>
                      <a:gd name="T48" fmla="*/ 742 w 861"/>
                      <a:gd name="T49" fmla="*/ 743 h 1208"/>
                      <a:gd name="T50" fmla="*/ 770 w 861"/>
                      <a:gd name="T51" fmla="*/ 873 h 1208"/>
                      <a:gd name="T52" fmla="*/ 780 w 861"/>
                      <a:gd name="T53" fmla="*/ 947 h 1208"/>
                      <a:gd name="T54" fmla="*/ 745 w 861"/>
                      <a:gd name="T55" fmla="*/ 1010 h 1208"/>
                      <a:gd name="T56" fmla="*/ 754 w 861"/>
                      <a:gd name="T57" fmla="*/ 1088 h 1208"/>
                      <a:gd name="T58" fmla="*/ 804 w 861"/>
                      <a:gd name="T59" fmla="*/ 1158 h 1208"/>
                      <a:gd name="T60" fmla="*/ 712 w 861"/>
                      <a:gd name="T61" fmla="*/ 1166 h 1208"/>
                      <a:gd name="T62" fmla="*/ 626 w 861"/>
                      <a:gd name="T63" fmla="*/ 1028 h 1208"/>
                      <a:gd name="T64" fmla="*/ 563 w 861"/>
                      <a:gd name="T65" fmla="*/ 990 h 1208"/>
                      <a:gd name="T66" fmla="*/ 503 w 861"/>
                      <a:gd name="T67" fmla="*/ 936 h 1208"/>
                      <a:gd name="T68" fmla="*/ 485 w 861"/>
                      <a:gd name="T69" fmla="*/ 888 h 1208"/>
                      <a:gd name="T70" fmla="*/ 444 w 861"/>
                      <a:gd name="T71" fmla="*/ 931 h 1208"/>
                      <a:gd name="T72" fmla="*/ 411 w 861"/>
                      <a:gd name="T73" fmla="*/ 904 h 1208"/>
                      <a:gd name="T74" fmla="*/ 317 w 861"/>
                      <a:gd name="T75" fmla="*/ 887 h 1208"/>
                      <a:gd name="T76" fmla="*/ 235 w 861"/>
                      <a:gd name="T77" fmla="*/ 876 h 1208"/>
                      <a:gd name="T78" fmla="*/ 149 w 861"/>
                      <a:gd name="T79" fmla="*/ 884 h 1208"/>
                      <a:gd name="T80" fmla="*/ 65 w 861"/>
                      <a:gd name="T81" fmla="*/ 898 h 1208"/>
                      <a:gd name="T82" fmla="*/ 62 w 861"/>
                      <a:gd name="T83" fmla="*/ 869 h 1208"/>
                      <a:gd name="T84" fmla="*/ 35 w 861"/>
                      <a:gd name="T85" fmla="*/ 849 h 1208"/>
                      <a:gd name="T86" fmla="*/ 10 w 861"/>
                      <a:gd name="T87" fmla="*/ 823 h 1208"/>
                      <a:gd name="T88" fmla="*/ 15 w 861"/>
                      <a:gd name="T89" fmla="*/ 776 h 1208"/>
                      <a:gd name="T90" fmla="*/ 46 w 861"/>
                      <a:gd name="T91" fmla="*/ 773 h 1208"/>
                      <a:gd name="T92" fmla="*/ 80 w 861"/>
                      <a:gd name="T93" fmla="*/ 776 h 1208"/>
                      <a:gd name="T94" fmla="*/ 126 w 861"/>
                      <a:gd name="T95" fmla="*/ 757 h 1208"/>
                      <a:gd name="T96" fmla="*/ 149 w 861"/>
                      <a:gd name="T97" fmla="*/ 709 h 1208"/>
                      <a:gd name="T98" fmla="*/ 160 w 861"/>
                      <a:gd name="T99" fmla="*/ 681 h 1208"/>
                      <a:gd name="T100" fmla="*/ 149 w 861"/>
                      <a:gd name="T101" fmla="*/ 651 h 1208"/>
                      <a:gd name="T102" fmla="*/ 138 w 861"/>
                      <a:gd name="T103" fmla="*/ 622 h 1208"/>
                      <a:gd name="T104" fmla="*/ 178 w 861"/>
                      <a:gd name="T105" fmla="*/ 565 h 1208"/>
                      <a:gd name="T106" fmla="*/ 192 w 861"/>
                      <a:gd name="T107" fmla="*/ 524 h 1208"/>
                      <a:gd name="T108" fmla="*/ 186 w 861"/>
                      <a:gd name="T109" fmla="*/ 499 h 1208"/>
                      <a:gd name="T110" fmla="*/ 183 w 861"/>
                      <a:gd name="T111" fmla="*/ 469 h 1208"/>
                      <a:gd name="T112" fmla="*/ 178 w 861"/>
                      <a:gd name="T113" fmla="*/ 429 h 1208"/>
                      <a:gd name="T114" fmla="*/ 157 w 861"/>
                      <a:gd name="T115" fmla="*/ 412 h 1208"/>
                      <a:gd name="T116" fmla="*/ 137 w 861"/>
                      <a:gd name="T117" fmla="*/ 378 h 1208"/>
                      <a:gd name="T118" fmla="*/ 170 w 861"/>
                      <a:gd name="T119" fmla="*/ 378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61" h="1208">
                        <a:moveTo>
                          <a:pt x="536" y="3"/>
                        </a:moveTo>
                        <a:lnTo>
                          <a:pt x="536" y="4"/>
                        </a:lnTo>
                        <a:lnTo>
                          <a:pt x="537" y="6"/>
                        </a:lnTo>
                        <a:lnTo>
                          <a:pt x="539" y="6"/>
                        </a:lnTo>
                        <a:lnTo>
                          <a:pt x="539" y="8"/>
                        </a:lnTo>
                        <a:lnTo>
                          <a:pt x="541" y="8"/>
                        </a:lnTo>
                        <a:lnTo>
                          <a:pt x="541" y="9"/>
                        </a:lnTo>
                        <a:lnTo>
                          <a:pt x="542" y="9"/>
                        </a:lnTo>
                        <a:lnTo>
                          <a:pt x="542" y="11"/>
                        </a:lnTo>
                        <a:lnTo>
                          <a:pt x="542" y="12"/>
                        </a:lnTo>
                        <a:lnTo>
                          <a:pt x="544" y="12"/>
                        </a:lnTo>
                        <a:lnTo>
                          <a:pt x="544" y="14"/>
                        </a:lnTo>
                        <a:lnTo>
                          <a:pt x="545" y="16"/>
                        </a:lnTo>
                        <a:lnTo>
                          <a:pt x="545" y="17"/>
                        </a:lnTo>
                        <a:lnTo>
                          <a:pt x="547" y="17"/>
                        </a:lnTo>
                        <a:lnTo>
                          <a:pt x="547" y="19"/>
                        </a:lnTo>
                        <a:lnTo>
                          <a:pt x="548" y="19"/>
                        </a:lnTo>
                        <a:lnTo>
                          <a:pt x="550" y="19"/>
                        </a:lnTo>
                        <a:lnTo>
                          <a:pt x="550" y="17"/>
                        </a:lnTo>
                        <a:lnTo>
                          <a:pt x="552" y="17"/>
                        </a:lnTo>
                        <a:lnTo>
                          <a:pt x="552" y="16"/>
                        </a:lnTo>
                        <a:lnTo>
                          <a:pt x="553" y="16"/>
                        </a:lnTo>
                        <a:lnTo>
                          <a:pt x="555" y="16"/>
                        </a:lnTo>
                        <a:lnTo>
                          <a:pt x="556" y="16"/>
                        </a:lnTo>
                        <a:lnTo>
                          <a:pt x="558" y="14"/>
                        </a:lnTo>
                        <a:lnTo>
                          <a:pt x="560" y="14"/>
                        </a:lnTo>
                        <a:lnTo>
                          <a:pt x="561" y="12"/>
                        </a:lnTo>
                        <a:lnTo>
                          <a:pt x="563" y="12"/>
                        </a:lnTo>
                        <a:lnTo>
                          <a:pt x="564" y="12"/>
                        </a:lnTo>
                        <a:lnTo>
                          <a:pt x="566" y="12"/>
                        </a:lnTo>
                        <a:lnTo>
                          <a:pt x="567" y="12"/>
                        </a:lnTo>
                        <a:lnTo>
                          <a:pt x="569" y="12"/>
                        </a:lnTo>
                        <a:lnTo>
                          <a:pt x="571" y="12"/>
                        </a:lnTo>
                        <a:lnTo>
                          <a:pt x="572" y="12"/>
                        </a:lnTo>
                        <a:lnTo>
                          <a:pt x="574" y="12"/>
                        </a:lnTo>
                        <a:lnTo>
                          <a:pt x="575" y="12"/>
                        </a:lnTo>
                        <a:lnTo>
                          <a:pt x="577" y="12"/>
                        </a:lnTo>
                        <a:lnTo>
                          <a:pt x="579" y="11"/>
                        </a:lnTo>
                        <a:lnTo>
                          <a:pt x="580" y="11"/>
                        </a:lnTo>
                        <a:lnTo>
                          <a:pt x="582" y="11"/>
                        </a:lnTo>
                        <a:lnTo>
                          <a:pt x="583" y="11"/>
                        </a:lnTo>
                        <a:lnTo>
                          <a:pt x="583" y="9"/>
                        </a:lnTo>
                        <a:lnTo>
                          <a:pt x="585" y="9"/>
                        </a:lnTo>
                        <a:lnTo>
                          <a:pt x="585" y="8"/>
                        </a:lnTo>
                        <a:lnTo>
                          <a:pt x="586" y="6"/>
                        </a:lnTo>
                        <a:lnTo>
                          <a:pt x="588" y="4"/>
                        </a:lnTo>
                        <a:lnTo>
                          <a:pt x="590" y="4"/>
                        </a:lnTo>
                        <a:lnTo>
                          <a:pt x="590" y="3"/>
                        </a:lnTo>
                        <a:lnTo>
                          <a:pt x="591" y="3"/>
                        </a:lnTo>
                        <a:lnTo>
                          <a:pt x="593" y="1"/>
                        </a:lnTo>
                        <a:lnTo>
                          <a:pt x="594" y="1"/>
                        </a:lnTo>
                        <a:lnTo>
                          <a:pt x="596" y="0"/>
                        </a:lnTo>
                        <a:lnTo>
                          <a:pt x="598" y="0"/>
                        </a:lnTo>
                        <a:lnTo>
                          <a:pt x="599" y="0"/>
                        </a:lnTo>
                        <a:lnTo>
                          <a:pt x="601" y="0"/>
                        </a:lnTo>
                        <a:lnTo>
                          <a:pt x="602" y="0"/>
                        </a:lnTo>
                        <a:lnTo>
                          <a:pt x="604" y="0"/>
                        </a:lnTo>
                        <a:lnTo>
                          <a:pt x="606" y="0"/>
                        </a:lnTo>
                        <a:lnTo>
                          <a:pt x="607" y="1"/>
                        </a:lnTo>
                        <a:lnTo>
                          <a:pt x="609" y="1"/>
                        </a:lnTo>
                        <a:lnTo>
                          <a:pt x="610" y="1"/>
                        </a:lnTo>
                        <a:lnTo>
                          <a:pt x="612" y="1"/>
                        </a:lnTo>
                        <a:lnTo>
                          <a:pt x="613" y="1"/>
                        </a:lnTo>
                        <a:lnTo>
                          <a:pt x="613" y="3"/>
                        </a:lnTo>
                        <a:lnTo>
                          <a:pt x="615" y="3"/>
                        </a:lnTo>
                        <a:lnTo>
                          <a:pt x="617" y="3"/>
                        </a:lnTo>
                        <a:lnTo>
                          <a:pt x="617" y="4"/>
                        </a:lnTo>
                        <a:lnTo>
                          <a:pt x="617" y="3"/>
                        </a:lnTo>
                        <a:lnTo>
                          <a:pt x="620" y="4"/>
                        </a:lnTo>
                        <a:lnTo>
                          <a:pt x="621" y="6"/>
                        </a:lnTo>
                        <a:lnTo>
                          <a:pt x="623" y="8"/>
                        </a:lnTo>
                        <a:lnTo>
                          <a:pt x="626" y="9"/>
                        </a:lnTo>
                        <a:lnTo>
                          <a:pt x="628" y="11"/>
                        </a:lnTo>
                        <a:lnTo>
                          <a:pt x="632" y="12"/>
                        </a:lnTo>
                        <a:lnTo>
                          <a:pt x="637" y="14"/>
                        </a:lnTo>
                        <a:lnTo>
                          <a:pt x="642" y="16"/>
                        </a:lnTo>
                        <a:lnTo>
                          <a:pt x="648" y="19"/>
                        </a:lnTo>
                        <a:lnTo>
                          <a:pt x="650" y="20"/>
                        </a:lnTo>
                        <a:lnTo>
                          <a:pt x="651" y="20"/>
                        </a:lnTo>
                        <a:lnTo>
                          <a:pt x="653" y="22"/>
                        </a:lnTo>
                        <a:lnTo>
                          <a:pt x="656" y="23"/>
                        </a:lnTo>
                        <a:lnTo>
                          <a:pt x="659" y="23"/>
                        </a:lnTo>
                        <a:lnTo>
                          <a:pt x="661" y="23"/>
                        </a:lnTo>
                        <a:lnTo>
                          <a:pt x="661" y="25"/>
                        </a:lnTo>
                        <a:lnTo>
                          <a:pt x="664" y="27"/>
                        </a:lnTo>
                        <a:lnTo>
                          <a:pt x="666" y="27"/>
                        </a:lnTo>
                        <a:lnTo>
                          <a:pt x="667" y="28"/>
                        </a:lnTo>
                        <a:lnTo>
                          <a:pt x="669" y="30"/>
                        </a:lnTo>
                        <a:lnTo>
                          <a:pt x="670" y="30"/>
                        </a:lnTo>
                        <a:lnTo>
                          <a:pt x="674" y="31"/>
                        </a:lnTo>
                        <a:lnTo>
                          <a:pt x="677" y="33"/>
                        </a:lnTo>
                        <a:lnTo>
                          <a:pt x="680" y="35"/>
                        </a:lnTo>
                        <a:lnTo>
                          <a:pt x="683" y="36"/>
                        </a:lnTo>
                        <a:lnTo>
                          <a:pt x="685" y="36"/>
                        </a:lnTo>
                        <a:lnTo>
                          <a:pt x="688" y="38"/>
                        </a:lnTo>
                        <a:lnTo>
                          <a:pt x="689" y="38"/>
                        </a:lnTo>
                        <a:lnTo>
                          <a:pt x="691" y="39"/>
                        </a:lnTo>
                        <a:lnTo>
                          <a:pt x="694" y="39"/>
                        </a:lnTo>
                        <a:lnTo>
                          <a:pt x="697" y="39"/>
                        </a:lnTo>
                        <a:lnTo>
                          <a:pt x="699" y="39"/>
                        </a:lnTo>
                        <a:lnTo>
                          <a:pt x="701" y="39"/>
                        </a:lnTo>
                        <a:lnTo>
                          <a:pt x="704" y="41"/>
                        </a:lnTo>
                        <a:lnTo>
                          <a:pt x="707" y="41"/>
                        </a:lnTo>
                        <a:lnTo>
                          <a:pt x="708" y="39"/>
                        </a:lnTo>
                        <a:lnTo>
                          <a:pt x="710" y="39"/>
                        </a:lnTo>
                        <a:lnTo>
                          <a:pt x="710" y="41"/>
                        </a:lnTo>
                        <a:lnTo>
                          <a:pt x="707" y="44"/>
                        </a:lnTo>
                        <a:lnTo>
                          <a:pt x="705" y="47"/>
                        </a:lnTo>
                        <a:lnTo>
                          <a:pt x="704" y="49"/>
                        </a:lnTo>
                        <a:lnTo>
                          <a:pt x="702" y="50"/>
                        </a:lnTo>
                        <a:lnTo>
                          <a:pt x="702" y="54"/>
                        </a:lnTo>
                        <a:lnTo>
                          <a:pt x="701" y="54"/>
                        </a:lnTo>
                        <a:lnTo>
                          <a:pt x="699" y="55"/>
                        </a:lnTo>
                        <a:lnTo>
                          <a:pt x="697" y="57"/>
                        </a:lnTo>
                        <a:lnTo>
                          <a:pt x="696" y="57"/>
                        </a:lnTo>
                        <a:lnTo>
                          <a:pt x="694" y="58"/>
                        </a:lnTo>
                        <a:lnTo>
                          <a:pt x="693" y="60"/>
                        </a:lnTo>
                        <a:lnTo>
                          <a:pt x="691" y="61"/>
                        </a:lnTo>
                        <a:lnTo>
                          <a:pt x="691" y="63"/>
                        </a:lnTo>
                        <a:lnTo>
                          <a:pt x="691" y="66"/>
                        </a:lnTo>
                        <a:lnTo>
                          <a:pt x="691" y="68"/>
                        </a:lnTo>
                        <a:lnTo>
                          <a:pt x="691" y="69"/>
                        </a:lnTo>
                        <a:lnTo>
                          <a:pt x="693" y="69"/>
                        </a:lnTo>
                        <a:lnTo>
                          <a:pt x="694" y="71"/>
                        </a:lnTo>
                        <a:lnTo>
                          <a:pt x="696" y="71"/>
                        </a:lnTo>
                        <a:lnTo>
                          <a:pt x="697" y="73"/>
                        </a:lnTo>
                        <a:lnTo>
                          <a:pt x="699" y="73"/>
                        </a:lnTo>
                        <a:lnTo>
                          <a:pt x="701" y="73"/>
                        </a:lnTo>
                        <a:lnTo>
                          <a:pt x="702" y="73"/>
                        </a:lnTo>
                        <a:lnTo>
                          <a:pt x="705" y="73"/>
                        </a:lnTo>
                        <a:lnTo>
                          <a:pt x="707" y="73"/>
                        </a:lnTo>
                        <a:lnTo>
                          <a:pt x="708" y="73"/>
                        </a:lnTo>
                        <a:lnTo>
                          <a:pt x="712" y="74"/>
                        </a:lnTo>
                        <a:lnTo>
                          <a:pt x="713" y="74"/>
                        </a:lnTo>
                        <a:lnTo>
                          <a:pt x="713" y="73"/>
                        </a:lnTo>
                        <a:lnTo>
                          <a:pt x="715" y="73"/>
                        </a:lnTo>
                        <a:lnTo>
                          <a:pt x="715" y="74"/>
                        </a:lnTo>
                        <a:lnTo>
                          <a:pt x="716" y="74"/>
                        </a:lnTo>
                        <a:lnTo>
                          <a:pt x="718" y="74"/>
                        </a:lnTo>
                        <a:lnTo>
                          <a:pt x="718" y="73"/>
                        </a:lnTo>
                        <a:lnTo>
                          <a:pt x="720" y="73"/>
                        </a:lnTo>
                        <a:lnTo>
                          <a:pt x="721" y="73"/>
                        </a:lnTo>
                        <a:lnTo>
                          <a:pt x="724" y="73"/>
                        </a:lnTo>
                        <a:lnTo>
                          <a:pt x="726" y="74"/>
                        </a:lnTo>
                        <a:lnTo>
                          <a:pt x="729" y="74"/>
                        </a:lnTo>
                        <a:lnTo>
                          <a:pt x="731" y="74"/>
                        </a:lnTo>
                        <a:lnTo>
                          <a:pt x="734" y="74"/>
                        </a:lnTo>
                        <a:lnTo>
                          <a:pt x="735" y="76"/>
                        </a:lnTo>
                        <a:lnTo>
                          <a:pt x="737" y="76"/>
                        </a:lnTo>
                        <a:lnTo>
                          <a:pt x="739" y="77"/>
                        </a:lnTo>
                        <a:lnTo>
                          <a:pt x="739" y="79"/>
                        </a:lnTo>
                        <a:lnTo>
                          <a:pt x="740" y="80"/>
                        </a:lnTo>
                        <a:lnTo>
                          <a:pt x="742" y="87"/>
                        </a:lnTo>
                        <a:lnTo>
                          <a:pt x="742" y="88"/>
                        </a:lnTo>
                        <a:lnTo>
                          <a:pt x="742" y="92"/>
                        </a:lnTo>
                        <a:lnTo>
                          <a:pt x="742" y="93"/>
                        </a:lnTo>
                        <a:lnTo>
                          <a:pt x="742" y="98"/>
                        </a:lnTo>
                        <a:lnTo>
                          <a:pt x="742" y="100"/>
                        </a:lnTo>
                        <a:lnTo>
                          <a:pt x="742" y="101"/>
                        </a:lnTo>
                        <a:lnTo>
                          <a:pt x="742" y="103"/>
                        </a:lnTo>
                        <a:lnTo>
                          <a:pt x="743" y="104"/>
                        </a:lnTo>
                        <a:lnTo>
                          <a:pt x="743" y="107"/>
                        </a:lnTo>
                        <a:lnTo>
                          <a:pt x="743" y="109"/>
                        </a:lnTo>
                        <a:lnTo>
                          <a:pt x="743" y="111"/>
                        </a:lnTo>
                        <a:lnTo>
                          <a:pt x="743" y="112"/>
                        </a:lnTo>
                        <a:lnTo>
                          <a:pt x="743" y="115"/>
                        </a:lnTo>
                        <a:lnTo>
                          <a:pt x="743" y="117"/>
                        </a:lnTo>
                        <a:lnTo>
                          <a:pt x="745" y="120"/>
                        </a:lnTo>
                        <a:lnTo>
                          <a:pt x="746" y="123"/>
                        </a:lnTo>
                        <a:lnTo>
                          <a:pt x="746" y="126"/>
                        </a:lnTo>
                        <a:lnTo>
                          <a:pt x="748" y="131"/>
                        </a:lnTo>
                        <a:lnTo>
                          <a:pt x="748" y="133"/>
                        </a:lnTo>
                        <a:lnTo>
                          <a:pt x="748" y="134"/>
                        </a:lnTo>
                        <a:lnTo>
                          <a:pt x="748" y="138"/>
                        </a:lnTo>
                        <a:lnTo>
                          <a:pt x="748" y="139"/>
                        </a:lnTo>
                        <a:lnTo>
                          <a:pt x="751" y="138"/>
                        </a:lnTo>
                        <a:lnTo>
                          <a:pt x="754" y="136"/>
                        </a:lnTo>
                        <a:lnTo>
                          <a:pt x="758" y="136"/>
                        </a:lnTo>
                        <a:lnTo>
                          <a:pt x="762" y="133"/>
                        </a:lnTo>
                        <a:lnTo>
                          <a:pt x="770" y="130"/>
                        </a:lnTo>
                        <a:lnTo>
                          <a:pt x="780" y="126"/>
                        </a:lnTo>
                        <a:lnTo>
                          <a:pt x="783" y="126"/>
                        </a:lnTo>
                        <a:lnTo>
                          <a:pt x="785" y="125"/>
                        </a:lnTo>
                        <a:lnTo>
                          <a:pt x="785" y="123"/>
                        </a:lnTo>
                        <a:lnTo>
                          <a:pt x="785" y="122"/>
                        </a:lnTo>
                        <a:lnTo>
                          <a:pt x="783" y="120"/>
                        </a:lnTo>
                        <a:lnTo>
                          <a:pt x="783" y="117"/>
                        </a:lnTo>
                        <a:lnTo>
                          <a:pt x="781" y="114"/>
                        </a:lnTo>
                        <a:lnTo>
                          <a:pt x="780" y="109"/>
                        </a:lnTo>
                        <a:lnTo>
                          <a:pt x="780" y="104"/>
                        </a:lnTo>
                        <a:lnTo>
                          <a:pt x="781" y="103"/>
                        </a:lnTo>
                        <a:lnTo>
                          <a:pt x="783" y="101"/>
                        </a:lnTo>
                        <a:lnTo>
                          <a:pt x="785" y="100"/>
                        </a:lnTo>
                        <a:lnTo>
                          <a:pt x="786" y="100"/>
                        </a:lnTo>
                        <a:lnTo>
                          <a:pt x="789" y="100"/>
                        </a:lnTo>
                        <a:lnTo>
                          <a:pt x="792" y="98"/>
                        </a:lnTo>
                        <a:lnTo>
                          <a:pt x="796" y="98"/>
                        </a:lnTo>
                        <a:lnTo>
                          <a:pt x="799" y="100"/>
                        </a:lnTo>
                        <a:lnTo>
                          <a:pt x="804" y="100"/>
                        </a:lnTo>
                        <a:lnTo>
                          <a:pt x="805" y="101"/>
                        </a:lnTo>
                        <a:lnTo>
                          <a:pt x="807" y="103"/>
                        </a:lnTo>
                        <a:lnTo>
                          <a:pt x="808" y="103"/>
                        </a:lnTo>
                        <a:lnTo>
                          <a:pt x="808" y="104"/>
                        </a:lnTo>
                        <a:lnTo>
                          <a:pt x="811" y="106"/>
                        </a:lnTo>
                        <a:lnTo>
                          <a:pt x="813" y="109"/>
                        </a:lnTo>
                        <a:lnTo>
                          <a:pt x="818" y="114"/>
                        </a:lnTo>
                        <a:lnTo>
                          <a:pt x="821" y="115"/>
                        </a:lnTo>
                        <a:lnTo>
                          <a:pt x="823" y="115"/>
                        </a:lnTo>
                        <a:lnTo>
                          <a:pt x="824" y="117"/>
                        </a:lnTo>
                        <a:lnTo>
                          <a:pt x="826" y="119"/>
                        </a:lnTo>
                        <a:lnTo>
                          <a:pt x="827" y="120"/>
                        </a:lnTo>
                        <a:lnTo>
                          <a:pt x="829" y="122"/>
                        </a:lnTo>
                        <a:lnTo>
                          <a:pt x="829" y="125"/>
                        </a:lnTo>
                        <a:lnTo>
                          <a:pt x="832" y="128"/>
                        </a:lnTo>
                        <a:lnTo>
                          <a:pt x="834" y="131"/>
                        </a:lnTo>
                        <a:lnTo>
                          <a:pt x="838" y="134"/>
                        </a:lnTo>
                        <a:lnTo>
                          <a:pt x="845" y="138"/>
                        </a:lnTo>
                        <a:lnTo>
                          <a:pt x="846" y="141"/>
                        </a:lnTo>
                        <a:lnTo>
                          <a:pt x="848" y="141"/>
                        </a:lnTo>
                        <a:lnTo>
                          <a:pt x="849" y="142"/>
                        </a:lnTo>
                        <a:lnTo>
                          <a:pt x="853" y="142"/>
                        </a:lnTo>
                        <a:lnTo>
                          <a:pt x="853" y="144"/>
                        </a:lnTo>
                        <a:lnTo>
                          <a:pt x="854" y="144"/>
                        </a:lnTo>
                        <a:lnTo>
                          <a:pt x="856" y="145"/>
                        </a:lnTo>
                        <a:lnTo>
                          <a:pt x="857" y="147"/>
                        </a:lnTo>
                        <a:lnTo>
                          <a:pt x="859" y="149"/>
                        </a:lnTo>
                        <a:lnTo>
                          <a:pt x="859" y="150"/>
                        </a:lnTo>
                        <a:lnTo>
                          <a:pt x="859" y="152"/>
                        </a:lnTo>
                        <a:lnTo>
                          <a:pt x="861" y="155"/>
                        </a:lnTo>
                        <a:lnTo>
                          <a:pt x="859" y="157"/>
                        </a:lnTo>
                        <a:lnTo>
                          <a:pt x="859" y="160"/>
                        </a:lnTo>
                        <a:lnTo>
                          <a:pt x="859" y="163"/>
                        </a:lnTo>
                        <a:lnTo>
                          <a:pt x="857" y="169"/>
                        </a:lnTo>
                        <a:lnTo>
                          <a:pt x="857" y="172"/>
                        </a:lnTo>
                        <a:lnTo>
                          <a:pt x="856" y="176"/>
                        </a:lnTo>
                        <a:lnTo>
                          <a:pt x="854" y="179"/>
                        </a:lnTo>
                        <a:lnTo>
                          <a:pt x="853" y="182"/>
                        </a:lnTo>
                        <a:lnTo>
                          <a:pt x="853" y="185"/>
                        </a:lnTo>
                        <a:lnTo>
                          <a:pt x="851" y="188"/>
                        </a:lnTo>
                        <a:lnTo>
                          <a:pt x="849" y="190"/>
                        </a:lnTo>
                        <a:lnTo>
                          <a:pt x="848" y="191"/>
                        </a:lnTo>
                        <a:lnTo>
                          <a:pt x="845" y="191"/>
                        </a:lnTo>
                        <a:lnTo>
                          <a:pt x="843" y="191"/>
                        </a:lnTo>
                        <a:lnTo>
                          <a:pt x="840" y="191"/>
                        </a:lnTo>
                        <a:lnTo>
                          <a:pt x="837" y="190"/>
                        </a:lnTo>
                        <a:lnTo>
                          <a:pt x="834" y="190"/>
                        </a:lnTo>
                        <a:lnTo>
                          <a:pt x="832" y="190"/>
                        </a:lnTo>
                        <a:lnTo>
                          <a:pt x="829" y="190"/>
                        </a:lnTo>
                        <a:lnTo>
                          <a:pt x="826" y="190"/>
                        </a:lnTo>
                        <a:lnTo>
                          <a:pt x="821" y="190"/>
                        </a:lnTo>
                        <a:lnTo>
                          <a:pt x="819" y="190"/>
                        </a:lnTo>
                        <a:lnTo>
                          <a:pt x="816" y="191"/>
                        </a:lnTo>
                        <a:lnTo>
                          <a:pt x="815" y="191"/>
                        </a:lnTo>
                        <a:lnTo>
                          <a:pt x="815" y="195"/>
                        </a:lnTo>
                        <a:lnTo>
                          <a:pt x="815" y="196"/>
                        </a:lnTo>
                        <a:lnTo>
                          <a:pt x="815" y="198"/>
                        </a:lnTo>
                        <a:lnTo>
                          <a:pt x="813" y="199"/>
                        </a:lnTo>
                        <a:lnTo>
                          <a:pt x="813" y="201"/>
                        </a:lnTo>
                        <a:lnTo>
                          <a:pt x="811" y="204"/>
                        </a:lnTo>
                        <a:lnTo>
                          <a:pt x="808" y="207"/>
                        </a:lnTo>
                        <a:lnTo>
                          <a:pt x="807" y="209"/>
                        </a:lnTo>
                        <a:lnTo>
                          <a:pt x="802" y="210"/>
                        </a:lnTo>
                        <a:lnTo>
                          <a:pt x="799" y="212"/>
                        </a:lnTo>
                        <a:lnTo>
                          <a:pt x="797" y="214"/>
                        </a:lnTo>
                        <a:lnTo>
                          <a:pt x="796" y="217"/>
                        </a:lnTo>
                        <a:lnTo>
                          <a:pt x="794" y="218"/>
                        </a:lnTo>
                        <a:lnTo>
                          <a:pt x="792" y="221"/>
                        </a:lnTo>
                        <a:lnTo>
                          <a:pt x="792" y="226"/>
                        </a:lnTo>
                        <a:lnTo>
                          <a:pt x="791" y="226"/>
                        </a:lnTo>
                        <a:lnTo>
                          <a:pt x="789" y="226"/>
                        </a:lnTo>
                        <a:lnTo>
                          <a:pt x="785" y="226"/>
                        </a:lnTo>
                        <a:lnTo>
                          <a:pt x="775" y="226"/>
                        </a:lnTo>
                        <a:lnTo>
                          <a:pt x="770" y="225"/>
                        </a:lnTo>
                        <a:lnTo>
                          <a:pt x="769" y="225"/>
                        </a:lnTo>
                        <a:lnTo>
                          <a:pt x="764" y="225"/>
                        </a:lnTo>
                        <a:lnTo>
                          <a:pt x="758" y="221"/>
                        </a:lnTo>
                        <a:lnTo>
                          <a:pt x="751" y="221"/>
                        </a:lnTo>
                        <a:lnTo>
                          <a:pt x="734" y="221"/>
                        </a:lnTo>
                        <a:lnTo>
                          <a:pt x="729" y="221"/>
                        </a:lnTo>
                        <a:lnTo>
                          <a:pt x="720" y="221"/>
                        </a:lnTo>
                        <a:lnTo>
                          <a:pt x="718" y="223"/>
                        </a:lnTo>
                        <a:lnTo>
                          <a:pt x="718" y="225"/>
                        </a:lnTo>
                        <a:lnTo>
                          <a:pt x="716" y="229"/>
                        </a:lnTo>
                        <a:lnTo>
                          <a:pt x="715" y="236"/>
                        </a:lnTo>
                        <a:lnTo>
                          <a:pt x="715" y="237"/>
                        </a:lnTo>
                        <a:lnTo>
                          <a:pt x="715" y="239"/>
                        </a:lnTo>
                        <a:lnTo>
                          <a:pt x="715" y="240"/>
                        </a:lnTo>
                        <a:lnTo>
                          <a:pt x="715" y="242"/>
                        </a:lnTo>
                        <a:lnTo>
                          <a:pt x="713" y="247"/>
                        </a:lnTo>
                        <a:lnTo>
                          <a:pt x="713" y="248"/>
                        </a:lnTo>
                        <a:lnTo>
                          <a:pt x="715" y="253"/>
                        </a:lnTo>
                        <a:lnTo>
                          <a:pt x="716" y="255"/>
                        </a:lnTo>
                        <a:lnTo>
                          <a:pt x="720" y="258"/>
                        </a:lnTo>
                        <a:lnTo>
                          <a:pt x="723" y="261"/>
                        </a:lnTo>
                        <a:lnTo>
                          <a:pt x="726" y="266"/>
                        </a:lnTo>
                        <a:lnTo>
                          <a:pt x="726" y="267"/>
                        </a:lnTo>
                        <a:lnTo>
                          <a:pt x="726" y="269"/>
                        </a:lnTo>
                        <a:lnTo>
                          <a:pt x="724" y="277"/>
                        </a:lnTo>
                        <a:lnTo>
                          <a:pt x="720" y="288"/>
                        </a:lnTo>
                        <a:lnTo>
                          <a:pt x="715" y="293"/>
                        </a:lnTo>
                        <a:lnTo>
                          <a:pt x="708" y="294"/>
                        </a:lnTo>
                        <a:lnTo>
                          <a:pt x="707" y="296"/>
                        </a:lnTo>
                        <a:lnTo>
                          <a:pt x="702" y="294"/>
                        </a:lnTo>
                        <a:lnTo>
                          <a:pt x="702" y="296"/>
                        </a:lnTo>
                        <a:lnTo>
                          <a:pt x="701" y="296"/>
                        </a:lnTo>
                        <a:lnTo>
                          <a:pt x="699" y="298"/>
                        </a:lnTo>
                        <a:lnTo>
                          <a:pt x="697" y="298"/>
                        </a:lnTo>
                        <a:lnTo>
                          <a:pt x="697" y="299"/>
                        </a:lnTo>
                        <a:lnTo>
                          <a:pt x="697" y="301"/>
                        </a:lnTo>
                        <a:lnTo>
                          <a:pt x="697" y="307"/>
                        </a:lnTo>
                        <a:lnTo>
                          <a:pt x="697" y="310"/>
                        </a:lnTo>
                        <a:lnTo>
                          <a:pt x="697" y="312"/>
                        </a:lnTo>
                        <a:lnTo>
                          <a:pt x="697" y="315"/>
                        </a:lnTo>
                        <a:lnTo>
                          <a:pt x="697" y="317"/>
                        </a:lnTo>
                        <a:lnTo>
                          <a:pt x="696" y="318"/>
                        </a:lnTo>
                        <a:lnTo>
                          <a:pt x="696" y="320"/>
                        </a:lnTo>
                        <a:lnTo>
                          <a:pt x="689" y="331"/>
                        </a:lnTo>
                        <a:lnTo>
                          <a:pt x="689" y="340"/>
                        </a:lnTo>
                        <a:lnTo>
                          <a:pt x="688" y="345"/>
                        </a:lnTo>
                        <a:lnTo>
                          <a:pt x="688" y="348"/>
                        </a:lnTo>
                        <a:lnTo>
                          <a:pt x="686" y="353"/>
                        </a:lnTo>
                        <a:lnTo>
                          <a:pt x="683" y="362"/>
                        </a:lnTo>
                        <a:lnTo>
                          <a:pt x="680" y="367"/>
                        </a:lnTo>
                        <a:lnTo>
                          <a:pt x="680" y="369"/>
                        </a:lnTo>
                        <a:lnTo>
                          <a:pt x="678" y="372"/>
                        </a:lnTo>
                        <a:lnTo>
                          <a:pt x="675" y="375"/>
                        </a:lnTo>
                        <a:lnTo>
                          <a:pt x="666" y="386"/>
                        </a:lnTo>
                        <a:lnTo>
                          <a:pt x="663" y="389"/>
                        </a:lnTo>
                        <a:lnTo>
                          <a:pt x="658" y="393"/>
                        </a:lnTo>
                        <a:lnTo>
                          <a:pt x="656" y="394"/>
                        </a:lnTo>
                        <a:lnTo>
                          <a:pt x="655" y="396"/>
                        </a:lnTo>
                        <a:lnTo>
                          <a:pt x="655" y="397"/>
                        </a:lnTo>
                        <a:lnTo>
                          <a:pt x="653" y="399"/>
                        </a:lnTo>
                        <a:lnTo>
                          <a:pt x="653" y="402"/>
                        </a:lnTo>
                        <a:lnTo>
                          <a:pt x="651" y="404"/>
                        </a:lnTo>
                        <a:lnTo>
                          <a:pt x="653" y="405"/>
                        </a:lnTo>
                        <a:lnTo>
                          <a:pt x="653" y="407"/>
                        </a:lnTo>
                        <a:lnTo>
                          <a:pt x="655" y="405"/>
                        </a:lnTo>
                        <a:lnTo>
                          <a:pt x="656" y="405"/>
                        </a:lnTo>
                        <a:lnTo>
                          <a:pt x="658" y="407"/>
                        </a:lnTo>
                        <a:lnTo>
                          <a:pt x="661" y="410"/>
                        </a:lnTo>
                        <a:lnTo>
                          <a:pt x="669" y="412"/>
                        </a:lnTo>
                        <a:lnTo>
                          <a:pt x="672" y="413"/>
                        </a:lnTo>
                        <a:lnTo>
                          <a:pt x="672" y="416"/>
                        </a:lnTo>
                        <a:lnTo>
                          <a:pt x="672" y="418"/>
                        </a:lnTo>
                        <a:lnTo>
                          <a:pt x="670" y="419"/>
                        </a:lnTo>
                        <a:lnTo>
                          <a:pt x="669" y="424"/>
                        </a:lnTo>
                        <a:lnTo>
                          <a:pt x="669" y="429"/>
                        </a:lnTo>
                        <a:lnTo>
                          <a:pt x="666" y="434"/>
                        </a:lnTo>
                        <a:lnTo>
                          <a:pt x="658" y="440"/>
                        </a:lnTo>
                        <a:lnTo>
                          <a:pt x="653" y="443"/>
                        </a:lnTo>
                        <a:lnTo>
                          <a:pt x="653" y="445"/>
                        </a:lnTo>
                        <a:lnTo>
                          <a:pt x="651" y="446"/>
                        </a:lnTo>
                        <a:lnTo>
                          <a:pt x="651" y="450"/>
                        </a:lnTo>
                        <a:lnTo>
                          <a:pt x="651" y="453"/>
                        </a:lnTo>
                        <a:lnTo>
                          <a:pt x="653" y="462"/>
                        </a:lnTo>
                        <a:lnTo>
                          <a:pt x="663" y="480"/>
                        </a:lnTo>
                        <a:lnTo>
                          <a:pt x="667" y="491"/>
                        </a:lnTo>
                        <a:lnTo>
                          <a:pt x="670" y="497"/>
                        </a:lnTo>
                        <a:lnTo>
                          <a:pt x="675" y="503"/>
                        </a:lnTo>
                        <a:lnTo>
                          <a:pt x="677" y="515"/>
                        </a:lnTo>
                        <a:lnTo>
                          <a:pt x="680" y="526"/>
                        </a:lnTo>
                        <a:lnTo>
                          <a:pt x="683" y="529"/>
                        </a:lnTo>
                        <a:lnTo>
                          <a:pt x="686" y="534"/>
                        </a:lnTo>
                        <a:lnTo>
                          <a:pt x="689" y="537"/>
                        </a:lnTo>
                        <a:lnTo>
                          <a:pt x="689" y="538"/>
                        </a:lnTo>
                        <a:lnTo>
                          <a:pt x="691" y="541"/>
                        </a:lnTo>
                        <a:lnTo>
                          <a:pt x="693" y="546"/>
                        </a:lnTo>
                        <a:lnTo>
                          <a:pt x="693" y="549"/>
                        </a:lnTo>
                        <a:lnTo>
                          <a:pt x="696" y="556"/>
                        </a:lnTo>
                        <a:lnTo>
                          <a:pt x="696" y="557"/>
                        </a:lnTo>
                        <a:lnTo>
                          <a:pt x="697" y="562"/>
                        </a:lnTo>
                        <a:lnTo>
                          <a:pt x="699" y="564"/>
                        </a:lnTo>
                        <a:lnTo>
                          <a:pt x="701" y="565"/>
                        </a:lnTo>
                        <a:lnTo>
                          <a:pt x="704" y="567"/>
                        </a:lnTo>
                        <a:lnTo>
                          <a:pt x="712" y="570"/>
                        </a:lnTo>
                        <a:lnTo>
                          <a:pt x="716" y="572"/>
                        </a:lnTo>
                        <a:lnTo>
                          <a:pt x="723" y="576"/>
                        </a:lnTo>
                        <a:lnTo>
                          <a:pt x="735" y="579"/>
                        </a:lnTo>
                        <a:lnTo>
                          <a:pt x="750" y="579"/>
                        </a:lnTo>
                        <a:lnTo>
                          <a:pt x="750" y="581"/>
                        </a:lnTo>
                        <a:lnTo>
                          <a:pt x="751" y="581"/>
                        </a:lnTo>
                        <a:lnTo>
                          <a:pt x="754" y="583"/>
                        </a:lnTo>
                        <a:lnTo>
                          <a:pt x="753" y="587"/>
                        </a:lnTo>
                        <a:lnTo>
                          <a:pt x="746" y="594"/>
                        </a:lnTo>
                        <a:lnTo>
                          <a:pt x="743" y="594"/>
                        </a:lnTo>
                        <a:lnTo>
                          <a:pt x="740" y="595"/>
                        </a:lnTo>
                        <a:lnTo>
                          <a:pt x="737" y="598"/>
                        </a:lnTo>
                        <a:lnTo>
                          <a:pt x="735" y="598"/>
                        </a:lnTo>
                        <a:lnTo>
                          <a:pt x="734" y="597"/>
                        </a:lnTo>
                        <a:lnTo>
                          <a:pt x="729" y="597"/>
                        </a:lnTo>
                        <a:lnTo>
                          <a:pt x="726" y="598"/>
                        </a:lnTo>
                        <a:lnTo>
                          <a:pt x="724" y="598"/>
                        </a:lnTo>
                        <a:lnTo>
                          <a:pt x="720" y="603"/>
                        </a:lnTo>
                        <a:lnTo>
                          <a:pt x="716" y="608"/>
                        </a:lnTo>
                        <a:lnTo>
                          <a:pt x="713" y="621"/>
                        </a:lnTo>
                        <a:lnTo>
                          <a:pt x="712" y="629"/>
                        </a:lnTo>
                        <a:lnTo>
                          <a:pt x="710" y="632"/>
                        </a:lnTo>
                        <a:lnTo>
                          <a:pt x="708" y="638"/>
                        </a:lnTo>
                        <a:lnTo>
                          <a:pt x="707" y="641"/>
                        </a:lnTo>
                        <a:lnTo>
                          <a:pt x="707" y="644"/>
                        </a:lnTo>
                        <a:lnTo>
                          <a:pt x="708" y="648"/>
                        </a:lnTo>
                        <a:lnTo>
                          <a:pt x="710" y="652"/>
                        </a:lnTo>
                        <a:lnTo>
                          <a:pt x="712" y="652"/>
                        </a:lnTo>
                        <a:lnTo>
                          <a:pt x="712" y="654"/>
                        </a:lnTo>
                        <a:lnTo>
                          <a:pt x="715" y="657"/>
                        </a:lnTo>
                        <a:lnTo>
                          <a:pt x="716" y="659"/>
                        </a:lnTo>
                        <a:lnTo>
                          <a:pt x="724" y="665"/>
                        </a:lnTo>
                        <a:lnTo>
                          <a:pt x="735" y="671"/>
                        </a:lnTo>
                        <a:lnTo>
                          <a:pt x="739" y="673"/>
                        </a:lnTo>
                        <a:lnTo>
                          <a:pt x="754" y="678"/>
                        </a:lnTo>
                        <a:lnTo>
                          <a:pt x="759" y="682"/>
                        </a:lnTo>
                        <a:lnTo>
                          <a:pt x="761" y="684"/>
                        </a:lnTo>
                        <a:lnTo>
                          <a:pt x="762" y="689"/>
                        </a:lnTo>
                        <a:lnTo>
                          <a:pt x="764" y="694"/>
                        </a:lnTo>
                        <a:lnTo>
                          <a:pt x="762" y="698"/>
                        </a:lnTo>
                        <a:lnTo>
                          <a:pt x="759" y="705"/>
                        </a:lnTo>
                        <a:lnTo>
                          <a:pt x="759" y="706"/>
                        </a:lnTo>
                        <a:lnTo>
                          <a:pt x="745" y="720"/>
                        </a:lnTo>
                        <a:lnTo>
                          <a:pt x="743" y="720"/>
                        </a:lnTo>
                        <a:lnTo>
                          <a:pt x="740" y="728"/>
                        </a:lnTo>
                        <a:lnTo>
                          <a:pt x="740" y="730"/>
                        </a:lnTo>
                        <a:lnTo>
                          <a:pt x="742" y="732"/>
                        </a:lnTo>
                        <a:lnTo>
                          <a:pt x="742" y="735"/>
                        </a:lnTo>
                        <a:lnTo>
                          <a:pt x="742" y="743"/>
                        </a:lnTo>
                        <a:lnTo>
                          <a:pt x="743" y="746"/>
                        </a:lnTo>
                        <a:lnTo>
                          <a:pt x="746" y="757"/>
                        </a:lnTo>
                        <a:lnTo>
                          <a:pt x="746" y="760"/>
                        </a:lnTo>
                        <a:lnTo>
                          <a:pt x="745" y="765"/>
                        </a:lnTo>
                        <a:lnTo>
                          <a:pt x="743" y="774"/>
                        </a:lnTo>
                        <a:lnTo>
                          <a:pt x="745" y="790"/>
                        </a:lnTo>
                        <a:lnTo>
                          <a:pt x="745" y="792"/>
                        </a:lnTo>
                        <a:lnTo>
                          <a:pt x="745" y="796"/>
                        </a:lnTo>
                        <a:lnTo>
                          <a:pt x="745" y="808"/>
                        </a:lnTo>
                        <a:lnTo>
                          <a:pt x="750" y="819"/>
                        </a:lnTo>
                        <a:lnTo>
                          <a:pt x="750" y="823"/>
                        </a:lnTo>
                        <a:lnTo>
                          <a:pt x="751" y="825"/>
                        </a:lnTo>
                        <a:lnTo>
                          <a:pt x="759" y="839"/>
                        </a:lnTo>
                        <a:lnTo>
                          <a:pt x="761" y="842"/>
                        </a:lnTo>
                        <a:lnTo>
                          <a:pt x="764" y="852"/>
                        </a:lnTo>
                        <a:lnTo>
                          <a:pt x="770" y="866"/>
                        </a:lnTo>
                        <a:lnTo>
                          <a:pt x="770" y="873"/>
                        </a:lnTo>
                        <a:lnTo>
                          <a:pt x="759" y="893"/>
                        </a:lnTo>
                        <a:lnTo>
                          <a:pt x="758" y="896"/>
                        </a:lnTo>
                        <a:lnTo>
                          <a:pt x="758" y="899"/>
                        </a:lnTo>
                        <a:lnTo>
                          <a:pt x="758" y="901"/>
                        </a:lnTo>
                        <a:lnTo>
                          <a:pt x="758" y="903"/>
                        </a:lnTo>
                        <a:lnTo>
                          <a:pt x="758" y="904"/>
                        </a:lnTo>
                        <a:lnTo>
                          <a:pt x="758" y="906"/>
                        </a:lnTo>
                        <a:lnTo>
                          <a:pt x="762" y="920"/>
                        </a:lnTo>
                        <a:lnTo>
                          <a:pt x="762" y="922"/>
                        </a:lnTo>
                        <a:lnTo>
                          <a:pt x="762" y="923"/>
                        </a:lnTo>
                        <a:lnTo>
                          <a:pt x="767" y="930"/>
                        </a:lnTo>
                        <a:lnTo>
                          <a:pt x="769" y="931"/>
                        </a:lnTo>
                        <a:lnTo>
                          <a:pt x="772" y="934"/>
                        </a:lnTo>
                        <a:lnTo>
                          <a:pt x="778" y="942"/>
                        </a:lnTo>
                        <a:lnTo>
                          <a:pt x="780" y="942"/>
                        </a:lnTo>
                        <a:lnTo>
                          <a:pt x="780" y="945"/>
                        </a:lnTo>
                        <a:lnTo>
                          <a:pt x="780" y="947"/>
                        </a:lnTo>
                        <a:lnTo>
                          <a:pt x="780" y="950"/>
                        </a:lnTo>
                        <a:lnTo>
                          <a:pt x="778" y="952"/>
                        </a:lnTo>
                        <a:lnTo>
                          <a:pt x="777" y="953"/>
                        </a:lnTo>
                        <a:lnTo>
                          <a:pt x="772" y="956"/>
                        </a:lnTo>
                        <a:lnTo>
                          <a:pt x="765" y="961"/>
                        </a:lnTo>
                        <a:lnTo>
                          <a:pt x="762" y="963"/>
                        </a:lnTo>
                        <a:lnTo>
                          <a:pt x="759" y="966"/>
                        </a:lnTo>
                        <a:lnTo>
                          <a:pt x="753" y="977"/>
                        </a:lnTo>
                        <a:lnTo>
                          <a:pt x="753" y="979"/>
                        </a:lnTo>
                        <a:lnTo>
                          <a:pt x="751" y="983"/>
                        </a:lnTo>
                        <a:lnTo>
                          <a:pt x="750" y="988"/>
                        </a:lnTo>
                        <a:lnTo>
                          <a:pt x="743" y="996"/>
                        </a:lnTo>
                        <a:lnTo>
                          <a:pt x="742" y="999"/>
                        </a:lnTo>
                        <a:lnTo>
                          <a:pt x="743" y="1002"/>
                        </a:lnTo>
                        <a:lnTo>
                          <a:pt x="745" y="1006"/>
                        </a:lnTo>
                        <a:lnTo>
                          <a:pt x="745" y="1009"/>
                        </a:lnTo>
                        <a:lnTo>
                          <a:pt x="745" y="1010"/>
                        </a:lnTo>
                        <a:lnTo>
                          <a:pt x="745" y="1012"/>
                        </a:lnTo>
                        <a:lnTo>
                          <a:pt x="743" y="1021"/>
                        </a:lnTo>
                        <a:lnTo>
                          <a:pt x="745" y="1026"/>
                        </a:lnTo>
                        <a:lnTo>
                          <a:pt x="746" y="1028"/>
                        </a:lnTo>
                        <a:lnTo>
                          <a:pt x="748" y="1031"/>
                        </a:lnTo>
                        <a:lnTo>
                          <a:pt x="753" y="1033"/>
                        </a:lnTo>
                        <a:lnTo>
                          <a:pt x="759" y="1036"/>
                        </a:lnTo>
                        <a:lnTo>
                          <a:pt x="764" y="1040"/>
                        </a:lnTo>
                        <a:lnTo>
                          <a:pt x="765" y="1050"/>
                        </a:lnTo>
                        <a:lnTo>
                          <a:pt x="765" y="1052"/>
                        </a:lnTo>
                        <a:lnTo>
                          <a:pt x="765" y="1053"/>
                        </a:lnTo>
                        <a:lnTo>
                          <a:pt x="767" y="1056"/>
                        </a:lnTo>
                        <a:lnTo>
                          <a:pt x="769" y="1061"/>
                        </a:lnTo>
                        <a:lnTo>
                          <a:pt x="767" y="1064"/>
                        </a:lnTo>
                        <a:lnTo>
                          <a:pt x="761" y="1072"/>
                        </a:lnTo>
                        <a:lnTo>
                          <a:pt x="758" y="1080"/>
                        </a:lnTo>
                        <a:lnTo>
                          <a:pt x="754" y="1088"/>
                        </a:lnTo>
                        <a:lnTo>
                          <a:pt x="753" y="1096"/>
                        </a:lnTo>
                        <a:lnTo>
                          <a:pt x="754" y="1101"/>
                        </a:lnTo>
                        <a:lnTo>
                          <a:pt x="758" y="1109"/>
                        </a:lnTo>
                        <a:lnTo>
                          <a:pt x="761" y="1113"/>
                        </a:lnTo>
                        <a:lnTo>
                          <a:pt x="769" y="1120"/>
                        </a:lnTo>
                        <a:lnTo>
                          <a:pt x="773" y="1123"/>
                        </a:lnTo>
                        <a:lnTo>
                          <a:pt x="781" y="1129"/>
                        </a:lnTo>
                        <a:lnTo>
                          <a:pt x="791" y="1132"/>
                        </a:lnTo>
                        <a:lnTo>
                          <a:pt x="792" y="1134"/>
                        </a:lnTo>
                        <a:lnTo>
                          <a:pt x="794" y="1134"/>
                        </a:lnTo>
                        <a:lnTo>
                          <a:pt x="796" y="1137"/>
                        </a:lnTo>
                        <a:lnTo>
                          <a:pt x="802" y="1143"/>
                        </a:lnTo>
                        <a:lnTo>
                          <a:pt x="808" y="1150"/>
                        </a:lnTo>
                        <a:lnTo>
                          <a:pt x="808" y="1151"/>
                        </a:lnTo>
                        <a:lnTo>
                          <a:pt x="808" y="1154"/>
                        </a:lnTo>
                        <a:lnTo>
                          <a:pt x="808" y="1156"/>
                        </a:lnTo>
                        <a:lnTo>
                          <a:pt x="804" y="1158"/>
                        </a:lnTo>
                        <a:lnTo>
                          <a:pt x="802" y="1159"/>
                        </a:lnTo>
                        <a:lnTo>
                          <a:pt x="797" y="1164"/>
                        </a:lnTo>
                        <a:lnTo>
                          <a:pt x="786" y="1178"/>
                        </a:lnTo>
                        <a:lnTo>
                          <a:pt x="783" y="1185"/>
                        </a:lnTo>
                        <a:lnTo>
                          <a:pt x="781" y="1186"/>
                        </a:lnTo>
                        <a:lnTo>
                          <a:pt x="780" y="1188"/>
                        </a:lnTo>
                        <a:lnTo>
                          <a:pt x="778" y="1191"/>
                        </a:lnTo>
                        <a:lnTo>
                          <a:pt x="769" y="1204"/>
                        </a:lnTo>
                        <a:lnTo>
                          <a:pt x="762" y="1208"/>
                        </a:lnTo>
                        <a:lnTo>
                          <a:pt x="761" y="1208"/>
                        </a:lnTo>
                        <a:lnTo>
                          <a:pt x="758" y="1208"/>
                        </a:lnTo>
                        <a:lnTo>
                          <a:pt x="748" y="1204"/>
                        </a:lnTo>
                        <a:lnTo>
                          <a:pt x="742" y="1197"/>
                        </a:lnTo>
                        <a:lnTo>
                          <a:pt x="737" y="1194"/>
                        </a:lnTo>
                        <a:lnTo>
                          <a:pt x="732" y="1189"/>
                        </a:lnTo>
                        <a:lnTo>
                          <a:pt x="716" y="1172"/>
                        </a:lnTo>
                        <a:lnTo>
                          <a:pt x="712" y="1166"/>
                        </a:lnTo>
                        <a:lnTo>
                          <a:pt x="697" y="1154"/>
                        </a:lnTo>
                        <a:lnTo>
                          <a:pt x="691" y="1147"/>
                        </a:lnTo>
                        <a:lnTo>
                          <a:pt x="678" y="1129"/>
                        </a:lnTo>
                        <a:lnTo>
                          <a:pt x="674" y="1123"/>
                        </a:lnTo>
                        <a:lnTo>
                          <a:pt x="672" y="1120"/>
                        </a:lnTo>
                        <a:lnTo>
                          <a:pt x="666" y="1105"/>
                        </a:lnTo>
                        <a:lnTo>
                          <a:pt x="663" y="1102"/>
                        </a:lnTo>
                        <a:lnTo>
                          <a:pt x="653" y="1082"/>
                        </a:lnTo>
                        <a:lnTo>
                          <a:pt x="651" y="1082"/>
                        </a:lnTo>
                        <a:lnTo>
                          <a:pt x="647" y="1074"/>
                        </a:lnTo>
                        <a:lnTo>
                          <a:pt x="639" y="1058"/>
                        </a:lnTo>
                        <a:lnTo>
                          <a:pt x="637" y="1055"/>
                        </a:lnTo>
                        <a:lnTo>
                          <a:pt x="636" y="1053"/>
                        </a:lnTo>
                        <a:lnTo>
                          <a:pt x="634" y="1050"/>
                        </a:lnTo>
                        <a:lnTo>
                          <a:pt x="631" y="1042"/>
                        </a:lnTo>
                        <a:lnTo>
                          <a:pt x="628" y="1031"/>
                        </a:lnTo>
                        <a:lnTo>
                          <a:pt x="626" y="1028"/>
                        </a:lnTo>
                        <a:lnTo>
                          <a:pt x="620" y="1013"/>
                        </a:lnTo>
                        <a:lnTo>
                          <a:pt x="613" y="1002"/>
                        </a:lnTo>
                        <a:lnTo>
                          <a:pt x="609" y="998"/>
                        </a:lnTo>
                        <a:lnTo>
                          <a:pt x="607" y="998"/>
                        </a:lnTo>
                        <a:lnTo>
                          <a:pt x="606" y="999"/>
                        </a:lnTo>
                        <a:lnTo>
                          <a:pt x="604" y="1001"/>
                        </a:lnTo>
                        <a:lnTo>
                          <a:pt x="602" y="1001"/>
                        </a:lnTo>
                        <a:lnTo>
                          <a:pt x="591" y="1010"/>
                        </a:lnTo>
                        <a:lnTo>
                          <a:pt x="590" y="1012"/>
                        </a:lnTo>
                        <a:lnTo>
                          <a:pt x="588" y="1013"/>
                        </a:lnTo>
                        <a:lnTo>
                          <a:pt x="580" y="1013"/>
                        </a:lnTo>
                        <a:lnTo>
                          <a:pt x="577" y="1010"/>
                        </a:lnTo>
                        <a:lnTo>
                          <a:pt x="572" y="1004"/>
                        </a:lnTo>
                        <a:lnTo>
                          <a:pt x="569" y="999"/>
                        </a:lnTo>
                        <a:lnTo>
                          <a:pt x="567" y="998"/>
                        </a:lnTo>
                        <a:lnTo>
                          <a:pt x="564" y="990"/>
                        </a:lnTo>
                        <a:lnTo>
                          <a:pt x="563" y="990"/>
                        </a:lnTo>
                        <a:lnTo>
                          <a:pt x="561" y="987"/>
                        </a:lnTo>
                        <a:lnTo>
                          <a:pt x="560" y="980"/>
                        </a:lnTo>
                        <a:lnTo>
                          <a:pt x="558" y="971"/>
                        </a:lnTo>
                        <a:lnTo>
                          <a:pt x="558" y="969"/>
                        </a:lnTo>
                        <a:lnTo>
                          <a:pt x="555" y="963"/>
                        </a:lnTo>
                        <a:lnTo>
                          <a:pt x="550" y="958"/>
                        </a:lnTo>
                        <a:lnTo>
                          <a:pt x="547" y="949"/>
                        </a:lnTo>
                        <a:lnTo>
                          <a:pt x="542" y="939"/>
                        </a:lnTo>
                        <a:lnTo>
                          <a:pt x="541" y="937"/>
                        </a:lnTo>
                        <a:lnTo>
                          <a:pt x="541" y="936"/>
                        </a:lnTo>
                        <a:lnTo>
                          <a:pt x="539" y="936"/>
                        </a:lnTo>
                        <a:lnTo>
                          <a:pt x="537" y="936"/>
                        </a:lnTo>
                        <a:lnTo>
                          <a:pt x="533" y="934"/>
                        </a:lnTo>
                        <a:lnTo>
                          <a:pt x="528" y="934"/>
                        </a:lnTo>
                        <a:lnTo>
                          <a:pt x="515" y="937"/>
                        </a:lnTo>
                        <a:lnTo>
                          <a:pt x="504" y="937"/>
                        </a:lnTo>
                        <a:lnTo>
                          <a:pt x="503" y="936"/>
                        </a:lnTo>
                        <a:lnTo>
                          <a:pt x="498" y="931"/>
                        </a:lnTo>
                        <a:lnTo>
                          <a:pt x="498" y="930"/>
                        </a:lnTo>
                        <a:lnTo>
                          <a:pt x="498" y="928"/>
                        </a:lnTo>
                        <a:lnTo>
                          <a:pt x="498" y="922"/>
                        </a:lnTo>
                        <a:lnTo>
                          <a:pt x="498" y="915"/>
                        </a:lnTo>
                        <a:lnTo>
                          <a:pt x="498" y="911"/>
                        </a:lnTo>
                        <a:lnTo>
                          <a:pt x="498" y="907"/>
                        </a:lnTo>
                        <a:lnTo>
                          <a:pt x="498" y="904"/>
                        </a:lnTo>
                        <a:lnTo>
                          <a:pt x="498" y="895"/>
                        </a:lnTo>
                        <a:lnTo>
                          <a:pt x="499" y="893"/>
                        </a:lnTo>
                        <a:lnTo>
                          <a:pt x="496" y="885"/>
                        </a:lnTo>
                        <a:lnTo>
                          <a:pt x="495" y="885"/>
                        </a:lnTo>
                        <a:lnTo>
                          <a:pt x="493" y="885"/>
                        </a:lnTo>
                        <a:lnTo>
                          <a:pt x="491" y="887"/>
                        </a:lnTo>
                        <a:lnTo>
                          <a:pt x="490" y="887"/>
                        </a:lnTo>
                        <a:lnTo>
                          <a:pt x="488" y="887"/>
                        </a:lnTo>
                        <a:lnTo>
                          <a:pt x="485" y="888"/>
                        </a:lnTo>
                        <a:lnTo>
                          <a:pt x="485" y="893"/>
                        </a:lnTo>
                        <a:lnTo>
                          <a:pt x="484" y="896"/>
                        </a:lnTo>
                        <a:lnTo>
                          <a:pt x="479" y="903"/>
                        </a:lnTo>
                        <a:lnTo>
                          <a:pt x="477" y="903"/>
                        </a:lnTo>
                        <a:lnTo>
                          <a:pt x="472" y="903"/>
                        </a:lnTo>
                        <a:lnTo>
                          <a:pt x="471" y="904"/>
                        </a:lnTo>
                        <a:lnTo>
                          <a:pt x="469" y="904"/>
                        </a:lnTo>
                        <a:lnTo>
                          <a:pt x="469" y="906"/>
                        </a:lnTo>
                        <a:lnTo>
                          <a:pt x="466" y="907"/>
                        </a:lnTo>
                        <a:lnTo>
                          <a:pt x="465" y="912"/>
                        </a:lnTo>
                        <a:lnTo>
                          <a:pt x="461" y="915"/>
                        </a:lnTo>
                        <a:lnTo>
                          <a:pt x="461" y="917"/>
                        </a:lnTo>
                        <a:lnTo>
                          <a:pt x="455" y="918"/>
                        </a:lnTo>
                        <a:lnTo>
                          <a:pt x="455" y="920"/>
                        </a:lnTo>
                        <a:lnTo>
                          <a:pt x="450" y="925"/>
                        </a:lnTo>
                        <a:lnTo>
                          <a:pt x="446" y="931"/>
                        </a:lnTo>
                        <a:lnTo>
                          <a:pt x="444" y="931"/>
                        </a:lnTo>
                        <a:lnTo>
                          <a:pt x="439" y="928"/>
                        </a:lnTo>
                        <a:lnTo>
                          <a:pt x="434" y="931"/>
                        </a:lnTo>
                        <a:lnTo>
                          <a:pt x="433" y="931"/>
                        </a:lnTo>
                        <a:lnTo>
                          <a:pt x="425" y="930"/>
                        </a:lnTo>
                        <a:lnTo>
                          <a:pt x="425" y="931"/>
                        </a:lnTo>
                        <a:lnTo>
                          <a:pt x="423" y="930"/>
                        </a:lnTo>
                        <a:lnTo>
                          <a:pt x="420" y="926"/>
                        </a:lnTo>
                        <a:lnTo>
                          <a:pt x="420" y="923"/>
                        </a:lnTo>
                        <a:lnTo>
                          <a:pt x="425" y="914"/>
                        </a:lnTo>
                        <a:lnTo>
                          <a:pt x="425" y="911"/>
                        </a:lnTo>
                        <a:lnTo>
                          <a:pt x="427" y="909"/>
                        </a:lnTo>
                        <a:lnTo>
                          <a:pt x="427" y="907"/>
                        </a:lnTo>
                        <a:lnTo>
                          <a:pt x="425" y="904"/>
                        </a:lnTo>
                        <a:lnTo>
                          <a:pt x="423" y="901"/>
                        </a:lnTo>
                        <a:lnTo>
                          <a:pt x="422" y="901"/>
                        </a:lnTo>
                        <a:lnTo>
                          <a:pt x="420" y="899"/>
                        </a:lnTo>
                        <a:lnTo>
                          <a:pt x="411" y="904"/>
                        </a:lnTo>
                        <a:lnTo>
                          <a:pt x="408" y="907"/>
                        </a:lnTo>
                        <a:lnTo>
                          <a:pt x="406" y="907"/>
                        </a:lnTo>
                        <a:lnTo>
                          <a:pt x="404" y="907"/>
                        </a:lnTo>
                        <a:lnTo>
                          <a:pt x="401" y="907"/>
                        </a:lnTo>
                        <a:lnTo>
                          <a:pt x="401" y="906"/>
                        </a:lnTo>
                        <a:lnTo>
                          <a:pt x="398" y="903"/>
                        </a:lnTo>
                        <a:lnTo>
                          <a:pt x="392" y="899"/>
                        </a:lnTo>
                        <a:lnTo>
                          <a:pt x="373" y="892"/>
                        </a:lnTo>
                        <a:lnTo>
                          <a:pt x="368" y="892"/>
                        </a:lnTo>
                        <a:lnTo>
                          <a:pt x="363" y="893"/>
                        </a:lnTo>
                        <a:lnTo>
                          <a:pt x="358" y="895"/>
                        </a:lnTo>
                        <a:lnTo>
                          <a:pt x="350" y="893"/>
                        </a:lnTo>
                        <a:lnTo>
                          <a:pt x="333" y="887"/>
                        </a:lnTo>
                        <a:lnTo>
                          <a:pt x="331" y="887"/>
                        </a:lnTo>
                        <a:lnTo>
                          <a:pt x="328" y="887"/>
                        </a:lnTo>
                        <a:lnTo>
                          <a:pt x="322" y="887"/>
                        </a:lnTo>
                        <a:lnTo>
                          <a:pt x="317" y="887"/>
                        </a:lnTo>
                        <a:lnTo>
                          <a:pt x="314" y="887"/>
                        </a:lnTo>
                        <a:lnTo>
                          <a:pt x="308" y="887"/>
                        </a:lnTo>
                        <a:lnTo>
                          <a:pt x="306" y="887"/>
                        </a:lnTo>
                        <a:lnTo>
                          <a:pt x="305" y="887"/>
                        </a:lnTo>
                        <a:lnTo>
                          <a:pt x="295" y="887"/>
                        </a:lnTo>
                        <a:lnTo>
                          <a:pt x="287" y="887"/>
                        </a:lnTo>
                        <a:lnTo>
                          <a:pt x="279" y="885"/>
                        </a:lnTo>
                        <a:lnTo>
                          <a:pt x="271" y="885"/>
                        </a:lnTo>
                        <a:lnTo>
                          <a:pt x="267" y="885"/>
                        </a:lnTo>
                        <a:lnTo>
                          <a:pt x="263" y="887"/>
                        </a:lnTo>
                        <a:lnTo>
                          <a:pt x="260" y="888"/>
                        </a:lnTo>
                        <a:lnTo>
                          <a:pt x="252" y="890"/>
                        </a:lnTo>
                        <a:lnTo>
                          <a:pt x="249" y="890"/>
                        </a:lnTo>
                        <a:lnTo>
                          <a:pt x="248" y="890"/>
                        </a:lnTo>
                        <a:lnTo>
                          <a:pt x="246" y="887"/>
                        </a:lnTo>
                        <a:lnTo>
                          <a:pt x="243" y="884"/>
                        </a:lnTo>
                        <a:lnTo>
                          <a:pt x="235" y="876"/>
                        </a:lnTo>
                        <a:lnTo>
                          <a:pt x="229" y="871"/>
                        </a:lnTo>
                        <a:lnTo>
                          <a:pt x="227" y="869"/>
                        </a:lnTo>
                        <a:lnTo>
                          <a:pt x="224" y="868"/>
                        </a:lnTo>
                        <a:lnTo>
                          <a:pt x="222" y="866"/>
                        </a:lnTo>
                        <a:lnTo>
                          <a:pt x="217" y="868"/>
                        </a:lnTo>
                        <a:lnTo>
                          <a:pt x="214" y="869"/>
                        </a:lnTo>
                        <a:lnTo>
                          <a:pt x="202" y="877"/>
                        </a:lnTo>
                        <a:lnTo>
                          <a:pt x="197" y="877"/>
                        </a:lnTo>
                        <a:lnTo>
                          <a:pt x="194" y="877"/>
                        </a:lnTo>
                        <a:lnTo>
                          <a:pt x="190" y="876"/>
                        </a:lnTo>
                        <a:lnTo>
                          <a:pt x="181" y="876"/>
                        </a:lnTo>
                        <a:lnTo>
                          <a:pt x="179" y="877"/>
                        </a:lnTo>
                        <a:lnTo>
                          <a:pt x="176" y="877"/>
                        </a:lnTo>
                        <a:lnTo>
                          <a:pt x="173" y="877"/>
                        </a:lnTo>
                        <a:lnTo>
                          <a:pt x="170" y="877"/>
                        </a:lnTo>
                        <a:lnTo>
                          <a:pt x="154" y="882"/>
                        </a:lnTo>
                        <a:lnTo>
                          <a:pt x="149" y="884"/>
                        </a:lnTo>
                        <a:lnTo>
                          <a:pt x="141" y="887"/>
                        </a:lnTo>
                        <a:lnTo>
                          <a:pt x="138" y="890"/>
                        </a:lnTo>
                        <a:lnTo>
                          <a:pt x="132" y="895"/>
                        </a:lnTo>
                        <a:lnTo>
                          <a:pt x="119" y="907"/>
                        </a:lnTo>
                        <a:lnTo>
                          <a:pt x="119" y="909"/>
                        </a:lnTo>
                        <a:lnTo>
                          <a:pt x="116" y="909"/>
                        </a:lnTo>
                        <a:lnTo>
                          <a:pt x="102" y="906"/>
                        </a:lnTo>
                        <a:lnTo>
                          <a:pt x="99" y="906"/>
                        </a:lnTo>
                        <a:lnTo>
                          <a:pt x="89" y="906"/>
                        </a:lnTo>
                        <a:lnTo>
                          <a:pt x="84" y="904"/>
                        </a:lnTo>
                        <a:lnTo>
                          <a:pt x="80" y="903"/>
                        </a:lnTo>
                        <a:lnTo>
                          <a:pt x="75" y="903"/>
                        </a:lnTo>
                        <a:lnTo>
                          <a:pt x="73" y="903"/>
                        </a:lnTo>
                        <a:lnTo>
                          <a:pt x="69" y="903"/>
                        </a:lnTo>
                        <a:lnTo>
                          <a:pt x="62" y="901"/>
                        </a:lnTo>
                        <a:lnTo>
                          <a:pt x="65" y="899"/>
                        </a:lnTo>
                        <a:lnTo>
                          <a:pt x="65" y="898"/>
                        </a:lnTo>
                        <a:lnTo>
                          <a:pt x="65" y="896"/>
                        </a:lnTo>
                        <a:lnTo>
                          <a:pt x="65" y="893"/>
                        </a:lnTo>
                        <a:lnTo>
                          <a:pt x="65" y="892"/>
                        </a:lnTo>
                        <a:lnTo>
                          <a:pt x="65" y="890"/>
                        </a:lnTo>
                        <a:lnTo>
                          <a:pt x="65" y="885"/>
                        </a:lnTo>
                        <a:lnTo>
                          <a:pt x="67" y="884"/>
                        </a:lnTo>
                        <a:lnTo>
                          <a:pt x="67" y="882"/>
                        </a:lnTo>
                        <a:lnTo>
                          <a:pt x="69" y="880"/>
                        </a:lnTo>
                        <a:lnTo>
                          <a:pt x="69" y="879"/>
                        </a:lnTo>
                        <a:lnTo>
                          <a:pt x="69" y="877"/>
                        </a:lnTo>
                        <a:lnTo>
                          <a:pt x="69" y="876"/>
                        </a:lnTo>
                        <a:lnTo>
                          <a:pt x="70" y="874"/>
                        </a:lnTo>
                        <a:lnTo>
                          <a:pt x="67" y="874"/>
                        </a:lnTo>
                        <a:lnTo>
                          <a:pt x="67" y="873"/>
                        </a:lnTo>
                        <a:lnTo>
                          <a:pt x="65" y="871"/>
                        </a:lnTo>
                        <a:lnTo>
                          <a:pt x="64" y="869"/>
                        </a:lnTo>
                        <a:lnTo>
                          <a:pt x="62" y="869"/>
                        </a:lnTo>
                        <a:lnTo>
                          <a:pt x="61" y="868"/>
                        </a:lnTo>
                        <a:lnTo>
                          <a:pt x="61" y="866"/>
                        </a:lnTo>
                        <a:lnTo>
                          <a:pt x="59" y="865"/>
                        </a:lnTo>
                        <a:lnTo>
                          <a:pt x="57" y="865"/>
                        </a:lnTo>
                        <a:lnTo>
                          <a:pt x="56" y="863"/>
                        </a:lnTo>
                        <a:lnTo>
                          <a:pt x="56" y="861"/>
                        </a:lnTo>
                        <a:lnTo>
                          <a:pt x="56" y="860"/>
                        </a:lnTo>
                        <a:lnTo>
                          <a:pt x="54" y="858"/>
                        </a:lnTo>
                        <a:lnTo>
                          <a:pt x="53" y="858"/>
                        </a:lnTo>
                        <a:lnTo>
                          <a:pt x="51" y="858"/>
                        </a:lnTo>
                        <a:lnTo>
                          <a:pt x="50" y="854"/>
                        </a:lnTo>
                        <a:lnTo>
                          <a:pt x="48" y="852"/>
                        </a:lnTo>
                        <a:lnTo>
                          <a:pt x="45" y="852"/>
                        </a:lnTo>
                        <a:lnTo>
                          <a:pt x="43" y="850"/>
                        </a:lnTo>
                        <a:lnTo>
                          <a:pt x="40" y="850"/>
                        </a:lnTo>
                        <a:lnTo>
                          <a:pt x="37" y="850"/>
                        </a:lnTo>
                        <a:lnTo>
                          <a:pt x="35" y="849"/>
                        </a:lnTo>
                        <a:lnTo>
                          <a:pt x="34" y="847"/>
                        </a:lnTo>
                        <a:lnTo>
                          <a:pt x="31" y="847"/>
                        </a:lnTo>
                        <a:lnTo>
                          <a:pt x="29" y="847"/>
                        </a:lnTo>
                        <a:lnTo>
                          <a:pt x="29" y="846"/>
                        </a:lnTo>
                        <a:lnTo>
                          <a:pt x="27" y="844"/>
                        </a:lnTo>
                        <a:lnTo>
                          <a:pt x="24" y="839"/>
                        </a:lnTo>
                        <a:lnTo>
                          <a:pt x="26" y="839"/>
                        </a:lnTo>
                        <a:lnTo>
                          <a:pt x="24" y="839"/>
                        </a:lnTo>
                        <a:lnTo>
                          <a:pt x="26" y="834"/>
                        </a:lnTo>
                        <a:lnTo>
                          <a:pt x="24" y="833"/>
                        </a:lnTo>
                        <a:lnTo>
                          <a:pt x="23" y="830"/>
                        </a:lnTo>
                        <a:lnTo>
                          <a:pt x="19" y="830"/>
                        </a:lnTo>
                        <a:lnTo>
                          <a:pt x="18" y="828"/>
                        </a:lnTo>
                        <a:lnTo>
                          <a:pt x="16" y="827"/>
                        </a:lnTo>
                        <a:lnTo>
                          <a:pt x="13" y="825"/>
                        </a:lnTo>
                        <a:lnTo>
                          <a:pt x="11" y="825"/>
                        </a:lnTo>
                        <a:lnTo>
                          <a:pt x="10" y="823"/>
                        </a:lnTo>
                        <a:lnTo>
                          <a:pt x="10" y="822"/>
                        </a:lnTo>
                        <a:lnTo>
                          <a:pt x="8" y="820"/>
                        </a:lnTo>
                        <a:lnTo>
                          <a:pt x="7" y="819"/>
                        </a:lnTo>
                        <a:lnTo>
                          <a:pt x="5" y="819"/>
                        </a:lnTo>
                        <a:lnTo>
                          <a:pt x="4" y="819"/>
                        </a:lnTo>
                        <a:lnTo>
                          <a:pt x="0" y="815"/>
                        </a:lnTo>
                        <a:lnTo>
                          <a:pt x="2" y="814"/>
                        </a:lnTo>
                        <a:lnTo>
                          <a:pt x="2" y="811"/>
                        </a:lnTo>
                        <a:lnTo>
                          <a:pt x="2" y="808"/>
                        </a:lnTo>
                        <a:lnTo>
                          <a:pt x="4" y="803"/>
                        </a:lnTo>
                        <a:lnTo>
                          <a:pt x="4" y="800"/>
                        </a:lnTo>
                        <a:lnTo>
                          <a:pt x="7" y="796"/>
                        </a:lnTo>
                        <a:lnTo>
                          <a:pt x="8" y="790"/>
                        </a:lnTo>
                        <a:lnTo>
                          <a:pt x="10" y="787"/>
                        </a:lnTo>
                        <a:lnTo>
                          <a:pt x="11" y="784"/>
                        </a:lnTo>
                        <a:lnTo>
                          <a:pt x="13" y="781"/>
                        </a:lnTo>
                        <a:lnTo>
                          <a:pt x="15" y="776"/>
                        </a:lnTo>
                        <a:lnTo>
                          <a:pt x="16" y="774"/>
                        </a:lnTo>
                        <a:lnTo>
                          <a:pt x="18" y="773"/>
                        </a:lnTo>
                        <a:lnTo>
                          <a:pt x="19" y="771"/>
                        </a:lnTo>
                        <a:lnTo>
                          <a:pt x="21" y="771"/>
                        </a:lnTo>
                        <a:lnTo>
                          <a:pt x="24" y="771"/>
                        </a:lnTo>
                        <a:lnTo>
                          <a:pt x="27" y="771"/>
                        </a:lnTo>
                        <a:lnTo>
                          <a:pt x="29" y="771"/>
                        </a:lnTo>
                        <a:lnTo>
                          <a:pt x="32" y="771"/>
                        </a:lnTo>
                        <a:lnTo>
                          <a:pt x="34" y="771"/>
                        </a:lnTo>
                        <a:lnTo>
                          <a:pt x="34" y="773"/>
                        </a:lnTo>
                        <a:lnTo>
                          <a:pt x="35" y="774"/>
                        </a:lnTo>
                        <a:lnTo>
                          <a:pt x="37" y="774"/>
                        </a:lnTo>
                        <a:lnTo>
                          <a:pt x="38" y="774"/>
                        </a:lnTo>
                        <a:lnTo>
                          <a:pt x="40" y="774"/>
                        </a:lnTo>
                        <a:lnTo>
                          <a:pt x="43" y="774"/>
                        </a:lnTo>
                        <a:lnTo>
                          <a:pt x="45" y="773"/>
                        </a:lnTo>
                        <a:lnTo>
                          <a:pt x="46" y="773"/>
                        </a:lnTo>
                        <a:lnTo>
                          <a:pt x="48" y="773"/>
                        </a:lnTo>
                        <a:lnTo>
                          <a:pt x="50" y="773"/>
                        </a:lnTo>
                        <a:lnTo>
                          <a:pt x="50" y="774"/>
                        </a:lnTo>
                        <a:lnTo>
                          <a:pt x="51" y="774"/>
                        </a:lnTo>
                        <a:lnTo>
                          <a:pt x="53" y="776"/>
                        </a:lnTo>
                        <a:lnTo>
                          <a:pt x="56" y="777"/>
                        </a:lnTo>
                        <a:lnTo>
                          <a:pt x="57" y="779"/>
                        </a:lnTo>
                        <a:lnTo>
                          <a:pt x="61" y="779"/>
                        </a:lnTo>
                        <a:lnTo>
                          <a:pt x="61" y="781"/>
                        </a:lnTo>
                        <a:lnTo>
                          <a:pt x="64" y="779"/>
                        </a:lnTo>
                        <a:lnTo>
                          <a:pt x="67" y="777"/>
                        </a:lnTo>
                        <a:lnTo>
                          <a:pt x="69" y="777"/>
                        </a:lnTo>
                        <a:lnTo>
                          <a:pt x="70" y="777"/>
                        </a:lnTo>
                        <a:lnTo>
                          <a:pt x="72" y="776"/>
                        </a:lnTo>
                        <a:lnTo>
                          <a:pt x="73" y="776"/>
                        </a:lnTo>
                        <a:lnTo>
                          <a:pt x="78" y="776"/>
                        </a:lnTo>
                        <a:lnTo>
                          <a:pt x="80" y="776"/>
                        </a:lnTo>
                        <a:lnTo>
                          <a:pt x="81" y="776"/>
                        </a:lnTo>
                        <a:lnTo>
                          <a:pt x="86" y="771"/>
                        </a:lnTo>
                        <a:lnTo>
                          <a:pt x="89" y="771"/>
                        </a:lnTo>
                        <a:lnTo>
                          <a:pt x="91" y="771"/>
                        </a:lnTo>
                        <a:lnTo>
                          <a:pt x="92" y="770"/>
                        </a:lnTo>
                        <a:lnTo>
                          <a:pt x="95" y="768"/>
                        </a:lnTo>
                        <a:lnTo>
                          <a:pt x="100" y="765"/>
                        </a:lnTo>
                        <a:lnTo>
                          <a:pt x="108" y="760"/>
                        </a:lnTo>
                        <a:lnTo>
                          <a:pt x="110" y="758"/>
                        </a:lnTo>
                        <a:lnTo>
                          <a:pt x="111" y="758"/>
                        </a:lnTo>
                        <a:lnTo>
                          <a:pt x="113" y="758"/>
                        </a:lnTo>
                        <a:lnTo>
                          <a:pt x="116" y="760"/>
                        </a:lnTo>
                        <a:lnTo>
                          <a:pt x="121" y="760"/>
                        </a:lnTo>
                        <a:lnTo>
                          <a:pt x="122" y="760"/>
                        </a:lnTo>
                        <a:lnTo>
                          <a:pt x="124" y="760"/>
                        </a:lnTo>
                        <a:lnTo>
                          <a:pt x="126" y="758"/>
                        </a:lnTo>
                        <a:lnTo>
                          <a:pt x="126" y="757"/>
                        </a:lnTo>
                        <a:lnTo>
                          <a:pt x="127" y="754"/>
                        </a:lnTo>
                        <a:lnTo>
                          <a:pt x="127" y="751"/>
                        </a:lnTo>
                        <a:lnTo>
                          <a:pt x="127" y="746"/>
                        </a:lnTo>
                        <a:lnTo>
                          <a:pt x="127" y="741"/>
                        </a:lnTo>
                        <a:lnTo>
                          <a:pt x="129" y="738"/>
                        </a:lnTo>
                        <a:lnTo>
                          <a:pt x="130" y="733"/>
                        </a:lnTo>
                        <a:lnTo>
                          <a:pt x="133" y="730"/>
                        </a:lnTo>
                        <a:lnTo>
                          <a:pt x="135" y="730"/>
                        </a:lnTo>
                        <a:lnTo>
                          <a:pt x="135" y="728"/>
                        </a:lnTo>
                        <a:lnTo>
                          <a:pt x="137" y="727"/>
                        </a:lnTo>
                        <a:lnTo>
                          <a:pt x="140" y="724"/>
                        </a:lnTo>
                        <a:lnTo>
                          <a:pt x="146" y="717"/>
                        </a:lnTo>
                        <a:lnTo>
                          <a:pt x="148" y="714"/>
                        </a:lnTo>
                        <a:lnTo>
                          <a:pt x="148" y="713"/>
                        </a:lnTo>
                        <a:lnTo>
                          <a:pt x="148" y="711"/>
                        </a:lnTo>
                        <a:lnTo>
                          <a:pt x="149" y="711"/>
                        </a:lnTo>
                        <a:lnTo>
                          <a:pt x="149" y="709"/>
                        </a:lnTo>
                        <a:lnTo>
                          <a:pt x="149" y="705"/>
                        </a:lnTo>
                        <a:lnTo>
                          <a:pt x="151" y="705"/>
                        </a:lnTo>
                        <a:lnTo>
                          <a:pt x="151" y="701"/>
                        </a:lnTo>
                        <a:lnTo>
                          <a:pt x="152" y="701"/>
                        </a:lnTo>
                        <a:lnTo>
                          <a:pt x="154" y="700"/>
                        </a:lnTo>
                        <a:lnTo>
                          <a:pt x="156" y="700"/>
                        </a:lnTo>
                        <a:lnTo>
                          <a:pt x="156" y="698"/>
                        </a:lnTo>
                        <a:lnTo>
                          <a:pt x="157" y="698"/>
                        </a:lnTo>
                        <a:lnTo>
                          <a:pt x="160" y="697"/>
                        </a:lnTo>
                        <a:lnTo>
                          <a:pt x="162" y="695"/>
                        </a:lnTo>
                        <a:lnTo>
                          <a:pt x="164" y="692"/>
                        </a:lnTo>
                        <a:lnTo>
                          <a:pt x="162" y="690"/>
                        </a:lnTo>
                        <a:lnTo>
                          <a:pt x="164" y="687"/>
                        </a:lnTo>
                        <a:lnTo>
                          <a:pt x="162" y="686"/>
                        </a:lnTo>
                        <a:lnTo>
                          <a:pt x="160" y="684"/>
                        </a:lnTo>
                        <a:lnTo>
                          <a:pt x="160" y="682"/>
                        </a:lnTo>
                        <a:lnTo>
                          <a:pt x="160" y="681"/>
                        </a:lnTo>
                        <a:lnTo>
                          <a:pt x="160" y="679"/>
                        </a:lnTo>
                        <a:lnTo>
                          <a:pt x="162" y="679"/>
                        </a:lnTo>
                        <a:lnTo>
                          <a:pt x="162" y="673"/>
                        </a:lnTo>
                        <a:lnTo>
                          <a:pt x="160" y="673"/>
                        </a:lnTo>
                        <a:lnTo>
                          <a:pt x="160" y="671"/>
                        </a:lnTo>
                        <a:lnTo>
                          <a:pt x="159" y="670"/>
                        </a:lnTo>
                        <a:lnTo>
                          <a:pt x="157" y="668"/>
                        </a:lnTo>
                        <a:lnTo>
                          <a:pt x="156" y="667"/>
                        </a:lnTo>
                        <a:lnTo>
                          <a:pt x="154" y="665"/>
                        </a:lnTo>
                        <a:lnTo>
                          <a:pt x="154" y="662"/>
                        </a:lnTo>
                        <a:lnTo>
                          <a:pt x="152" y="662"/>
                        </a:lnTo>
                        <a:lnTo>
                          <a:pt x="152" y="660"/>
                        </a:lnTo>
                        <a:lnTo>
                          <a:pt x="152" y="659"/>
                        </a:lnTo>
                        <a:lnTo>
                          <a:pt x="152" y="656"/>
                        </a:lnTo>
                        <a:lnTo>
                          <a:pt x="149" y="654"/>
                        </a:lnTo>
                        <a:lnTo>
                          <a:pt x="149" y="652"/>
                        </a:lnTo>
                        <a:lnTo>
                          <a:pt x="149" y="651"/>
                        </a:lnTo>
                        <a:lnTo>
                          <a:pt x="149" y="649"/>
                        </a:lnTo>
                        <a:lnTo>
                          <a:pt x="151" y="643"/>
                        </a:lnTo>
                        <a:lnTo>
                          <a:pt x="151" y="641"/>
                        </a:lnTo>
                        <a:lnTo>
                          <a:pt x="151" y="640"/>
                        </a:lnTo>
                        <a:lnTo>
                          <a:pt x="152" y="640"/>
                        </a:lnTo>
                        <a:lnTo>
                          <a:pt x="149" y="638"/>
                        </a:lnTo>
                        <a:lnTo>
                          <a:pt x="146" y="633"/>
                        </a:lnTo>
                        <a:lnTo>
                          <a:pt x="145" y="633"/>
                        </a:lnTo>
                        <a:lnTo>
                          <a:pt x="140" y="632"/>
                        </a:lnTo>
                        <a:lnTo>
                          <a:pt x="140" y="630"/>
                        </a:lnTo>
                        <a:lnTo>
                          <a:pt x="138" y="630"/>
                        </a:lnTo>
                        <a:lnTo>
                          <a:pt x="137" y="630"/>
                        </a:lnTo>
                        <a:lnTo>
                          <a:pt x="137" y="629"/>
                        </a:lnTo>
                        <a:lnTo>
                          <a:pt x="135" y="627"/>
                        </a:lnTo>
                        <a:lnTo>
                          <a:pt x="137" y="625"/>
                        </a:lnTo>
                        <a:lnTo>
                          <a:pt x="137" y="624"/>
                        </a:lnTo>
                        <a:lnTo>
                          <a:pt x="138" y="622"/>
                        </a:lnTo>
                        <a:lnTo>
                          <a:pt x="141" y="621"/>
                        </a:lnTo>
                        <a:lnTo>
                          <a:pt x="145" y="619"/>
                        </a:lnTo>
                        <a:lnTo>
                          <a:pt x="151" y="613"/>
                        </a:lnTo>
                        <a:lnTo>
                          <a:pt x="156" y="610"/>
                        </a:lnTo>
                        <a:lnTo>
                          <a:pt x="164" y="603"/>
                        </a:lnTo>
                        <a:lnTo>
                          <a:pt x="171" y="595"/>
                        </a:lnTo>
                        <a:lnTo>
                          <a:pt x="173" y="594"/>
                        </a:lnTo>
                        <a:lnTo>
                          <a:pt x="175" y="591"/>
                        </a:lnTo>
                        <a:lnTo>
                          <a:pt x="176" y="587"/>
                        </a:lnTo>
                        <a:lnTo>
                          <a:pt x="178" y="586"/>
                        </a:lnTo>
                        <a:lnTo>
                          <a:pt x="178" y="583"/>
                        </a:lnTo>
                        <a:lnTo>
                          <a:pt x="178" y="579"/>
                        </a:lnTo>
                        <a:lnTo>
                          <a:pt x="178" y="578"/>
                        </a:lnTo>
                        <a:lnTo>
                          <a:pt x="178" y="575"/>
                        </a:lnTo>
                        <a:lnTo>
                          <a:pt x="178" y="573"/>
                        </a:lnTo>
                        <a:lnTo>
                          <a:pt x="178" y="568"/>
                        </a:lnTo>
                        <a:lnTo>
                          <a:pt x="178" y="565"/>
                        </a:lnTo>
                        <a:lnTo>
                          <a:pt x="179" y="562"/>
                        </a:lnTo>
                        <a:lnTo>
                          <a:pt x="181" y="559"/>
                        </a:lnTo>
                        <a:lnTo>
                          <a:pt x="184" y="554"/>
                        </a:lnTo>
                        <a:lnTo>
                          <a:pt x="189" y="549"/>
                        </a:lnTo>
                        <a:lnTo>
                          <a:pt x="190" y="548"/>
                        </a:lnTo>
                        <a:lnTo>
                          <a:pt x="190" y="546"/>
                        </a:lnTo>
                        <a:lnTo>
                          <a:pt x="190" y="543"/>
                        </a:lnTo>
                        <a:lnTo>
                          <a:pt x="190" y="540"/>
                        </a:lnTo>
                        <a:lnTo>
                          <a:pt x="190" y="537"/>
                        </a:lnTo>
                        <a:lnTo>
                          <a:pt x="189" y="535"/>
                        </a:lnTo>
                        <a:lnTo>
                          <a:pt x="189" y="534"/>
                        </a:lnTo>
                        <a:lnTo>
                          <a:pt x="190" y="532"/>
                        </a:lnTo>
                        <a:lnTo>
                          <a:pt x="190" y="530"/>
                        </a:lnTo>
                        <a:lnTo>
                          <a:pt x="192" y="529"/>
                        </a:lnTo>
                        <a:lnTo>
                          <a:pt x="192" y="527"/>
                        </a:lnTo>
                        <a:lnTo>
                          <a:pt x="194" y="526"/>
                        </a:lnTo>
                        <a:lnTo>
                          <a:pt x="192" y="524"/>
                        </a:lnTo>
                        <a:lnTo>
                          <a:pt x="192" y="522"/>
                        </a:lnTo>
                        <a:lnTo>
                          <a:pt x="190" y="521"/>
                        </a:lnTo>
                        <a:lnTo>
                          <a:pt x="189" y="519"/>
                        </a:lnTo>
                        <a:lnTo>
                          <a:pt x="186" y="518"/>
                        </a:lnTo>
                        <a:lnTo>
                          <a:pt x="183" y="516"/>
                        </a:lnTo>
                        <a:lnTo>
                          <a:pt x="181" y="515"/>
                        </a:lnTo>
                        <a:lnTo>
                          <a:pt x="181" y="513"/>
                        </a:lnTo>
                        <a:lnTo>
                          <a:pt x="183" y="511"/>
                        </a:lnTo>
                        <a:lnTo>
                          <a:pt x="183" y="510"/>
                        </a:lnTo>
                        <a:lnTo>
                          <a:pt x="184" y="510"/>
                        </a:lnTo>
                        <a:lnTo>
                          <a:pt x="184" y="508"/>
                        </a:lnTo>
                        <a:lnTo>
                          <a:pt x="184" y="507"/>
                        </a:lnTo>
                        <a:lnTo>
                          <a:pt x="184" y="505"/>
                        </a:lnTo>
                        <a:lnTo>
                          <a:pt x="184" y="503"/>
                        </a:lnTo>
                        <a:lnTo>
                          <a:pt x="184" y="502"/>
                        </a:lnTo>
                        <a:lnTo>
                          <a:pt x="184" y="500"/>
                        </a:lnTo>
                        <a:lnTo>
                          <a:pt x="186" y="499"/>
                        </a:lnTo>
                        <a:lnTo>
                          <a:pt x="186" y="497"/>
                        </a:lnTo>
                        <a:lnTo>
                          <a:pt x="186" y="494"/>
                        </a:lnTo>
                        <a:lnTo>
                          <a:pt x="184" y="492"/>
                        </a:lnTo>
                        <a:lnTo>
                          <a:pt x="183" y="489"/>
                        </a:lnTo>
                        <a:lnTo>
                          <a:pt x="181" y="488"/>
                        </a:lnTo>
                        <a:lnTo>
                          <a:pt x="179" y="486"/>
                        </a:lnTo>
                        <a:lnTo>
                          <a:pt x="179" y="484"/>
                        </a:lnTo>
                        <a:lnTo>
                          <a:pt x="179" y="483"/>
                        </a:lnTo>
                        <a:lnTo>
                          <a:pt x="181" y="481"/>
                        </a:lnTo>
                        <a:lnTo>
                          <a:pt x="181" y="480"/>
                        </a:lnTo>
                        <a:lnTo>
                          <a:pt x="183" y="478"/>
                        </a:lnTo>
                        <a:lnTo>
                          <a:pt x="184" y="477"/>
                        </a:lnTo>
                        <a:lnTo>
                          <a:pt x="184" y="475"/>
                        </a:lnTo>
                        <a:lnTo>
                          <a:pt x="184" y="473"/>
                        </a:lnTo>
                        <a:lnTo>
                          <a:pt x="184" y="472"/>
                        </a:lnTo>
                        <a:lnTo>
                          <a:pt x="184" y="470"/>
                        </a:lnTo>
                        <a:lnTo>
                          <a:pt x="183" y="469"/>
                        </a:lnTo>
                        <a:lnTo>
                          <a:pt x="181" y="467"/>
                        </a:lnTo>
                        <a:lnTo>
                          <a:pt x="181" y="465"/>
                        </a:lnTo>
                        <a:lnTo>
                          <a:pt x="179" y="465"/>
                        </a:lnTo>
                        <a:lnTo>
                          <a:pt x="179" y="464"/>
                        </a:lnTo>
                        <a:lnTo>
                          <a:pt x="179" y="462"/>
                        </a:lnTo>
                        <a:lnTo>
                          <a:pt x="179" y="456"/>
                        </a:lnTo>
                        <a:lnTo>
                          <a:pt x="181" y="453"/>
                        </a:lnTo>
                        <a:lnTo>
                          <a:pt x="183" y="450"/>
                        </a:lnTo>
                        <a:lnTo>
                          <a:pt x="184" y="448"/>
                        </a:lnTo>
                        <a:lnTo>
                          <a:pt x="184" y="446"/>
                        </a:lnTo>
                        <a:lnTo>
                          <a:pt x="184" y="443"/>
                        </a:lnTo>
                        <a:lnTo>
                          <a:pt x="184" y="438"/>
                        </a:lnTo>
                        <a:lnTo>
                          <a:pt x="183" y="437"/>
                        </a:lnTo>
                        <a:lnTo>
                          <a:pt x="181" y="435"/>
                        </a:lnTo>
                        <a:lnTo>
                          <a:pt x="179" y="432"/>
                        </a:lnTo>
                        <a:lnTo>
                          <a:pt x="178" y="431"/>
                        </a:lnTo>
                        <a:lnTo>
                          <a:pt x="178" y="429"/>
                        </a:lnTo>
                        <a:lnTo>
                          <a:pt x="178" y="427"/>
                        </a:lnTo>
                        <a:lnTo>
                          <a:pt x="178" y="426"/>
                        </a:lnTo>
                        <a:lnTo>
                          <a:pt x="178" y="424"/>
                        </a:lnTo>
                        <a:lnTo>
                          <a:pt x="179" y="423"/>
                        </a:lnTo>
                        <a:lnTo>
                          <a:pt x="179" y="421"/>
                        </a:lnTo>
                        <a:lnTo>
                          <a:pt x="179" y="419"/>
                        </a:lnTo>
                        <a:lnTo>
                          <a:pt x="178" y="416"/>
                        </a:lnTo>
                        <a:lnTo>
                          <a:pt x="178" y="415"/>
                        </a:lnTo>
                        <a:lnTo>
                          <a:pt x="176" y="413"/>
                        </a:lnTo>
                        <a:lnTo>
                          <a:pt x="175" y="413"/>
                        </a:lnTo>
                        <a:lnTo>
                          <a:pt x="173" y="412"/>
                        </a:lnTo>
                        <a:lnTo>
                          <a:pt x="170" y="410"/>
                        </a:lnTo>
                        <a:lnTo>
                          <a:pt x="168" y="410"/>
                        </a:lnTo>
                        <a:lnTo>
                          <a:pt x="165" y="410"/>
                        </a:lnTo>
                        <a:lnTo>
                          <a:pt x="164" y="410"/>
                        </a:lnTo>
                        <a:lnTo>
                          <a:pt x="160" y="412"/>
                        </a:lnTo>
                        <a:lnTo>
                          <a:pt x="157" y="412"/>
                        </a:lnTo>
                        <a:lnTo>
                          <a:pt x="154" y="413"/>
                        </a:lnTo>
                        <a:lnTo>
                          <a:pt x="149" y="412"/>
                        </a:lnTo>
                        <a:lnTo>
                          <a:pt x="143" y="410"/>
                        </a:lnTo>
                        <a:lnTo>
                          <a:pt x="140" y="408"/>
                        </a:lnTo>
                        <a:lnTo>
                          <a:pt x="138" y="407"/>
                        </a:lnTo>
                        <a:lnTo>
                          <a:pt x="135" y="405"/>
                        </a:lnTo>
                        <a:lnTo>
                          <a:pt x="133" y="402"/>
                        </a:lnTo>
                        <a:lnTo>
                          <a:pt x="132" y="399"/>
                        </a:lnTo>
                        <a:lnTo>
                          <a:pt x="130" y="397"/>
                        </a:lnTo>
                        <a:lnTo>
                          <a:pt x="130" y="394"/>
                        </a:lnTo>
                        <a:lnTo>
                          <a:pt x="129" y="393"/>
                        </a:lnTo>
                        <a:lnTo>
                          <a:pt x="130" y="391"/>
                        </a:lnTo>
                        <a:lnTo>
                          <a:pt x="130" y="389"/>
                        </a:lnTo>
                        <a:lnTo>
                          <a:pt x="132" y="386"/>
                        </a:lnTo>
                        <a:lnTo>
                          <a:pt x="133" y="385"/>
                        </a:lnTo>
                        <a:lnTo>
                          <a:pt x="135" y="381"/>
                        </a:lnTo>
                        <a:lnTo>
                          <a:pt x="137" y="378"/>
                        </a:lnTo>
                        <a:lnTo>
                          <a:pt x="138" y="377"/>
                        </a:lnTo>
                        <a:lnTo>
                          <a:pt x="140" y="377"/>
                        </a:lnTo>
                        <a:lnTo>
                          <a:pt x="141" y="377"/>
                        </a:lnTo>
                        <a:lnTo>
                          <a:pt x="143" y="377"/>
                        </a:lnTo>
                        <a:lnTo>
                          <a:pt x="145" y="377"/>
                        </a:lnTo>
                        <a:lnTo>
                          <a:pt x="146" y="378"/>
                        </a:lnTo>
                        <a:lnTo>
                          <a:pt x="148" y="378"/>
                        </a:lnTo>
                        <a:lnTo>
                          <a:pt x="152" y="378"/>
                        </a:lnTo>
                        <a:lnTo>
                          <a:pt x="156" y="378"/>
                        </a:lnTo>
                        <a:lnTo>
                          <a:pt x="157" y="378"/>
                        </a:lnTo>
                        <a:lnTo>
                          <a:pt x="159" y="377"/>
                        </a:lnTo>
                        <a:lnTo>
                          <a:pt x="160" y="377"/>
                        </a:lnTo>
                        <a:lnTo>
                          <a:pt x="162" y="377"/>
                        </a:lnTo>
                        <a:lnTo>
                          <a:pt x="164" y="377"/>
                        </a:lnTo>
                        <a:lnTo>
                          <a:pt x="165" y="377"/>
                        </a:lnTo>
                        <a:lnTo>
                          <a:pt x="168" y="378"/>
                        </a:lnTo>
                        <a:lnTo>
                          <a:pt x="170" y="378"/>
                        </a:lnTo>
                        <a:lnTo>
                          <a:pt x="175" y="380"/>
                        </a:lnTo>
                        <a:lnTo>
                          <a:pt x="176" y="378"/>
                        </a:lnTo>
                        <a:lnTo>
                          <a:pt x="178" y="377"/>
                        </a:lnTo>
                        <a:lnTo>
                          <a:pt x="179" y="377"/>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75" name="Freeform 74"/>
                  <p:cNvSpPr>
                    <a:spLocks/>
                  </p:cNvSpPr>
                  <p:nvPr/>
                </p:nvSpPr>
                <p:spPr bwMode="auto">
                  <a:xfrm>
                    <a:off x="2736" y="2924"/>
                    <a:ext cx="371" cy="380"/>
                  </a:xfrm>
                  <a:custGeom>
                    <a:avLst/>
                    <a:gdLst>
                      <a:gd name="T0" fmla="*/ 32 w 371"/>
                      <a:gd name="T1" fmla="*/ 375 h 380"/>
                      <a:gd name="T2" fmla="*/ 33 w 371"/>
                      <a:gd name="T3" fmla="*/ 362 h 380"/>
                      <a:gd name="T4" fmla="*/ 29 w 371"/>
                      <a:gd name="T5" fmla="*/ 350 h 380"/>
                      <a:gd name="T6" fmla="*/ 18 w 371"/>
                      <a:gd name="T7" fmla="*/ 340 h 380"/>
                      <a:gd name="T8" fmla="*/ 14 w 371"/>
                      <a:gd name="T9" fmla="*/ 331 h 380"/>
                      <a:gd name="T10" fmla="*/ 10 w 371"/>
                      <a:gd name="T11" fmla="*/ 318 h 380"/>
                      <a:gd name="T12" fmla="*/ 2 w 371"/>
                      <a:gd name="T13" fmla="*/ 307 h 380"/>
                      <a:gd name="T14" fmla="*/ 11 w 371"/>
                      <a:gd name="T15" fmla="*/ 301 h 380"/>
                      <a:gd name="T16" fmla="*/ 16 w 371"/>
                      <a:gd name="T17" fmla="*/ 299 h 380"/>
                      <a:gd name="T18" fmla="*/ 25 w 371"/>
                      <a:gd name="T19" fmla="*/ 294 h 380"/>
                      <a:gd name="T20" fmla="*/ 32 w 371"/>
                      <a:gd name="T21" fmla="*/ 297 h 380"/>
                      <a:gd name="T22" fmla="*/ 41 w 371"/>
                      <a:gd name="T23" fmla="*/ 294 h 380"/>
                      <a:gd name="T24" fmla="*/ 52 w 371"/>
                      <a:gd name="T25" fmla="*/ 291 h 380"/>
                      <a:gd name="T26" fmla="*/ 51 w 371"/>
                      <a:gd name="T27" fmla="*/ 277 h 380"/>
                      <a:gd name="T28" fmla="*/ 43 w 371"/>
                      <a:gd name="T29" fmla="*/ 270 h 380"/>
                      <a:gd name="T30" fmla="*/ 46 w 371"/>
                      <a:gd name="T31" fmla="*/ 264 h 380"/>
                      <a:gd name="T32" fmla="*/ 54 w 371"/>
                      <a:gd name="T33" fmla="*/ 248 h 380"/>
                      <a:gd name="T34" fmla="*/ 67 w 371"/>
                      <a:gd name="T35" fmla="*/ 253 h 380"/>
                      <a:gd name="T36" fmla="*/ 75 w 371"/>
                      <a:gd name="T37" fmla="*/ 242 h 380"/>
                      <a:gd name="T38" fmla="*/ 79 w 371"/>
                      <a:gd name="T39" fmla="*/ 232 h 380"/>
                      <a:gd name="T40" fmla="*/ 86 w 371"/>
                      <a:gd name="T41" fmla="*/ 223 h 380"/>
                      <a:gd name="T42" fmla="*/ 92 w 371"/>
                      <a:gd name="T43" fmla="*/ 215 h 380"/>
                      <a:gd name="T44" fmla="*/ 94 w 371"/>
                      <a:gd name="T45" fmla="*/ 202 h 380"/>
                      <a:gd name="T46" fmla="*/ 84 w 371"/>
                      <a:gd name="T47" fmla="*/ 204 h 380"/>
                      <a:gd name="T48" fmla="*/ 86 w 371"/>
                      <a:gd name="T49" fmla="*/ 198 h 380"/>
                      <a:gd name="T50" fmla="*/ 90 w 371"/>
                      <a:gd name="T51" fmla="*/ 191 h 380"/>
                      <a:gd name="T52" fmla="*/ 100 w 371"/>
                      <a:gd name="T53" fmla="*/ 190 h 380"/>
                      <a:gd name="T54" fmla="*/ 102 w 371"/>
                      <a:gd name="T55" fmla="*/ 177 h 380"/>
                      <a:gd name="T56" fmla="*/ 113 w 371"/>
                      <a:gd name="T57" fmla="*/ 174 h 380"/>
                      <a:gd name="T58" fmla="*/ 111 w 371"/>
                      <a:gd name="T59" fmla="*/ 180 h 380"/>
                      <a:gd name="T60" fmla="*/ 116 w 371"/>
                      <a:gd name="T61" fmla="*/ 182 h 380"/>
                      <a:gd name="T62" fmla="*/ 121 w 371"/>
                      <a:gd name="T63" fmla="*/ 172 h 380"/>
                      <a:gd name="T64" fmla="*/ 128 w 371"/>
                      <a:gd name="T65" fmla="*/ 163 h 380"/>
                      <a:gd name="T66" fmla="*/ 138 w 371"/>
                      <a:gd name="T67" fmla="*/ 153 h 380"/>
                      <a:gd name="T68" fmla="*/ 144 w 371"/>
                      <a:gd name="T69" fmla="*/ 144 h 380"/>
                      <a:gd name="T70" fmla="*/ 146 w 371"/>
                      <a:gd name="T71" fmla="*/ 131 h 380"/>
                      <a:gd name="T72" fmla="*/ 157 w 371"/>
                      <a:gd name="T73" fmla="*/ 129 h 380"/>
                      <a:gd name="T74" fmla="*/ 171 w 371"/>
                      <a:gd name="T75" fmla="*/ 134 h 380"/>
                      <a:gd name="T76" fmla="*/ 179 w 371"/>
                      <a:gd name="T77" fmla="*/ 125 h 380"/>
                      <a:gd name="T78" fmla="*/ 187 w 371"/>
                      <a:gd name="T79" fmla="*/ 115 h 380"/>
                      <a:gd name="T80" fmla="*/ 201 w 371"/>
                      <a:gd name="T81" fmla="*/ 117 h 380"/>
                      <a:gd name="T82" fmla="*/ 212 w 371"/>
                      <a:gd name="T83" fmla="*/ 112 h 380"/>
                      <a:gd name="T84" fmla="*/ 225 w 371"/>
                      <a:gd name="T85" fmla="*/ 104 h 380"/>
                      <a:gd name="T86" fmla="*/ 233 w 371"/>
                      <a:gd name="T87" fmla="*/ 95 h 380"/>
                      <a:gd name="T88" fmla="*/ 243 w 371"/>
                      <a:gd name="T89" fmla="*/ 91 h 380"/>
                      <a:gd name="T90" fmla="*/ 252 w 371"/>
                      <a:gd name="T91" fmla="*/ 98 h 380"/>
                      <a:gd name="T92" fmla="*/ 257 w 371"/>
                      <a:gd name="T93" fmla="*/ 107 h 380"/>
                      <a:gd name="T94" fmla="*/ 265 w 371"/>
                      <a:gd name="T95" fmla="*/ 103 h 380"/>
                      <a:gd name="T96" fmla="*/ 274 w 371"/>
                      <a:gd name="T97" fmla="*/ 101 h 380"/>
                      <a:gd name="T98" fmla="*/ 276 w 371"/>
                      <a:gd name="T99" fmla="*/ 87 h 380"/>
                      <a:gd name="T100" fmla="*/ 273 w 371"/>
                      <a:gd name="T101" fmla="*/ 72 h 380"/>
                      <a:gd name="T102" fmla="*/ 279 w 371"/>
                      <a:gd name="T103" fmla="*/ 63 h 380"/>
                      <a:gd name="T104" fmla="*/ 293 w 371"/>
                      <a:gd name="T105" fmla="*/ 49 h 380"/>
                      <a:gd name="T106" fmla="*/ 301 w 371"/>
                      <a:gd name="T107" fmla="*/ 39 h 380"/>
                      <a:gd name="T108" fmla="*/ 306 w 371"/>
                      <a:gd name="T109" fmla="*/ 30 h 380"/>
                      <a:gd name="T110" fmla="*/ 314 w 371"/>
                      <a:gd name="T111" fmla="*/ 15 h 380"/>
                      <a:gd name="T112" fmla="*/ 325 w 371"/>
                      <a:gd name="T113" fmla="*/ 9 h 380"/>
                      <a:gd name="T114" fmla="*/ 339 w 371"/>
                      <a:gd name="T115" fmla="*/ 7 h 380"/>
                      <a:gd name="T116" fmla="*/ 353 w 371"/>
                      <a:gd name="T117" fmla="*/ 6 h 380"/>
                      <a:gd name="T118" fmla="*/ 364 w 371"/>
                      <a:gd name="T119" fmla="*/ 1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1" h="380">
                        <a:moveTo>
                          <a:pt x="14" y="380"/>
                        </a:moveTo>
                        <a:lnTo>
                          <a:pt x="18" y="378"/>
                        </a:lnTo>
                        <a:lnTo>
                          <a:pt x="19" y="377"/>
                        </a:lnTo>
                        <a:lnTo>
                          <a:pt x="22" y="375"/>
                        </a:lnTo>
                        <a:lnTo>
                          <a:pt x="24" y="375"/>
                        </a:lnTo>
                        <a:lnTo>
                          <a:pt x="25" y="375"/>
                        </a:lnTo>
                        <a:lnTo>
                          <a:pt x="29" y="375"/>
                        </a:lnTo>
                        <a:lnTo>
                          <a:pt x="30" y="375"/>
                        </a:lnTo>
                        <a:lnTo>
                          <a:pt x="32" y="375"/>
                        </a:lnTo>
                        <a:lnTo>
                          <a:pt x="33" y="373"/>
                        </a:lnTo>
                        <a:lnTo>
                          <a:pt x="35" y="372"/>
                        </a:lnTo>
                        <a:lnTo>
                          <a:pt x="37" y="372"/>
                        </a:lnTo>
                        <a:lnTo>
                          <a:pt x="38" y="370"/>
                        </a:lnTo>
                        <a:lnTo>
                          <a:pt x="37" y="370"/>
                        </a:lnTo>
                        <a:lnTo>
                          <a:pt x="35" y="367"/>
                        </a:lnTo>
                        <a:lnTo>
                          <a:pt x="35" y="365"/>
                        </a:lnTo>
                        <a:lnTo>
                          <a:pt x="35" y="364"/>
                        </a:lnTo>
                        <a:lnTo>
                          <a:pt x="33" y="362"/>
                        </a:lnTo>
                        <a:lnTo>
                          <a:pt x="32" y="359"/>
                        </a:lnTo>
                        <a:lnTo>
                          <a:pt x="30" y="358"/>
                        </a:lnTo>
                        <a:lnTo>
                          <a:pt x="30" y="356"/>
                        </a:lnTo>
                        <a:lnTo>
                          <a:pt x="29" y="356"/>
                        </a:lnTo>
                        <a:lnTo>
                          <a:pt x="29" y="354"/>
                        </a:lnTo>
                        <a:lnTo>
                          <a:pt x="30" y="353"/>
                        </a:lnTo>
                        <a:lnTo>
                          <a:pt x="30" y="351"/>
                        </a:lnTo>
                        <a:lnTo>
                          <a:pt x="30" y="350"/>
                        </a:lnTo>
                        <a:lnTo>
                          <a:pt x="29" y="350"/>
                        </a:lnTo>
                        <a:lnTo>
                          <a:pt x="27" y="350"/>
                        </a:lnTo>
                        <a:lnTo>
                          <a:pt x="25" y="350"/>
                        </a:lnTo>
                        <a:lnTo>
                          <a:pt x="25" y="348"/>
                        </a:lnTo>
                        <a:lnTo>
                          <a:pt x="24" y="346"/>
                        </a:lnTo>
                        <a:lnTo>
                          <a:pt x="22" y="345"/>
                        </a:lnTo>
                        <a:lnTo>
                          <a:pt x="21" y="343"/>
                        </a:lnTo>
                        <a:lnTo>
                          <a:pt x="19" y="342"/>
                        </a:lnTo>
                        <a:lnTo>
                          <a:pt x="19" y="340"/>
                        </a:lnTo>
                        <a:lnTo>
                          <a:pt x="18" y="340"/>
                        </a:lnTo>
                        <a:lnTo>
                          <a:pt x="16" y="340"/>
                        </a:lnTo>
                        <a:lnTo>
                          <a:pt x="18" y="340"/>
                        </a:lnTo>
                        <a:lnTo>
                          <a:pt x="19" y="340"/>
                        </a:lnTo>
                        <a:lnTo>
                          <a:pt x="18" y="339"/>
                        </a:lnTo>
                        <a:lnTo>
                          <a:pt x="16" y="337"/>
                        </a:lnTo>
                        <a:lnTo>
                          <a:pt x="14" y="337"/>
                        </a:lnTo>
                        <a:lnTo>
                          <a:pt x="14" y="335"/>
                        </a:lnTo>
                        <a:lnTo>
                          <a:pt x="14" y="332"/>
                        </a:lnTo>
                        <a:lnTo>
                          <a:pt x="14" y="331"/>
                        </a:lnTo>
                        <a:lnTo>
                          <a:pt x="14" y="329"/>
                        </a:lnTo>
                        <a:lnTo>
                          <a:pt x="14" y="327"/>
                        </a:lnTo>
                        <a:lnTo>
                          <a:pt x="13" y="326"/>
                        </a:lnTo>
                        <a:lnTo>
                          <a:pt x="13" y="324"/>
                        </a:lnTo>
                        <a:lnTo>
                          <a:pt x="13" y="323"/>
                        </a:lnTo>
                        <a:lnTo>
                          <a:pt x="11" y="321"/>
                        </a:lnTo>
                        <a:lnTo>
                          <a:pt x="10" y="321"/>
                        </a:lnTo>
                        <a:lnTo>
                          <a:pt x="10" y="320"/>
                        </a:lnTo>
                        <a:lnTo>
                          <a:pt x="10" y="318"/>
                        </a:lnTo>
                        <a:lnTo>
                          <a:pt x="8" y="316"/>
                        </a:lnTo>
                        <a:lnTo>
                          <a:pt x="6" y="315"/>
                        </a:lnTo>
                        <a:lnTo>
                          <a:pt x="5" y="315"/>
                        </a:lnTo>
                        <a:lnTo>
                          <a:pt x="3" y="313"/>
                        </a:lnTo>
                        <a:lnTo>
                          <a:pt x="2" y="312"/>
                        </a:lnTo>
                        <a:lnTo>
                          <a:pt x="2" y="310"/>
                        </a:lnTo>
                        <a:lnTo>
                          <a:pt x="0" y="310"/>
                        </a:lnTo>
                        <a:lnTo>
                          <a:pt x="0" y="308"/>
                        </a:lnTo>
                        <a:lnTo>
                          <a:pt x="2" y="307"/>
                        </a:lnTo>
                        <a:lnTo>
                          <a:pt x="3" y="307"/>
                        </a:lnTo>
                        <a:lnTo>
                          <a:pt x="5" y="308"/>
                        </a:lnTo>
                        <a:lnTo>
                          <a:pt x="6" y="308"/>
                        </a:lnTo>
                        <a:lnTo>
                          <a:pt x="8" y="308"/>
                        </a:lnTo>
                        <a:lnTo>
                          <a:pt x="10" y="307"/>
                        </a:lnTo>
                        <a:lnTo>
                          <a:pt x="11" y="305"/>
                        </a:lnTo>
                        <a:lnTo>
                          <a:pt x="11" y="304"/>
                        </a:lnTo>
                        <a:lnTo>
                          <a:pt x="11" y="302"/>
                        </a:lnTo>
                        <a:lnTo>
                          <a:pt x="11" y="301"/>
                        </a:lnTo>
                        <a:lnTo>
                          <a:pt x="10" y="301"/>
                        </a:lnTo>
                        <a:lnTo>
                          <a:pt x="8" y="297"/>
                        </a:lnTo>
                        <a:lnTo>
                          <a:pt x="8" y="296"/>
                        </a:lnTo>
                        <a:lnTo>
                          <a:pt x="10" y="296"/>
                        </a:lnTo>
                        <a:lnTo>
                          <a:pt x="11" y="296"/>
                        </a:lnTo>
                        <a:lnTo>
                          <a:pt x="13" y="296"/>
                        </a:lnTo>
                        <a:lnTo>
                          <a:pt x="13" y="297"/>
                        </a:lnTo>
                        <a:lnTo>
                          <a:pt x="14" y="297"/>
                        </a:lnTo>
                        <a:lnTo>
                          <a:pt x="16" y="299"/>
                        </a:lnTo>
                        <a:lnTo>
                          <a:pt x="18" y="302"/>
                        </a:lnTo>
                        <a:lnTo>
                          <a:pt x="19" y="304"/>
                        </a:lnTo>
                        <a:lnTo>
                          <a:pt x="21" y="305"/>
                        </a:lnTo>
                        <a:lnTo>
                          <a:pt x="22" y="305"/>
                        </a:lnTo>
                        <a:lnTo>
                          <a:pt x="22" y="304"/>
                        </a:lnTo>
                        <a:lnTo>
                          <a:pt x="22" y="301"/>
                        </a:lnTo>
                        <a:lnTo>
                          <a:pt x="22" y="299"/>
                        </a:lnTo>
                        <a:lnTo>
                          <a:pt x="24" y="297"/>
                        </a:lnTo>
                        <a:lnTo>
                          <a:pt x="25" y="294"/>
                        </a:lnTo>
                        <a:lnTo>
                          <a:pt x="25" y="293"/>
                        </a:lnTo>
                        <a:lnTo>
                          <a:pt x="27" y="293"/>
                        </a:lnTo>
                        <a:lnTo>
                          <a:pt x="27" y="291"/>
                        </a:lnTo>
                        <a:lnTo>
                          <a:pt x="29" y="291"/>
                        </a:lnTo>
                        <a:lnTo>
                          <a:pt x="30" y="293"/>
                        </a:lnTo>
                        <a:lnTo>
                          <a:pt x="32" y="293"/>
                        </a:lnTo>
                        <a:lnTo>
                          <a:pt x="32" y="294"/>
                        </a:lnTo>
                        <a:lnTo>
                          <a:pt x="32" y="296"/>
                        </a:lnTo>
                        <a:lnTo>
                          <a:pt x="32" y="297"/>
                        </a:lnTo>
                        <a:lnTo>
                          <a:pt x="32" y="299"/>
                        </a:lnTo>
                        <a:lnTo>
                          <a:pt x="33" y="299"/>
                        </a:lnTo>
                        <a:lnTo>
                          <a:pt x="35" y="301"/>
                        </a:lnTo>
                        <a:lnTo>
                          <a:pt x="37" y="301"/>
                        </a:lnTo>
                        <a:lnTo>
                          <a:pt x="38" y="301"/>
                        </a:lnTo>
                        <a:lnTo>
                          <a:pt x="38" y="297"/>
                        </a:lnTo>
                        <a:lnTo>
                          <a:pt x="38" y="294"/>
                        </a:lnTo>
                        <a:lnTo>
                          <a:pt x="40" y="294"/>
                        </a:lnTo>
                        <a:lnTo>
                          <a:pt x="41" y="294"/>
                        </a:lnTo>
                        <a:lnTo>
                          <a:pt x="43" y="294"/>
                        </a:lnTo>
                        <a:lnTo>
                          <a:pt x="44" y="294"/>
                        </a:lnTo>
                        <a:lnTo>
                          <a:pt x="46" y="294"/>
                        </a:lnTo>
                        <a:lnTo>
                          <a:pt x="48" y="297"/>
                        </a:lnTo>
                        <a:lnTo>
                          <a:pt x="49" y="297"/>
                        </a:lnTo>
                        <a:lnTo>
                          <a:pt x="52" y="297"/>
                        </a:lnTo>
                        <a:lnTo>
                          <a:pt x="54" y="296"/>
                        </a:lnTo>
                        <a:lnTo>
                          <a:pt x="54" y="294"/>
                        </a:lnTo>
                        <a:lnTo>
                          <a:pt x="52" y="291"/>
                        </a:lnTo>
                        <a:lnTo>
                          <a:pt x="51" y="289"/>
                        </a:lnTo>
                        <a:lnTo>
                          <a:pt x="51" y="288"/>
                        </a:lnTo>
                        <a:lnTo>
                          <a:pt x="52" y="286"/>
                        </a:lnTo>
                        <a:lnTo>
                          <a:pt x="52" y="285"/>
                        </a:lnTo>
                        <a:lnTo>
                          <a:pt x="51" y="285"/>
                        </a:lnTo>
                        <a:lnTo>
                          <a:pt x="51" y="282"/>
                        </a:lnTo>
                        <a:lnTo>
                          <a:pt x="51" y="280"/>
                        </a:lnTo>
                        <a:lnTo>
                          <a:pt x="52" y="277"/>
                        </a:lnTo>
                        <a:lnTo>
                          <a:pt x="51" y="277"/>
                        </a:lnTo>
                        <a:lnTo>
                          <a:pt x="49" y="277"/>
                        </a:lnTo>
                        <a:lnTo>
                          <a:pt x="49" y="278"/>
                        </a:lnTo>
                        <a:lnTo>
                          <a:pt x="49" y="280"/>
                        </a:lnTo>
                        <a:lnTo>
                          <a:pt x="48" y="282"/>
                        </a:lnTo>
                        <a:lnTo>
                          <a:pt x="46" y="282"/>
                        </a:lnTo>
                        <a:lnTo>
                          <a:pt x="46" y="280"/>
                        </a:lnTo>
                        <a:lnTo>
                          <a:pt x="43" y="277"/>
                        </a:lnTo>
                        <a:lnTo>
                          <a:pt x="43" y="272"/>
                        </a:lnTo>
                        <a:lnTo>
                          <a:pt x="43" y="270"/>
                        </a:lnTo>
                        <a:lnTo>
                          <a:pt x="44" y="270"/>
                        </a:lnTo>
                        <a:lnTo>
                          <a:pt x="46" y="272"/>
                        </a:lnTo>
                        <a:lnTo>
                          <a:pt x="48" y="272"/>
                        </a:lnTo>
                        <a:lnTo>
                          <a:pt x="48" y="269"/>
                        </a:lnTo>
                        <a:lnTo>
                          <a:pt x="49" y="269"/>
                        </a:lnTo>
                        <a:lnTo>
                          <a:pt x="49" y="266"/>
                        </a:lnTo>
                        <a:lnTo>
                          <a:pt x="48" y="264"/>
                        </a:lnTo>
                        <a:lnTo>
                          <a:pt x="48" y="266"/>
                        </a:lnTo>
                        <a:lnTo>
                          <a:pt x="46" y="264"/>
                        </a:lnTo>
                        <a:lnTo>
                          <a:pt x="48" y="262"/>
                        </a:lnTo>
                        <a:lnTo>
                          <a:pt x="51" y="261"/>
                        </a:lnTo>
                        <a:lnTo>
                          <a:pt x="52" y="259"/>
                        </a:lnTo>
                        <a:lnTo>
                          <a:pt x="54" y="258"/>
                        </a:lnTo>
                        <a:lnTo>
                          <a:pt x="54" y="256"/>
                        </a:lnTo>
                        <a:lnTo>
                          <a:pt x="52" y="253"/>
                        </a:lnTo>
                        <a:lnTo>
                          <a:pt x="52" y="251"/>
                        </a:lnTo>
                        <a:lnTo>
                          <a:pt x="52" y="250"/>
                        </a:lnTo>
                        <a:lnTo>
                          <a:pt x="54" y="248"/>
                        </a:lnTo>
                        <a:lnTo>
                          <a:pt x="54" y="247"/>
                        </a:lnTo>
                        <a:lnTo>
                          <a:pt x="56" y="248"/>
                        </a:lnTo>
                        <a:lnTo>
                          <a:pt x="56" y="250"/>
                        </a:lnTo>
                        <a:lnTo>
                          <a:pt x="57" y="250"/>
                        </a:lnTo>
                        <a:lnTo>
                          <a:pt x="60" y="248"/>
                        </a:lnTo>
                        <a:lnTo>
                          <a:pt x="60" y="250"/>
                        </a:lnTo>
                        <a:lnTo>
                          <a:pt x="60" y="253"/>
                        </a:lnTo>
                        <a:lnTo>
                          <a:pt x="65" y="253"/>
                        </a:lnTo>
                        <a:lnTo>
                          <a:pt x="67" y="253"/>
                        </a:lnTo>
                        <a:lnTo>
                          <a:pt x="71" y="253"/>
                        </a:lnTo>
                        <a:lnTo>
                          <a:pt x="73" y="253"/>
                        </a:lnTo>
                        <a:lnTo>
                          <a:pt x="73" y="251"/>
                        </a:lnTo>
                        <a:lnTo>
                          <a:pt x="71" y="251"/>
                        </a:lnTo>
                        <a:lnTo>
                          <a:pt x="73" y="250"/>
                        </a:lnTo>
                        <a:lnTo>
                          <a:pt x="73" y="248"/>
                        </a:lnTo>
                        <a:lnTo>
                          <a:pt x="73" y="247"/>
                        </a:lnTo>
                        <a:lnTo>
                          <a:pt x="73" y="242"/>
                        </a:lnTo>
                        <a:lnTo>
                          <a:pt x="75" y="242"/>
                        </a:lnTo>
                        <a:lnTo>
                          <a:pt x="75" y="240"/>
                        </a:lnTo>
                        <a:lnTo>
                          <a:pt x="78" y="242"/>
                        </a:lnTo>
                        <a:lnTo>
                          <a:pt x="79" y="242"/>
                        </a:lnTo>
                        <a:lnTo>
                          <a:pt x="79" y="243"/>
                        </a:lnTo>
                        <a:lnTo>
                          <a:pt x="81" y="240"/>
                        </a:lnTo>
                        <a:lnTo>
                          <a:pt x="81" y="239"/>
                        </a:lnTo>
                        <a:lnTo>
                          <a:pt x="81" y="237"/>
                        </a:lnTo>
                        <a:lnTo>
                          <a:pt x="83" y="236"/>
                        </a:lnTo>
                        <a:lnTo>
                          <a:pt x="79" y="232"/>
                        </a:lnTo>
                        <a:lnTo>
                          <a:pt x="78" y="231"/>
                        </a:lnTo>
                        <a:lnTo>
                          <a:pt x="78" y="228"/>
                        </a:lnTo>
                        <a:lnTo>
                          <a:pt x="79" y="228"/>
                        </a:lnTo>
                        <a:lnTo>
                          <a:pt x="81" y="229"/>
                        </a:lnTo>
                        <a:lnTo>
                          <a:pt x="84" y="228"/>
                        </a:lnTo>
                        <a:lnTo>
                          <a:pt x="86" y="226"/>
                        </a:lnTo>
                        <a:lnTo>
                          <a:pt x="84" y="226"/>
                        </a:lnTo>
                        <a:lnTo>
                          <a:pt x="84" y="224"/>
                        </a:lnTo>
                        <a:lnTo>
                          <a:pt x="86" y="223"/>
                        </a:lnTo>
                        <a:lnTo>
                          <a:pt x="87" y="223"/>
                        </a:lnTo>
                        <a:lnTo>
                          <a:pt x="89" y="223"/>
                        </a:lnTo>
                        <a:lnTo>
                          <a:pt x="89" y="221"/>
                        </a:lnTo>
                        <a:lnTo>
                          <a:pt x="90" y="221"/>
                        </a:lnTo>
                        <a:lnTo>
                          <a:pt x="90" y="220"/>
                        </a:lnTo>
                        <a:lnTo>
                          <a:pt x="90" y="218"/>
                        </a:lnTo>
                        <a:lnTo>
                          <a:pt x="90" y="217"/>
                        </a:lnTo>
                        <a:lnTo>
                          <a:pt x="90" y="215"/>
                        </a:lnTo>
                        <a:lnTo>
                          <a:pt x="92" y="215"/>
                        </a:lnTo>
                        <a:lnTo>
                          <a:pt x="94" y="213"/>
                        </a:lnTo>
                        <a:lnTo>
                          <a:pt x="95" y="213"/>
                        </a:lnTo>
                        <a:lnTo>
                          <a:pt x="95" y="212"/>
                        </a:lnTo>
                        <a:lnTo>
                          <a:pt x="95" y="210"/>
                        </a:lnTo>
                        <a:lnTo>
                          <a:pt x="95" y="209"/>
                        </a:lnTo>
                        <a:lnTo>
                          <a:pt x="95" y="207"/>
                        </a:lnTo>
                        <a:lnTo>
                          <a:pt x="94" y="205"/>
                        </a:lnTo>
                        <a:lnTo>
                          <a:pt x="94" y="204"/>
                        </a:lnTo>
                        <a:lnTo>
                          <a:pt x="94" y="202"/>
                        </a:lnTo>
                        <a:lnTo>
                          <a:pt x="92" y="202"/>
                        </a:lnTo>
                        <a:lnTo>
                          <a:pt x="92" y="201"/>
                        </a:lnTo>
                        <a:lnTo>
                          <a:pt x="90" y="201"/>
                        </a:lnTo>
                        <a:lnTo>
                          <a:pt x="90" y="202"/>
                        </a:lnTo>
                        <a:lnTo>
                          <a:pt x="89" y="204"/>
                        </a:lnTo>
                        <a:lnTo>
                          <a:pt x="87" y="204"/>
                        </a:lnTo>
                        <a:lnTo>
                          <a:pt x="86" y="205"/>
                        </a:lnTo>
                        <a:lnTo>
                          <a:pt x="84" y="205"/>
                        </a:lnTo>
                        <a:lnTo>
                          <a:pt x="84" y="204"/>
                        </a:lnTo>
                        <a:lnTo>
                          <a:pt x="83" y="204"/>
                        </a:lnTo>
                        <a:lnTo>
                          <a:pt x="83" y="202"/>
                        </a:lnTo>
                        <a:lnTo>
                          <a:pt x="81" y="202"/>
                        </a:lnTo>
                        <a:lnTo>
                          <a:pt x="81" y="201"/>
                        </a:lnTo>
                        <a:lnTo>
                          <a:pt x="83" y="201"/>
                        </a:lnTo>
                        <a:lnTo>
                          <a:pt x="83" y="199"/>
                        </a:lnTo>
                        <a:lnTo>
                          <a:pt x="84" y="199"/>
                        </a:lnTo>
                        <a:lnTo>
                          <a:pt x="84" y="198"/>
                        </a:lnTo>
                        <a:lnTo>
                          <a:pt x="86" y="198"/>
                        </a:lnTo>
                        <a:lnTo>
                          <a:pt x="87" y="196"/>
                        </a:lnTo>
                        <a:lnTo>
                          <a:pt x="87" y="194"/>
                        </a:lnTo>
                        <a:lnTo>
                          <a:pt x="86" y="194"/>
                        </a:lnTo>
                        <a:lnTo>
                          <a:pt x="86" y="193"/>
                        </a:lnTo>
                        <a:lnTo>
                          <a:pt x="87" y="193"/>
                        </a:lnTo>
                        <a:lnTo>
                          <a:pt x="89" y="191"/>
                        </a:lnTo>
                        <a:lnTo>
                          <a:pt x="90" y="191"/>
                        </a:lnTo>
                        <a:lnTo>
                          <a:pt x="90" y="193"/>
                        </a:lnTo>
                        <a:lnTo>
                          <a:pt x="90" y="191"/>
                        </a:lnTo>
                        <a:lnTo>
                          <a:pt x="92" y="191"/>
                        </a:lnTo>
                        <a:lnTo>
                          <a:pt x="94" y="191"/>
                        </a:lnTo>
                        <a:lnTo>
                          <a:pt x="95" y="191"/>
                        </a:lnTo>
                        <a:lnTo>
                          <a:pt x="97" y="191"/>
                        </a:lnTo>
                        <a:lnTo>
                          <a:pt x="98" y="190"/>
                        </a:lnTo>
                        <a:lnTo>
                          <a:pt x="98" y="191"/>
                        </a:lnTo>
                        <a:lnTo>
                          <a:pt x="100" y="191"/>
                        </a:lnTo>
                        <a:lnTo>
                          <a:pt x="102" y="190"/>
                        </a:lnTo>
                        <a:lnTo>
                          <a:pt x="100" y="190"/>
                        </a:lnTo>
                        <a:lnTo>
                          <a:pt x="100" y="188"/>
                        </a:lnTo>
                        <a:lnTo>
                          <a:pt x="100" y="186"/>
                        </a:lnTo>
                        <a:lnTo>
                          <a:pt x="98" y="186"/>
                        </a:lnTo>
                        <a:lnTo>
                          <a:pt x="97" y="185"/>
                        </a:lnTo>
                        <a:lnTo>
                          <a:pt x="97" y="183"/>
                        </a:lnTo>
                        <a:lnTo>
                          <a:pt x="97" y="182"/>
                        </a:lnTo>
                        <a:lnTo>
                          <a:pt x="98" y="180"/>
                        </a:lnTo>
                        <a:lnTo>
                          <a:pt x="100" y="179"/>
                        </a:lnTo>
                        <a:lnTo>
                          <a:pt x="102" y="177"/>
                        </a:lnTo>
                        <a:lnTo>
                          <a:pt x="103" y="175"/>
                        </a:lnTo>
                        <a:lnTo>
                          <a:pt x="103" y="174"/>
                        </a:lnTo>
                        <a:lnTo>
                          <a:pt x="105" y="174"/>
                        </a:lnTo>
                        <a:lnTo>
                          <a:pt x="106" y="174"/>
                        </a:lnTo>
                        <a:lnTo>
                          <a:pt x="106" y="172"/>
                        </a:lnTo>
                        <a:lnTo>
                          <a:pt x="108" y="172"/>
                        </a:lnTo>
                        <a:lnTo>
                          <a:pt x="109" y="172"/>
                        </a:lnTo>
                        <a:lnTo>
                          <a:pt x="111" y="172"/>
                        </a:lnTo>
                        <a:lnTo>
                          <a:pt x="113" y="174"/>
                        </a:lnTo>
                        <a:lnTo>
                          <a:pt x="111" y="174"/>
                        </a:lnTo>
                        <a:lnTo>
                          <a:pt x="111" y="175"/>
                        </a:lnTo>
                        <a:lnTo>
                          <a:pt x="109" y="175"/>
                        </a:lnTo>
                        <a:lnTo>
                          <a:pt x="108" y="175"/>
                        </a:lnTo>
                        <a:lnTo>
                          <a:pt x="108" y="177"/>
                        </a:lnTo>
                        <a:lnTo>
                          <a:pt x="108" y="179"/>
                        </a:lnTo>
                        <a:lnTo>
                          <a:pt x="109" y="179"/>
                        </a:lnTo>
                        <a:lnTo>
                          <a:pt x="109" y="180"/>
                        </a:lnTo>
                        <a:lnTo>
                          <a:pt x="111" y="180"/>
                        </a:lnTo>
                        <a:lnTo>
                          <a:pt x="111" y="182"/>
                        </a:lnTo>
                        <a:lnTo>
                          <a:pt x="111" y="183"/>
                        </a:lnTo>
                        <a:lnTo>
                          <a:pt x="111" y="185"/>
                        </a:lnTo>
                        <a:lnTo>
                          <a:pt x="111" y="186"/>
                        </a:lnTo>
                        <a:lnTo>
                          <a:pt x="113" y="186"/>
                        </a:lnTo>
                        <a:lnTo>
                          <a:pt x="114" y="186"/>
                        </a:lnTo>
                        <a:lnTo>
                          <a:pt x="116" y="185"/>
                        </a:lnTo>
                        <a:lnTo>
                          <a:pt x="116" y="183"/>
                        </a:lnTo>
                        <a:lnTo>
                          <a:pt x="116" y="182"/>
                        </a:lnTo>
                        <a:lnTo>
                          <a:pt x="116" y="180"/>
                        </a:lnTo>
                        <a:lnTo>
                          <a:pt x="116" y="179"/>
                        </a:lnTo>
                        <a:lnTo>
                          <a:pt x="116" y="177"/>
                        </a:lnTo>
                        <a:lnTo>
                          <a:pt x="116" y="175"/>
                        </a:lnTo>
                        <a:lnTo>
                          <a:pt x="117" y="175"/>
                        </a:lnTo>
                        <a:lnTo>
                          <a:pt x="117" y="174"/>
                        </a:lnTo>
                        <a:lnTo>
                          <a:pt x="119" y="174"/>
                        </a:lnTo>
                        <a:lnTo>
                          <a:pt x="119" y="172"/>
                        </a:lnTo>
                        <a:lnTo>
                          <a:pt x="121" y="172"/>
                        </a:lnTo>
                        <a:lnTo>
                          <a:pt x="121" y="171"/>
                        </a:lnTo>
                        <a:lnTo>
                          <a:pt x="122" y="169"/>
                        </a:lnTo>
                        <a:lnTo>
                          <a:pt x="124" y="169"/>
                        </a:lnTo>
                        <a:lnTo>
                          <a:pt x="124" y="167"/>
                        </a:lnTo>
                        <a:lnTo>
                          <a:pt x="125" y="167"/>
                        </a:lnTo>
                        <a:lnTo>
                          <a:pt x="125" y="166"/>
                        </a:lnTo>
                        <a:lnTo>
                          <a:pt x="127" y="164"/>
                        </a:lnTo>
                        <a:lnTo>
                          <a:pt x="127" y="163"/>
                        </a:lnTo>
                        <a:lnTo>
                          <a:pt x="128" y="163"/>
                        </a:lnTo>
                        <a:lnTo>
                          <a:pt x="130" y="161"/>
                        </a:lnTo>
                        <a:lnTo>
                          <a:pt x="132" y="161"/>
                        </a:lnTo>
                        <a:lnTo>
                          <a:pt x="132" y="160"/>
                        </a:lnTo>
                        <a:lnTo>
                          <a:pt x="133" y="160"/>
                        </a:lnTo>
                        <a:lnTo>
                          <a:pt x="133" y="158"/>
                        </a:lnTo>
                        <a:lnTo>
                          <a:pt x="135" y="158"/>
                        </a:lnTo>
                        <a:lnTo>
                          <a:pt x="135" y="156"/>
                        </a:lnTo>
                        <a:lnTo>
                          <a:pt x="136" y="155"/>
                        </a:lnTo>
                        <a:lnTo>
                          <a:pt x="138" y="153"/>
                        </a:lnTo>
                        <a:lnTo>
                          <a:pt x="138" y="152"/>
                        </a:lnTo>
                        <a:lnTo>
                          <a:pt x="140" y="150"/>
                        </a:lnTo>
                        <a:lnTo>
                          <a:pt x="140" y="148"/>
                        </a:lnTo>
                        <a:lnTo>
                          <a:pt x="141" y="148"/>
                        </a:lnTo>
                        <a:lnTo>
                          <a:pt x="141" y="147"/>
                        </a:lnTo>
                        <a:lnTo>
                          <a:pt x="143" y="147"/>
                        </a:lnTo>
                        <a:lnTo>
                          <a:pt x="143" y="145"/>
                        </a:lnTo>
                        <a:lnTo>
                          <a:pt x="143" y="144"/>
                        </a:lnTo>
                        <a:lnTo>
                          <a:pt x="144" y="144"/>
                        </a:lnTo>
                        <a:lnTo>
                          <a:pt x="146" y="142"/>
                        </a:lnTo>
                        <a:lnTo>
                          <a:pt x="146" y="141"/>
                        </a:lnTo>
                        <a:lnTo>
                          <a:pt x="146" y="139"/>
                        </a:lnTo>
                        <a:lnTo>
                          <a:pt x="144" y="139"/>
                        </a:lnTo>
                        <a:lnTo>
                          <a:pt x="144" y="137"/>
                        </a:lnTo>
                        <a:lnTo>
                          <a:pt x="144" y="136"/>
                        </a:lnTo>
                        <a:lnTo>
                          <a:pt x="144" y="134"/>
                        </a:lnTo>
                        <a:lnTo>
                          <a:pt x="144" y="133"/>
                        </a:lnTo>
                        <a:lnTo>
                          <a:pt x="146" y="131"/>
                        </a:lnTo>
                        <a:lnTo>
                          <a:pt x="146" y="129"/>
                        </a:lnTo>
                        <a:lnTo>
                          <a:pt x="147" y="129"/>
                        </a:lnTo>
                        <a:lnTo>
                          <a:pt x="149" y="129"/>
                        </a:lnTo>
                        <a:lnTo>
                          <a:pt x="151" y="128"/>
                        </a:lnTo>
                        <a:lnTo>
                          <a:pt x="152" y="128"/>
                        </a:lnTo>
                        <a:lnTo>
                          <a:pt x="152" y="126"/>
                        </a:lnTo>
                        <a:lnTo>
                          <a:pt x="154" y="126"/>
                        </a:lnTo>
                        <a:lnTo>
                          <a:pt x="155" y="128"/>
                        </a:lnTo>
                        <a:lnTo>
                          <a:pt x="157" y="129"/>
                        </a:lnTo>
                        <a:lnTo>
                          <a:pt x="159" y="131"/>
                        </a:lnTo>
                        <a:lnTo>
                          <a:pt x="160" y="133"/>
                        </a:lnTo>
                        <a:lnTo>
                          <a:pt x="162" y="134"/>
                        </a:lnTo>
                        <a:lnTo>
                          <a:pt x="163" y="134"/>
                        </a:lnTo>
                        <a:lnTo>
                          <a:pt x="165" y="134"/>
                        </a:lnTo>
                        <a:lnTo>
                          <a:pt x="166" y="134"/>
                        </a:lnTo>
                        <a:lnTo>
                          <a:pt x="168" y="134"/>
                        </a:lnTo>
                        <a:lnTo>
                          <a:pt x="170" y="134"/>
                        </a:lnTo>
                        <a:lnTo>
                          <a:pt x="171" y="134"/>
                        </a:lnTo>
                        <a:lnTo>
                          <a:pt x="173" y="133"/>
                        </a:lnTo>
                        <a:lnTo>
                          <a:pt x="174" y="133"/>
                        </a:lnTo>
                        <a:lnTo>
                          <a:pt x="174" y="131"/>
                        </a:lnTo>
                        <a:lnTo>
                          <a:pt x="174" y="129"/>
                        </a:lnTo>
                        <a:lnTo>
                          <a:pt x="176" y="129"/>
                        </a:lnTo>
                        <a:lnTo>
                          <a:pt x="176" y="128"/>
                        </a:lnTo>
                        <a:lnTo>
                          <a:pt x="178" y="128"/>
                        </a:lnTo>
                        <a:lnTo>
                          <a:pt x="178" y="126"/>
                        </a:lnTo>
                        <a:lnTo>
                          <a:pt x="179" y="125"/>
                        </a:lnTo>
                        <a:lnTo>
                          <a:pt x="179" y="123"/>
                        </a:lnTo>
                        <a:lnTo>
                          <a:pt x="181" y="122"/>
                        </a:lnTo>
                        <a:lnTo>
                          <a:pt x="181" y="120"/>
                        </a:lnTo>
                        <a:lnTo>
                          <a:pt x="181" y="118"/>
                        </a:lnTo>
                        <a:lnTo>
                          <a:pt x="182" y="117"/>
                        </a:lnTo>
                        <a:lnTo>
                          <a:pt x="182" y="115"/>
                        </a:lnTo>
                        <a:lnTo>
                          <a:pt x="184" y="115"/>
                        </a:lnTo>
                        <a:lnTo>
                          <a:pt x="185" y="115"/>
                        </a:lnTo>
                        <a:lnTo>
                          <a:pt x="187" y="115"/>
                        </a:lnTo>
                        <a:lnTo>
                          <a:pt x="189" y="115"/>
                        </a:lnTo>
                        <a:lnTo>
                          <a:pt x="190" y="115"/>
                        </a:lnTo>
                        <a:lnTo>
                          <a:pt x="192" y="115"/>
                        </a:lnTo>
                        <a:lnTo>
                          <a:pt x="193" y="115"/>
                        </a:lnTo>
                        <a:lnTo>
                          <a:pt x="195" y="115"/>
                        </a:lnTo>
                        <a:lnTo>
                          <a:pt x="197" y="115"/>
                        </a:lnTo>
                        <a:lnTo>
                          <a:pt x="198" y="117"/>
                        </a:lnTo>
                        <a:lnTo>
                          <a:pt x="200" y="117"/>
                        </a:lnTo>
                        <a:lnTo>
                          <a:pt x="201" y="117"/>
                        </a:lnTo>
                        <a:lnTo>
                          <a:pt x="203" y="117"/>
                        </a:lnTo>
                        <a:lnTo>
                          <a:pt x="203" y="115"/>
                        </a:lnTo>
                        <a:lnTo>
                          <a:pt x="204" y="115"/>
                        </a:lnTo>
                        <a:lnTo>
                          <a:pt x="206" y="115"/>
                        </a:lnTo>
                        <a:lnTo>
                          <a:pt x="208" y="115"/>
                        </a:lnTo>
                        <a:lnTo>
                          <a:pt x="208" y="114"/>
                        </a:lnTo>
                        <a:lnTo>
                          <a:pt x="209" y="114"/>
                        </a:lnTo>
                        <a:lnTo>
                          <a:pt x="211" y="114"/>
                        </a:lnTo>
                        <a:lnTo>
                          <a:pt x="212" y="112"/>
                        </a:lnTo>
                        <a:lnTo>
                          <a:pt x="214" y="112"/>
                        </a:lnTo>
                        <a:lnTo>
                          <a:pt x="216" y="112"/>
                        </a:lnTo>
                        <a:lnTo>
                          <a:pt x="216" y="110"/>
                        </a:lnTo>
                        <a:lnTo>
                          <a:pt x="217" y="110"/>
                        </a:lnTo>
                        <a:lnTo>
                          <a:pt x="219" y="109"/>
                        </a:lnTo>
                        <a:lnTo>
                          <a:pt x="220" y="107"/>
                        </a:lnTo>
                        <a:lnTo>
                          <a:pt x="222" y="107"/>
                        </a:lnTo>
                        <a:lnTo>
                          <a:pt x="223" y="106"/>
                        </a:lnTo>
                        <a:lnTo>
                          <a:pt x="225" y="104"/>
                        </a:lnTo>
                        <a:lnTo>
                          <a:pt x="227" y="103"/>
                        </a:lnTo>
                        <a:lnTo>
                          <a:pt x="228" y="103"/>
                        </a:lnTo>
                        <a:lnTo>
                          <a:pt x="228" y="101"/>
                        </a:lnTo>
                        <a:lnTo>
                          <a:pt x="230" y="99"/>
                        </a:lnTo>
                        <a:lnTo>
                          <a:pt x="231" y="99"/>
                        </a:lnTo>
                        <a:lnTo>
                          <a:pt x="231" y="98"/>
                        </a:lnTo>
                        <a:lnTo>
                          <a:pt x="231" y="96"/>
                        </a:lnTo>
                        <a:lnTo>
                          <a:pt x="233" y="96"/>
                        </a:lnTo>
                        <a:lnTo>
                          <a:pt x="233" y="95"/>
                        </a:lnTo>
                        <a:lnTo>
                          <a:pt x="233" y="93"/>
                        </a:lnTo>
                        <a:lnTo>
                          <a:pt x="235" y="93"/>
                        </a:lnTo>
                        <a:lnTo>
                          <a:pt x="235" y="91"/>
                        </a:lnTo>
                        <a:lnTo>
                          <a:pt x="236" y="91"/>
                        </a:lnTo>
                        <a:lnTo>
                          <a:pt x="236" y="90"/>
                        </a:lnTo>
                        <a:lnTo>
                          <a:pt x="238" y="90"/>
                        </a:lnTo>
                        <a:lnTo>
                          <a:pt x="239" y="90"/>
                        </a:lnTo>
                        <a:lnTo>
                          <a:pt x="241" y="90"/>
                        </a:lnTo>
                        <a:lnTo>
                          <a:pt x="243" y="91"/>
                        </a:lnTo>
                        <a:lnTo>
                          <a:pt x="244" y="93"/>
                        </a:lnTo>
                        <a:lnTo>
                          <a:pt x="246" y="93"/>
                        </a:lnTo>
                        <a:lnTo>
                          <a:pt x="246" y="95"/>
                        </a:lnTo>
                        <a:lnTo>
                          <a:pt x="247" y="95"/>
                        </a:lnTo>
                        <a:lnTo>
                          <a:pt x="249" y="95"/>
                        </a:lnTo>
                        <a:lnTo>
                          <a:pt x="249" y="96"/>
                        </a:lnTo>
                        <a:lnTo>
                          <a:pt x="250" y="96"/>
                        </a:lnTo>
                        <a:lnTo>
                          <a:pt x="250" y="98"/>
                        </a:lnTo>
                        <a:lnTo>
                          <a:pt x="252" y="98"/>
                        </a:lnTo>
                        <a:lnTo>
                          <a:pt x="254" y="98"/>
                        </a:lnTo>
                        <a:lnTo>
                          <a:pt x="254" y="99"/>
                        </a:lnTo>
                        <a:lnTo>
                          <a:pt x="252" y="99"/>
                        </a:lnTo>
                        <a:lnTo>
                          <a:pt x="252" y="101"/>
                        </a:lnTo>
                        <a:lnTo>
                          <a:pt x="252" y="103"/>
                        </a:lnTo>
                        <a:lnTo>
                          <a:pt x="254" y="103"/>
                        </a:lnTo>
                        <a:lnTo>
                          <a:pt x="255" y="104"/>
                        </a:lnTo>
                        <a:lnTo>
                          <a:pt x="255" y="106"/>
                        </a:lnTo>
                        <a:lnTo>
                          <a:pt x="257" y="107"/>
                        </a:lnTo>
                        <a:lnTo>
                          <a:pt x="258" y="107"/>
                        </a:lnTo>
                        <a:lnTo>
                          <a:pt x="260" y="107"/>
                        </a:lnTo>
                        <a:lnTo>
                          <a:pt x="260" y="109"/>
                        </a:lnTo>
                        <a:lnTo>
                          <a:pt x="262" y="109"/>
                        </a:lnTo>
                        <a:lnTo>
                          <a:pt x="262" y="107"/>
                        </a:lnTo>
                        <a:lnTo>
                          <a:pt x="262" y="106"/>
                        </a:lnTo>
                        <a:lnTo>
                          <a:pt x="263" y="104"/>
                        </a:lnTo>
                        <a:lnTo>
                          <a:pt x="265" y="104"/>
                        </a:lnTo>
                        <a:lnTo>
                          <a:pt x="265" y="103"/>
                        </a:lnTo>
                        <a:lnTo>
                          <a:pt x="265" y="101"/>
                        </a:lnTo>
                        <a:lnTo>
                          <a:pt x="266" y="101"/>
                        </a:lnTo>
                        <a:lnTo>
                          <a:pt x="268" y="101"/>
                        </a:lnTo>
                        <a:lnTo>
                          <a:pt x="269" y="101"/>
                        </a:lnTo>
                        <a:lnTo>
                          <a:pt x="271" y="101"/>
                        </a:lnTo>
                        <a:lnTo>
                          <a:pt x="273" y="101"/>
                        </a:lnTo>
                        <a:lnTo>
                          <a:pt x="273" y="103"/>
                        </a:lnTo>
                        <a:lnTo>
                          <a:pt x="274" y="103"/>
                        </a:lnTo>
                        <a:lnTo>
                          <a:pt x="274" y="101"/>
                        </a:lnTo>
                        <a:lnTo>
                          <a:pt x="273" y="99"/>
                        </a:lnTo>
                        <a:lnTo>
                          <a:pt x="274" y="98"/>
                        </a:lnTo>
                        <a:lnTo>
                          <a:pt x="274" y="96"/>
                        </a:lnTo>
                        <a:lnTo>
                          <a:pt x="274" y="95"/>
                        </a:lnTo>
                        <a:lnTo>
                          <a:pt x="276" y="91"/>
                        </a:lnTo>
                        <a:lnTo>
                          <a:pt x="274" y="91"/>
                        </a:lnTo>
                        <a:lnTo>
                          <a:pt x="276" y="90"/>
                        </a:lnTo>
                        <a:lnTo>
                          <a:pt x="276" y="88"/>
                        </a:lnTo>
                        <a:lnTo>
                          <a:pt x="276" y="87"/>
                        </a:lnTo>
                        <a:lnTo>
                          <a:pt x="274" y="85"/>
                        </a:lnTo>
                        <a:lnTo>
                          <a:pt x="274" y="83"/>
                        </a:lnTo>
                        <a:lnTo>
                          <a:pt x="274" y="82"/>
                        </a:lnTo>
                        <a:lnTo>
                          <a:pt x="273" y="80"/>
                        </a:lnTo>
                        <a:lnTo>
                          <a:pt x="273" y="79"/>
                        </a:lnTo>
                        <a:lnTo>
                          <a:pt x="273" y="77"/>
                        </a:lnTo>
                        <a:lnTo>
                          <a:pt x="273" y="76"/>
                        </a:lnTo>
                        <a:lnTo>
                          <a:pt x="273" y="74"/>
                        </a:lnTo>
                        <a:lnTo>
                          <a:pt x="273" y="72"/>
                        </a:lnTo>
                        <a:lnTo>
                          <a:pt x="274" y="71"/>
                        </a:lnTo>
                        <a:lnTo>
                          <a:pt x="274" y="69"/>
                        </a:lnTo>
                        <a:lnTo>
                          <a:pt x="274" y="68"/>
                        </a:lnTo>
                        <a:lnTo>
                          <a:pt x="276" y="68"/>
                        </a:lnTo>
                        <a:lnTo>
                          <a:pt x="276" y="66"/>
                        </a:lnTo>
                        <a:lnTo>
                          <a:pt x="276" y="64"/>
                        </a:lnTo>
                        <a:lnTo>
                          <a:pt x="277" y="64"/>
                        </a:lnTo>
                        <a:lnTo>
                          <a:pt x="277" y="63"/>
                        </a:lnTo>
                        <a:lnTo>
                          <a:pt x="279" y="63"/>
                        </a:lnTo>
                        <a:lnTo>
                          <a:pt x="279" y="61"/>
                        </a:lnTo>
                        <a:lnTo>
                          <a:pt x="285" y="57"/>
                        </a:lnTo>
                        <a:lnTo>
                          <a:pt x="287" y="55"/>
                        </a:lnTo>
                        <a:lnTo>
                          <a:pt x="288" y="53"/>
                        </a:lnTo>
                        <a:lnTo>
                          <a:pt x="290" y="52"/>
                        </a:lnTo>
                        <a:lnTo>
                          <a:pt x="292" y="52"/>
                        </a:lnTo>
                        <a:lnTo>
                          <a:pt x="292" y="50"/>
                        </a:lnTo>
                        <a:lnTo>
                          <a:pt x="293" y="50"/>
                        </a:lnTo>
                        <a:lnTo>
                          <a:pt x="293" y="49"/>
                        </a:lnTo>
                        <a:lnTo>
                          <a:pt x="295" y="49"/>
                        </a:lnTo>
                        <a:lnTo>
                          <a:pt x="295" y="47"/>
                        </a:lnTo>
                        <a:lnTo>
                          <a:pt x="296" y="47"/>
                        </a:lnTo>
                        <a:lnTo>
                          <a:pt x="296" y="45"/>
                        </a:lnTo>
                        <a:lnTo>
                          <a:pt x="298" y="45"/>
                        </a:lnTo>
                        <a:lnTo>
                          <a:pt x="298" y="44"/>
                        </a:lnTo>
                        <a:lnTo>
                          <a:pt x="300" y="42"/>
                        </a:lnTo>
                        <a:lnTo>
                          <a:pt x="301" y="41"/>
                        </a:lnTo>
                        <a:lnTo>
                          <a:pt x="301" y="39"/>
                        </a:lnTo>
                        <a:lnTo>
                          <a:pt x="301" y="38"/>
                        </a:lnTo>
                        <a:lnTo>
                          <a:pt x="303" y="38"/>
                        </a:lnTo>
                        <a:lnTo>
                          <a:pt x="303" y="36"/>
                        </a:lnTo>
                        <a:lnTo>
                          <a:pt x="303" y="34"/>
                        </a:lnTo>
                        <a:lnTo>
                          <a:pt x="304" y="34"/>
                        </a:lnTo>
                        <a:lnTo>
                          <a:pt x="304" y="33"/>
                        </a:lnTo>
                        <a:lnTo>
                          <a:pt x="304" y="31"/>
                        </a:lnTo>
                        <a:lnTo>
                          <a:pt x="306" y="31"/>
                        </a:lnTo>
                        <a:lnTo>
                          <a:pt x="306" y="30"/>
                        </a:lnTo>
                        <a:lnTo>
                          <a:pt x="307" y="28"/>
                        </a:lnTo>
                        <a:lnTo>
                          <a:pt x="307" y="26"/>
                        </a:lnTo>
                        <a:lnTo>
                          <a:pt x="309" y="25"/>
                        </a:lnTo>
                        <a:lnTo>
                          <a:pt x="311" y="23"/>
                        </a:lnTo>
                        <a:lnTo>
                          <a:pt x="311" y="22"/>
                        </a:lnTo>
                        <a:lnTo>
                          <a:pt x="312" y="20"/>
                        </a:lnTo>
                        <a:lnTo>
                          <a:pt x="312" y="19"/>
                        </a:lnTo>
                        <a:lnTo>
                          <a:pt x="314" y="17"/>
                        </a:lnTo>
                        <a:lnTo>
                          <a:pt x="314" y="15"/>
                        </a:lnTo>
                        <a:lnTo>
                          <a:pt x="315" y="15"/>
                        </a:lnTo>
                        <a:lnTo>
                          <a:pt x="315" y="14"/>
                        </a:lnTo>
                        <a:lnTo>
                          <a:pt x="317" y="14"/>
                        </a:lnTo>
                        <a:lnTo>
                          <a:pt x="319" y="12"/>
                        </a:lnTo>
                        <a:lnTo>
                          <a:pt x="320" y="11"/>
                        </a:lnTo>
                        <a:lnTo>
                          <a:pt x="322" y="11"/>
                        </a:lnTo>
                        <a:lnTo>
                          <a:pt x="323" y="11"/>
                        </a:lnTo>
                        <a:lnTo>
                          <a:pt x="325" y="11"/>
                        </a:lnTo>
                        <a:lnTo>
                          <a:pt x="325" y="9"/>
                        </a:lnTo>
                        <a:lnTo>
                          <a:pt x="326" y="9"/>
                        </a:lnTo>
                        <a:lnTo>
                          <a:pt x="328" y="9"/>
                        </a:lnTo>
                        <a:lnTo>
                          <a:pt x="330" y="7"/>
                        </a:lnTo>
                        <a:lnTo>
                          <a:pt x="331" y="7"/>
                        </a:lnTo>
                        <a:lnTo>
                          <a:pt x="333" y="7"/>
                        </a:lnTo>
                        <a:lnTo>
                          <a:pt x="334" y="7"/>
                        </a:lnTo>
                        <a:lnTo>
                          <a:pt x="336" y="6"/>
                        </a:lnTo>
                        <a:lnTo>
                          <a:pt x="338" y="6"/>
                        </a:lnTo>
                        <a:lnTo>
                          <a:pt x="339" y="7"/>
                        </a:lnTo>
                        <a:lnTo>
                          <a:pt x="341" y="7"/>
                        </a:lnTo>
                        <a:lnTo>
                          <a:pt x="342" y="7"/>
                        </a:lnTo>
                        <a:lnTo>
                          <a:pt x="344" y="7"/>
                        </a:lnTo>
                        <a:lnTo>
                          <a:pt x="345" y="7"/>
                        </a:lnTo>
                        <a:lnTo>
                          <a:pt x="347" y="7"/>
                        </a:lnTo>
                        <a:lnTo>
                          <a:pt x="349" y="7"/>
                        </a:lnTo>
                        <a:lnTo>
                          <a:pt x="350" y="7"/>
                        </a:lnTo>
                        <a:lnTo>
                          <a:pt x="352" y="7"/>
                        </a:lnTo>
                        <a:lnTo>
                          <a:pt x="353" y="6"/>
                        </a:lnTo>
                        <a:lnTo>
                          <a:pt x="355" y="6"/>
                        </a:lnTo>
                        <a:lnTo>
                          <a:pt x="355" y="4"/>
                        </a:lnTo>
                        <a:lnTo>
                          <a:pt x="357" y="4"/>
                        </a:lnTo>
                        <a:lnTo>
                          <a:pt x="358" y="3"/>
                        </a:lnTo>
                        <a:lnTo>
                          <a:pt x="360" y="3"/>
                        </a:lnTo>
                        <a:lnTo>
                          <a:pt x="361" y="1"/>
                        </a:lnTo>
                        <a:lnTo>
                          <a:pt x="363" y="0"/>
                        </a:lnTo>
                        <a:lnTo>
                          <a:pt x="363" y="1"/>
                        </a:lnTo>
                        <a:lnTo>
                          <a:pt x="364" y="1"/>
                        </a:lnTo>
                        <a:lnTo>
                          <a:pt x="366" y="3"/>
                        </a:lnTo>
                        <a:lnTo>
                          <a:pt x="368" y="3"/>
                        </a:lnTo>
                        <a:lnTo>
                          <a:pt x="368" y="4"/>
                        </a:lnTo>
                        <a:lnTo>
                          <a:pt x="369" y="4"/>
                        </a:lnTo>
                        <a:lnTo>
                          <a:pt x="369" y="6"/>
                        </a:lnTo>
                        <a:lnTo>
                          <a:pt x="371" y="6"/>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76" name="Freeform 75"/>
                  <p:cNvSpPr>
                    <a:spLocks/>
                  </p:cNvSpPr>
                  <p:nvPr/>
                </p:nvSpPr>
                <p:spPr bwMode="auto">
                  <a:xfrm>
                    <a:off x="2171" y="1476"/>
                    <a:ext cx="1362" cy="1527"/>
                  </a:xfrm>
                  <a:custGeom>
                    <a:avLst/>
                    <a:gdLst>
                      <a:gd name="T0" fmla="*/ 1047 w 1362"/>
                      <a:gd name="T1" fmla="*/ 58 h 1527"/>
                      <a:gd name="T2" fmla="*/ 1183 w 1362"/>
                      <a:gd name="T3" fmla="*/ 122 h 1527"/>
                      <a:gd name="T4" fmla="*/ 1245 w 1362"/>
                      <a:gd name="T5" fmla="*/ 218 h 1527"/>
                      <a:gd name="T6" fmla="*/ 1349 w 1362"/>
                      <a:gd name="T7" fmla="*/ 277 h 1527"/>
                      <a:gd name="T8" fmla="*/ 1286 w 1362"/>
                      <a:gd name="T9" fmla="*/ 359 h 1527"/>
                      <a:gd name="T10" fmla="*/ 1197 w 1362"/>
                      <a:gd name="T11" fmla="*/ 461 h 1527"/>
                      <a:gd name="T12" fmla="*/ 1199 w 1362"/>
                      <a:gd name="T13" fmla="*/ 572 h 1527"/>
                      <a:gd name="T14" fmla="*/ 1191 w 1362"/>
                      <a:gd name="T15" fmla="*/ 640 h 1527"/>
                      <a:gd name="T16" fmla="*/ 1161 w 1362"/>
                      <a:gd name="T17" fmla="*/ 781 h 1527"/>
                      <a:gd name="T18" fmla="*/ 1104 w 1362"/>
                      <a:gd name="T19" fmla="*/ 855 h 1527"/>
                      <a:gd name="T20" fmla="*/ 1124 w 1362"/>
                      <a:gd name="T21" fmla="*/ 930 h 1527"/>
                      <a:gd name="T22" fmla="*/ 1139 w 1362"/>
                      <a:gd name="T23" fmla="*/ 1014 h 1527"/>
                      <a:gd name="T24" fmla="*/ 1066 w 1362"/>
                      <a:gd name="T25" fmla="*/ 1012 h 1527"/>
                      <a:gd name="T26" fmla="*/ 1108 w 1362"/>
                      <a:gd name="T27" fmla="*/ 1063 h 1527"/>
                      <a:gd name="T28" fmla="*/ 1126 w 1362"/>
                      <a:gd name="T29" fmla="*/ 1137 h 1527"/>
                      <a:gd name="T30" fmla="*/ 1066 w 1362"/>
                      <a:gd name="T31" fmla="*/ 1186 h 1527"/>
                      <a:gd name="T32" fmla="*/ 1148 w 1362"/>
                      <a:gd name="T33" fmla="*/ 1210 h 1527"/>
                      <a:gd name="T34" fmla="*/ 1210 w 1362"/>
                      <a:gd name="T35" fmla="*/ 1307 h 1527"/>
                      <a:gd name="T36" fmla="*/ 1303 w 1362"/>
                      <a:gd name="T37" fmla="*/ 1410 h 1527"/>
                      <a:gd name="T38" fmla="*/ 1270 w 1362"/>
                      <a:gd name="T39" fmla="*/ 1444 h 1527"/>
                      <a:gd name="T40" fmla="*/ 1181 w 1362"/>
                      <a:gd name="T41" fmla="*/ 1462 h 1527"/>
                      <a:gd name="T42" fmla="*/ 1118 w 1362"/>
                      <a:gd name="T43" fmla="*/ 1525 h 1527"/>
                      <a:gd name="T44" fmla="*/ 1115 w 1362"/>
                      <a:gd name="T45" fmla="*/ 1479 h 1527"/>
                      <a:gd name="T46" fmla="*/ 1112 w 1362"/>
                      <a:gd name="T47" fmla="*/ 1386 h 1527"/>
                      <a:gd name="T48" fmla="*/ 1094 w 1362"/>
                      <a:gd name="T49" fmla="*/ 1341 h 1527"/>
                      <a:gd name="T50" fmla="*/ 1055 w 1362"/>
                      <a:gd name="T51" fmla="*/ 1330 h 1527"/>
                      <a:gd name="T52" fmla="*/ 1010 w 1362"/>
                      <a:gd name="T53" fmla="*/ 1337 h 1527"/>
                      <a:gd name="T54" fmla="*/ 985 w 1362"/>
                      <a:gd name="T55" fmla="*/ 1314 h 1527"/>
                      <a:gd name="T56" fmla="*/ 952 w 1362"/>
                      <a:gd name="T57" fmla="*/ 1343 h 1527"/>
                      <a:gd name="T58" fmla="*/ 906 w 1362"/>
                      <a:gd name="T59" fmla="*/ 1362 h 1527"/>
                      <a:gd name="T60" fmla="*/ 858 w 1362"/>
                      <a:gd name="T61" fmla="*/ 1378 h 1527"/>
                      <a:gd name="T62" fmla="*/ 833 w 1362"/>
                      <a:gd name="T63" fmla="*/ 1343 h 1527"/>
                      <a:gd name="T64" fmla="*/ 788 w 1362"/>
                      <a:gd name="T65" fmla="*/ 1326 h 1527"/>
                      <a:gd name="T66" fmla="*/ 769 w 1362"/>
                      <a:gd name="T67" fmla="*/ 1286 h 1527"/>
                      <a:gd name="T68" fmla="*/ 782 w 1362"/>
                      <a:gd name="T69" fmla="*/ 1246 h 1527"/>
                      <a:gd name="T70" fmla="*/ 735 w 1362"/>
                      <a:gd name="T71" fmla="*/ 1229 h 1527"/>
                      <a:gd name="T72" fmla="*/ 687 w 1362"/>
                      <a:gd name="T73" fmla="*/ 1216 h 1527"/>
                      <a:gd name="T74" fmla="*/ 646 w 1362"/>
                      <a:gd name="T75" fmla="*/ 1202 h 1527"/>
                      <a:gd name="T76" fmla="*/ 589 w 1362"/>
                      <a:gd name="T77" fmla="*/ 1208 h 1527"/>
                      <a:gd name="T78" fmla="*/ 537 w 1362"/>
                      <a:gd name="T79" fmla="*/ 1223 h 1527"/>
                      <a:gd name="T80" fmla="*/ 483 w 1362"/>
                      <a:gd name="T81" fmla="*/ 1183 h 1527"/>
                      <a:gd name="T82" fmla="*/ 457 w 1362"/>
                      <a:gd name="T83" fmla="*/ 1145 h 1527"/>
                      <a:gd name="T84" fmla="*/ 421 w 1362"/>
                      <a:gd name="T85" fmla="*/ 1121 h 1527"/>
                      <a:gd name="T86" fmla="*/ 358 w 1362"/>
                      <a:gd name="T87" fmla="*/ 1083 h 1527"/>
                      <a:gd name="T88" fmla="*/ 239 w 1362"/>
                      <a:gd name="T89" fmla="*/ 1164 h 1527"/>
                      <a:gd name="T90" fmla="*/ 207 w 1362"/>
                      <a:gd name="T91" fmla="*/ 1219 h 1527"/>
                      <a:gd name="T92" fmla="*/ 145 w 1362"/>
                      <a:gd name="T93" fmla="*/ 1216 h 1527"/>
                      <a:gd name="T94" fmla="*/ 106 w 1362"/>
                      <a:gd name="T95" fmla="*/ 1180 h 1527"/>
                      <a:gd name="T96" fmla="*/ 125 w 1362"/>
                      <a:gd name="T97" fmla="*/ 1082 h 1527"/>
                      <a:gd name="T98" fmla="*/ 114 w 1362"/>
                      <a:gd name="T99" fmla="*/ 1029 h 1527"/>
                      <a:gd name="T100" fmla="*/ 46 w 1362"/>
                      <a:gd name="T101" fmla="*/ 1014 h 1527"/>
                      <a:gd name="T102" fmla="*/ 49 w 1362"/>
                      <a:gd name="T103" fmla="*/ 960 h 1527"/>
                      <a:gd name="T104" fmla="*/ 131 w 1362"/>
                      <a:gd name="T105" fmla="*/ 849 h 1527"/>
                      <a:gd name="T106" fmla="*/ 107 w 1362"/>
                      <a:gd name="T107" fmla="*/ 668 h 1527"/>
                      <a:gd name="T108" fmla="*/ 236 w 1362"/>
                      <a:gd name="T109" fmla="*/ 619 h 1527"/>
                      <a:gd name="T110" fmla="*/ 215 w 1362"/>
                      <a:gd name="T111" fmla="*/ 405 h 1527"/>
                      <a:gd name="T112" fmla="*/ 247 w 1362"/>
                      <a:gd name="T113" fmla="*/ 298 h 1527"/>
                      <a:gd name="T114" fmla="*/ 378 w 1362"/>
                      <a:gd name="T115" fmla="*/ 180 h 1527"/>
                      <a:gd name="T116" fmla="*/ 418 w 1362"/>
                      <a:gd name="T117" fmla="*/ 190 h 1527"/>
                      <a:gd name="T118" fmla="*/ 594 w 1362"/>
                      <a:gd name="T119" fmla="*/ 275 h 1527"/>
                      <a:gd name="T120" fmla="*/ 768 w 1362"/>
                      <a:gd name="T121" fmla="*/ 275 h 1527"/>
                      <a:gd name="T122" fmla="*/ 858 w 1362"/>
                      <a:gd name="T123" fmla="*/ 7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62" h="1527">
                        <a:moveTo>
                          <a:pt x="888" y="14"/>
                        </a:moveTo>
                        <a:lnTo>
                          <a:pt x="903" y="20"/>
                        </a:lnTo>
                        <a:lnTo>
                          <a:pt x="906" y="20"/>
                        </a:lnTo>
                        <a:lnTo>
                          <a:pt x="907" y="20"/>
                        </a:lnTo>
                        <a:lnTo>
                          <a:pt x="912" y="20"/>
                        </a:lnTo>
                        <a:lnTo>
                          <a:pt x="914" y="20"/>
                        </a:lnTo>
                        <a:lnTo>
                          <a:pt x="918" y="19"/>
                        </a:lnTo>
                        <a:lnTo>
                          <a:pt x="920" y="19"/>
                        </a:lnTo>
                        <a:lnTo>
                          <a:pt x="922" y="17"/>
                        </a:lnTo>
                        <a:lnTo>
                          <a:pt x="926" y="16"/>
                        </a:lnTo>
                        <a:lnTo>
                          <a:pt x="934" y="14"/>
                        </a:lnTo>
                        <a:lnTo>
                          <a:pt x="937" y="14"/>
                        </a:lnTo>
                        <a:lnTo>
                          <a:pt x="941" y="14"/>
                        </a:lnTo>
                        <a:lnTo>
                          <a:pt x="942" y="14"/>
                        </a:lnTo>
                        <a:lnTo>
                          <a:pt x="952" y="14"/>
                        </a:lnTo>
                        <a:lnTo>
                          <a:pt x="953" y="16"/>
                        </a:lnTo>
                        <a:lnTo>
                          <a:pt x="961" y="20"/>
                        </a:lnTo>
                        <a:lnTo>
                          <a:pt x="966" y="25"/>
                        </a:lnTo>
                        <a:lnTo>
                          <a:pt x="975" y="35"/>
                        </a:lnTo>
                        <a:lnTo>
                          <a:pt x="980" y="50"/>
                        </a:lnTo>
                        <a:lnTo>
                          <a:pt x="985" y="58"/>
                        </a:lnTo>
                        <a:lnTo>
                          <a:pt x="988" y="58"/>
                        </a:lnTo>
                        <a:lnTo>
                          <a:pt x="990" y="58"/>
                        </a:lnTo>
                        <a:lnTo>
                          <a:pt x="993" y="55"/>
                        </a:lnTo>
                        <a:lnTo>
                          <a:pt x="1002" y="39"/>
                        </a:lnTo>
                        <a:lnTo>
                          <a:pt x="1002" y="38"/>
                        </a:lnTo>
                        <a:lnTo>
                          <a:pt x="1004" y="36"/>
                        </a:lnTo>
                        <a:lnTo>
                          <a:pt x="1006" y="36"/>
                        </a:lnTo>
                        <a:lnTo>
                          <a:pt x="1007" y="35"/>
                        </a:lnTo>
                        <a:lnTo>
                          <a:pt x="1009" y="33"/>
                        </a:lnTo>
                        <a:lnTo>
                          <a:pt x="1012" y="31"/>
                        </a:lnTo>
                        <a:lnTo>
                          <a:pt x="1013" y="31"/>
                        </a:lnTo>
                        <a:lnTo>
                          <a:pt x="1017" y="31"/>
                        </a:lnTo>
                        <a:lnTo>
                          <a:pt x="1018" y="33"/>
                        </a:lnTo>
                        <a:lnTo>
                          <a:pt x="1020" y="33"/>
                        </a:lnTo>
                        <a:lnTo>
                          <a:pt x="1028" y="41"/>
                        </a:lnTo>
                        <a:lnTo>
                          <a:pt x="1029" y="43"/>
                        </a:lnTo>
                        <a:lnTo>
                          <a:pt x="1031" y="43"/>
                        </a:lnTo>
                        <a:lnTo>
                          <a:pt x="1042" y="54"/>
                        </a:lnTo>
                        <a:lnTo>
                          <a:pt x="1045" y="57"/>
                        </a:lnTo>
                        <a:lnTo>
                          <a:pt x="1047" y="58"/>
                        </a:lnTo>
                        <a:lnTo>
                          <a:pt x="1048" y="58"/>
                        </a:lnTo>
                        <a:lnTo>
                          <a:pt x="1053" y="65"/>
                        </a:lnTo>
                        <a:lnTo>
                          <a:pt x="1063" y="74"/>
                        </a:lnTo>
                        <a:lnTo>
                          <a:pt x="1066" y="77"/>
                        </a:lnTo>
                        <a:lnTo>
                          <a:pt x="1066" y="79"/>
                        </a:lnTo>
                        <a:lnTo>
                          <a:pt x="1067" y="81"/>
                        </a:lnTo>
                        <a:lnTo>
                          <a:pt x="1070" y="81"/>
                        </a:lnTo>
                        <a:lnTo>
                          <a:pt x="1072" y="81"/>
                        </a:lnTo>
                        <a:lnTo>
                          <a:pt x="1074" y="82"/>
                        </a:lnTo>
                        <a:lnTo>
                          <a:pt x="1074" y="84"/>
                        </a:lnTo>
                        <a:lnTo>
                          <a:pt x="1075" y="84"/>
                        </a:lnTo>
                        <a:lnTo>
                          <a:pt x="1075" y="85"/>
                        </a:lnTo>
                        <a:lnTo>
                          <a:pt x="1077" y="87"/>
                        </a:lnTo>
                        <a:lnTo>
                          <a:pt x="1078" y="88"/>
                        </a:lnTo>
                        <a:lnTo>
                          <a:pt x="1078" y="90"/>
                        </a:lnTo>
                        <a:lnTo>
                          <a:pt x="1080" y="90"/>
                        </a:lnTo>
                        <a:lnTo>
                          <a:pt x="1082" y="92"/>
                        </a:lnTo>
                        <a:lnTo>
                          <a:pt x="1086" y="95"/>
                        </a:lnTo>
                        <a:lnTo>
                          <a:pt x="1089" y="96"/>
                        </a:lnTo>
                        <a:lnTo>
                          <a:pt x="1093" y="98"/>
                        </a:lnTo>
                        <a:lnTo>
                          <a:pt x="1093" y="100"/>
                        </a:lnTo>
                        <a:lnTo>
                          <a:pt x="1094" y="100"/>
                        </a:lnTo>
                        <a:lnTo>
                          <a:pt x="1097" y="101"/>
                        </a:lnTo>
                        <a:lnTo>
                          <a:pt x="1101" y="104"/>
                        </a:lnTo>
                        <a:lnTo>
                          <a:pt x="1104" y="106"/>
                        </a:lnTo>
                        <a:lnTo>
                          <a:pt x="1108" y="107"/>
                        </a:lnTo>
                        <a:lnTo>
                          <a:pt x="1113" y="107"/>
                        </a:lnTo>
                        <a:lnTo>
                          <a:pt x="1116" y="107"/>
                        </a:lnTo>
                        <a:lnTo>
                          <a:pt x="1121" y="107"/>
                        </a:lnTo>
                        <a:lnTo>
                          <a:pt x="1123" y="109"/>
                        </a:lnTo>
                        <a:lnTo>
                          <a:pt x="1124" y="111"/>
                        </a:lnTo>
                        <a:lnTo>
                          <a:pt x="1126" y="111"/>
                        </a:lnTo>
                        <a:lnTo>
                          <a:pt x="1127" y="111"/>
                        </a:lnTo>
                        <a:lnTo>
                          <a:pt x="1129" y="111"/>
                        </a:lnTo>
                        <a:lnTo>
                          <a:pt x="1134" y="112"/>
                        </a:lnTo>
                        <a:lnTo>
                          <a:pt x="1139" y="112"/>
                        </a:lnTo>
                        <a:lnTo>
                          <a:pt x="1145" y="114"/>
                        </a:lnTo>
                        <a:lnTo>
                          <a:pt x="1153" y="115"/>
                        </a:lnTo>
                        <a:lnTo>
                          <a:pt x="1164" y="117"/>
                        </a:lnTo>
                        <a:lnTo>
                          <a:pt x="1173" y="120"/>
                        </a:lnTo>
                        <a:lnTo>
                          <a:pt x="1183" y="122"/>
                        </a:lnTo>
                        <a:lnTo>
                          <a:pt x="1189" y="122"/>
                        </a:lnTo>
                        <a:lnTo>
                          <a:pt x="1192" y="123"/>
                        </a:lnTo>
                        <a:lnTo>
                          <a:pt x="1194" y="123"/>
                        </a:lnTo>
                        <a:lnTo>
                          <a:pt x="1196" y="123"/>
                        </a:lnTo>
                        <a:lnTo>
                          <a:pt x="1196" y="125"/>
                        </a:lnTo>
                        <a:lnTo>
                          <a:pt x="1196" y="128"/>
                        </a:lnTo>
                        <a:lnTo>
                          <a:pt x="1196" y="131"/>
                        </a:lnTo>
                        <a:lnTo>
                          <a:pt x="1197" y="133"/>
                        </a:lnTo>
                        <a:lnTo>
                          <a:pt x="1197" y="136"/>
                        </a:lnTo>
                        <a:lnTo>
                          <a:pt x="1197" y="138"/>
                        </a:lnTo>
                        <a:lnTo>
                          <a:pt x="1200" y="139"/>
                        </a:lnTo>
                        <a:lnTo>
                          <a:pt x="1200" y="141"/>
                        </a:lnTo>
                        <a:lnTo>
                          <a:pt x="1204" y="142"/>
                        </a:lnTo>
                        <a:lnTo>
                          <a:pt x="1205" y="144"/>
                        </a:lnTo>
                        <a:lnTo>
                          <a:pt x="1207" y="145"/>
                        </a:lnTo>
                        <a:lnTo>
                          <a:pt x="1208" y="147"/>
                        </a:lnTo>
                        <a:lnTo>
                          <a:pt x="1210" y="147"/>
                        </a:lnTo>
                        <a:lnTo>
                          <a:pt x="1211" y="147"/>
                        </a:lnTo>
                        <a:lnTo>
                          <a:pt x="1216" y="147"/>
                        </a:lnTo>
                        <a:lnTo>
                          <a:pt x="1219" y="147"/>
                        </a:lnTo>
                        <a:lnTo>
                          <a:pt x="1221" y="149"/>
                        </a:lnTo>
                        <a:lnTo>
                          <a:pt x="1224" y="147"/>
                        </a:lnTo>
                        <a:lnTo>
                          <a:pt x="1226" y="147"/>
                        </a:lnTo>
                        <a:lnTo>
                          <a:pt x="1227" y="147"/>
                        </a:lnTo>
                        <a:lnTo>
                          <a:pt x="1229" y="145"/>
                        </a:lnTo>
                        <a:lnTo>
                          <a:pt x="1230" y="147"/>
                        </a:lnTo>
                        <a:lnTo>
                          <a:pt x="1232" y="147"/>
                        </a:lnTo>
                        <a:lnTo>
                          <a:pt x="1234" y="149"/>
                        </a:lnTo>
                        <a:lnTo>
                          <a:pt x="1235" y="149"/>
                        </a:lnTo>
                        <a:lnTo>
                          <a:pt x="1235" y="150"/>
                        </a:lnTo>
                        <a:lnTo>
                          <a:pt x="1235" y="161"/>
                        </a:lnTo>
                        <a:lnTo>
                          <a:pt x="1235" y="188"/>
                        </a:lnTo>
                        <a:lnTo>
                          <a:pt x="1235" y="207"/>
                        </a:lnTo>
                        <a:lnTo>
                          <a:pt x="1235" y="212"/>
                        </a:lnTo>
                        <a:lnTo>
                          <a:pt x="1235" y="214"/>
                        </a:lnTo>
                        <a:lnTo>
                          <a:pt x="1238" y="214"/>
                        </a:lnTo>
                        <a:lnTo>
                          <a:pt x="1240" y="215"/>
                        </a:lnTo>
                        <a:lnTo>
                          <a:pt x="1242" y="215"/>
                        </a:lnTo>
                        <a:lnTo>
                          <a:pt x="1243" y="215"/>
                        </a:lnTo>
                        <a:lnTo>
                          <a:pt x="1243" y="217"/>
                        </a:lnTo>
                        <a:lnTo>
                          <a:pt x="1245" y="218"/>
                        </a:lnTo>
                        <a:lnTo>
                          <a:pt x="1246" y="223"/>
                        </a:lnTo>
                        <a:lnTo>
                          <a:pt x="1246" y="225"/>
                        </a:lnTo>
                        <a:lnTo>
                          <a:pt x="1249" y="226"/>
                        </a:lnTo>
                        <a:lnTo>
                          <a:pt x="1251" y="231"/>
                        </a:lnTo>
                        <a:lnTo>
                          <a:pt x="1253" y="233"/>
                        </a:lnTo>
                        <a:lnTo>
                          <a:pt x="1253" y="236"/>
                        </a:lnTo>
                        <a:lnTo>
                          <a:pt x="1254" y="237"/>
                        </a:lnTo>
                        <a:lnTo>
                          <a:pt x="1254" y="241"/>
                        </a:lnTo>
                        <a:lnTo>
                          <a:pt x="1254" y="242"/>
                        </a:lnTo>
                        <a:lnTo>
                          <a:pt x="1256" y="245"/>
                        </a:lnTo>
                        <a:lnTo>
                          <a:pt x="1256" y="247"/>
                        </a:lnTo>
                        <a:lnTo>
                          <a:pt x="1257" y="248"/>
                        </a:lnTo>
                        <a:lnTo>
                          <a:pt x="1257" y="250"/>
                        </a:lnTo>
                        <a:lnTo>
                          <a:pt x="1259" y="250"/>
                        </a:lnTo>
                        <a:lnTo>
                          <a:pt x="1273" y="256"/>
                        </a:lnTo>
                        <a:lnTo>
                          <a:pt x="1291" y="264"/>
                        </a:lnTo>
                        <a:lnTo>
                          <a:pt x="1300" y="267"/>
                        </a:lnTo>
                        <a:lnTo>
                          <a:pt x="1303" y="267"/>
                        </a:lnTo>
                        <a:lnTo>
                          <a:pt x="1306" y="266"/>
                        </a:lnTo>
                        <a:lnTo>
                          <a:pt x="1306" y="261"/>
                        </a:lnTo>
                        <a:lnTo>
                          <a:pt x="1308" y="260"/>
                        </a:lnTo>
                        <a:lnTo>
                          <a:pt x="1308" y="258"/>
                        </a:lnTo>
                        <a:lnTo>
                          <a:pt x="1310" y="256"/>
                        </a:lnTo>
                        <a:lnTo>
                          <a:pt x="1310" y="253"/>
                        </a:lnTo>
                        <a:lnTo>
                          <a:pt x="1311" y="250"/>
                        </a:lnTo>
                        <a:lnTo>
                          <a:pt x="1311" y="248"/>
                        </a:lnTo>
                        <a:lnTo>
                          <a:pt x="1311" y="247"/>
                        </a:lnTo>
                        <a:lnTo>
                          <a:pt x="1313" y="247"/>
                        </a:lnTo>
                        <a:lnTo>
                          <a:pt x="1314" y="248"/>
                        </a:lnTo>
                        <a:lnTo>
                          <a:pt x="1316" y="248"/>
                        </a:lnTo>
                        <a:lnTo>
                          <a:pt x="1338" y="258"/>
                        </a:lnTo>
                        <a:lnTo>
                          <a:pt x="1351" y="264"/>
                        </a:lnTo>
                        <a:lnTo>
                          <a:pt x="1359" y="267"/>
                        </a:lnTo>
                        <a:lnTo>
                          <a:pt x="1360" y="267"/>
                        </a:lnTo>
                        <a:lnTo>
                          <a:pt x="1360" y="269"/>
                        </a:lnTo>
                        <a:lnTo>
                          <a:pt x="1360" y="271"/>
                        </a:lnTo>
                        <a:lnTo>
                          <a:pt x="1360" y="275"/>
                        </a:lnTo>
                        <a:lnTo>
                          <a:pt x="1362" y="277"/>
                        </a:lnTo>
                        <a:lnTo>
                          <a:pt x="1352" y="275"/>
                        </a:lnTo>
                        <a:lnTo>
                          <a:pt x="1351" y="277"/>
                        </a:lnTo>
                        <a:lnTo>
                          <a:pt x="1349" y="277"/>
                        </a:lnTo>
                        <a:lnTo>
                          <a:pt x="1348" y="277"/>
                        </a:lnTo>
                        <a:lnTo>
                          <a:pt x="1346" y="279"/>
                        </a:lnTo>
                        <a:lnTo>
                          <a:pt x="1346" y="280"/>
                        </a:lnTo>
                        <a:lnTo>
                          <a:pt x="1341" y="286"/>
                        </a:lnTo>
                        <a:lnTo>
                          <a:pt x="1340" y="290"/>
                        </a:lnTo>
                        <a:lnTo>
                          <a:pt x="1337" y="294"/>
                        </a:lnTo>
                        <a:lnTo>
                          <a:pt x="1335" y="298"/>
                        </a:lnTo>
                        <a:lnTo>
                          <a:pt x="1333" y="299"/>
                        </a:lnTo>
                        <a:lnTo>
                          <a:pt x="1330" y="301"/>
                        </a:lnTo>
                        <a:lnTo>
                          <a:pt x="1329" y="302"/>
                        </a:lnTo>
                        <a:lnTo>
                          <a:pt x="1325" y="304"/>
                        </a:lnTo>
                        <a:lnTo>
                          <a:pt x="1322" y="304"/>
                        </a:lnTo>
                        <a:lnTo>
                          <a:pt x="1321" y="305"/>
                        </a:lnTo>
                        <a:lnTo>
                          <a:pt x="1319" y="309"/>
                        </a:lnTo>
                        <a:lnTo>
                          <a:pt x="1319" y="310"/>
                        </a:lnTo>
                        <a:lnTo>
                          <a:pt x="1318" y="312"/>
                        </a:lnTo>
                        <a:lnTo>
                          <a:pt x="1316" y="315"/>
                        </a:lnTo>
                        <a:lnTo>
                          <a:pt x="1314" y="317"/>
                        </a:lnTo>
                        <a:lnTo>
                          <a:pt x="1314" y="318"/>
                        </a:lnTo>
                        <a:lnTo>
                          <a:pt x="1314" y="320"/>
                        </a:lnTo>
                        <a:lnTo>
                          <a:pt x="1314" y="323"/>
                        </a:lnTo>
                        <a:lnTo>
                          <a:pt x="1313" y="324"/>
                        </a:lnTo>
                        <a:lnTo>
                          <a:pt x="1310" y="328"/>
                        </a:lnTo>
                        <a:lnTo>
                          <a:pt x="1310" y="329"/>
                        </a:lnTo>
                        <a:lnTo>
                          <a:pt x="1308" y="329"/>
                        </a:lnTo>
                        <a:lnTo>
                          <a:pt x="1308" y="334"/>
                        </a:lnTo>
                        <a:lnTo>
                          <a:pt x="1305" y="332"/>
                        </a:lnTo>
                        <a:lnTo>
                          <a:pt x="1303" y="332"/>
                        </a:lnTo>
                        <a:lnTo>
                          <a:pt x="1302" y="334"/>
                        </a:lnTo>
                        <a:lnTo>
                          <a:pt x="1300" y="337"/>
                        </a:lnTo>
                        <a:lnTo>
                          <a:pt x="1299" y="339"/>
                        </a:lnTo>
                        <a:lnTo>
                          <a:pt x="1297" y="340"/>
                        </a:lnTo>
                        <a:lnTo>
                          <a:pt x="1297" y="343"/>
                        </a:lnTo>
                        <a:lnTo>
                          <a:pt x="1295" y="347"/>
                        </a:lnTo>
                        <a:lnTo>
                          <a:pt x="1294" y="348"/>
                        </a:lnTo>
                        <a:lnTo>
                          <a:pt x="1294" y="350"/>
                        </a:lnTo>
                        <a:lnTo>
                          <a:pt x="1291" y="351"/>
                        </a:lnTo>
                        <a:lnTo>
                          <a:pt x="1289" y="353"/>
                        </a:lnTo>
                        <a:lnTo>
                          <a:pt x="1289" y="355"/>
                        </a:lnTo>
                        <a:lnTo>
                          <a:pt x="1287" y="358"/>
                        </a:lnTo>
                        <a:lnTo>
                          <a:pt x="1286" y="359"/>
                        </a:lnTo>
                        <a:lnTo>
                          <a:pt x="1284" y="361"/>
                        </a:lnTo>
                        <a:lnTo>
                          <a:pt x="1283" y="362"/>
                        </a:lnTo>
                        <a:lnTo>
                          <a:pt x="1281" y="362"/>
                        </a:lnTo>
                        <a:lnTo>
                          <a:pt x="1281" y="364"/>
                        </a:lnTo>
                        <a:lnTo>
                          <a:pt x="1280" y="367"/>
                        </a:lnTo>
                        <a:lnTo>
                          <a:pt x="1276" y="372"/>
                        </a:lnTo>
                        <a:lnTo>
                          <a:pt x="1276" y="374"/>
                        </a:lnTo>
                        <a:lnTo>
                          <a:pt x="1273" y="374"/>
                        </a:lnTo>
                        <a:lnTo>
                          <a:pt x="1270" y="377"/>
                        </a:lnTo>
                        <a:lnTo>
                          <a:pt x="1267" y="377"/>
                        </a:lnTo>
                        <a:lnTo>
                          <a:pt x="1264" y="378"/>
                        </a:lnTo>
                        <a:lnTo>
                          <a:pt x="1261" y="377"/>
                        </a:lnTo>
                        <a:lnTo>
                          <a:pt x="1257" y="377"/>
                        </a:lnTo>
                        <a:lnTo>
                          <a:pt x="1249" y="375"/>
                        </a:lnTo>
                        <a:lnTo>
                          <a:pt x="1240" y="374"/>
                        </a:lnTo>
                        <a:lnTo>
                          <a:pt x="1213" y="369"/>
                        </a:lnTo>
                        <a:lnTo>
                          <a:pt x="1205" y="367"/>
                        </a:lnTo>
                        <a:lnTo>
                          <a:pt x="1204" y="367"/>
                        </a:lnTo>
                        <a:lnTo>
                          <a:pt x="1202" y="367"/>
                        </a:lnTo>
                        <a:lnTo>
                          <a:pt x="1200" y="369"/>
                        </a:lnTo>
                        <a:lnTo>
                          <a:pt x="1199" y="370"/>
                        </a:lnTo>
                        <a:lnTo>
                          <a:pt x="1196" y="375"/>
                        </a:lnTo>
                        <a:lnTo>
                          <a:pt x="1194" y="378"/>
                        </a:lnTo>
                        <a:lnTo>
                          <a:pt x="1192" y="383"/>
                        </a:lnTo>
                        <a:lnTo>
                          <a:pt x="1192" y="386"/>
                        </a:lnTo>
                        <a:lnTo>
                          <a:pt x="1192" y="393"/>
                        </a:lnTo>
                        <a:lnTo>
                          <a:pt x="1192" y="400"/>
                        </a:lnTo>
                        <a:lnTo>
                          <a:pt x="1192" y="405"/>
                        </a:lnTo>
                        <a:lnTo>
                          <a:pt x="1192" y="408"/>
                        </a:lnTo>
                        <a:lnTo>
                          <a:pt x="1194" y="413"/>
                        </a:lnTo>
                        <a:lnTo>
                          <a:pt x="1197" y="418"/>
                        </a:lnTo>
                        <a:lnTo>
                          <a:pt x="1199" y="424"/>
                        </a:lnTo>
                        <a:lnTo>
                          <a:pt x="1200" y="432"/>
                        </a:lnTo>
                        <a:lnTo>
                          <a:pt x="1200" y="439"/>
                        </a:lnTo>
                        <a:lnTo>
                          <a:pt x="1202" y="442"/>
                        </a:lnTo>
                        <a:lnTo>
                          <a:pt x="1202" y="448"/>
                        </a:lnTo>
                        <a:lnTo>
                          <a:pt x="1202" y="451"/>
                        </a:lnTo>
                        <a:lnTo>
                          <a:pt x="1202" y="456"/>
                        </a:lnTo>
                        <a:lnTo>
                          <a:pt x="1202" y="459"/>
                        </a:lnTo>
                        <a:lnTo>
                          <a:pt x="1199" y="459"/>
                        </a:lnTo>
                        <a:lnTo>
                          <a:pt x="1197" y="461"/>
                        </a:lnTo>
                        <a:lnTo>
                          <a:pt x="1194" y="461"/>
                        </a:lnTo>
                        <a:lnTo>
                          <a:pt x="1194" y="464"/>
                        </a:lnTo>
                        <a:lnTo>
                          <a:pt x="1192" y="465"/>
                        </a:lnTo>
                        <a:lnTo>
                          <a:pt x="1192" y="467"/>
                        </a:lnTo>
                        <a:lnTo>
                          <a:pt x="1192" y="469"/>
                        </a:lnTo>
                        <a:lnTo>
                          <a:pt x="1189" y="470"/>
                        </a:lnTo>
                        <a:lnTo>
                          <a:pt x="1188" y="472"/>
                        </a:lnTo>
                        <a:lnTo>
                          <a:pt x="1185" y="475"/>
                        </a:lnTo>
                        <a:lnTo>
                          <a:pt x="1183" y="478"/>
                        </a:lnTo>
                        <a:lnTo>
                          <a:pt x="1183" y="481"/>
                        </a:lnTo>
                        <a:lnTo>
                          <a:pt x="1183" y="484"/>
                        </a:lnTo>
                        <a:lnTo>
                          <a:pt x="1185" y="488"/>
                        </a:lnTo>
                        <a:lnTo>
                          <a:pt x="1185" y="491"/>
                        </a:lnTo>
                        <a:lnTo>
                          <a:pt x="1186" y="492"/>
                        </a:lnTo>
                        <a:lnTo>
                          <a:pt x="1186" y="496"/>
                        </a:lnTo>
                        <a:lnTo>
                          <a:pt x="1185" y="500"/>
                        </a:lnTo>
                        <a:lnTo>
                          <a:pt x="1183" y="510"/>
                        </a:lnTo>
                        <a:lnTo>
                          <a:pt x="1183" y="513"/>
                        </a:lnTo>
                        <a:lnTo>
                          <a:pt x="1183" y="518"/>
                        </a:lnTo>
                        <a:lnTo>
                          <a:pt x="1185" y="519"/>
                        </a:lnTo>
                        <a:lnTo>
                          <a:pt x="1185" y="521"/>
                        </a:lnTo>
                        <a:lnTo>
                          <a:pt x="1183" y="526"/>
                        </a:lnTo>
                        <a:lnTo>
                          <a:pt x="1181" y="532"/>
                        </a:lnTo>
                        <a:lnTo>
                          <a:pt x="1181" y="535"/>
                        </a:lnTo>
                        <a:lnTo>
                          <a:pt x="1181" y="538"/>
                        </a:lnTo>
                        <a:lnTo>
                          <a:pt x="1181" y="540"/>
                        </a:lnTo>
                        <a:lnTo>
                          <a:pt x="1183" y="543"/>
                        </a:lnTo>
                        <a:lnTo>
                          <a:pt x="1185" y="548"/>
                        </a:lnTo>
                        <a:lnTo>
                          <a:pt x="1188" y="551"/>
                        </a:lnTo>
                        <a:lnTo>
                          <a:pt x="1188" y="554"/>
                        </a:lnTo>
                        <a:lnTo>
                          <a:pt x="1186" y="557"/>
                        </a:lnTo>
                        <a:lnTo>
                          <a:pt x="1185" y="560"/>
                        </a:lnTo>
                        <a:lnTo>
                          <a:pt x="1185" y="562"/>
                        </a:lnTo>
                        <a:lnTo>
                          <a:pt x="1185" y="565"/>
                        </a:lnTo>
                        <a:lnTo>
                          <a:pt x="1186" y="568"/>
                        </a:lnTo>
                        <a:lnTo>
                          <a:pt x="1188" y="570"/>
                        </a:lnTo>
                        <a:lnTo>
                          <a:pt x="1189" y="572"/>
                        </a:lnTo>
                        <a:lnTo>
                          <a:pt x="1191" y="572"/>
                        </a:lnTo>
                        <a:lnTo>
                          <a:pt x="1194" y="573"/>
                        </a:lnTo>
                        <a:lnTo>
                          <a:pt x="1196" y="573"/>
                        </a:lnTo>
                        <a:lnTo>
                          <a:pt x="1199" y="572"/>
                        </a:lnTo>
                        <a:lnTo>
                          <a:pt x="1200" y="572"/>
                        </a:lnTo>
                        <a:lnTo>
                          <a:pt x="1202" y="572"/>
                        </a:lnTo>
                        <a:lnTo>
                          <a:pt x="1204" y="572"/>
                        </a:lnTo>
                        <a:lnTo>
                          <a:pt x="1205" y="572"/>
                        </a:lnTo>
                        <a:lnTo>
                          <a:pt x="1205" y="570"/>
                        </a:lnTo>
                        <a:lnTo>
                          <a:pt x="1207" y="570"/>
                        </a:lnTo>
                        <a:lnTo>
                          <a:pt x="1208" y="570"/>
                        </a:lnTo>
                        <a:lnTo>
                          <a:pt x="1210" y="570"/>
                        </a:lnTo>
                        <a:lnTo>
                          <a:pt x="1211" y="570"/>
                        </a:lnTo>
                        <a:lnTo>
                          <a:pt x="1215" y="573"/>
                        </a:lnTo>
                        <a:lnTo>
                          <a:pt x="1219" y="576"/>
                        </a:lnTo>
                        <a:lnTo>
                          <a:pt x="1224" y="581"/>
                        </a:lnTo>
                        <a:lnTo>
                          <a:pt x="1230" y="586"/>
                        </a:lnTo>
                        <a:lnTo>
                          <a:pt x="1234" y="591"/>
                        </a:lnTo>
                        <a:lnTo>
                          <a:pt x="1237" y="594"/>
                        </a:lnTo>
                        <a:lnTo>
                          <a:pt x="1238" y="595"/>
                        </a:lnTo>
                        <a:lnTo>
                          <a:pt x="1238" y="597"/>
                        </a:lnTo>
                        <a:lnTo>
                          <a:pt x="1237" y="598"/>
                        </a:lnTo>
                        <a:lnTo>
                          <a:pt x="1234" y="600"/>
                        </a:lnTo>
                        <a:lnTo>
                          <a:pt x="1229" y="605"/>
                        </a:lnTo>
                        <a:lnTo>
                          <a:pt x="1226" y="608"/>
                        </a:lnTo>
                        <a:lnTo>
                          <a:pt x="1223" y="611"/>
                        </a:lnTo>
                        <a:lnTo>
                          <a:pt x="1219" y="613"/>
                        </a:lnTo>
                        <a:lnTo>
                          <a:pt x="1216" y="614"/>
                        </a:lnTo>
                        <a:lnTo>
                          <a:pt x="1215" y="616"/>
                        </a:lnTo>
                        <a:lnTo>
                          <a:pt x="1213" y="618"/>
                        </a:lnTo>
                        <a:lnTo>
                          <a:pt x="1213" y="619"/>
                        </a:lnTo>
                        <a:lnTo>
                          <a:pt x="1211" y="621"/>
                        </a:lnTo>
                        <a:lnTo>
                          <a:pt x="1211" y="625"/>
                        </a:lnTo>
                        <a:lnTo>
                          <a:pt x="1211" y="630"/>
                        </a:lnTo>
                        <a:lnTo>
                          <a:pt x="1210" y="632"/>
                        </a:lnTo>
                        <a:lnTo>
                          <a:pt x="1210" y="633"/>
                        </a:lnTo>
                        <a:lnTo>
                          <a:pt x="1207" y="632"/>
                        </a:lnTo>
                        <a:lnTo>
                          <a:pt x="1204" y="632"/>
                        </a:lnTo>
                        <a:lnTo>
                          <a:pt x="1202" y="633"/>
                        </a:lnTo>
                        <a:lnTo>
                          <a:pt x="1200" y="635"/>
                        </a:lnTo>
                        <a:lnTo>
                          <a:pt x="1199" y="637"/>
                        </a:lnTo>
                        <a:lnTo>
                          <a:pt x="1192" y="637"/>
                        </a:lnTo>
                        <a:lnTo>
                          <a:pt x="1192" y="638"/>
                        </a:lnTo>
                        <a:lnTo>
                          <a:pt x="1191" y="638"/>
                        </a:lnTo>
                        <a:lnTo>
                          <a:pt x="1191" y="640"/>
                        </a:lnTo>
                        <a:lnTo>
                          <a:pt x="1189" y="641"/>
                        </a:lnTo>
                        <a:lnTo>
                          <a:pt x="1189" y="644"/>
                        </a:lnTo>
                        <a:lnTo>
                          <a:pt x="1186" y="648"/>
                        </a:lnTo>
                        <a:lnTo>
                          <a:pt x="1183" y="651"/>
                        </a:lnTo>
                        <a:lnTo>
                          <a:pt x="1183" y="652"/>
                        </a:lnTo>
                        <a:lnTo>
                          <a:pt x="1181" y="654"/>
                        </a:lnTo>
                        <a:lnTo>
                          <a:pt x="1178" y="656"/>
                        </a:lnTo>
                        <a:lnTo>
                          <a:pt x="1177" y="657"/>
                        </a:lnTo>
                        <a:lnTo>
                          <a:pt x="1175" y="659"/>
                        </a:lnTo>
                        <a:lnTo>
                          <a:pt x="1173" y="660"/>
                        </a:lnTo>
                        <a:lnTo>
                          <a:pt x="1170" y="662"/>
                        </a:lnTo>
                        <a:lnTo>
                          <a:pt x="1167" y="665"/>
                        </a:lnTo>
                        <a:lnTo>
                          <a:pt x="1167" y="667"/>
                        </a:lnTo>
                        <a:lnTo>
                          <a:pt x="1165" y="668"/>
                        </a:lnTo>
                        <a:lnTo>
                          <a:pt x="1164" y="671"/>
                        </a:lnTo>
                        <a:lnTo>
                          <a:pt x="1162" y="673"/>
                        </a:lnTo>
                        <a:lnTo>
                          <a:pt x="1161" y="676"/>
                        </a:lnTo>
                        <a:lnTo>
                          <a:pt x="1161" y="678"/>
                        </a:lnTo>
                        <a:lnTo>
                          <a:pt x="1161" y="679"/>
                        </a:lnTo>
                        <a:lnTo>
                          <a:pt x="1159" y="679"/>
                        </a:lnTo>
                        <a:lnTo>
                          <a:pt x="1159" y="681"/>
                        </a:lnTo>
                        <a:lnTo>
                          <a:pt x="1162" y="690"/>
                        </a:lnTo>
                        <a:lnTo>
                          <a:pt x="1170" y="705"/>
                        </a:lnTo>
                        <a:lnTo>
                          <a:pt x="1177" y="716"/>
                        </a:lnTo>
                        <a:lnTo>
                          <a:pt x="1180" y="724"/>
                        </a:lnTo>
                        <a:lnTo>
                          <a:pt x="1185" y="732"/>
                        </a:lnTo>
                        <a:lnTo>
                          <a:pt x="1186" y="736"/>
                        </a:lnTo>
                        <a:lnTo>
                          <a:pt x="1188" y="741"/>
                        </a:lnTo>
                        <a:lnTo>
                          <a:pt x="1189" y="744"/>
                        </a:lnTo>
                        <a:lnTo>
                          <a:pt x="1180" y="752"/>
                        </a:lnTo>
                        <a:lnTo>
                          <a:pt x="1173" y="757"/>
                        </a:lnTo>
                        <a:lnTo>
                          <a:pt x="1170" y="760"/>
                        </a:lnTo>
                        <a:lnTo>
                          <a:pt x="1169" y="762"/>
                        </a:lnTo>
                        <a:lnTo>
                          <a:pt x="1169" y="763"/>
                        </a:lnTo>
                        <a:lnTo>
                          <a:pt x="1170" y="765"/>
                        </a:lnTo>
                        <a:lnTo>
                          <a:pt x="1170" y="770"/>
                        </a:lnTo>
                        <a:lnTo>
                          <a:pt x="1169" y="771"/>
                        </a:lnTo>
                        <a:lnTo>
                          <a:pt x="1169" y="773"/>
                        </a:lnTo>
                        <a:lnTo>
                          <a:pt x="1167" y="774"/>
                        </a:lnTo>
                        <a:lnTo>
                          <a:pt x="1162" y="777"/>
                        </a:lnTo>
                        <a:lnTo>
                          <a:pt x="1161" y="781"/>
                        </a:lnTo>
                        <a:lnTo>
                          <a:pt x="1159" y="782"/>
                        </a:lnTo>
                        <a:lnTo>
                          <a:pt x="1156" y="787"/>
                        </a:lnTo>
                        <a:lnTo>
                          <a:pt x="1154" y="787"/>
                        </a:lnTo>
                        <a:lnTo>
                          <a:pt x="1154" y="785"/>
                        </a:lnTo>
                        <a:lnTo>
                          <a:pt x="1150" y="790"/>
                        </a:lnTo>
                        <a:lnTo>
                          <a:pt x="1143" y="795"/>
                        </a:lnTo>
                        <a:lnTo>
                          <a:pt x="1129" y="806"/>
                        </a:lnTo>
                        <a:lnTo>
                          <a:pt x="1121" y="812"/>
                        </a:lnTo>
                        <a:lnTo>
                          <a:pt x="1115" y="816"/>
                        </a:lnTo>
                        <a:lnTo>
                          <a:pt x="1110" y="820"/>
                        </a:lnTo>
                        <a:lnTo>
                          <a:pt x="1112" y="820"/>
                        </a:lnTo>
                        <a:lnTo>
                          <a:pt x="1113" y="822"/>
                        </a:lnTo>
                        <a:lnTo>
                          <a:pt x="1116" y="822"/>
                        </a:lnTo>
                        <a:lnTo>
                          <a:pt x="1118" y="822"/>
                        </a:lnTo>
                        <a:lnTo>
                          <a:pt x="1120" y="823"/>
                        </a:lnTo>
                        <a:lnTo>
                          <a:pt x="1121" y="825"/>
                        </a:lnTo>
                        <a:lnTo>
                          <a:pt x="1123" y="827"/>
                        </a:lnTo>
                        <a:lnTo>
                          <a:pt x="1124" y="828"/>
                        </a:lnTo>
                        <a:lnTo>
                          <a:pt x="1124" y="831"/>
                        </a:lnTo>
                        <a:lnTo>
                          <a:pt x="1126" y="835"/>
                        </a:lnTo>
                        <a:lnTo>
                          <a:pt x="1126" y="836"/>
                        </a:lnTo>
                        <a:lnTo>
                          <a:pt x="1126" y="838"/>
                        </a:lnTo>
                        <a:lnTo>
                          <a:pt x="1126" y="839"/>
                        </a:lnTo>
                        <a:lnTo>
                          <a:pt x="1126" y="841"/>
                        </a:lnTo>
                        <a:lnTo>
                          <a:pt x="1126" y="844"/>
                        </a:lnTo>
                        <a:lnTo>
                          <a:pt x="1126" y="846"/>
                        </a:lnTo>
                        <a:lnTo>
                          <a:pt x="1126" y="847"/>
                        </a:lnTo>
                        <a:lnTo>
                          <a:pt x="1124" y="849"/>
                        </a:lnTo>
                        <a:lnTo>
                          <a:pt x="1123" y="850"/>
                        </a:lnTo>
                        <a:lnTo>
                          <a:pt x="1121" y="850"/>
                        </a:lnTo>
                        <a:lnTo>
                          <a:pt x="1120" y="850"/>
                        </a:lnTo>
                        <a:lnTo>
                          <a:pt x="1115" y="849"/>
                        </a:lnTo>
                        <a:lnTo>
                          <a:pt x="1115" y="847"/>
                        </a:lnTo>
                        <a:lnTo>
                          <a:pt x="1113" y="847"/>
                        </a:lnTo>
                        <a:lnTo>
                          <a:pt x="1112" y="847"/>
                        </a:lnTo>
                        <a:lnTo>
                          <a:pt x="1110" y="849"/>
                        </a:lnTo>
                        <a:lnTo>
                          <a:pt x="1108" y="849"/>
                        </a:lnTo>
                        <a:lnTo>
                          <a:pt x="1108" y="850"/>
                        </a:lnTo>
                        <a:lnTo>
                          <a:pt x="1108" y="852"/>
                        </a:lnTo>
                        <a:lnTo>
                          <a:pt x="1107" y="852"/>
                        </a:lnTo>
                        <a:lnTo>
                          <a:pt x="1104" y="855"/>
                        </a:lnTo>
                        <a:lnTo>
                          <a:pt x="1101" y="858"/>
                        </a:lnTo>
                        <a:lnTo>
                          <a:pt x="1099" y="858"/>
                        </a:lnTo>
                        <a:lnTo>
                          <a:pt x="1099" y="860"/>
                        </a:lnTo>
                        <a:lnTo>
                          <a:pt x="1097" y="861"/>
                        </a:lnTo>
                        <a:lnTo>
                          <a:pt x="1096" y="863"/>
                        </a:lnTo>
                        <a:lnTo>
                          <a:pt x="1096" y="865"/>
                        </a:lnTo>
                        <a:lnTo>
                          <a:pt x="1096" y="866"/>
                        </a:lnTo>
                        <a:lnTo>
                          <a:pt x="1093" y="871"/>
                        </a:lnTo>
                        <a:lnTo>
                          <a:pt x="1091" y="873"/>
                        </a:lnTo>
                        <a:lnTo>
                          <a:pt x="1091" y="874"/>
                        </a:lnTo>
                        <a:lnTo>
                          <a:pt x="1091" y="877"/>
                        </a:lnTo>
                        <a:lnTo>
                          <a:pt x="1089" y="882"/>
                        </a:lnTo>
                        <a:lnTo>
                          <a:pt x="1088" y="887"/>
                        </a:lnTo>
                        <a:lnTo>
                          <a:pt x="1088" y="888"/>
                        </a:lnTo>
                        <a:lnTo>
                          <a:pt x="1088" y="890"/>
                        </a:lnTo>
                        <a:lnTo>
                          <a:pt x="1088" y="892"/>
                        </a:lnTo>
                        <a:lnTo>
                          <a:pt x="1089" y="895"/>
                        </a:lnTo>
                        <a:lnTo>
                          <a:pt x="1089" y="896"/>
                        </a:lnTo>
                        <a:lnTo>
                          <a:pt x="1091" y="898"/>
                        </a:lnTo>
                        <a:lnTo>
                          <a:pt x="1093" y="899"/>
                        </a:lnTo>
                        <a:lnTo>
                          <a:pt x="1094" y="901"/>
                        </a:lnTo>
                        <a:lnTo>
                          <a:pt x="1096" y="903"/>
                        </a:lnTo>
                        <a:lnTo>
                          <a:pt x="1097" y="904"/>
                        </a:lnTo>
                        <a:lnTo>
                          <a:pt x="1099" y="904"/>
                        </a:lnTo>
                        <a:lnTo>
                          <a:pt x="1101" y="904"/>
                        </a:lnTo>
                        <a:lnTo>
                          <a:pt x="1102" y="906"/>
                        </a:lnTo>
                        <a:lnTo>
                          <a:pt x="1104" y="907"/>
                        </a:lnTo>
                        <a:lnTo>
                          <a:pt x="1107" y="907"/>
                        </a:lnTo>
                        <a:lnTo>
                          <a:pt x="1108" y="909"/>
                        </a:lnTo>
                        <a:lnTo>
                          <a:pt x="1110" y="911"/>
                        </a:lnTo>
                        <a:lnTo>
                          <a:pt x="1113" y="915"/>
                        </a:lnTo>
                        <a:lnTo>
                          <a:pt x="1115" y="915"/>
                        </a:lnTo>
                        <a:lnTo>
                          <a:pt x="1116" y="917"/>
                        </a:lnTo>
                        <a:lnTo>
                          <a:pt x="1118" y="918"/>
                        </a:lnTo>
                        <a:lnTo>
                          <a:pt x="1120" y="920"/>
                        </a:lnTo>
                        <a:lnTo>
                          <a:pt x="1121" y="922"/>
                        </a:lnTo>
                        <a:lnTo>
                          <a:pt x="1121" y="923"/>
                        </a:lnTo>
                        <a:lnTo>
                          <a:pt x="1123" y="926"/>
                        </a:lnTo>
                        <a:lnTo>
                          <a:pt x="1123" y="928"/>
                        </a:lnTo>
                        <a:lnTo>
                          <a:pt x="1124" y="928"/>
                        </a:lnTo>
                        <a:lnTo>
                          <a:pt x="1124" y="930"/>
                        </a:lnTo>
                        <a:lnTo>
                          <a:pt x="1124" y="933"/>
                        </a:lnTo>
                        <a:lnTo>
                          <a:pt x="1126" y="933"/>
                        </a:lnTo>
                        <a:lnTo>
                          <a:pt x="1126" y="934"/>
                        </a:lnTo>
                        <a:lnTo>
                          <a:pt x="1124" y="936"/>
                        </a:lnTo>
                        <a:lnTo>
                          <a:pt x="1126" y="937"/>
                        </a:lnTo>
                        <a:lnTo>
                          <a:pt x="1126" y="939"/>
                        </a:lnTo>
                        <a:lnTo>
                          <a:pt x="1126" y="941"/>
                        </a:lnTo>
                        <a:lnTo>
                          <a:pt x="1126" y="942"/>
                        </a:lnTo>
                        <a:lnTo>
                          <a:pt x="1127" y="944"/>
                        </a:lnTo>
                        <a:lnTo>
                          <a:pt x="1129" y="947"/>
                        </a:lnTo>
                        <a:lnTo>
                          <a:pt x="1129" y="949"/>
                        </a:lnTo>
                        <a:lnTo>
                          <a:pt x="1131" y="950"/>
                        </a:lnTo>
                        <a:lnTo>
                          <a:pt x="1129" y="955"/>
                        </a:lnTo>
                        <a:lnTo>
                          <a:pt x="1129" y="956"/>
                        </a:lnTo>
                        <a:lnTo>
                          <a:pt x="1129" y="958"/>
                        </a:lnTo>
                        <a:lnTo>
                          <a:pt x="1129" y="960"/>
                        </a:lnTo>
                        <a:lnTo>
                          <a:pt x="1131" y="964"/>
                        </a:lnTo>
                        <a:lnTo>
                          <a:pt x="1134" y="966"/>
                        </a:lnTo>
                        <a:lnTo>
                          <a:pt x="1137" y="968"/>
                        </a:lnTo>
                        <a:lnTo>
                          <a:pt x="1139" y="969"/>
                        </a:lnTo>
                        <a:lnTo>
                          <a:pt x="1140" y="971"/>
                        </a:lnTo>
                        <a:lnTo>
                          <a:pt x="1140" y="972"/>
                        </a:lnTo>
                        <a:lnTo>
                          <a:pt x="1142" y="974"/>
                        </a:lnTo>
                        <a:lnTo>
                          <a:pt x="1143" y="976"/>
                        </a:lnTo>
                        <a:lnTo>
                          <a:pt x="1143" y="977"/>
                        </a:lnTo>
                        <a:lnTo>
                          <a:pt x="1145" y="979"/>
                        </a:lnTo>
                        <a:lnTo>
                          <a:pt x="1145" y="980"/>
                        </a:lnTo>
                        <a:lnTo>
                          <a:pt x="1146" y="982"/>
                        </a:lnTo>
                        <a:lnTo>
                          <a:pt x="1146" y="983"/>
                        </a:lnTo>
                        <a:lnTo>
                          <a:pt x="1146" y="985"/>
                        </a:lnTo>
                        <a:lnTo>
                          <a:pt x="1146" y="987"/>
                        </a:lnTo>
                        <a:lnTo>
                          <a:pt x="1145" y="988"/>
                        </a:lnTo>
                        <a:lnTo>
                          <a:pt x="1145" y="990"/>
                        </a:lnTo>
                        <a:lnTo>
                          <a:pt x="1142" y="995"/>
                        </a:lnTo>
                        <a:lnTo>
                          <a:pt x="1140" y="996"/>
                        </a:lnTo>
                        <a:lnTo>
                          <a:pt x="1140" y="999"/>
                        </a:lnTo>
                        <a:lnTo>
                          <a:pt x="1139" y="999"/>
                        </a:lnTo>
                        <a:lnTo>
                          <a:pt x="1139" y="1001"/>
                        </a:lnTo>
                        <a:lnTo>
                          <a:pt x="1139" y="1006"/>
                        </a:lnTo>
                        <a:lnTo>
                          <a:pt x="1139" y="1007"/>
                        </a:lnTo>
                        <a:lnTo>
                          <a:pt x="1139" y="1014"/>
                        </a:lnTo>
                        <a:lnTo>
                          <a:pt x="1139" y="1015"/>
                        </a:lnTo>
                        <a:lnTo>
                          <a:pt x="1137" y="1017"/>
                        </a:lnTo>
                        <a:lnTo>
                          <a:pt x="1135" y="1018"/>
                        </a:lnTo>
                        <a:lnTo>
                          <a:pt x="1134" y="1018"/>
                        </a:lnTo>
                        <a:lnTo>
                          <a:pt x="1132" y="1018"/>
                        </a:lnTo>
                        <a:lnTo>
                          <a:pt x="1131" y="1020"/>
                        </a:lnTo>
                        <a:lnTo>
                          <a:pt x="1126" y="1017"/>
                        </a:lnTo>
                        <a:lnTo>
                          <a:pt x="1124" y="1015"/>
                        </a:lnTo>
                        <a:lnTo>
                          <a:pt x="1124" y="1014"/>
                        </a:lnTo>
                        <a:lnTo>
                          <a:pt x="1124" y="1012"/>
                        </a:lnTo>
                        <a:lnTo>
                          <a:pt x="1123" y="1012"/>
                        </a:lnTo>
                        <a:lnTo>
                          <a:pt x="1121" y="1010"/>
                        </a:lnTo>
                        <a:lnTo>
                          <a:pt x="1120" y="1009"/>
                        </a:lnTo>
                        <a:lnTo>
                          <a:pt x="1120" y="1007"/>
                        </a:lnTo>
                        <a:lnTo>
                          <a:pt x="1118" y="1006"/>
                        </a:lnTo>
                        <a:lnTo>
                          <a:pt x="1116" y="1004"/>
                        </a:lnTo>
                        <a:lnTo>
                          <a:pt x="1115" y="1001"/>
                        </a:lnTo>
                        <a:lnTo>
                          <a:pt x="1113" y="1001"/>
                        </a:lnTo>
                        <a:lnTo>
                          <a:pt x="1110" y="999"/>
                        </a:lnTo>
                        <a:lnTo>
                          <a:pt x="1108" y="999"/>
                        </a:lnTo>
                        <a:lnTo>
                          <a:pt x="1104" y="998"/>
                        </a:lnTo>
                        <a:lnTo>
                          <a:pt x="1102" y="996"/>
                        </a:lnTo>
                        <a:lnTo>
                          <a:pt x="1099" y="996"/>
                        </a:lnTo>
                        <a:lnTo>
                          <a:pt x="1097" y="996"/>
                        </a:lnTo>
                        <a:lnTo>
                          <a:pt x="1096" y="996"/>
                        </a:lnTo>
                        <a:lnTo>
                          <a:pt x="1093" y="996"/>
                        </a:lnTo>
                        <a:lnTo>
                          <a:pt x="1091" y="998"/>
                        </a:lnTo>
                        <a:lnTo>
                          <a:pt x="1089" y="999"/>
                        </a:lnTo>
                        <a:lnTo>
                          <a:pt x="1086" y="999"/>
                        </a:lnTo>
                        <a:lnTo>
                          <a:pt x="1085" y="1001"/>
                        </a:lnTo>
                        <a:lnTo>
                          <a:pt x="1083" y="1001"/>
                        </a:lnTo>
                        <a:lnTo>
                          <a:pt x="1080" y="1001"/>
                        </a:lnTo>
                        <a:lnTo>
                          <a:pt x="1077" y="1002"/>
                        </a:lnTo>
                        <a:lnTo>
                          <a:pt x="1075" y="1004"/>
                        </a:lnTo>
                        <a:lnTo>
                          <a:pt x="1072" y="1006"/>
                        </a:lnTo>
                        <a:lnTo>
                          <a:pt x="1072" y="1007"/>
                        </a:lnTo>
                        <a:lnTo>
                          <a:pt x="1070" y="1007"/>
                        </a:lnTo>
                        <a:lnTo>
                          <a:pt x="1069" y="1009"/>
                        </a:lnTo>
                        <a:lnTo>
                          <a:pt x="1069" y="1010"/>
                        </a:lnTo>
                        <a:lnTo>
                          <a:pt x="1067" y="1010"/>
                        </a:lnTo>
                        <a:lnTo>
                          <a:pt x="1066" y="1012"/>
                        </a:lnTo>
                        <a:lnTo>
                          <a:pt x="1064" y="1012"/>
                        </a:lnTo>
                        <a:lnTo>
                          <a:pt x="1064" y="1014"/>
                        </a:lnTo>
                        <a:lnTo>
                          <a:pt x="1063" y="1014"/>
                        </a:lnTo>
                        <a:lnTo>
                          <a:pt x="1063" y="1017"/>
                        </a:lnTo>
                        <a:lnTo>
                          <a:pt x="1061" y="1018"/>
                        </a:lnTo>
                        <a:lnTo>
                          <a:pt x="1061" y="1020"/>
                        </a:lnTo>
                        <a:lnTo>
                          <a:pt x="1061" y="1021"/>
                        </a:lnTo>
                        <a:lnTo>
                          <a:pt x="1061" y="1023"/>
                        </a:lnTo>
                        <a:lnTo>
                          <a:pt x="1063" y="1025"/>
                        </a:lnTo>
                        <a:lnTo>
                          <a:pt x="1064" y="1025"/>
                        </a:lnTo>
                        <a:lnTo>
                          <a:pt x="1066" y="1026"/>
                        </a:lnTo>
                        <a:lnTo>
                          <a:pt x="1066" y="1028"/>
                        </a:lnTo>
                        <a:lnTo>
                          <a:pt x="1067" y="1029"/>
                        </a:lnTo>
                        <a:lnTo>
                          <a:pt x="1069" y="1029"/>
                        </a:lnTo>
                        <a:lnTo>
                          <a:pt x="1070" y="1031"/>
                        </a:lnTo>
                        <a:lnTo>
                          <a:pt x="1072" y="1036"/>
                        </a:lnTo>
                        <a:lnTo>
                          <a:pt x="1074" y="1037"/>
                        </a:lnTo>
                        <a:lnTo>
                          <a:pt x="1074" y="1039"/>
                        </a:lnTo>
                        <a:lnTo>
                          <a:pt x="1074" y="1040"/>
                        </a:lnTo>
                        <a:lnTo>
                          <a:pt x="1074" y="1042"/>
                        </a:lnTo>
                        <a:lnTo>
                          <a:pt x="1077" y="1044"/>
                        </a:lnTo>
                        <a:lnTo>
                          <a:pt x="1078" y="1045"/>
                        </a:lnTo>
                        <a:lnTo>
                          <a:pt x="1080" y="1045"/>
                        </a:lnTo>
                        <a:lnTo>
                          <a:pt x="1082" y="1047"/>
                        </a:lnTo>
                        <a:lnTo>
                          <a:pt x="1083" y="1048"/>
                        </a:lnTo>
                        <a:lnTo>
                          <a:pt x="1085" y="1050"/>
                        </a:lnTo>
                        <a:lnTo>
                          <a:pt x="1086" y="1050"/>
                        </a:lnTo>
                        <a:lnTo>
                          <a:pt x="1088" y="1052"/>
                        </a:lnTo>
                        <a:lnTo>
                          <a:pt x="1089" y="1052"/>
                        </a:lnTo>
                        <a:lnTo>
                          <a:pt x="1091" y="1052"/>
                        </a:lnTo>
                        <a:lnTo>
                          <a:pt x="1093" y="1052"/>
                        </a:lnTo>
                        <a:lnTo>
                          <a:pt x="1094" y="1052"/>
                        </a:lnTo>
                        <a:lnTo>
                          <a:pt x="1094" y="1053"/>
                        </a:lnTo>
                        <a:lnTo>
                          <a:pt x="1096" y="1053"/>
                        </a:lnTo>
                        <a:lnTo>
                          <a:pt x="1097" y="1053"/>
                        </a:lnTo>
                        <a:lnTo>
                          <a:pt x="1101" y="1053"/>
                        </a:lnTo>
                        <a:lnTo>
                          <a:pt x="1107" y="1058"/>
                        </a:lnTo>
                        <a:lnTo>
                          <a:pt x="1107" y="1059"/>
                        </a:lnTo>
                        <a:lnTo>
                          <a:pt x="1107" y="1061"/>
                        </a:lnTo>
                        <a:lnTo>
                          <a:pt x="1108" y="1061"/>
                        </a:lnTo>
                        <a:lnTo>
                          <a:pt x="1108" y="1063"/>
                        </a:lnTo>
                        <a:lnTo>
                          <a:pt x="1110" y="1064"/>
                        </a:lnTo>
                        <a:lnTo>
                          <a:pt x="1110" y="1066"/>
                        </a:lnTo>
                        <a:lnTo>
                          <a:pt x="1112" y="1067"/>
                        </a:lnTo>
                        <a:lnTo>
                          <a:pt x="1112" y="1069"/>
                        </a:lnTo>
                        <a:lnTo>
                          <a:pt x="1112" y="1071"/>
                        </a:lnTo>
                        <a:lnTo>
                          <a:pt x="1110" y="1075"/>
                        </a:lnTo>
                        <a:lnTo>
                          <a:pt x="1110" y="1077"/>
                        </a:lnTo>
                        <a:lnTo>
                          <a:pt x="1108" y="1077"/>
                        </a:lnTo>
                        <a:lnTo>
                          <a:pt x="1105" y="1080"/>
                        </a:lnTo>
                        <a:lnTo>
                          <a:pt x="1104" y="1082"/>
                        </a:lnTo>
                        <a:lnTo>
                          <a:pt x="1102" y="1083"/>
                        </a:lnTo>
                        <a:lnTo>
                          <a:pt x="1101" y="1085"/>
                        </a:lnTo>
                        <a:lnTo>
                          <a:pt x="1097" y="1088"/>
                        </a:lnTo>
                        <a:lnTo>
                          <a:pt x="1094" y="1091"/>
                        </a:lnTo>
                        <a:lnTo>
                          <a:pt x="1093" y="1093"/>
                        </a:lnTo>
                        <a:lnTo>
                          <a:pt x="1093" y="1094"/>
                        </a:lnTo>
                        <a:lnTo>
                          <a:pt x="1091" y="1096"/>
                        </a:lnTo>
                        <a:lnTo>
                          <a:pt x="1091" y="1097"/>
                        </a:lnTo>
                        <a:lnTo>
                          <a:pt x="1091" y="1101"/>
                        </a:lnTo>
                        <a:lnTo>
                          <a:pt x="1093" y="1102"/>
                        </a:lnTo>
                        <a:lnTo>
                          <a:pt x="1094" y="1104"/>
                        </a:lnTo>
                        <a:lnTo>
                          <a:pt x="1096" y="1107"/>
                        </a:lnTo>
                        <a:lnTo>
                          <a:pt x="1097" y="1109"/>
                        </a:lnTo>
                        <a:lnTo>
                          <a:pt x="1102" y="1109"/>
                        </a:lnTo>
                        <a:lnTo>
                          <a:pt x="1104" y="1109"/>
                        </a:lnTo>
                        <a:lnTo>
                          <a:pt x="1105" y="1110"/>
                        </a:lnTo>
                        <a:lnTo>
                          <a:pt x="1107" y="1110"/>
                        </a:lnTo>
                        <a:lnTo>
                          <a:pt x="1108" y="1112"/>
                        </a:lnTo>
                        <a:lnTo>
                          <a:pt x="1110" y="1113"/>
                        </a:lnTo>
                        <a:lnTo>
                          <a:pt x="1113" y="1116"/>
                        </a:lnTo>
                        <a:lnTo>
                          <a:pt x="1116" y="1116"/>
                        </a:lnTo>
                        <a:lnTo>
                          <a:pt x="1116" y="1118"/>
                        </a:lnTo>
                        <a:lnTo>
                          <a:pt x="1120" y="1121"/>
                        </a:lnTo>
                        <a:lnTo>
                          <a:pt x="1121" y="1123"/>
                        </a:lnTo>
                        <a:lnTo>
                          <a:pt x="1124" y="1124"/>
                        </a:lnTo>
                        <a:lnTo>
                          <a:pt x="1124" y="1126"/>
                        </a:lnTo>
                        <a:lnTo>
                          <a:pt x="1124" y="1128"/>
                        </a:lnTo>
                        <a:lnTo>
                          <a:pt x="1126" y="1128"/>
                        </a:lnTo>
                        <a:lnTo>
                          <a:pt x="1126" y="1131"/>
                        </a:lnTo>
                        <a:lnTo>
                          <a:pt x="1126" y="1135"/>
                        </a:lnTo>
                        <a:lnTo>
                          <a:pt x="1126" y="1137"/>
                        </a:lnTo>
                        <a:lnTo>
                          <a:pt x="1124" y="1139"/>
                        </a:lnTo>
                        <a:lnTo>
                          <a:pt x="1123" y="1142"/>
                        </a:lnTo>
                        <a:lnTo>
                          <a:pt x="1121" y="1143"/>
                        </a:lnTo>
                        <a:lnTo>
                          <a:pt x="1120" y="1145"/>
                        </a:lnTo>
                        <a:lnTo>
                          <a:pt x="1118" y="1147"/>
                        </a:lnTo>
                        <a:lnTo>
                          <a:pt x="1118" y="1148"/>
                        </a:lnTo>
                        <a:lnTo>
                          <a:pt x="1116" y="1150"/>
                        </a:lnTo>
                        <a:lnTo>
                          <a:pt x="1116" y="1151"/>
                        </a:lnTo>
                        <a:lnTo>
                          <a:pt x="1116" y="1153"/>
                        </a:lnTo>
                        <a:lnTo>
                          <a:pt x="1116" y="1156"/>
                        </a:lnTo>
                        <a:lnTo>
                          <a:pt x="1116" y="1158"/>
                        </a:lnTo>
                        <a:lnTo>
                          <a:pt x="1115" y="1159"/>
                        </a:lnTo>
                        <a:lnTo>
                          <a:pt x="1113" y="1162"/>
                        </a:lnTo>
                        <a:lnTo>
                          <a:pt x="1112" y="1164"/>
                        </a:lnTo>
                        <a:lnTo>
                          <a:pt x="1110" y="1164"/>
                        </a:lnTo>
                        <a:lnTo>
                          <a:pt x="1105" y="1166"/>
                        </a:lnTo>
                        <a:lnTo>
                          <a:pt x="1104" y="1167"/>
                        </a:lnTo>
                        <a:lnTo>
                          <a:pt x="1101" y="1167"/>
                        </a:lnTo>
                        <a:lnTo>
                          <a:pt x="1101" y="1169"/>
                        </a:lnTo>
                        <a:lnTo>
                          <a:pt x="1099" y="1169"/>
                        </a:lnTo>
                        <a:lnTo>
                          <a:pt x="1097" y="1169"/>
                        </a:lnTo>
                        <a:lnTo>
                          <a:pt x="1094" y="1172"/>
                        </a:lnTo>
                        <a:lnTo>
                          <a:pt x="1093" y="1172"/>
                        </a:lnTo>
                        <a:lnTo>
                          <a:pt x="1091" y="1174"/>
                        </a:lnTo>
                        <a:lnTo>
                          <a:pt x="1089" y="1174"/>
                        </a:lnTo>
                        <a:lnTo>
                          <a:pt x="1086" y="1174"/>
                        </a:lnTo>
                        <a:lnTo>
                          <a:pt x="1085" y="1174"/>
                        </a:lnTo>
                        <a:lnTo>
                          <a:pt x="1083" y="1174"/>
                        </a:lnTo>
                        <a:lnTo>
                          <a:pt x="1078" y="1172"/>
                        </a:lnTo>
                        <a:lnTo>
                          <a:pt x="1077" y="1172"/>
                        </a:lnTo>
                        <a:lnTo>
                          <a:pt x="1075" y="1172"/>
                        </a:lnTo>
                        <a:lnTo>
                          <a:pt x="1074" y="1172"/>
                        </a:lnTo>
                        <a:lnTo>
                          <a:pt x="1070" y="1172"/>
                        </a:lnTo>
                        <a:lnTo>
                          <a:pt x="1069" y="1172"/>
                        </a:lnTo>
                        <a:lnTo>
                          <a:pt x="1067" y="1174"/>
                        </a:lnTo>
                        <a:lnTo>
                          <a:pt x="1066" y="1174"/>
                        </a:lnTo>
                        <a:lnTo>
                          <a:pt x="1066" y="1175"/>
                        </a:lnTo>
                        <a:lnTo>
                          <a:pt x="1064" y="1178"/>
                        </a:lnTo>
                        <a:lnTo>
                          <a:pt x="1064" y="1181"/>
                        </a:lnTo>
                        <a:lnTo>
                          <a:pt x="1066" y="1185"/>
                        </a:lnTo>
                        <a:lnTo>
                          <a:pt x="1066" y="1186"/>
                        </a:lnTo>
                        <a:lnTo>
                          <a:pt x="1066" y="1188"/>
                        </a:lnTo>
                        <a:lnTo>
                          <a:pt x="1066" y="1191"/>
                        </a:lnTo>
                        <a:lnTo>
                          <a:pt x="1067" y="1193"/>
                        </a:lnTo>
                        <a:lnTo>
                          <a:pt x="1070" y="1196"/>
                        </a:lnTo>
                        <a:lnTo>
                          <a:pt x="1077" y="1199"/>
                        </a:lnTo>
                        <a:lnTo>
                          <a:pt x="1078" y="1200"/>
                        </a:lnTo>
                        <a:lnTo>
                          <a:pt x="1082" y="1202"/>
                        </a:lnTo>
                        <a:lnTo>
                          <a:pt x="1083" y="1204"/>
                        </a:lnTo>
                        <a:lnTo>
                          <a:pt x="1086" y="1207"/>
                        </a:lnTo>
                        <a:lnTo>
                          <a:pt x="1089" y="1208"/>
                        </a:lnTo>
                        <a:lnTo>
                          <a:pt x="1091" y="1210"/>
                        </a:lnTo>
                        <a:lnTo>
                          <a:pt x="1093" y="1210"/>
                        </a:lnTo>
                        <a:lnTo>
                          <a:pt x="1094" y="1212"/>
                        </a:lnTo>
                        <a:lnTo>
                          <a:pt x="1097" y="1212"/>
                        </a:lnTo>
                        <a:lnTo>
                          <a:pt x="1099" y="1212"/>
                        </a:lnTo>
                        <a:lnTo>
                          <a:pt x="1101" y="1212"/>
                        </a:lnTo>
                        <a:lnTo>
                          <a:pt x="1102" y="1210"/>
                        </a:lnTo>
                        <a:lnTo>
                          <a:pt x="1104" y="1210"/>
                        </a:lnTo>
                        <a:lnTo>
                          <a:pt x="1105" y="1210"/>
                        </a:lnTo>
                        <a:lnTo>
                          <a:pt x="1107" y="1212"/>
                        </a:lnTo>
                        <a:lnTo>
                          <a:pt x="1110" y="1210"/>
                        </a:lnTo>
                        <a:lnTo>
                          <a:pt x="1113" y="1210"/>
                        </a:lnTo>
                        <a:lnTo>
                          <a:pt x="1115" y="1208"/>
                        </a:lnTo>
                        <a:lnTo>
                          <a:pt x="1118" y="1208"/>
                        </a:lnTo>
                        <a:lnTo>
                          <a:pt x="1118" y="1207"/>
                        </a:lnTo>
                        <a:lnTo>
                          <a:pt x="1120" y="1207"/>
                        </a:lnTo>
                        <a:lnTo>
                          <a:pt x="1123" y="1208"/>
                        </a:lnTo>
                        <a:lnTo>
                          <a:pt x="1127" y="1207"/>
                        </a:lnTo>
                        <a:lnTo>
                          <a:pt x="1131" y="1207"/>
                        </a:lnTo>
                        <a:lnTo>
                          <a:pt x="1132" y="1207"/>
                        </a:lnTo>
                        <a:lnTo>
                          <a:pt x="1134" y="1207"/>
                        </a:lnTo>
                        <a:lnTo>
                          <a:pt x="1135" y="1205"/>
                        </a:lnTo>
                        <a:lnTo>
                          <a:pt x="1137" y="1205"/>
                        </a:lnTo>
                        <a:lnTo>
                          <a:pt x="1139" y="1205"/>
                        </a:lnTo>
                        <a:lnTo>
                          <a:pt x="1140" y="1205"/>
                        </a:lnTo>
                        <a:lnTo>
                          <a:pt x="1142" y="1207"/>
                        </a:lnTo>
                        <a:lnTo>
                          <a:pt x="1143" y="1207"/>
                        </a:lnTo>
                        <a:lnTo>
                          <a:pt x="1145" y="1207"/>
                        </a:lnTo>
                        <a:lnTo>
                          <a:pt x="1145" y="1208"/>
                        </a:lnTo>
                        <a:lnTo>
                          <a:pt x="1146" y="1208"/>
                        </a:lnTo>
                        <a:lnTo>
                          <a:pt x="1148" y="1210"/>
                        </a:lnTo>
                        <a:lnTo>
                          <a:pt x="1150" y="1212"/>
                        </a:lnTo>
                        <a:lnTo>
                          <a:pt x="1151" y="1212"/>
                        </a:lnTo>
                        <a:lnTo>
                          <a:pt x="1153" y="1213"/>
                        </a:lnTo>
                        <a:lnTo>
                          <a:pt x="1154" y="1215"/>
                        </a:lnTo>
                        <a:lnTo>
                          <a:pt x="1156" y="1216"/>
                        </a:lnTo>
                        <a:lnTo>
                          <a:pt x="1156" y="1218"/>
                        </a:lnTo>
                        <a:lnTo>
                          <a:pt x="1158" y="1218"/>
                        </a:lnTo>
                        <a:lnTo>
                          <a:pt x="1159" y="1219"/>
                        </a:lnTo>
                        <a:lnTo>
                          <a:pt x="1161" y="1221"/>
                        </a:lnTo>
                        <a:lnTo>
                          <a:pt x="1162" y="1221"/>
                        </a:lnTo>
                        <a:lnTo>
                          <a:pt x="1162" y="1223"/>
                        </a:lnTo>
                        <a:lnTo>
                          <a:pt x="1164" y="1224"/>
                        </a:lnTo>
                        <a:lnTo>
                          <a:pt x="1167" y="1226"/>
                        </a:lnTo>
                        <a:lnTo>
                          <a:pt x="1170" y="1229"/>
                        </a:lnTo>
                        <a:lnTo>
                          <a:pt x="1172" y="1231"/>
                        </a:lnTo>
                        <a:lnTo>
                          <a:pt x="1173" y="1232"/>
                        </a:lnTo>
                        <a:lnTo>
                          <a:pt x="1178" y="1235"/>
                        </a:lnTo>
                        <a:lnTo>
                          <a:pt x="1181" y="1238"/>
                        </a:lnTo>
                        <a:lnTo>
                          <a:pt x="1185" y="1242"/>
                        </a:lnTo>
                        <a:lnTo>
                          <a:pt x="1186" y="1243"/>
                        </a:lnTo>
                        <a:lnTo>
                          <a:pt x="1188" y="1246"/>
                        </a:lnTo>
                        <a:lnTo>
                          <a:pt x="1189" y="1248"/>
                        </a:lnTo>
                        <a:lnTo>
                          <a:pt x="1189" y="1251"/>
                        </a:lnTo>
                        <a:lnTo>
                          <a:pt x="1189" y="1253"/>
                        </a:lnTo>
                        <a:lnTo>
                          <a:pt x="1191" y="1256"/>
                        </a:lnTo>
                        <a:lnTo>
                          <a:pt x="1191" y="1259"/>
                        </a:lnTo>
                        <a:lnTo>
                          <a:pt x="1191" y="1261"/>
                        </a:lnTo>
                        <a:lnTo>
                          <a:pt x="1191" y="1264"/>
                        </a:lnTo>
                        <a:lnTo>
                          <a:pt x="1192" y="1270"/>
                        </a:lnTo>
                        <a:lnTo>
                          <a:pt x="1194" y="1280"/>
                        </a:lnTo>
                        <a:lnTo>
                          <a:pt x="1194" y="1286"/>
                        </a:lnTo>
                        <a:lnTo>
                          <a:pt x="1196" y="1292"/>
                        </a:lnTo>
                        <a:lnTo>
                          <a:pt x="1196" y="1295"/>
                        </a:lnTo>
                        <a:lnTo>
                          <a:pt x="1196" y="1297"/>
                        </a:lnTo>
                        <a:lnTo>
                          <a:pt x="1197" y="1299"/>
                        </a:lnTo>
                        <a:lnTo>
                          <a:pt x="1197" y="1300"/>
                        </a:lnTo>
                        <a:lnTo>
                          <a:pt x="1200" y="1302"/>
                        </a:lnTo>
                        <a:lnTo>
                          <a:pt x="1202" y="1302"/>
                        </a:lnTo>
                        <a:lnTo>
                          <a:pt x="1205" y="1303"/>
                        </a:lnTo>
                        <a:lnTo>
                          <a:pt x="1208" y="1305"/>
                        </a:lnTo>
                        <a:lnTo>
                          <a:pt x="1210" y="1307"/>
                        </a:lnTo>
                        <a:lnTo>
                          <a:pt x="1213" y="1308"/>
                        </a:lnTo>
                        <a:lnTo>
                          <a:pt x="1215" y="1311"/>
                        </a:lnTo>
                        <a:lnTo>
                          <a:pt x="1216" y="1313"/>
                        </a:lnTo>
                        <a:lnTo>
                          <a:pt x="1219" y="1316"/>
                        </a:lnTo>
                        <a:lnTo>
                          <a:pt x="1219" y="1319"/>
                        </a:lnTo>
                        <a:lnTo>
                          <a:pt x="1221" y="1321"/>
                        </a:lnTo>
                        <a:lnTo>
                          <a:pt x="1221" y="1324"/>
                        </a:lnTo>
                        <a:lnTo>
                          <a:pt x="1223" y="1329"/>
                        </a:lnTo>
                        <a:lnTo>
                          <a:pt x="1223" y="1333"/>
                        </a:lnTo>
                        <a:lnTo>
                          <a:pt x="1223" y="1340"/>
                        </a:lnTo>
                        <a:lnTo>
                          <a:pt x="1223" y="1343"/>
                        </a:lnTo>
                        <a:lnTo>
                          <a:pt x="1221" y="1351"/>
                        </a:lnTo>
                        <a:lnTo>
                          <a:pt x="1219" y="1354"/>
                        </a:lnTo>
                        <a:lnTo>
                          <a:pt x="1219" y="1357"/>
                        </a:lnTo>
                        <a:lnTo>
                          <a:pt x="1218" y="1360"/>
                        </a:lnTo>
                        <a:lnTo>
                          <a:pt x="1218" y="1362"/>
                        </a:lnTo>
                        <a:lnTo>
                          <a:pt x="1219" y="1364"/>
                        </a:lnTo>
                        <a:lnTo>
                          <a:pt x="1219" y="1367"/>
                        </a:lnTo>
                        <a:lnTo>
                          <a:pt x="1221" y="1368"/>
                        </a:lnTo>
                        <a:lnTo>
                          <a:pt x="1224" y="1372"/>
                        </a:lnTo>
                        <a:lnTo>
                          <a:pt x="1229" y="1375"/>
                        </a:lnTo>
                        <a:lnTo>
                          <a:pt x="1232" y="1378"/>
                        </a:lnTo>
                        <a:lnTo>
                          <a:pt x="1240" y="1383"/>
                        </a:lnTo>
                        <a:lnTo>
                          <a:pt x="1245" y="1384"/>
                        </a:lnTo>
                        <a:lnTo>
                          <a:pt x="1251" y="1387"/>
                        </a:lnTo>
                        <a:lnTo>
                          <a:pt x="1254" y="1389"/>
                        </a:lnTo>
                        <a:lnTo>
                          <a:pt x="1256" y="1389"/>
                        </a:lnTo>
                        <a:lnTo>
                          <a:pt x="1259" y="1389"/>
                        </a:lnTo>
                        <a:lnTo>
                          <a:pt x="1261" y="1389"/>
                        </a:lnTo>
                        <a:lnTo>
                          <a:pt x="1262" y="1391"/>
                        </a:lnTo>
                        <a:lnTo>
                          <a:pt x="1264" y="1392"/>
                        </a:lnTo>
                        <a:lnTo>
                          <a:pt x="1273" y="1398"/>
                        </a:lnTo>
                        <a:lnTo>
                          <a:pt x="1276" y="1402"/>
                        </a:lnTo>
                        <a:lnTo>
                          <a:pt x="1278" y="1403"/>
                        </a:lnTo>
                        <a:lnTo>
                          <a:pt x="1283" y="1405"/>
                        </a:lnTo>
                        <a:lnTo>
                          <a:pt x="1289" y="1406"/>
                        </a:lnTo>
                        <a:lnTo>
                          <a:pt x="1292" y="1406"/>
                        </a:lnTo>
                        <a:lnTo>
                          <a:pt x="1297" y="1406"/>
                        </a:lnTo>
                        <a:lnTo>
                          <a:pt x="1299" y="1408"/>
                        </a:lnTo>
                        <a:lnTo>
                          <a:pt x="1302" y="1410"/>
                        </a:lnTo>
                        <a:lnTo>
                          <a:pt x="1303" y="1410"/>
                        </a:lnTo>
                        <a:lnTo>
                          <a:pt x="1303" y="1411"/>
                        </a:lnTo>
                        <a:lnTo>
                          <a:pt x="1305" y="1413"/>
                        </a:lnTo>
                        <a:lnTo>
                          <a:pt x="1306" y="1413"/>
                        </a:lnTo>
                        <a:lnTo>
                          <a:pt x="1308" y="1413"/>
                        </a:lnTo>
                        <a:lnTo>
                          <a:pt x="1310" y="1414"/>
                        </a:lnTo>
                        <a:lnTo>
                          <a:pt x="1311" y="1416"/>
                        </a:lnTo>
                        <a:lnTo>
                          <a:pt x="1311" y="1417"/>
                        </a:lnTo>
                        <a:lnTo>
                          <a:pt x="1313" y="1417"/>
                        </a:lnTo>
                        <a:lnTo>
                          <a:pt x="1314" y="1421"/>
                        </a:lnTo>
                        <a:lnTo>
                          <a:pt x="1316" y="1422"/>
                        </a:lnTo>
                        <a:lnTo>
                          <a:pt x="1314" y="1422"/>
                        </a:lnTo>
                        <a:lnTo>
                          <a:pt x="1311" y="1425"/>
                        </a:lnTo>
                        <a:lnTo>
                          <a:pt x="1310" y="1429"/>
                        </a:lnTo>
                        <a:lnTo>
                          <a:pt x="1308" y="1429"/>
                        </a:lnTo>
                        <a:lnTo>
                          <a:pt x="1306" y="1430"/>
                        </a:lnTo>
                        <a:lnTo>
                          <a:pt x="1305" y="1432"/>
                        </a:lnTo>
                        <a:lnTo>
                          <a:pt x="1302" y="1432"/>
                        </a:lnTo>
                        <a:lnTo>
                          <a:pt x="1299" y="1435"/>
                        </a:lnTo>
                        <a:lnTo>
                          <a:pt x="1299" y="1436"/>
                        </a:lnTo>
                        <a:lnTo>
                          <a:pt x="1295" y="1436"/>
                        </a:lnTo>
                        <a:lnTo>
                          <a:pt x="1294" y="1438"/>
                        </a:lnTo>
                        <a:lnTo>
                          <a:pt x="1292" y="1438"/>
                        </a:lnTo>
                        <a:lnTo>
                          <a:pt x="1291" y="1440"/>
                        </a:lnTo>
                        <a:lnTo>
                          <a:pt x="1291" y="1441"/>
                        </a:lnTo>
                        <a:lnTo>
                          <a:pt x="1291" y="1443"/>
                        </a:lnTo>
                        <a:lnTo>
                          <a:pt x="1289" y="1444"/>
                        </a:lnTo>
                        <a:lnTo>
                          <a:pt x="1287" y="1444"/>
                        </a:lnTo>
                        <a:lnTo>
                          <a:pt x="1286" y="1443"/>
                        </a:lnTo>
                        <a:lnTo>
                          <a:pt x="1284" y="1444"/>
                        </a:lnTo>
                        <a:lnTo>
                          <a:pt x="1284" y="1443"/>
                        </a:lnTo>
                        <a:lnTo>
                          <a:pt x="1283" y="1443"/>
                        </a:lnTo>
                        <a:lnTo>
                          <a:pt x="1283" y="1444"/>
                        </a:lnTo>
                        <a:lnTo>
                          <a:pt x="1281" y="1444"/>
                        </a:lnTo>
                        <a:lnTo>
                          <a:pt x="1280" y="1446"/>
                        </a:lnTo>
                        <a:lnTo>
                          <a:pt x="1278" y="1446"/>
                        </a:lnTo>
                        <a:lnTo>
                          <a:pt x="1276" y="1446"/>
                        </a:lnTo>
                        <a:lnTo>
                          <a:pt x="1276" y="1444"/>
                        </a:lnTo>
                        <a:lnTo>
                          <a:pt x="1275" y="1444"/>
                        </a:lnTo>
                        <a:lnTo>
                          <a:pt x="1273" y="1444"/>
                        </a:lnTo>
                        <a:lnTo>
                          <a:pt x="1272" y="1444"/>
                        </a:lnTo>
                        <a:lnTo>
                          <a:pt x="1270" y="1444"/>
                        </a:lnTo>
                        <a:lnTo>
                          <a:pt x="1268" y="1444"/>
                        </a:lnTo>
                        <a:lnTo>
                          <a:pt x="1267" y="1444"/>
                        </a:lnTo>
                        <a:lnTo>
                          <a:pt x="1265" y="1444"/>
                        </a:lnTo>
                        <a:lnTo>
                          <a:pt x="1264" y="1444"/>
                        </a:lnTo>
                        <a:lnTo>
                          <a:pt x="1262" y="1444"/>
                        </a:lnTo>
                        <a:lnTo>
                          <a:pt x="1259" y="1444"/>
                        </a:lnTo>
                        <a:lnTo>
                          <a:pt x="1257" y="1446"/>
                        </a:lnTo>
                        <a:lnTo>
                          <a:pt x="1256" y="1444"/>
                        </a:lnTo>
                        <a:lnTo>
                          <a:pt x="1254" y="1444"/>
                        </a:lnTo>
                        <a:lnTo>
                          <a:pt x="1253" y="1444"/>
                        </a:lnTo>
                        <a:lnTo>
                          <a:pt x="1251" y="1444"/>
                        </a:lnTo>
                        <a:lnTo>
                          <a:pt x="1251" y="1446"/>
                        </a:lnTo>
                        <a:lnTo>
                          <a:pt x="1251" y="1448"/>
                        </a:lnTo>
                        <a:lnTo>
                          <a:pt x="1249" y="1449"/>
                        </a:lnTo>
                        <a:lnTo>
                          <a:pt x="1249" y="1451"/>
                        </a:lnTo>
                        <a:lnTo>
                          <a:pt x="1248" y="1452"/>
                        </a:lnTo>
                        <a:lnTo>
                          <a:pt x="1248" y="1455"/>
                        </a:lnTo>
                        <a:lnTo>
                          <a:pt x="1248" y="1459"/>
                        </a:lnTo>
                        <a:lnTo>
                          <a:pt x="1248" y="1460"/>
                        </a:lnTo>
                        <a:lnTo>
                          <a:pt x="1248" y="1462"/>
                        </a:lnTo>
                        <a:lnTo>
                          <a:pt x="1248" y="1465"/>
                        </a:lnTo>
                        <a:lnTo>
                          <a:pt x="1248" y="1467"/>
                        </a:lnTo>
                        <a:lnTo>
                          <a:pt x="1246" y="1468"/>
                        </a:lnTo>
                        <a:lnTo>
                          <a:pt x="1246" y="1470"/>
                        </a:lnTo>
                        <a:lnTo>
                          <a:pt x="1246" y="1471"/>
                        </a:lnTo>
                        <a:lnTo>
                          <a:pt x="1246" y="1473"/>
                        </a:lnTo>
                        <a:lnTo>
                          <a:pt x="1245" y="1474"/>
                        </a:lnTo>
                        <a:lnTo>
                          <a:pt x="1238" y="1473"/>
                        </a:lnTo>
                        <a:lnTo>
                          <a:pt x="1235" y="1473"/>
                        </a:lnTo>
                        <a:lnTo>
                          <a:pt x="1232" y="1473"/>
                        </a:lnTo>
                        <a:lnTo>
                          <a:pt x="1229" y="1473"/>
                        </a:lnTo>
                        <a:lnTo>
                          <a:pt x="1226" y="1473"/>
                        </a:lnTo>
                        <a:lnTo>
                          <a:pt x="1216" y="1471"/>
                        </a:lnTo>
                        <a:lnTo>
                          <a:pt x="1208" y="1471"/>
                        </a:lnTo>
                        <a:lnTo>
                          <a:pt x="1202" y="1473"/>
                        </a:lnTo>
                        <a:lnTo>
                          <a:pt x="1199" y="1470"/>
                        </a:lnTo>
                        <a:lnTo>
                          <a:pt x="1192" y="1467"/>
                        </a:lnTo>
                        <a:lnTo>
                          <a:pt x="1191" y="1467"/>
                        </a:lnTo>
                        <a:lnTo>
                          <a:pt x="1186" y="1465"/>
                        </a:lnTo>
                        <a:lnTo>
                          <a:pt x="1185" y="1463"/>
                        </a:lnTo>
                        <a:lnTo>
                          <a:pt x="1181" y="1462"/>
                        </a:lnTo>
                        <a:lnTo>
                          <a:pt x="1180" y="1462"/>
                        </a:lnTo>
                        <a:lnTo>
                          <a:pt x="1178" y="1460"/>
                        </a:lnTo>
                        <a:lnTo>
                          <a:pt x="1177" y="1460"/>
                        </a:lnTo>
                        <a:lnTo>
                          <a:pt x="1175" y="1462"/>
                        </a:lnTo>
                        <a:lnTo>
                          <a:pt x="1172" y="1463"/>
                        </a:lnTo>
                        <a:lnTo>
                          <a:pt x="1167" y="1467"/>
                        </a:lnTo>
                        <a:lnTo>
                          <a:pt x="1162" y="1470"/>
                        </a:lnTo>
                        <a:lnTo>
                          <a:pt x="1159" y="1473"/>
                        </a:lnTo>
                        <a:lnTo>
                          <a:pt x="1156" y="1476"/>
                        </a:lnTo>
                        <a:lnTo>
                          <a:pt x="1154" y="1481"/>
                        </a:lnTo>
                        <a:lnTo>
                          <a:pt x="1154" y="1482"/>
                        </a:lnTo>
                        <a:lnTo>
                          <a:pt x="1153" y="1487"/>
                        </a:lnTo>
                        <a:lnTo>
                          <a:pt x="1151" y="1490"/>
                        </a:lnTo>
                        <a:lnTo>
                          <a:pt x="1150" y="1492"/>
                        </a:lnTo>
                        <a:lnTo>
                          <a:pt x="1145" y="1497"/>
                        </a:lnTo>
                        <a:lnTo>
                          <a:pt x="1142" y="1498"/>
                        </a:lnTo>
                        <a:lnTo>
                          <a:pt x="1139" y="1500"/>
                        </a:lnTo>
                        <a:lnTo>
                          <a:pt x="1139" y="1501"/>
                        </a:lnTo>
                        <a:lnTo>
                          <a:pt x="1139" y="1503"/>
                        </a:lnTo>
                        <a:lnTo>
                          <a:pt x="1137" y="1508"/>
                        </a:lnTo>
                        <a:lnTo>
                          <a:pt x="1135" y="1508"/>
                        </a:lnTo>
                        <a:lnTo>
                          <a:pt x="1135" y="1511"/>
                        </a:lnTo>
                        <a:lnTo>
                          <a:pt x="1135" y="1512"/>
                        </a:lnTo>
                        <a:lnTo>
                          <a:pt x="1137" y="1514"/>
                        </a:lnTo>
                        <a:lnTo>
                          <a:pt x="1137" y="1516"/>
                        </a:lnTo>
                        <a:lnTo>
                          <a:pt x="1137" y="1517"/>
                        </a:lnTo>
                        <a:lnTo>
                          <a:pt x="1137" y="1520"/>
                        </a:lnTo>
                        <a:lnTo>
                          <a:pt x="1135" y="1522"/>
                        </a:lnTo>
                        <a:lnTo>
                          <a:pt x="1135" y="1524"/>
                        </a:lnTo>
                        <a:lnTo>
                          <a:pt x="1135" y="1525"/>
                        </a:lnTo>
                        <a:lnTo>
                          <a:pt x="1137" y="1527"/>
                        </a:lnTo>
                        <a:lnTo>
                          <a:pt x="1135" y="1527"/>
                        </a:lnTo>
                        <a:lnTo>
                          <a:pt x="1134" y="1525"/>
                        </a:lnTo>
                        <a:lnTo>
                          <a:pt x="1131" y="1525"/>
                        </a:lnTo>
                        <a:lnTo>
                          <a:pt x="1129" y="1525"/>
                        </a:lnTo>
                        <a:lnTo>
                          <a:pt x="1126" y="1525"/>
                        </a:lnTo>
                        <a:lnTo>
                          <a:pt x="1124" y="1524"/>
                        </a:lnTo>
                        <a:lnTo>
                          <a:pt x="1121" y="1524"/>
                        </a:lnTo>
                        <a:lnTo>
                          <a:pt x="1120" y="1524"/>
                        </a:lnTo>
                        <a:lnTo>
                          <a:pt x="1118" y="1524"/>
                        </a:lnTo>
                        <a:lnTo>
                          <a:pt x="1118" y="1525"/>
                        </a:lnTo>
                        <a:lnTo>
                          <a:pt x="1116" y="1525"/>
                        </a:lnTo>
                        <a:lnTo>
                          <a:pt x="1115" y="1525"/>
                        </a:lnTo>
                        <a:lnTo>
                          <a:pt x="1115" y="1524"/>
                        </a:lnTo>
                        <a:lnTo>
                          <a:pt x="1113" y="1524"/>
                        </a:lnTo>
                        <a:lnTo>
                          <a:pt x="1113" y="1525"/>
                        </a:lnTo>
                        <a:lnTo>
                          <a:pt x="1112" y="1525"/>
                        </a:lnTo>
                        <a:lnTo>
                          <a:pt x="1108" y="1524"/>
                        </a:lnTo>
                        <a:lnTo>
                          <a:pt x="1107" y="1524"/>
                        </a:lnTo>
                        <a:lnTo>
                          <a:pt x="1105" y="1524"/>
                        </a:lnTo>
                        <a:lnTo>
                          <a:pt x="1102" y="1524"/>
                        </a:lnTo>
                        <a:lnTo>
                          <a:pt x="1101" y="1524"/>
                        </a:lnTo>
                        <a:lnTo>
                          <a:pt x="1099" y="1524"/>
                        </a:lnTo>
                        <a:lnTo>
                          <a:pt x="1097" y="1524"/>
                        </a:lnTo>
                        <a:lnTo>
                          <a:pt x="1096" y="1522"/>
                        </a:lnTo>
                        <a:lnTo>
                          <a:pt x="1094" y="1522"/>
                        </a:lnTo>
                        <a:lnTo>
                          <a:pt x="1093" y="1520"/>
                        </a:lnTo>
                        <a:lnTo>
                          <a:pt x="1091" y="1520"/>
                        </a:lnTo>
                        <a:lnTo>
                          <a:pt x="1091" y="1519"/>
                        </a:lnTo>
                        <a:lnTo>
                          <a:pt x="1091" y="1517"/>
                        </a:lnTo>
                        <a:lnTo>
                          <a:pt x="1091" y="1514"/>
                        </a:lnTo>
                        <a:lnTo>
                          <a:pt x="1091" y="1512"/>
                        </a:lnTo>
                        <a:lnTo>
                          <a:pt x="1093" y="1511"/>
                        </a:lnTo>
                        <a:lnTo>
                          <a:pt x="1094" y="1509"/>
                        </a:lnTo>
                        <a:lnTo>
                          <a:pt x="1096" y="1508"/>
                        </a:lnTo>
                        <a:lnTo>
                          <a:pt x="1097" y="1508"/>
                        </a:lnTo>
                        <a:lnTo>
                          <a:pt x="1099" y="1506"/>
                        </a:lnTo>
                        <a:lnTo>
                          <a:pt x="1101" y="1505"/>
                        </a:lnTo>
                        <a:lnTo>
                          <a:pt x="1102" y="1505"/>
                        </a:lnTo>
                        <a:lnTo>
                          <a:pt x="1102" y="1501"/>
                        </a:lnTo>
                        <a:lnTo>
                          <a:pt x="1104" y="1500"/>
                        </a:lnTo>
                        <a:lnTo>
                          <a:pt x="1105" y="1498"/>
                        </a:lnTo>
                        <a:lnTo>
                          <a:pt x="1107" y="1495"/>
                        </a:lnTo>
                        <a:lnTo>
                          <a:pt x="1110" y="1492"/>
                        </a:lnTo>
                        <a:lnTo>
                          <a:pt x="1110" y="1490"/>
                        </a:lnTo>
                        <a:lnTo>
                          <a:pt x="1112" y="1490"/>
                        </a:lnTo>
                        <a:lnTo>
                          <a:pt x="1113" y="1489"/>
                        </a:lnTo>
                        <a:lnTo>
                          <a:pt x="1115" y="1487"/>
                        </a:lnTo>
                        <a:lnTo>
                          <a:pt x="1115" y="1486"/>
                        </a:lnTo>
                        <a:lnTo>
                          <a:pt x="1115" y="1484"/>
                        </a:lnTo>
                        <a:lnTo>
                          <a:pt x="1116" y="1484"/>
                        </a:lnTo>
                        <a:lnTo>
                          <a:pt x="1115" y="1479"/>
                        </a:lnTo>
                        <a:lnTo>
                          <a:pt x="1115" y="1476"/>
                        </a:lnTo>
                        <a:lnTo>
                          <a:pt x="1115" y="1471"/>
                        </a:lnTo>
                        <a:lnTo>
                          <a:pt x="1113" y="1467"/>
                        </a:lnTo>
                        <a:lnTo>
                          <a:pt x="1113" y="1465"/>
                        </a:lnTo>
                        <a:lnTo>
                          <a:pt x="1113" y="1462"/>
                        </a:lnTo>
                        <a:lnTo>
                          <a:pt x="1113" y="1457"/>
                        </a:lnTo>
                        <a:lnTo>
                          <a:pt x="1113" y="1455"/>
                        </a:lnTo>
                        <a:lnTo>
                          <a:pt x="1115" y="1454"/>
                        </a:lnTo>
                        <a:lnTo>
                          <a:pt x="1115" y="1451"/>
                        </a:lnTo>
                        <a:lnTo>
                          <a:pt x="1116" y="1449"/>
                        </a:lnTo>
                        <a:lnTo>
                          <a:pt x="1116" y="1448"/>
                        </a:lnTo>
                        <a:lnTo>
                          <a:pt x="1116" y="1446"/>
                        </a:lnTo>
                        <a:lnTo>
                          <a:pt x="1116" y="1444"/>
                        </a:lnTo>
                        <a:lnTo>
                          <a:pt x="1118" y="1441"/>
                        </a:lnTo>
                        <a:lnTo>
                          <a:pt x="1118" y="1440"/>
                        </a:lnTo>
                        <a:lnTo>
                          <a:pt x="1118" y="1438"/>
                        </a:lnTo>
                        <a:lnTo>
                          <a:pt x="1118" y="1436"/>
                        </a:lnTo>
                        <a:lnTo>
                          <a:pt x="1118" y="1435"/>
                        </a:lnTo>
                        <a:lnTo>
                          <a:pt x="1120" y="1433"/>
                        </a:lnTo>
                        <a:lnTo>
                          <a:pt x="1120" y="1430"/>
                        </a:lnTo>
                        <a:lnTo>
                          <a:pt x="1121" y="1429"/>
                        </a:lnTo>
                        <a:lnTo>
                          <a:pt x="1121" y="1424"/>
                        </a:lnTo>
                        <a:lnTo>
                          <a:pt x="1121" y="1422"/>
                        </a:lnTo>
                        <a:lnTo>
                          <a:pt x="1121" y="1421"/>
                        </a:lnTo>
                        <a:lnTo>
                          <a:pt x="1121" y="1417"/>
                        </a:lnTo>
                        <a:lnTo>
                          <a:pt x="1121" y="1416"/>
                        </a:lnTo>
                        <a:lnTo>
                          <a:pt x="1121" y="1413"/>
                        </a:lnTo>
                        <a:lnTo>
                          <a:pt x="1121" y="1410"/>
                        </a:lnTo>
                        <a:lnTo>
                          <a:pt x="1120" y="1406"/>
                        </a:lnTo>
                        <a:lnTo>
                          <a:pt x="1120" y="1405"/>
                        </a:lnTo>
                        <a:lnTo>
                          <a:pt x="1120" y="1402"/>
                        </a:lnTo>
                        <a:lnTo>
                          <a:pt x="1120" y="1400"/>
                        </a:lnTo>
                        <a:lnTo>
                          <a:pt x="1120" y="1398"/>
                        </a:lnTo>
                        <a:lnTo>
                          <a:pt x="1120" y="1395"/>
                        </a:lnTo>
                        <a:lnTo>
                          <a:pt x="1120" y="1394"/>
                        </a:lnTo>
                        <a:lnTo>
                          <a:pt x="1121" y="1392"/>
                        </a:lnTo>
                        <a:lnTo>
                          <a:pt x="1120" y="1389"/>
                        </a:lnTo>
                        <a:lnTo>
                          <a:pt x="1118" y="1387"/>
                        </a:lnTo>
                        <a:lnTo>
                          <a:pt x="1116" y="1386"/>
                        </a:lnTo>
                        <a:lnTo>
                          <a:pt x="1115" y="1386"/>
                        </a:lnTo>
                        <a:lnTo>
                          <a:pt x="1112" y="1386"/>
                        </a:lnTo>
                        <a:lnTo>
                          <a:pt x="1110" y="1386"/>
                        </a:lnTo>
                        <a:lnTo>
                          <a:pt x="1108" y="1386"/>
                        </a:lnTo>
                        <a:lnTo>
                          <a:pt x="1107" y="1386"/>
                        </a:lnTo>
                        <a:lnTo>
                          <a:pt x="1107" y="1384"/>
                        </a:lnTo>
                        <a:lnTo>
                          <a:pt x="1105" y="1384"/>
                        </a:lnTo>
                        <a:lnTo>
                          <a:pt x="1105" y="1383"/>
                        </a:lnTo>
                        <a:lnTo>
                          <a:pt x="1105" y="1381"/>
                        </a:lnTo>
                        <a:lnTo>
                          <a:pt x="1105" y="1379"/>
                        </a:lnTo>
                        <a:lnTo>
                          <a:pt x="1107" y="1378"/>
                        </a:lnTo>
                        <a:lnTo>
                          <a:pt x="1112" y="1375"/>
                        </a:lnTo>
                        <a:lnTo>
                          <a:pt x="1113" y="1373"/>
                        </a:lnTo>
                        <a:lnTo>
                          <a:pt x="1115" y="1372"/>
                        </a:lnTo>
                        <a:lnTo>
                          <a:pt x="1115" y="1370"/>
                        </a:lnTo>
                        <a:lnTo>
                          <a:pt x="1118" y="1368"/>
                        </a:lnTo>
                        <a:lnTo>
                          <a:pt x="1118" y="1367"/>
                        </a:lnTo>
                        <a:lnTo>
                          <a:pt x="1120" y="1365"/>
                        </a:lnTo>
                        <a:lnTo>
                          <a:pt x="1120" y="1364"/>
                        </a:lnTo>
                        <a:lnTo>
                          <a:pt x="1120" y="1360"/>
                        </a:lnTo>
                        <a:lnTo>
                          <a:pt x="1121" y="1356"/>
                        </a:lnTo>
                        <a:lnTo>
                          <a:pt x="1120" y="1353"/>
                        </a:lnTo>
                        <a:lnTo>
                          <a:pt x="1118" y="1351"/>
                        </a:lnTo>
                        <a:lnTo>
                          <a:pt x="1116" y="1349"/>
                        </a:lnTo>
                        <a:lnTo>
                          <a:pt x="1116" y="1348"/>
                        </a:lnTo>
                        <a:lnTo>
                          <a:pt x="1115" y="1346"/>
                        </a:lnTo>
                        <a:lnTo>
                          <a:pt x="1115" y="1345"/>
                        </a:lnTo>
                        <a:lnTo>
                          <a:pt x="1113" y="1343"/>
                        </a:lnTo>
                        <a:lnTo>
                          <a:pt x="1112" y="1343"/>
                        </a:lnTo>
                        <a:lnTo>
                          <a:pt x="1110" y="1341"/>
                        </a:lnTo>
                        <a:lnTo>
                          <a:pt x="1110" y="1343"/>
                        </a:lnTo>
                        <a:lnTo>
                          <a:pt x="1108" y="1343"/>
                        </a:lnTo>
                        <a:lnTo>
                          <a:pt x="1108" y="1341"/>
                        </a:lnTo>
                        <a:lnTo>
                          <a:pt x="1107" y="1341"/>
                        </a:lnTo>
                        <a:lnTo>
                          <a:pt x="1107" y="1340"/>
                        </a:lnTo>
                        <a:lnTo>
                          <a:pt x="1105" y="1340"/>
                        </a:lnTo>
                        <a:lnTo>
                          <a:pt x="1104" y="1341"/>
                        </a:lnTo>
                        <a:lnTo>
                          <a:pt x="1102" y="1343"/>
                        </a:lnTo>
                        <a:lnTo>
                          <a:pt x="1101" y="1343"/>
                        </a:lnTo>
                        <a:lnTo>
                          <a:pt x="1099" y="1343"/>
                        </a:lnTo>
                        <a:lnTo>
                          <a:pt x="1097" y="1343"/>
                        </a:lnTo>
                        <a:lnTo>
                          <a:pt x="1096" y="1343"/>
                        </a:lnTo>
                        <a:lnTo>
                          <a:pt x="1094" y="1341"/>
                        </a:lnTo>
                        <a:lnTo>
                          <a:pt x="1094" y="1340"/>
                        </a:lnTo>
                        <a:lnTo>
                          <a:pt x="1093" y="1338"/>
                        </a:lnTo>
                        <a:lnTo>
                          <a:pt x="1091" y="1338"/>
                        </a:lnTo>
                        <a:lnTo>
                          <a:pt x="1089" y="1337"/>
                        </a:lnTo>
                        <a:lnTo>
                          <a:pt x="1088" y="1337"/>
                        </a:lnTo>
                        <a:lnTo>
                          <a:pt x="1086" y="1337"/>
                        </a:lnTo>
                        <a:lnTo>
                          <a:pt x="1085" y="1337"/>
                        </a:lnTo>
                        <a:lnTo>
                          <a:pt x="1083" y="1338"/>
                        </a:lnTo>
                        <a:lnTo>
                          <a:pt x="1083" y="1340"/>
                        </a:lnTo>
                        <a:lnTo>
                          <a:pt x="1083" y="1341"/>
                        </a:lnTo>
                        <a:lnTo>
                          <a:pt x="1085" y="1341"/>
                        </a:lnTo>
                        <a:lnTo>
                          <a:pt x="1085" y="1343"/>
                        </a:lnTo>
                        <a:lnTo>
                          <a:pt x="1086" y="1345"/>
                        </a:lnTo>
                        <a:lnTo>
                          <a:pt x="1088" y="1346"/>
                        </a:lnTo>
                        <a:lnTo>
                          <a:pt x="1088" y="1348"/>
                        </a:lnTo>
                        <a:lnTo>
                          <a:pt x="1086" y="1348"/>
                        </a:lnTo>
                        <a:lnTo>
                          <a:pt x="1086" y="1349"/>
                        </a:lnTo>
                        <a:lnTo>
                          <a:pt x="1085" y="1351"/>
                        </a:lnTo>
                        <a:lnTo>
                          <a:pt x="1083" y="1349"/>
                        </a:lnTo>
                        <a:lnTo>
                          <a:pt x="1082" y="1349"/>
                        </a:lnTo>
                        <a:lnTo>
                          <a:pt x="1080" y="1349"/>
                        </a:lnTo>
                        <a:lnTo>
                          <a:pt x="1078" y="1351"/>
                        </a:lnTo>
                        <a:lnTo>
                          <a:pt x="1077" y="1349"/>
                        </a:lnTo>
                        <a:lnTo>
                          <a:pt x="1077" y="1348"/>
                        </a:lnTo>
                        <a:lnTo>
                          <a:pt x="1075" y="1348"/>
                        </a:lnTo>
                        <a:lnTo>
                          <a:pt x="1074" y="1346"/>
                        </a:lnTo>
                        <a:lnTo>
                          <a:pt x="1072" y="1346"/>
                        </a:lnTo>
                        <a:lnTo>
                          <a:pt x="1070" y="1346"/>
                        </a:lnTo>
                        <a:lnTo>
                          <a:pt x="1070" y="1345"/>
                        </a:lnTo>
                        <a:lnTo>
                          <a:pt x="1069" y="1345"/>
                        </a:lnTo>
                        <a:lnTo>
                          <a:pt x="1067" y="1343"/>
                        </a:lnTo>
                        <a:lnTo>
                          <a:pt x="1067" y="1341"/>
                        </a:lnTo>
                        <a:lnTo>
                          <a:pt x="1066" y="1340"/>
                        </a:lnTo>
                        <a:lnTo>
                          <a:pt x="1066" y="1337"/>
                        </a:lnTo>
                        <a:lnTo>
                          <a:pt x="1064" y="1337"/>
                        </a:lnTo>
                        <a:lnTo>
                          <a:pt x="1063" y="1335"/>
                        </a:lnTo>
                        <a:lnTo>
                          <a:pt x="1061" y="1335"/>
                        </a:lnTo>
                        <a:lnTo>
                          <a:pt x="1059" y="1333"/>
                        </a:lnTo>
                        <a:lnTo>
                          <a:pt x="1058" y="1332"/>
                        </a:lnTo>
                        <a:lnTo>
                          <a:pt x="1058" y="1330"/>
                        </a:lnTo>
                        <a:lnTo>
                          <a:pt x="1055" y="1330"/>
                        </a:lnTo>
                        <a:lnTo>
                          <a:pt x="1053" y="1330"/>
                        </a:lnTo>
                        <a:lnTo>
                          <a:pt x="1051" y="1330"/>
                        </a:lnTo>
                        <a:lnTo>
                          <a:pt x="1051" y="1332"/>
                        </a:lnTo>
                        <a:lnTo>
                          <a:pt x="1053" y="1333"/>
                        </a:lnTo>
                        <a:lnTo>
                          <a:pt x="1053" y="1335"/>
                        </a:lnTo>
                        <a:lnTo>
                          <a:pt x="1053" y="1337"/>
                        </a:lnTo>
                        <a:lnTo>
                          <a:pt x="1055" y="1337"/>
                        </a:lnTo>
                        <a:lnTo>
                          <a:pt x="1055" y="1338"/>
                        </a:lnTo>
                        <a:lnTo>
                          <a:pt x="1053" y="1338"/>
                        </a:lnTo>
                        <a:lnTo>
                          <a:pt x="1051" y="1337"/>
                        </a:lnTo>
                        <a:lnTo>
                          <a:pt x="1050" y="1335"/>
                        </a:lnTo>
                        <a:lnTo>
                          <a:pt x="1048" y="1335"/>
                        </a:lnTo>
                        <a:lnTo>
                          <a:pt x="1047" y="1335"/>
                        </a:lnTo>
                        <a:lnTo>
                          <a:pt x="1045" y="1333"/>
                        </a:lnTo>
                        <a:lnTo>
                          <a:pt x="1044" y="1333"/>
                        </a:lnTo>
                        <a:lnTo>
                          <a:pt x="1040" y="1333"/>
                        </a:lnTo>
                        <a:lnTo>
                          <a:pt x="1039" y="1335"/>
                        </a:lnTo>
                        <a:lnTo>
                          <a:pt x="1037" y="1337"/>
                        </a:lnTo>
                        <a:lnTo>
                          <a:pt x="1036" y="1338"/>
                        </a:lnTo>
                        <a:lnTo>
                          <a:pt x="1034" y="1338"/>
                        </a:lnTo>
                        <a:lnTo>
                          <a:pt x="1032" y="1338"/>
                        </a:lnTo>
                        <a:lnTo>
                          <a:pt x="1031" y="1338"/>
                        </a:lnTo>
                        <a:lnTo>
                          <a:pt x="1031" y="1340"/>
                        </a:lnTo>
                        <a:lnTo>
                          <a:pt x="1031" y="1341"/>
                        </a:lnTo>
                        <a:lnTo>
                          <a:pt x="1029" y="1341"/>
                        </a:lnTo>
                        <a:lnTo>
                          <a:pt x="1029" y="1343"/>
                        </a:lnTo>
                        <a:lnTo>
                          <a:pt x="1028" y="1343"/>
                        </a:lnTo>
                        <a:lnTo>
                          <a:pt x="1026" y="1343"/>
                        </a:lnTo>
                        <a:lnTo>
                          <a:pt x="1026" y="1345"/>
                        </a:lnTo>
                        <a:lnTo>
                          <a:pt x="1026" y="1346"/>
                        </a:lnTo>
                        <a:lnTo>
                          <a:pt x="1026" y="1348"/>
                        </a:lnTo>
                        <a:lnTo>
                          <a:pt x="1025" y="1346"/>
                        </a:lnTo>
                        <a:lnTo>
                          <a:pt x="1025" y="1345"/>
                        </a:lnTo>
                        <a:lnTo>
                          <a:pt x="1023" y="1345"/>
                        </a:lnTo>
                        <a:lnTo>
                          <a:pt x="1021" y="1343"/>
                        </a:lnTo>
                        <a:lnTo>
                          <a:pt x="1021" y="1340"/>
                        </a:lnTo>
                        <a:lnTo>
                          <a:pt x="1017" y="1338"/>
                        </a:lnTo>
                        <a:lnTo>
                          <a:pt x="1015" y="1337"/>
                        </a:lnTo>
                        <a:lnTo>
                          <a:pt x="1013" y="1338"/>
                        </a:lnTo>
                        <a:lnTo>
                          <a:pt x="1012" y="1338"/>
                        </a:lnTo>
                        <a:lnTo>
                          <a:pt x="1010" y="1337"/>
                        </a:lnTo>
                        <a:lnTo>
                          <a:pt x="1009" y="1338"/>
                        </a:lnTo>
                        <a:lnTo>
                          <a:pt x="1007" y="1338"/>
                        </a:lnTo>
                        <a:lnTo>
                          <a:pt x="1007" y="1337"/>
                        </a:lnTo>
                        <a:lnTo>
                          <a:pt x="1006" y="1337"/>
                        </a:lnTo>
                        <a:lnTo>
                          <a:pt x="1006" y="1335"/>
                        </a:lnTo>
                        <a:lnTo>
                          <a:pt x="1006" y="1333"/>
                        </a:lnTo>
                        <a:lnTo>
                          <a:pt x="1006" y="1332"/>
                        </a:lnTo>
                        <a:lnTo>
                          <a:pt x="1004" y="1332"/>
                        </a:lnTo>
                        <a:lnTo>
                          <a:pt x="1004" y="1330"/>
                        </a:lnTo>
                        <a:lnTo>
                          <a:pt x="1004" y="1329"/>
                        </a:lnTo>
                        <a:lnTo>
                          <a:pt x="1006" y="1329"/>
                        </a:lnTo>
                        <a:lnTo>
                          <a:pt x="1006" y="1327"/>
                        </a:lnTo>
                        <a:lnTo>
                          <a:pt x="1007" y="1327"/>
                        </a:lnTo>
                        <a:lnTo>
                          <a:pt x="1009" y="1326"/>
                        </a:lnTo>
                        <a:lnTo>
                          <a:pt x="1009" y="1324"/>
                        </a:lnTo>
                        <a:lnTo>
                          <a:pt x="1010" y="1324"/>
                        </a:lnTo>
                        <a:lnTo>
                          <a:pt x="1009" y="1322"/>
                        </a:lnTo>
                        <a:lnTo>
                          <a:pt x="1007" y="1322"/>
                        </a:lnTo>
                        <a:lnTo>
                          <a:pt x="1006" y="1324"/>
                        </a:lnTo>
                        <a:lnTo>
                          <a:pt x="1006" y="1322"/>
                        </a:lnTo>
                        <a:lnTo>
                          <a:pt x="1004" y="1324"/>
                        </a:lnTo>
                        <a:lnTo>
                          <a:pt x="1002" y="1324"/>
                        </a:lnTo>
                        <a:lnTo>
                          <a:pt x="1001" y="1322"/>
                        </a:lnTo>
                        <a:lnTo>
                          <a:pt x="1001" y="1321"/>
                        </a:lnTo>
                        <a:lnTo>
                          <a:pt x="999" y="1321"/>
                        </a:lnTo>
                        <a:lnTo>
                          <a:pt x="999" y="1319"/>
                        </a:lnTo>
                        <a:lnTo>
                          <a:pt x="999" y="1318"/>
                        </a:lnTo>
                        <a:lnTo>
                          <a:pt x="998" y="1318"/>
                        </a:lnTo>
                        <a:lnTo>
                          <a:pt x="996" y="1318"/>
                        </a:lnTo>
                        <a:lnTo>
                          <a:pt x="994" y="1316"/>
                        </a:lnTo>
                        <a:lnTo>
                          <a:pt x="994" y="1318"/>
                        </a:lnTo>
                        <a:lnTo>
                          <a:pt x="993" y="1318"/>
                        </a:lnTo>
                        <a:lnTo>
                          <a:pt x="993" y="1319"/>
                        </a:lnTo>
                        <a:lnTo>
                          <a:pt x="991" y="1319"/>
                        </a:lnTo>
                        <a:lnTo>
                          <a:pt x="991" y="1321"/>
                        </a:lnTo>
                        <a:lnTo>
                          <a:pt x="990" y="1319"/>
                        </a:lnTo>
                        <a:lnTo>
                          <a:pt x="988" y="1318"/>
                        </a:lnTo>
                        <a:lnTo>
                          <a:pt x="988" y="1316"/>
                        </a:lnTo>
                        <a:lnTo>
                          <a:pt x="986" y="1314"/>
                        </a:lnTo>
                        <a:lnTo>
                          <a:pt x="985" y="1313"/>
                        </a:lnTo>
                        <a:lnTo>
                          <a:pt x="985" y="1314"/>
                        </a:lnTo>
                        <a:lnTo>
                          <a:pt x="983" y="1314"/>
                        </a:lnTo>
                        <a:lnTo>
                          <a:pt x="983" y="1316"/>
                        </a:lnTo>
                        <a:lnTo>
                          <a:pt x="982" y="1316"/>
                        </a:lnTo>
                        <a:lnTo>
                          <a:pt x="982" y="1318"/>
                        </a:lnTo>
                        <a:lnTo>
                          <a:pt x="980" y="1318"/>
                        </a:lnTo>
                        <a:lnTo>
                          <a:pt x="979" y="1318"/>
                        </a:lnTo>
                        <a:lnTo>
                          <a:pt x="977" y="1316"/>
                        </a:lnTo>
                        <a:lnTo>
                          <a:pt x="975" y="1318"/>
                        </a:lnTo>
                        <a:lnTo>
                          <a:pt x="974" y="1318"/>
                        </a:lnTo>
                        <a:lnTo>
                          <a:pt x="972" y="1318"/>
                        </a:lnTo>
                        <a:lnTo>
                          <a:pt x="971" y="1319"/>
                        </a:lnTo>
                        <a:lnTo>
                          <a:pt x="972" y="1319"/>
                        </a:lnTo>
                        <a:lnTo>
                          <a:pt x="972" y="1321"/>
                        </a:lnTo>
                        <a:lnTo>
                          <a:pt x="974" y="1322"/>
                        </a:lnTo>
                        <a:lnTo>
                          <a:pt x="974" y="1324"/>
                        </a:lnTo>
                        <a:lnTo>
                          <a:pt x="974" y="1326"/>
                        </a:lnTo>
                        <a:lnTo>
                          <a:pt x="974" y="1327"/>
                        </a:lnTo>
                        <a:lnTo>
                          <a:pt x="972" y="1327"/>
                        </a:lnTo>
                        <a:lnTo>
                          <a:pt x="971" y="1327"/>
                        </a:lnTo>
                        <a:lnTo>
                          <a:pt x="969" y="1327"/>
                        </a:lnTo>
                        <a:lnTo>
                          <a:pt x="967" y="1329"/>
                        </a:lnTo>
                        <a:lnTo>
                          <a:pt x="967" y="1327"/>
                        </a:lnTo>
                        <a:lnTo>
                          <a:pt x="966" y="1327"/>
                        </a:lnTo>
                        <a:lnTo>
                          <a:pt x="964" y="1327"/>
                        </a:lnTo>
                        <a:lnTo>
                          <a:pt x="966" y="1329"/>
                        </a:lnTo>
                        <a:lnTo>
                          <a:pt x="964" y="1330"/>
                        </a:lnTo>
                        <a:lnTo>
                          <a:pt x="964" y="1332"/>
                        </a:lnTo>
                        <a:lnTo>
                          <a:pt x="963" y="1332"/>
                        </a:lnTo>
                        <a:lnTo>
                          <a:pt x="961" y="1333"/>
                        </a:lnTo>
                        <a:lnTo>
                          <a:pt x="961" y="1335"/>
                        </a:lnTo>
                        <a:lnTo>
                          <a:pt x="961" y="1337"/>
                        </a:lnTo>
                        <a:lnTo>
                          <a:pt x="961" y="1338"/>
                        </a:lnTo>
                        <a:lnTo>
                          <a:pt x="960" y="1338"/>
                        </a:lnTo>
                        <a:lnTo>
                          <a:pt x="958" y="1338"/>
                        </a:lnTo>
                        <a:lnTo>
                          <a:pt x="958" y="1340"/>
                        </a:lnTo>
                        <a:lnTo>
                          <a:pt x="956" y="1340"/>
                        </a:lnTo>
                        <a:lnTo>
                          <a:pt x="958" y="1341"/>
                        </a:lnTo>
                        <a:lnTo>
                          <a:pt x="956" y="1343"/>
                        </a:lnTo>
                        <a:lnTo>
                          <a:pt x="955" y="1343"/>
                        </a:lnTo>
                        <a:lnTo>
                          <a:pt x="953" y="1343"/>
                        </a:lnTo>
                        <a:lnTo>
                          <a:pt x="952" y="1343"/>
                        </a:lnTo>
                        <a:lnTo>
                          <a:pt x="950" y="1345"/>
                        </a:lnTo>
                        <a:lnTo>
                          <a:pt x="952" y="1345"/>
                        </a:lnTo>
                        <a:lnTo>
                          <a:pt x="952" y="1346"/>
                        </a:lnTo>
                        <a:lnTo>
                          <a:pt x="950" y="1346"/>
                        </a:lnTo>
                        <a:lnTo>
                          <a:pt x="948" y="1346"/>
                        </a:lnTo>
                        <a:lnTo>
                          <a:pt x="947" y="1346"/>
                        </a:lnTo>
                        <a:lnTo>
                          <a:pt x="945" y="1346"/>
                        </a:lnTo>
                        <a:lnTo>
                          <a:pt x="944" y="1348"/>
                        </a:lnTo>
                        <a:lnTo>
                          <a:pt x="942" y="1348"/>
                        </a:lnTo>
                        <a:lnTo>
                          <a:pt x="942" y="1349"/>
                        </a:lnTo>
                        <a:lnTo>
                          <a:pt x="941" y="1349"/>
                        </a:lnTo>
                        <a:lnTo>
                          <a:pt x="941" y="1351"/>
                        </a:lnTo>
                        <a:lnTo>
                          <a:pt x="939" y="1351"/>
                        </a:lnTo>
                        <a:lnTo>
                          <a:pt x="939" y="1353"/>
                        </a:lnTo>
                        <a:lnTo>
                          <a:pt x="937" y="1353"/>
                        </a:lnTo>
                        <a:lnTo>
                          <a:pt x="937" y="1351"/>
                        </a:lnTo>
                        <a:lnTo>
                          <a:pt x="936" y="1351"/>
                        </a:lnTo>
                        <a:lnTo>
                          <a:pt x="934" y="1351"/>
                        </a:lnTo>
                        <a:lnTo>
                          <a:pt x="933" y="1351"/>
                        </a:lnTo>
                        <a:lnTo>
                          <a:pt x="931" y="1353"/>
                        </a:lnTo>
                        <a:lnTo>
                          <a:pt x="929" y="1353"/>
                        </a:lnTo>
                        <a:lnTo>
                          <a:pt x="928" y="1353"/>
                        </a:lnTo>
                        <a:lnTo>
                          <a:pt x="928" y="1354"/>
                        </a:lnTo>
                        <a:lnTo>
                          <a:pt x="926" y="1354"/>
                        </a:lnTo>
                        <a:lnTo>
                          <a:pt x="925" y="1354"/>
                        </a:lnTo>
                        <a:lnTo>
                          <a:pt x="925" y="1356"/>
                        </a:lnTo>
                        <a:lnTo>
                          <a:pt x="923" y="1356"/>
                        </a:lnTo>
                        <a:lnTo>
                          <a:pt x="922" y="1356"/>
                        </a:lnTo>
                        <a:lnTo>
                          <a:pt x="920" y="1356"/>
                        </a:lnTo>
                        <a:lnTo>
                          <a:pt x="920" y="1357"/>
                        </a:lnTo>
                        <a:lnTo>
                          <a:pt x="918" y="1356"/>
                        </a:lnTo>
                        <a:lnTo>
                          <a:pt x="917" y="1357"/>
                        </a:lnTo>
                        <a:lnTo>
                          <a:pt x="915" y="1357"/>
                        </a:lnTo>
                        <a:lnTo>
                          <a:pt x="914" y="1357"/>
                        </a:lnTo>
                        <a:lnTo>
                          <a:pt x="914" y="1359"/>
                        </a:lnTo>
                        <a:lnTo>
                          <a:pt x="912" y="1359"/>
                        </a:lnTo>
                        <a:lnTo>
                          <a:pt x="912" y="1360"/>
                        </a:lnTo>
                        <a:lnTo>
                          <a:pt x="910" y="1360"/>
                        </a:lnTo>
                        <a:lnTo>
                          <a:pt x="909" y="1360"/>
                        </a:lnTo>
                        <a:lnTo>
                          <a:pt x="907" y="1362"/>
                        </a:lnTo>
                        <a:lnTo>
                          <a:pt x="906" y="1362"/>
                        </a:lnTo>
                        <a:lnTo>
                          <a:pt x="904" y="1362"/>
                        </a:lnTo>
                        <a:lnTo>
                          <a:pt x="904" y="1364"/>
                        </a:lnTo>
                        <a:lnTo>
                          <a:pt x="903" y="1364"/>
                        </a:lnTo>
                        <a:lnTo>
                          <a:pt x="903" y="1365"/>
                        </a:lnTo>
                        <a:lnTo>
                          <a:pt x="901" y="1365"/>
                        </a:lnTo>
                        <a:lnTo>
                          <a:pt x="901" y="1367"/>
                        </a:lnTo>
                        <a:lnTo>
                          <a:pt x="899" y="1367"/>
                        </a:lnTo>
                        <a:lnTo>
                          <a:pt x="899" y="1368"/>
                        </a:lnTo>
                        <a:lnTo>
                          <a:pt x="898" y="1368"/>
                        </a:lnTo>
                        <a:lnTo>
                          <a:pt x="896" y="1368"/>
                        </a:lnTo>
                        <a:lnTo>
                          <a:pt x="895" y="1368"/>
                        </a:lnTo>
                        <a:lnTo>
                          <a:pt x="893" y="1368"/>
                        </a:lnTo>
                        <a:lnTo>
                          <a:pt x="891" y="1368"/>
                        </a:lnTo>
                        <a:lnTo>
                          <a:pt x="890" y="1368"/>
                        </a:lnTo>
                        <a:lnTo>
                          <a:pt x="888" y="1367"/>
                        </a:lnTo>
                        <a:lnTo>
                          <a:pt x="887" y="1368"/>
                        </a:lnTo>
                        <a:lnTo>
                          <a:pt x="885" y="1368"/>
                        </a:lnTo>
                        <a:lnTo>
                          <a:pt x="885" y="1367"/>
                        </a:lnTo>
                        <a:lnTo>
                          <a:pt x="884" y="1365"/>
                        </a:lnTo>
                        <a:lnTo>
                          <a:pt x="882" y="1365"/>
                        </a:lnTo>
                        <a:lnTo>
                          <a:pt x="880" y="1365"/>
                        </a:lnTo>
                        <a:lnTo>
                          <a:pt x="880" y="1364"/>
                        </a:lnTo>
                        <a:lnTo>
                          <a:pt x="879" y="1364"/>
                        </a:lnTo>
                        <a:lnTo>
                          <a:pt x="877" y="1365"/>
                        </a:lnTo>
                        <a:lnTo>
                          <a:pt x="876" y="1365"/>
                        </a:lnTo>
                        <a:lnTo>
                          <a:pt x="876" y="1367"/>
                        </a:lnTo>
                        <a:lnTo>
                          <a:pt x="874" y="1367"/>
                        </a:lnTo>
                        <a:lnTo>
                          <a:pt x="874" y="1368"/>
                        </a:lnTo>
                        <a:lnTo>
                          <a:pt x="872" y="1368"/>
                        </a:lnTo>
                        <a:lnTo>
                          <a:pt x="871" y="1370"/>
                        </a:lnTo>
                        <a:lnTo>
                          <a:pt x="869" y="1370"/>
                        </a:lnTo>
                        <a:lnTo>
                          <a:pt x="868" y="1372"/>
                        </a:lnTo>
                        <a:lnTo>
                          <a:pt x="868" y="1373"/>
                        </a:lnTo>
                        <a:lnTo>
                          <a:pt x="866" y="1373"/>
                        </a:lnTo>
                        <a:lnTo>
                          <a:pt x="865" y="1375"/>
                        </a:lnTo>
                        <a:lnTo>
                          <a:pt x="863" y="1375"/>
                        </a:lnTo>
                        <a:lnTo>
                          <a:pt x="863" y="1376"/>
                        </a:lnTo>
                        <a:lnTo>
                          <a:pt x="861" y="1376"/>
                        </a:lnTo>
                        <a:lnTo>
                          <a:pt x="860" y="1376"/>
                        </a:lnTo>
                        <a:lnTo>
                          <a:pt x="860" y="1378"/>
                        </a:lnTo>
                        <a:lnTo>
                          <a:pt x="858" y="1378"/>
                        </a:lnTo>
                        <a:lnTo>
                          <a:pt x="858" y="1376"/>
                        </a:lnTo>
                        <a:lnTo>
                          <a:pt x="857" y="1376"/>
                        </a:lnTo>
                        <a:lnTo>
                          <a:pt x="855" y="1376"/>
                        </a:lnTo>
                        <a:lnTo>
                          <a:pt x="853" y="1376"/>
                        </a:lnTo>
                        <a:lnTo>
                          <a:pt x="852" y="1376"/>
                        </a:lnTo>
                        <a:lnTo>
                          <a:pt x="850" y="1376"/>
                        </a:lnTo>
                        <a:lnTo>
                          <a:pt x="849" y="1376"/>
                        </a:lnTo>
                        <a:lnTo>
                          <a:pt x="847" y="1376"/>
                        </a:lnTo>
                        <a:lnTo>
                          <a:pt x="846" y="1376"/>
                        </a:lnTo>
                        <a:lnTo>
                          <a:pt x="844" y="1376"/>
                        </a:lnTo>
                        <a:lnTo>
                          <a:pt x="842" y="1375"/>
                        </a:lnTo>
                        <a:lnTo>
                          <a:pt x="841" y="1375"/>
                        </a:lnTo>
                        <a:lnTo>
                          <a:pt x="839" y="1373"/>
                        </a:lnTo>
                        <a:lnTo>
                          <a:pt x="839" y="1372"/>
                        </a:lnTo>
                        <a:lnTo>
                          <a:pt x="838" y="1370"/>
                        </a:lnTo>
                        <a:lnTo>
                          <a:pt x="836" y="1368"/>
                        </a:lnTo>
                        <a:lnTo>
                          <a:pt x="834" y="1368"/>
                        </a:lnTo>
                        <a:lnTo>
                          <a:pt x="833" y="1367"/>
                        </a:lnTo>
                        <a:lnTo>
                          <a:pt x="831" y="1367"/>
                        </a:lnTo>
                        <a:lnTo>
                          <a:pt x="831" y="1365"/>
                        </a:lnTo>
                        <a:lnTo>
                          <a:pt x="830" y="1364"/>
                        </a:lnTo>
                        <a:lnTo>
                          <a:pt x="828" y="1362"/>
                        </a:lnTo>
                        <a:lnTo>
                          <a:pt x="828" y="1360"/>
                        </a:lnTo>
                        <a:lnTo>
                          <a:pt x="828" y="1359"/>
                        </a:lnTo>
                        <a:lnTo>
                          <a:pt x="828" y="1357"/>
                        </a:lnTo>
                        <a:lnTo>
                          <a:pt x="830" y="1357"/>
                        </a:lnTo>
                        <a:lnTo>
                          <a:pt x="830" y="1356"/>
                        </a:lnTo>
                        <a:lnTo>
                          <a:pt x="831" y="1356"/>
                        </a:lnTo>
                        <a:lnTo>
                          <a:pt x="833" y="1356"/>
                        </a:lnTo>
                        <a:lnTo>
                          <a:pt x="833" y="1354"/>
                        </a:lnTo>
                        <a:lnTo>
                          <a:pt x="834" y="1354"/>
                        </a:lnTo>
                        <a:lnTo>
                          <a:pt x="834" y="1353"/>
                        </a:lnTo>
                        <a:lnTo>
                          <a:pt x="834" y="1351"/>
                        </a:lnTo>
                        <a:lnTo>
                          <a:pt x="833" y="1351"/>
                        </a:lnTo>
                        <a:lnTo>
                          <a:pt x="833" y="1349"/>
                        </a:lnTo>
                        <a:lnTo>
                          <a:pt x="833" y="1348"/>
                        </a:lnTo>
                        <a:lnTo>
                          <a:pt x="831" y="1348"/>
                        </a:lnTo>
                        <a:lnTo>
                          <a:pt x="831" y="1346"/>
                        </a:lnTo>
                        <a:lnTo>
                          <a:pt x="831" y="1345"/>
                        </a:lnTo>
                        <a:lnTo>
                          <a:pt x="831" y="1343"/>
                        </a:lnTo>
                        <a:lnTo>
                          <a:pt x="833" y="1343"/>
                        </a:lnTo>
                        <a:lnTo>
                          <a:pt x="833" y="1341"/>
                        </a:lnTo>
                        <a:lnTo>
                          <a:pt x="833" y="1340"/>
                        </a:lnTo>
                        <a:lnTo>
                          <a:pt x="834" y="1340"/>
                        </a:lnTo>
                        <a:lnTo>
                          <a:pt x="834" y="1338"/>
                        </a:lnTo>
                        <a:lnTo>
                          <a:pt x="834" y="1337"/>
                        </a:lnTo>
                        <a:lnTo>
                          <a:pt x="834" y="1335"/>
                        </a:lnTo>
                        <a:lnTo>
                          <a:pt x="834" y="1333"/>
                        </a:lnTo>
                        <a:lnTo>
                          <a:pt x="834" y="1332"/>
                        </a:lnTo>
                        <a:lnTo>
                          <a:pt x="834" y="1330"/>
                        </a:lnTo>
                        <a:lnTo>
                          <a:pt x="836" y="1329"/>
                        </a:lnTo>
                        <a:lnTo>
                          <a:pt x="834" y="1329"/>
                        </a:lnTo>
                        <a:lnTo>
                          <a:pt x="833" y="1329"/>
                        </a:lnTo>
                        <a:lnTo>
                          <a:pt x="831" y="1329"/>
                        </a:lnTo>
                        <a:lnTo>
                          <a:pt x="830" y="1329"/>
                        </a:lnTo>
                        <a:lnTo>
                          <a:pt x="828" y="1329"/>
                        </a:lnTo>
                        <a:lnTo>
                          <a:pt x="827" y="1329"/>
                        </a:lnTo>
                        <a:lnTo>
                          <a:pt x="825" y="1330"/>
                        </a:lnTo>
                        <a:lnTo>
                          <a:pt x="823" y="1330"/>
                        </a:lnTo>
                        <a:lnTo>
                          <a:pt x="822" y="1330"/>
                        </a:lnTo>
                        <a:lnTo>
                          <a:pt x="820" y="1329"/>
                        </a:lnTo>
                        <a:lnTo>
                          <a:pt x="819" y="1330"/>
                        </a:lnTo>
                        <a:lnTo>
                          <a:pt x="819" y="1329"/>
                        </a:lnTo>
                        <a:lnTo>
                          <a:pt x="817" y="1329"/>
                        </a:lnTo>
                        <a:lnTo>
                          <a:pt x="815" y="1327"/>
                        </a:lnTo>
                        <a:lnTo>
                          <a:pt x="815" y="1326"/>
                        </a:lnTo>
                        <a:lnTo>
                          <a:pt x="814" y="1327"/>
                        </a:lnTo>
                        <a:lnTo>
                          <a:pt x="812" y="1327"/>
                        </a:lnTo>
                        <a:lnTo>
                          <a:pt x="811" y="1327"/>
                        </a:lnTo>
                        <a:lnTo>
                          <a:pt x="809" y="1327"/>
                        </a:lnTo>
                        <a:lnTo>
                          <a:pt x="808" y="1327"/>
                        </a:lnTo>
                        <a:lnTo>
                          <a:pt x="806" y="1327"/>
                        </a:lnTo>
                        <a:lnTo>
                          <a:pt x="804" y="1327"/>
                        </a:lnTo>
                        <a:lnTo>
                          <a:pt x="803" y="1327"/>
                        </a:lnTo>
                        <a:lnTo>
                          <a:pt x="801" y="1327"/>
                        </a:lnTo>
                        <a:lnTo>
                          <a:pt x="800" y="1327"/>
                        </a:lnTo>
                        <a:lnTo>
                          <a:pt x="798" y="1327"/>
                        </a:lnTo>
                        <a:lnTo>
                          <a:pt x="796" y="1327"/>
                        </a:lnTo>
                        <a:lnTo>
                          <a:pt x="793" y="1327"/>
                        </a:lnTo>
                        <a:lnTo>
                          <a:pt x="792" y="1326"/>
                        </a:lnTo>
                        <a:lnTo>
                          <a:pt x="790" y="1326"/>
                        </a:lnTo>
                        <a:lnTo>
                          <a:pt x="788" y="1326"/>
                        </a:lnTo>
                        <a:lnTo>
                          <a:pt x="787" y="1324"/>
                        </a:lnTo>
                        <a:lnTo>
                          <a:pt x="785" y="1324"/>
                        </a:lnTo>
                        <a:lnTo>
                          <a:pt x="784" y="1324"/>
                        </a:lnTo>
                        <a:lnTo>
                          <a:pt x="782" y="1322"/>
                        </a:lnTo>
                        <a:lnTo>
                          <a:pt x="781" y="1322"/>
                        </a:lnTo>
                        <a:lnTo>
                          <a:pt x="781" y="1321"/>
                        </a:lnTo>
                        <a:lnTo>
                          <a:pt x="781" y="1319"/>
                        </a:lnTo>
                        <a:lnTo>
                          <a:pt x="782" y="1318"/>
                        </a:lnTo>
                        <a:lnTo>
                          <a:pt x="782" y="1316"/>
                        </a:lnTo>
                        <a:lnTo>
                          <a:pt x="781" y="1314"/>
                        </a:lnTo>
                        <a:lnTo>
                          <a:pt x="779" y="1314"/>
                        </a:lnTo>
                        <a:lnTo>
                          <a:pt x="779" y="1313"/>
                        </a:lnTo>
                        <a:lnTo>
                          <a:pt x="777" y="1313"/>
                        </a:lnTo>
                        <a:lnTo>
                          <a:pt x="776" y="1311"/>
                        </a:lnTo>
                        <a:lnTo>
                          <a:pt x="774" y="1311"/>
                        </a:lnTo>
                        <a:lnTo>
                          <a:pt x="774" y="1310"/>
                        </a:lnTo>
                        <a:lnTo>
                          <a:pt x="773" y="1308"/>
                        </a:lnTo>
                        <a:lnTo>
                          <a:pt x="771" y="1308"/>
                        </a:lnTo>
                        <a:lnTo>
                          <a:pt x="771" y="1307"/>
                        </a:lnTo>
                        <a:lnTo>
                          <a:pt x="769" y="1307"/>
                        </a:lnTo>
                        <a:lnTo>
                          <a:pt x="768" y="1305"/>
                        </a:lnTo>
                        <a:lnTo>
                          <a:pt x="766" y="1305"/>
                        </a:lnTo>
                        <a:lnTo>
                          <a:pt x="765" y="1303"/>
                        </a:lnTo>
                        <a:lnTo>
                          <a:pt x="765" y="1302"/>
                        </a:lnTo>
                        <a:lnTo>
                          <a:pt x="763" y="1302"/>
                        </a:lnTo>
                        <a:lnTo>
                          <a:pt x="763" y="1300"/>
                        </a:lnTo>
                        <a:lnTo>
                          <a:pt x="762" y="1299"/>
                        </a:lnTo>
                        <a:lnTo>
                          <a:pt x="762" y="1297"/>
                        </a:lnTo>
                        <a:lnTo>
                          <a:pt x="760" y="1297"/>
                        </a:lnTo>
                        <a:lnTo>
                          <a:pt x="760" y="1295"/>
                        </a:lnTo>
                        <a:lnTo>
                          <a:pt x="758" y="1294"/>
                        </a:lnTo>
                        <a:lnTo>
                          <a:pt x="758" y="1292"/>
                        </a:lnTo>
                        <a:lnTo>
                          <a:pt x="758" y="1291"/>
                        </a:lnTo>
                        <a:lnTo>
                          <a:pt x="760" y="1291"/>
                        </a:lnTo>
                        <a:lnTo>
                          <a:pt x="762" y="1291"/>
                        </a:lnTo>
                        <a:lnTo>
                          <a:pt x="763" y="1291"/>
                        </a:lnTo>
                        <a:lnTo>
                          <a:pt x="765" y="1291"/>
                        </a:lnTo>
                        <a:lnTo>
                          <a:pt x="766" y="1291"/>
                        </a:lnTo>
                        <a:lnTo>
                          <a:pt x="768" y="1289"/>
                        </a:lnTo>
                        <a:lnTo>
                          <a:pt x="768" y="1288"/>
                        </a:lnTo>
                        <a:lnTo>
                          <a:pt x="769" y="1286"/>
                        </a:lnTo>
                        <a:lnTo>
                          <a:pt x="769" y="1284"/>
                        </a:lnTo>
                        <a:lnTo>
                          <a:pt x="771" y="1284"/>
                        </a:lnTo>
                        <a:lnTo>
                          <a:pt x="773" y="1283"/>
                        </a:lnTo>
                        <a:lnTo>
                          <a:pt x="774" y="1281"/>
                        </a:lnTo>
                        <a:lnTo>
                          <a:pt x="774" y="1280"/>
                        </a:lnTo>
                        <a:lnTo>
                          <a:pt x="774" y="1278"/>
                        </a:lnTo>
                        <a:lnTo>
                          <a:pt x="774" y="1276"/>
                        </a:lnTo>
                        <a:lnTo>
                          <a:pt x="774" y="1275"/>
                        </a:lnTo>
                        <a:lnTo>
                          <a:pt x="774" y="1273"/>
                        </a:lnTo>
                        <a:lnTo>
                          <a:pt x="774" y="1272"/>
                        </a:lnTo>
                        <a:lnTo>
                          <a:pt x="774" y="1270"/>
                        </a:lnTo>
                        <a:lnTo>
                          <a:pt x="776" y="1269"/>
                        </a:lnTo>
                        <a:lnTo>
                          <a:pt x="776" y="1267"/>
                        </a:lnTo>
                        <a:lnTo>
                          <a:pt x="777" y="1267"/>
                        </a:lnTo>
                        <a:lnTo>
                          <a:pt x="777" y="1265"/>
                        </a:lnTo>
                        <a:lnTo>
                          <a:pt x="777" y="1264"/>
                        </a:lnTo>
                        <a:lnTo>
                          <a:pt x="779" y="1264"/>
                        </a:lnTo>
                        <a:lnTo>
                          <a:pt x="781" y="1262"/>
                        </a:lnTo>
                        <a:lnTo>
                          <a:pt x="781" y="1261"/>
                        </a:lnTo>
                        <a:lnTo>
                          <a:pt x="782" y="1259"/>
                        </a:lnTo>
                        <a:lnTo>
                          <a:pt x="784" y="1259"/>
                        </a:lnTo>
                        <a:lnTo>
                          <a:pt x="784" y="1257"/>
                        </a:lnTo>
                        <a:lnTo>
                          <a:pt x="785" y="1257"/>
                        </a:lnTo>
                        <a:lnTo>
                          <a:pt x="787" y="1256"/>
                        </a:lnTo>
                        <a:lnTo>
                          <a:pt x="787" y="1254"/>
                        </a:lnTo>
                        <a:lnTo>
                          <a:pt x="788" y="1254"/>
                        </a:lnTo>
                        <a:lnTo>
                          <a:pt x="788" y="1253"/>
                        </a:lnTo>
                        <a:lnTo>
                          <a:pt x="790" y="1253"/>
                        </a:lnTo>
                        <a:lnTo>
                          <a:pt x="790" y="1251"/>
                        </a:lnTo>
                        <a:lnTo>
                          <a:pt x="792" y="1250"/>
                        </a:lnTo>
                        <a:lnTo>
                          <a:pt x="792" y="1248"/>
                        </a:lnTo>
                        <a:lnTo>
                          <a:pt x="793" y="1246"/>
                        </a:lnTo>
                        <a:lnTo>
                          <a:pt x="792" y="1246"/>
                        </a:lnTo>
                        <a:lnTo>
                          <a:pt x="792" y="1245"/>
                        </a:lnTo>
                        <a:lnTo>
                          <a:pt x="790" y="1245"/>
                        </a:lnTo>
                        <a:lnTo>
                          <a:pt x="788" y="1245"/>
                        </a:lnTo>
                        <a:lnTo>
                          <a:pt x="787" y="1245"/>
                        </a:lnTo>
                        <a:lnTo>
                          <a:pt x="787" y="1246"/>
                        </a:lnTo>
                        <a:lnTo>
                          <a:pt x="785" y="1246"/>
                        </a:lnTo>
                        <a:lnTo>
                          <a:pt x="784" y="1246"/>
                        </a:lnTo>
                        <a:lnTo>
                          <a:pt x="782" y="1246"/>
                        </a:lnTo>
                        <a:lnTo>
                          <a:pt x="781" y="1246"/>
                        </a:lnTo>
                        <a:lnTo>
                          <a:pt x="779" y="1246"/>
                        </a:lnTo>
                        <a:lnTo>
                          <a:pt x="777" y="1246"/>
                        </a:lnTo>
                        <a:lnTo>
                          <a:pt x="776" y="1245"/>
                        </a:lnTo>
                        <a:lnTo>
                          <a:pt x="774" y="1243"/>
                        </a:lnTo>
                        <a:lnTo>
                          <a:pt x="773" y="1242"/>
                        </a:lnTo>
                        <a:lnTo>
                          <a:pt x="771" y="1240"/>
                        </a:lnTo>
                        <a:lnTo>
                          <a:pt x="771" y="1238"/>
                        </a:lnTo>
                        <a:lnTo>
                          <a:pt x="769" y="1238"/>
                        </a:lnTo>
                        <a:lnTo>
                          <a:pt x="768" y="1238"/>
                        </a:lnTo>
                        <a:lnTo>
                          <a:pt x="766" y="1237"/>
                        </a:lnTo>
                        <a:lnTo>
                          <a:pt x="765" y="1237"/>
                        </a:lnTo>
                        <a:lnTo>
                          <a:pt x="763" y="1238"/>
                        </a:lnTo>
                        <a:lnTo>
                          <a:pt x="762" y="1240"/>
                        </a:lnTo>
                        <a:lnTo>
                          <a:pt x="762" y="1238"/>
                        </a:lnTo>
                        <a:lnTo>
                          <a:pt x="760" y="1238"/>
                        </a:lnTo>
                        <a:lnTo>
                          <a:pt x="758" y="1238"/>
                        </a:lnTo>
                        <a:lnTo>
                          <a:pt x="757" y="1237"/>
                        </a:lnTo>
                        <a:lnTo>
                          <a:pt x="755" y="1237"/>
                        </a:lnTo>
                        <a:lnTo>
                          <a:pt x="754" y="1237"/>
                        </a:lnTo>
                        <a:lnTo>
                          <a:pt x="754" y="1235"/>
                        </a:lnTo>
                        <a:lnTo>
                          <a:pt x="752" y="1235"/>
                        </a:lnTo>
                        <a:lnTo>
                          <a:pt x="750" y="1235"/>
                        </a:lnTo>
                        <a:lnTo>
                          <a:pt x="749" y="1234"/>
                        </a:lnTo>
                        <a:lnTo>
                          <a:pt x="747" y="1234"/>
                        </a:lnTo>
                        <a:lnTo>
                          <a:pt x="746" y="1234"/>
                        </a:lnTo>
                        <a:lnTo>
                          <a:pt x="746" y="1232"/>
                        </a:lnTo>
                        <a:lnTo>
                          <a:pt x="744" y="1232"/>
                        </a:lnTo>
                        <a:lnTo>
                          <a:pt x="744" y="1234"/>
                        </a:lnTo>
                        <a:lnTo>
                          <a:pt x="743" y="1234"/>
                        </a:lnTo>
                        <a:lnTo>
                          <a:pt x="741" y="1234"/>
                        </a:lnTo>
                        <a:lnTo>
                          <a:pt x="741" y="1232"/>
                        </a:lnTo>
                        <a:lnTo>
                          <a:pt x="739" y="1232"/>
                        </a:lnTo>
                        <a:lnTo>
                          <a:pt x="741" y="1231"/>
                        </a:lnTo>
                        <a:lnTo>
                          <a:pt x="743" y="1231"/>
                        </a:lnTo>
                        <a:lnTo>
                          <a:pt x="741" y="1231"/>
                        </a:lnTo>
                        <a:lnTo>
                          <a:pt x="739" y="1229"/>
                        </a:lnTo>
                        <a:lnTo>
                          <a:pt x="739" y="1231"/>
                        </a:lnTo>
                        <a:lnTo>
                          <a:pt x="738" y="1229"/>
                        </a:lnTo>
                        <a:lnTo>
                          <a:pt x="736" y="1229"/>
                        </a:lnTo>
                        <a:lnTo>
                          <a:pt x="735" y="1229"/>
                        </a:lnTo>
                        <a:lnTo>
                          <a:pt x="733" y="1229"/>
                        </a:lnTo>
                        <a:lnTo>
                          <a:pt x="731" y="1227"/>
                        </a:lnTo>
                        <a:lnTo>
                          <a:pt x="730" y="1227"/>
                        </a:lnTo>
                        <a:lnTo>
                          <a:pt x="728" y="1226"/>
                        </a:lnTo>
                        <a:lnTo>
                          <a:pt x="727" y="1226"/>
                        </a:lnTo>
                        <a:lnTo>
                          <a:pt x="725" y="1226"/>
                        </a:lnTo>
                        <a:lnTo>
                          <a:pt x="724" y="1226"/>
                        </a:lnTo>
                        <a:lnTo>
                          <a:pt x="722" y="1226"/>
                        </a:lnTo>
                        <a:lnTo>
                          <a:pt x="722" y="1227"/>
                        </a:lnTo>
                        <a:lnTo>
                          <a:pt x="720" y="1227"/>
                        </a:lnTo>
                        <a:lnTo>
                          <a:pt x="719" y="1229"/>
                        </a:lnTo>
                        <a:lnTo>
                          <a:pt x="717" y="1229"/>
                        </a:lnTo>
                        <a:lnTo>
                          <a:pt x="716" y="1229"/>
                        </a:lnTo>
                        <a:lnTo>
                          <a:pt x="714" y="1227"/>
                        </a:lnTo>
                        <a:lnTo>
                          <a:pt x="712" y="1227"/>
                        </a:lnTo>
                        <a:lnTo>
                          <a:pt x="714" y="1226"/>
                        </a:lnTo>
                        <a:lnTo>
                          <a:pt x="714" y="1224"/>
                        </a:lnTo>
                        <a:lnTo>
                          <a:pt x="712" y="1224"/>
                        </a:lnTo>
                        <a:lnTo>
                          <a:pt x="711" y="1224"/>
                        </a:lnTo>
                        <a:lnTo>
                          <a:pt x="709" y="1224"/>
                        </a:lnTo>
                        <a:lnTo>
                          <a:pt x="708" y="1224"/>
                        </a:lnTo>
                        <a:lnTo>
                          <a:pt x="706" y="1223"/>
                        </a:lnTo>
                        <a:lnTo>
                          <a:pt x="705" y="1223"/>
                        </a:lnTo>
                        <a:lnTo>
                          <a:pt x="705" y="1224"/>
                        </a:lnTo>
                        <a:lnTo>
                          <a:pt x="703" y="1224"/>
                        </a:lnTo>
                        <a:lnTo>
                          <a:pt x="701" y="1224"/>
                        </a:lnTo>
                        <a:lnTo>
                          <a:pt x="701" y="1223"/>
                        </a:lnTo>
                        <a:lnTo>
                          <a:pt x="703" y="1221"/>
                        </a:lnTo>
                        <a:lnTo>
                          <a:pt x="701" y="1221"/>
                        </a:lnTo>
                        <a:lnTo>
                          <a:pt x="700" y="1221"/>
                        </a:lnTo>
                        <a:lnTo>
                          <a:pt x="698" y="1221"/>
                        </a:lnTo>
                        <a:lnTo>
                          <a:pt x="698" y="1223"/>
                        </a:lnTo>
                        <a:lnTo>
                          <a:pt x="697" y="1223"/>
                        </a:lnTo>
                        <a:lnTo>
                          <a:pt x="695" y="1223"/>
                        </a:lnTo>
                        <a:lnTo>
                          <a:pt x="695" y="1221"/>
                        </a:lnTo>
                        <a:lnTo>
                          <a:pt x="693" y="1221"/>
                        </a:lnTo>
                        <a:lnTo>
                          <a:pt x="692" y="1221"/>
                        </a:lnTo>
                        <a:lnTo>
                          <a:pt x="690" y="1219"/>
                        </a:lnTo>
                        <a:lnTo>
                          <a:pt x="690" y="1218"/>
                        </a:lnTo>
                        <a:lnTo>
                          <a:pt x="689" y="1216"/>
                        </a:lnTo>
                        <a:lnTo>
                          <a:pt x="687" y="1216"/>
                        </a:lnTo>
                        <a:lnTo>
                          <a:pt x="687" y="1218"/>
                        </a:lnTo>
                        <a:lnTo>
                          <a:pt x="686" y="1216"/>
                        </a:lnTo>
                        <a:lnTo>
                          <a:pt x="687" y="1216"/>
                        </a:lnTo>
                        <a:lnTo>
                          <a:pt x="687" y="1215"/>
                        </a:lnTo>
                        <a:lnTo>
                          <a:pt x="686" y="1215"/>
                        </a:lnTo>
                        <a:lnTo>
                          <a:pt x="686" y="1213"/>
                        </a:lnTo>
                        <a:lnTo>
                          <a:pt x="684" y="1213"/>
                        </a:lnTo>
                        <a:lnTo>
                          <a:pt x="682" y="1213"/>
                        </a:lnTo>
                        <a:lnTo>
                          <a:pt x="681" y="1215"/>
                        </a:lnTo>
                        <a:lnTo>
                          <a:pt x="681" y="1213"/>
                        </a:lnTo>
                        <a:lnTo>
                          <a:pt x="681" y="1212"/>
                        </a:lnTo>
                        <a:lnTo>
                          <a:pt x="679" y="1212"/>
                        </a:lnTo>
                        <a:lnTo>
                          <a:pt x="679" y="1210"/>
                        </a:lnTo>
                        <a:lnTo>
                          <a:pt x="678" y="1210"/>
                        </a:lnTo>
                        <a:lnTo>
                          <a:pt x="676" y="1210"/>
                        </a:lnTo>
                        <a:lnTo>
                          <a:pt x="676" y="1208"/>
                        </a:lnTo>
                        <a:lnTo>
                          <a:pt x="676" y="1207"/>
                        </a:lnTo>
                        <a:lnTo>
                          <a:pt x="674" y="1207"/>
                        </a:lnTo>
                        <a:lnTo>
                          <a:pt x="673" y="1207"/>
                        </a:lnTo>
                        <a:lnTo>
                          <a:pt x="671" y="1205"/>
                        </a:lnTo>
                        <a:lnTo>
                          <a:pt x="670" y="1204"/>
                        </a:lnTo>
                        <a:lnTo>
                          <a:pt x="670" y="1202"/>
                        </a:lnTo>
                        <a:lnTo>
                          <a:pt x="670" y="1200"/>
                        </a:lnTo>
                        <a:lnTo>
                          <a:pt x="668" y="1200"/>
                        </a:lnTo>
                        <a:lnTo>
                          <a:pt x="668" y="1199"/>
                        </a:lnTo>
                        <a:lnTo>
                          <a:pt x="667" y="1199"/>
                        </a:lnTo>
                        <a:lnTo>
                          <a:pt x="665" y="1199"/>
                        </a:lnTo>
                        <a:lnTo>
                          <a:pt x="663" y="1200"/>
                        </a:lnTo>
                        <a:lnTo>
                          <a:pt x="663" y="1199"/>
                        </a:lnTo>
                        <a:lnTo>
                          <a:pt x="662" y="1199"/>
                        </a:lnTo>
                        <a:lnTo>
                          <a:pt x="660" y="1199"/>
                        </a:lnTo>
                        <a:lnTo>
                          <a:pt x="659" y="1199"/>
                        </a:lnTo>
                        <a:lnTo>
                          <a:pt x="659" y="1200"/>
                        </a:lnTo>
                        <a:lnTo>
                          <a:pt x="657" y="1200"/>
                        </a:lnTo>
                        <a:lnTo>
                          <a:pt x="655" y="1202"/>
                        </a:lnTo>
                        <a:lnTo>
                          <a:pt x="654" y="1202"/>
                        </a:lnTo>
                        <a:lnTo>
                          <a:pt x="652" y="1202"/>
                        </a:lnTo>
                        <a:lnTo>
                          <a:pt x="651" y="1202"/>
                        </a:lnTo>
                        <a:lnTo>
                          <a:pt x="649" y="1202"/>
                        </a:lnTo>
                        <a:lnTo>
                          <a:pt x="648" y="1202"/>
                        </a:lnTo>
                        <a:lnTo>
                          <a:pt x="646" y="1202"/>
                        </a:lnTo>
                        <a:lnTo>
                          <a:pt x="644" y="1202"/>
                        </a:lnTo>
                        <a:lnTo>
                          <a:pt x="643" y="1202"/>
                        </a:lnTo>
                        <a:lnTo>
                          <a:pt x="641" y="1204"/>
                        </a:lnTo>
                        <a:lnTo>
                          <a:pt x="640" y="1202"/>
                        </a:lnTo>
                        <a:lnTo>
                          <a:pt x="638" y="1204"/>
                        </a:lnTo>
                        <a:lnTo>
                          <a:pt x="636" y="1204"/>
                        </a:lnTo>
                        <a:lnTo>
                          <a:pt x="635" y="1202"/>
                        </a:lnTo>
                        <a:lnTo>
                          <a:pt x="633" y="1202"/>
                        </a:lnTo>
                        <a:lnTo>
                          <a:pt x="632" y="1202"/>
                        </a:lnTo>
                        <a:lnTo>
                          <a:pt x="630" y="1202"/>
                        </a:lnTo>
                        <a:lnTo>
                          <a:pt x="629" y="1202"/>
                        </a:lnTo>
                        <a:lnTo>
                          <a:pt x="627" y="1202"/>
                        </a:lnTo>
                        <a:lnTo>
                          <a:pt x="625" y="1202"/>
                        </a:lnTo>
                        <a:lnTo>
                          <a:pt x="624" y="1202"/>
                        </a:lnTo>
                        <a:lnTo>
                          <a:pt x="622" y="1202"/>
                        </a:lnTo>
                        <a:lnTo>
                          <a:pt x="622" y="1200"/>
                        </a:lnTo>
                        <a:lnTo>
                          <a:pt x="621" y="1200"/>
                        </a:lnTo>
                        <a:lnTo>
                          <a:pt x="619" y="1200"/>
                        </a:lnTo>
                        <a:lnTo>
                          <a:pt x="617" y="1200"/>
                        </a:lnTo>
                        <a:lnTo>
                          <a:pt x="616" y="1200"/>
                        </a:lnTo>
                        <a:lnTo>
                          <a:pt x="614" y="1200"/>
                        </a:lnTo>
                        <a:lnTo>
                          <a:pt x="614" y="1199"/>
                        </a:lnTo>
                        <a:lnTo>
                          <a:pt x="613" y="1199"/>
                        </a:lnTo>
                        <a:lnTo>
                          <a:pt x="611" y="1199"/>
                        </a:lnTo>
                        <a:lnTo>
                          <a:pt x="609" y="1197"/>
                        </a:lnTo>
                        <a:lnTo>
                          <a:pt x="608" y="1197"/>
                        </a:lnTo>
                        <a:lnTo>
                          <a:pt x="606" y="1197"/>
                        </a:lnTo>
                        <a:lnTo>
                          <a:pt x="605" y="1196"/>
                        </a:lnTo>
                        <a:lnTo>
                          <a:pt x="603" y="1196"/>
                        </a:lnTo>
                        <a:lnTo>
                          <a:pt x="602" y="1194"/>
                        </a:lnTo>
                        <a:lnTo>
                          <a:pt x="600" y="1194"/>
                        </a:lnTo>
                        <a:lnTo>
                          <a:pt x="598" y="1194"/>
                        </a:lnTo>
                        <a:lnTo>
                          <a:pt x="597" y="1196"/>
                        </a:lnTo>
                        <a:lnTo>
                          <a:pt x="597" y="1197"/>
                        </a:lnTo>
                        <a:lnTo>
                          <a:pt x="595" y="1199"/>
                        </a:lnTo>
                        <a:lnTo>
                          <a:pt x="594" y="1200"/>
                        </a:lnTo>
                        <a:lnTo>
                          <a:pt x="594" y="1202"/>
                        </a:lnTo>
                        <a:lnTo>
                          <a:pt x="592" y="1204"/>
                        </a:lnTo>
                        <a:lnTo>
                          <a:pt x="592" y="1205"/>
                        </a:lnTo>
                        <a:lnTo>
                          <a:pt x="590" y="1207"/>
                        </a:lnTo>
                        <a:lnTo>
                          <a:pt x="589" y="1208"/>
                        </a:lnTo>
                        <a:lnTo>
                          <a:pt x="587" y="1208"/>
                        </a:lnTo>
                        <a:lnTo>
                          <a:pt x="587" y="1210"/>
                        </a:lnTo>
                        <a:lnTo>
                          <a:pt x="586" y="1210"/>
                        </a:lnTo>
                        <a:lnTo>
                          <a:pt x="584" y="1212"/>
                        </a:lnTo>
                        <a:lnTo>
                          <a:pt x="584" y="1213"/>
                        </a:lnTo>
                        <a:lnTo>
                          <a:pt x="583" y="1213"/>
                        </a:lnTo>
                        <a:lnTo>
                          <a:pt x="583" y="1215"/>
                        </a:lnTo>
                        <a:lnTo>
                          <a:pt x="581" y="1215"/>
                        </a:lnTo>
                        <a:lnTo>
                          <a:pt x="579" y="1216"/>
                        </a:lnTo>
                        <a:lnTo>
                          <a:pt x="578" y="1218"/>
                        </a:lnTo>
                        <a:lnTo>
                          <a:pt x="578" y="1219"/>
                        </a:lnTo>
                        <a:lnTo>
                          <a:pt x="576" y="1221"/>
                        </a:lnTo>
                        <a:lnTo>
                          <a:pt x="575" y="1223"/>
                        </a:lnTo>
                        <a:lnTo>
                          <a:pt x="573" y="1224"/>
                        </a:lnTo>
                        <a:lnTo>
                          <a:pt x="571" y="1224"/>
                        </a:lnTo>
                        <a:lnTo>
                          <a:pt x="570" y="1226"/>
                        </a:lnTo>
                        <a:lnTo>
                          <a:pt x="570" y="1227"/>
                        </a:lnTo>
                        <a:lnTo>
                          <a:pt x="568" y="1227"/>
                        </a:lnTo>
                        <a:lnTo>
                          <a:pt x="567" y="1227"/>
                        </a:lnTo>
                        <a:lnTo>
                          <a:pt x="565" y="1226"/>
                        </a:lnTo>
                        <a:lnTo>
                          <a:pt x="564" y="1224"/>
                        </a:lnTo>
                        <a:lnTo>
                          <a:pt x="562" y="1224"/>
                        </a:lnTo>
                        <a:lnTo>
                          <a:pt x="560" y="1224"/>
                        </a:lnTo>
                        <a:lnTo>
                          <a:pt x="559" y="1224"/>
                        </a:lnTo>
                        <a:lnTo>
                          <a:pt x="559" y="1223"/>
                        </a:lnTo>
                        <a:lnTo>
                          <a:pt x="557" y="1223"/>
                        </a:lnTo>
                        <a:lnTo>
                          <a:pt x="556" y="1223"/>
                        </a:lnTo>
                        <a:lnTo>
                          <a:pt x="554" y="1221"/>
                        </a:lnTo>
                        <a:lnTo>
                          <a:pt x="552" y="1223"/>
                        </a:lnTo>
                        <a:lnTo>
                          <a:pt x="551" y="1223"/>
                        </a:lnTo>
                        <a:lnTo>
                          <a:pt x="549" y="1223"/>
                        </a:lnTo>
                        <a:lnTo>
                          <a:pt x="548" y="1223"/>
                        </a:lnTo>
                        <a:lnTo>
                          <a:pt x="546" y="1223"/>
                        </a:lnTo>
                        <a:lnTo>
                          <a:pt x="546" y="1224"/>
                        </a:lnTo>
                        <a:lnTo>
                          <a:pt x="545" y="1224"/>
                        </a:lnTo>
                        <a:lnTo>
                          <a:pt x="543" y="1224"/>
                        </a:lnTo>
                        <a:lnTo>
                          <a:pt x="541" y="1224"/>
                        </a:lnTo>
                        <a:lnTo>
                          <a:pt x="540" y="1224"/>
                        </a:lnTo>
                        <a:lnTo>
                          <a:pt x="538" y="1224"/>
                        </a:lnTo>
                        <a:lnTo>
                          <a:pt x="538" y="1223"/>
                        </a:lnTo>
                        <a:lnTo>
                          <a:pt x="537" y="1223"/>
                        </a:lnTo>
                        <a:lnTo>
                          <a:pt x="535" y="1223"/>
                        </a:lnTo>
                        <a:lnTo>
                          <a:pt x="533" y="1223"/>
                        </a:lnTo>
                        <a:lnTo>
                          <a:pt x="533" y="1221"/>
                        </a:lnTo>
                        <a:lnTo>
                          <a:pt x="532" y="1221"/>
                        </a:lnTo>
                        <a:lnTo>
                          <a:pt x="532" y="1219"/>
                        </a:lnTo>
                        <a:lnTo>
                          <a:pt x="532" y="1218"/>
                        </a:lnTo>
                        <a:lnTo>
                          <a:pt x="530" y="1218"/>
                        </a:lnTo>
                        <a:lnTo>
                          <a:pt x="529" y="1218"/>
                        </a:lnTo>
                        <a:lnTo>
                          <a:pt x="527" y="1216"/>
                        </a:lnTo>
                        <a:lnTo>
                          <a:pt x="526" y="1216"/>
                        </a:lnTo>
                        <a:lnTo>
                          <a:pt x="526" y="1215"/>
                        </a:lnTo>
                        <a:lnTo>
                          <a:pt x="524" y="1215"/>
                        </a:lnTo>
                        <a:lnTo>
                          <a:pt x="522" y="1215"/>
                        </a:lnTo>
                        <a:lnTo>
                          <a:pt x="521" y="1215"/>
                        </a:lnTo>
                        <a:lnTo>
                          <a:pt x="519" y="1215"/>
                        </a:lnTo>
                        <a:lnTo>
                          <a:pt x="518" y="1215"/>
                        </a:lnTo>
                        <a:lnTo>
                          <a:pt x="516" y="1215"/>
                        </a:lnTo>
                        <a:lnTo>
                          <a:pt x="516" y="1213"/>
                        </a:lnTo>
                        <a:lnTo>
                          <a:pt x="514" y="1213"/>
                        </a:lnTo>
                        <a:lnTo>
                          <a:pt x="495" y="1210"/>
                        </a:lnTo>
                        <a:lnTo>
                          <a:pt x="497" y="1208"/>
                        </a:lnTo>
                        <a:lnTo>
                          <a:pt x="497" y="1207"/>
                        </a:lnTo>
                        <a:lnTo>
                          <a:pt x="497" y="1205"/>
                        </a:lnTo>
                        <a:lnTo>
                          <a:pt x="499" y="1204"/>
                        </a:lnTo>
                        <a:lnTo>
                          <a:pt x="497" y="1204"/>
                        </a:lnTo>
                        <a:lnTo>
                          <a:pt x="497" y="1202"/>
                        </a:lnTo>
                        <a:lnTo>
                          <a:pt x="497" y="1200"/>
                        </a:lnTo>
                        <a:lnTo>
                          <a:pt x="497" y="1199"/>
                        </a:lnTo>
                        <a:lnTo>
                          <a:pt x="497" y="1197"/>
                        </a:lnTo>
                        <a:lnTo>
                          <a:pt x="497" y="1196"/>
                        </a:lnTo>
                        <a:lnTo>
                          <a:pt x="495" y="1196"/>
                        </a:lnTo>
                        <a:lnTo>
                          <a:pt x="495" y="1194"/>
                        </a:lnTo>
                        <a:lnTo>
                          <a:pt x="494" y="1194"/>
                        </a:lnTo>
                        <a:lnTo>
                          <a:pt x="492" y="1193"/>
                        </a:lnTo>
                        <a:lnTo>
                          <a:pt x="491" y="1193"/>
                        </a:lnTo>
                        <a:lnTo>
                          <a:pt x="489" y="1191"/>
                        </a:lnTo>
                        <a:lnTo>
                          <a:pt x="488" y="1189"/>
                        </a:lnTo>
                        <a:lnTo>
                          <a:pt x="488" y="1188"/>
                        </a:lnTo>
                        <a:lnTo>
                          <a:pt x="486" y="1186"/>
                        </a:lnTo>
                        <a:lnTo>
                          <a:pt x="484" y="1185"/>
                        </a:lnTo>
                        <a:lnTo>
                          <a:pt x="483" y="1183"/>
                        </a:lnTo>
                        <a:lnTo>
                          <a:pt x="483" y="1181"/>
                        </a:lnTo>
                        <a:lnTo>
                          <a:pt x="484" y="1180"/>
                        </a:lnTo>
                        <a:lnTo>
                          <a:pt x="484" y="1178"/>
                        </a:lnTo>
                        <a:lnTo>
                          <a:pt x="484" y="1177"/>
                        </a:lnTo>
                        <a:lnTo>
                          <a:pt x="484" y="1175"/>
                        </a:lnTo>
                        <a:lnTo>
                          <a:pt x="484" y="1174"/>
                        </a:lnTo>
                        <a:lnTo>
                          <a:pt x="483" y="1172"/>
                        </a:lnTo>
                        <a:lnTo>
                          <a:pt x="483" y="1170"/>
                        </a:lnTo>
                        <a:lnTo>
                          <a:pt x="483" y="1169"/>
                        </a:lnTo>
                        <a:lnTo>
                          <a:pt x="483" y="1167"/>
                        </a:lnTo>
                        <a:lnTo>
                          <a:pt x="481" y="1167"/>
                        </a:lnTo>
                        <a:lnTo>
                          <a:pt x="481" y="1166"/>
                        </a:lnTo>
                        <a:lnTo>
                          <a:pt x="480" y="1166"/>
                        </a:lnTo>
                        <a:lnTo>
                          <a:pt x="478" y="1166"/>
                        </a:lnTo>
                        <a:lnTo>
                          <a:pt x="476" y="1164"/>
                        </a:lnTo>
                        <a:lnTo>
                          <a:pt x="475" y="1164"/>
                        </a:lnTo>
                        <a:lnTo>
                          <a:pt x="473" y="1164"/>
                        </a:lnTo>
                        <a:lnTo>
                          <a:pt x="472" y="1162"/>
                        </a:lnTo>
                        <a:lnTo>
                          <a:pt x="470" y="1162"/>
                        </a:lnTo>
                        <a:lnTo>
                          <a:pt x="469" y="1162"/>
                        </a:lnTo>
                        <a:lnTo>
                          <a:pt x="467" y="1162"/>
                        </a:lnTo>
                        <a:lnTo>
                          <a:pt x="465" y="1162"/>
                        </a:lnTo>
                        <a:lnTo>
                          <a:pt x="464" y="1162"/>
                        </a:lnTo>
                        <a:lnTo>
                          <a:pt x="462" y="1162"/>
                        </a:lnTo>
                        <a:lnTo>
                          <a:pt x="461" y="1161"/>
                        </a:lnTo>
                        <a:lnTo>
                          <a:pt x="459" y="1161"/>
                        </a:lnTo>
                        <a:lnTo>
                          <a:pt x="459" y="1159"/>
                        </a:lnTo>
                        <a:lnTo>
                          <a:pt x="457" y="1159"/>
                        </a:lnTo>
                        <a:lnTo>
                          <a:pt x="456" y="1159"/>
                        </a:lnTo>
                        <a:lnTo>
                          <a:pt x="454" y="1159"/>
                        </a:lnTo>
                        <a:lnTo>
                          <a:pt x="454" y="1158"/>
                        </a:lnTo>
                        <a:lnTo>
                          <a:pt x="453" y="1158"/>
                        </a:lnTo>
                        <a:lnTo>
                          <a:pt x="453" y="1156"/>
                        </a:lnTo>
                        <a:lnTo>
                          <a:pt x="454" y="1154"/>
                        </a:lnTo>
                        <a:lnTo>
                          <a:pt x="456" y="1153"/>
                        </a:lnTo>
                        <a:lnTo>
                          <a:pt x="456" y="1151"/>
                        </a:lnTo>
                        <a:lnTo>
                          <a:pt x="456" y="1150"/>
                        </a:lnTo>
                        <a:lnTo>
                          <a:pt x="457" y="1150"/>
                        </a:lnTo>
                        <a:lnTo>
                          <a:pt x="457" y="1148"/>
                        </a:lnTo>
                        <a:lnTo>
                          <a:pt x="457" y="1147"/>
                        </a:lnTo>
                        <a:lnTo>
                          <a:pt x="457" y="1145"/>
                        </a:lnTo>
                        <a:lnTo>
                          <a:pt x="457" y="1143"/>
                        </a:lnTo>
                        <a:lnTo>
                          <a:pt x="457" y="1142"/>
                        </a:lnTo>
                        <a:lnTo>
                          <a:pt x="456" y="1142"/>
                        </a:lnTo>
                        <a:lnTo>
                          <a:pt x="456" y="1140"/>
                        </a:lnTo>
                        <a:lnTo>
                          <a:pt x="456" y="1139"/>
                        </a:lnTo>
                        <a:lnTo>
                          <a:pt x="454" y="1139"/>
                        </a:lnTo>
                        <a:lnTo>
                          <a:pt x="453" y="1139"/>
                        </a:lnTo>
                        <a:lnTo>
                          <a:pt x="451" y="1139"/>
                        </a:lnTo>
                        <a:lnTo>
                          <a:pt x="451" y="1137"/>
                        </a:lnTo>
                        <a:lnTo>
                          <a:pt x="450" y="1137"/>
                        </a:lnTo>
                        <a:lnTo>
                          <a:pt x="448" y="1137"/>
                        </a:lnTo>
                        <a:lnTo>
                          <a:pt x="446" y="1137"/>
                        </a:lnTo>
                        <a:lnTo>
                          <a:pt x="445" y="1137"/>
                        </a:lnTo>
                        <a:lnTo>
                          <a:pt x="443" y="1137"/>
                        </a:lnTo>
                        <a:lnTo>
                          <a:pt x="442" y="1137"/>
                        </a:lnTo>
                        <a:lnTo>
                          <a:pt x="442" y="1139"/>
                        </a:lnTo>
                        <a:lnTo>
                          <a:pt x="440" y="1139"/>
                        </a:lnTo>
                        <a:lnTo>
                          <a:pt x="438" y="1140"/>
                        </a:lnTo>
                        <a:lnTo>
                          <a:pt x="437" y="1140"/>
                        </a:lnTo>
                        <a:lnTo>
                          <a:pt x="437" y="1142"/>
                        </a:lnTo>
                        <a:lnTo>
                          <a:pt x="435" y="1142"/>
                        </a:lnTo>
                        <a:lnTo>
                          <a:pt x="435" y="1143"/>
                        </a:lnTo>
                        <a:lnTo>
                          <a:pt x="434" y="1143"/>
                        </a:lnTo>
                        <a:lnTo>
                          <a:pt x="432" y="1143"/>
                        </a:lnTo>
                        <a:lnTo>
                          <a:pt x="431" y="1143"/>
                        </a:lnTo>
                        <a:lnTo>
                          <a:pt x="429" y="1142"/>
                        </a:lnTo>
                        <a:lnTo>
                          <a:pt x="429" y="1140"/>
                        </a:lnTo>
                        <a:lnTo>
                          <a:pt x="429" y="1139"/>
                        </a:lnTo>
                        <a:lnTo>
                          <a:pt x="427" y="1137"/>
                        </a:lnTo>
                        <a:lnTo>
                          <a:pt x="427" y="1135"/>
                        </a:lnTo>
                        <a:lnTo>
                          <a:pt x="427" y="1134"/>
                        </a:lnTo>
                        <a:lnTo>
                          <a:pt x="427" y="1132"/>
                        </a:lnTo>
                        <a:lnTo>
                          <a:pt x="426" y="1131"/>
                        </a:lnTo>
                        <a:lnTo>
                          <a:pt x="424" y="1131"/>
                        </a:lnTo>
                        <a:lnTo>
                          <a:pt x="423" y="1129"/>
                        </a:lnTo>
                        <a:lnTo>
                          <a:pt x="423" y="1128"/>
                        </a:lnTo>
                        <a:lnTo>
                          <a:pt x="421" y="1128"/>
                        </a:lnTo>
                        <a:lnTo>
                          <a:pt x="421" y="1126"/>
                        </a:lnTo>
                        <a:lnTo>
                          <a:pt x="421" y="1124"/>
                        </a:lnTo>
                        <a:lnTo>
                          <a:pt x="421" y="1123"/>
                        </a:lnTo>
                        <a:lnTo>
                          <a:pt x="421" y="1121"/>
                        </a:lnTo>
                        <a:lnTo>
                          <a:pt x="419" y="1121"/>
                        </a:lnTo>
                        <a:lnTo>
                          <a:pt x="419" y="1120"/>
                        </a:lnTo>
                        <a:lnTo>
                          <a:pt x="419" y="1118"/>
                        </a:lnTo>
                        <a:lnTo>
                          <a:pt x="419" y="1116"/>
                        </a:lnTo>
                        <a:lnTo>
                          <a:pt x="418" y="1116"/>
                        </a:lnTo>
                        <a:lnTo>
                          <a:pt x="418" y="1115"/>
                        </a:lnTo>
                        <a:lnTo>
                          <a:pt x="416" y="1115"/>
                        </a:lnTo>
                        <a:lnTo>
                          <a:pt x="416" y="1113"/>
                        </a:lnTo>
                        <a:lnTo>
                          <a:pt x="415" y="1113"/>
                        </a:lnTo>
                        <a:lnTo>
                          <a:pt x="415" y="1112"/>
                        </a:lnTo>
                        <a:lnTo>
                          <a:pt x="413" y="1112"/>
                        </a:lnTo>
                        <a:lnTo>
                          <a:pt x="413" y="1110"/>
                        </a:lnTo>
                        <a:lnTo>
                          <a:pt x="413" y="1109"/>
                        </a:lnTo>
                        <a:lnTo>
                          <a:pt x="413" y="1107"/>
                        </a:lnTo>
                        <a:lnTo>
                          <a:pt x="413" y="1105"/>
                        </a:lnTo>
                        <a:lnTo>
                          <a:pt x="413" y="1104"/>
                        </a:lnTo>
                        <a:lnTo>
                          <a:pt x="415" y="1102"/>
                        </a:lnTo>
                        <a:lnTo>
                          <a:pt x="415" y="1101"/>
                        </a:lnTo>
                        <a:lnTo>
                          <a:pt x="415" y="1099"/>
                        </a:lnTo>
                        <a:lnTo>
                          <a:pt x="416" y="1097"/>
                        </a:lnTo>
                        <a:lnTo>
                          <a:pt x="416" y="1096"/>
                        </a:lnTo>
                        <a:lnTo>
                          <a:pt x="415" y="1096"/>
                        </a:lnTo>
                        <a:lnTo>
                          <a:pt x="413" y="1096"/>
                        </a:lnTo>
                        <a:lnTo>
                          <a:pt x="411" y="1096"/>
                        </a:lnTo>
                        <a:lnTo>
                          <a:pt x="410" y="1096"/>
                        </a:lnTo>
                        <a:lnTo>
                          <a:pt x="408" y="1096"/>
                        </a:lnTo>
                        <a:lnTo>
                          <a:pt x="407" y="1096"/>
                        </a:lnTo>
                        <a:lnTo>
                          <a:pt x="405" y="1096"/>
                        </a:lnTo>
                        <a:lnTo>
                          <a:pt x="404" y="1096"/>
                        </a:lnTo>
                        <a:lnTo>
                          <a:pt x="400" y="1096"/>
                        </a:lnTo>
                        <a:lnTo>
                          <a:pt x="397" y="1093"/>
                        </a:lnTo>
                        <a:lnTo>
                          <a:pt x="394" y="1093"/>
                        </a:lnTo>
                        <a:lnTo>
                          <a:pt x="391" y="1091"/>
                        </a:lnTo>
                        <a:lnTo>
                          <a:pt x="389" y="1090"/>
                        </a:lnTo>
                        <a:lnTo>
                          <a:pt x="386" y="1090"/>
                        </a:lnTo>
                        <a:lnTo>
                          <a:pt x="385" y="1088"/>
                        </a:lnTo>
                        <a:lnTo>
                          <a:pt x="377" y="1086"/>
                        </a:lnTo>
                        <a:lnTo>
                          <a:pt x="370" y="1085"/>
                        </a:lnTo>
                        <a:lnTo>
                          <a:pt x="367" y="1083"/>
                        </a:lnTo>
                        <a:lnTo>
                          <a:pt x="362" y="1083"/>
                        </a:lnTo>
                        <a:lnTo>
                          <a:pt x="358" y="1083"/>
                        </a:lnTo>
                        <a:lnTo>
                          <a:pt x="351" y="1083"/>
                        </a:lnTo>
                        <a:lnTo>
                          <a:pt x="345" y="1083"/>
                        </a:lnTo>
                        <a:lnTo>
                          <a:pt x="343" y="1085"/>
                        </a:lnTo>
                        <a:lnTo>
                          <a:pt x="337" y="1088"/>
                        </a:lnTo>
                        <a:lnTo>
                          <a:pt x="335" y="1091"/>
                        </a:lnTo>
                        <a:lnTo>
                          <a:pt x="332" y="1094"/>
                        </a:lnTo>
                        <a:lnTo>
                          <a:pt x="331" y="1094"/>
                        </a:lnTo>
                        <a:lnTo>
                          <a:pt x="331" y="1096"/>
                        </a:lnTo>
                        <a:lnTo>
                          <a:pt x="329" y="1096"/>
                        </a:lnTo>
                        <a:lnTo>
                          <a:pt x="323" y="1096"/>
                        </a:lnTo>
                        <a:lnTo>
                          <a:pt x="316" y="1096"/>
                        </a:lnTo>
                        <a:lnTo>
                          <a:pt x="307" y="1097"/>
                        </a:lnTo>
                        <a:lnTo>
                          <a:pt x="297" y="1099"/>
                        </a:lnTo>
                        <a:lnTo>
                          <a:pt x="288" y="1099"/>
                        </a:lnTo>
                        <a:lnTo>
                          <a:pt x="277" y="1099"/>
                        </a:lnTo>
                        <a:lnTo>
                          <a:pt x="269" y="1101"/>
                        </a:lnTo>
                        <a:lnTo>
                          <a:pt x="263" y="1102"/>
                        </a:lnTo>
                        <a:lnTo>
                          <a:pt x="256" y="1102"/>
                        </a:lnTo>
                        <a:lnTo>
                          <a:pt x="255" y="1102"/>
                        </a:lnTo>
                        <a:lnTo>
                          <a:pt x="255" y="1104"/>
                        </a:lnTo>
                        <a:lnTo>
                          <a:pt x="255" y="1105"/>
                        </a:lnTo>
                        <a:lnTo>
                          <a:pt x="253" y="1109"/>
                        </a:lnTo>
                        <a:lnTo>
                          <a:pt x="253" y="1112"/>
                        </a:lnTo>
                        <a:lnTo>
                          <a:pt x="253" y="1115"/>
                        </a:lnTo>
                        <a:lnTo>
                          <a:pt x="252" y="1116"/>
                        </a:lnTo>
                        <a:lnTo>
                          <a:pt x="252" y="1121"/>
                        </a:lnTo>
                        <a:lnTo>
                          <a:pt x="250" y="1126"/>
                        </a:lnTo>
                        <a:lnTo>
                          <a:pt x="250" y="1131"/>
                        </a:lnTo>
                        <a:lnTo>
                          <a:pt x="250" y="1134"/>
                        </a:lnTo>
                        <a:lnTo>
                          <a:pt x="248" y="1137"/>
                        </a:lnTo>
                        <a:lnTo>
                          <a:pt x="248" y="1140"/>
                        </a:lnTo>
                        <a:lnTo>
                          <a:pt x="245" y="1145"/>
                        </a:lnTo>
                        <a:lnTo>
                          <a:pt x="245" y="1148"/>
                        </a:lnTo>
                        <a:lnTo>
                          <a:pt x="244" y="1150"/>
                        </a:lnTo>
                        <a:lnTo>
                          <a:pt x="242" y="1151"/>
                        </a:lnTo>
                        <a:lnTo>
                          <a:pt x="240" y="1153"/>
                        </a:lnTo>
                        <a:lnTo>
                          <a:pt x="239" y="1154"/>
                        </a:lnTo>
                        <a:lnTo>
                          <a:pt x="239" y="1156"/>
                        </a:lnTo>
                        <a:lnTo>
                          <a:pt x="239" y="1158"/>
                        </a:lnTo>
                        <a:lnTo>
                          <a:pt x="239" y="1161"/>
                        </a:lnTo>
                        <a:lnTo>
                          <a:pt x="239" y="1164"/>
                        </a:lnTo>
                        <a:lnTo>
                          <a:pt x="237" y="1169"/>
                        </a:lnTo>
                        <a:lnTo>
                          <a:pt x="237" y="1172"/>
                        </a:lnTo>
                        <a:lnTo>
                          <a:pt x="237" y="1174"/>
                        </a:lnTo>
                        <a:lnTo>
                          <a:pt x="239" y="1175"/>
                        </a:lnTo>
                        <a:lnTo>
                          <a:pt x="239" y="1177"/>
                        </a:lnTo>
                        <a:lnTo>
                          <a:pt x="239" y="1178"/>
                        </a:lnTo>
                        <a:lnTo>
                          <a:pt x="237" y="1178"/>
                        </a:lnTo>
                        <a:lnTo>
                          <a:pt x="236" y="1178"/>
                        </a:lnTo>
                        <a:lnTo>
                          <a:pt x="236" y="1180"/>
                        </a:lnTo>
                        <a:lnTo>
                          <a:pt x="236" y="1181"/>
                        </a:lnTo>
                        <a:lnTo>
                          <a:pt x="236" y="1183"/>
                        </a:lnTo>
                        <a:lnTo>
                          <a:pt x="234" y="1183"/>
                        </a:lnTo>
                        <a:lnTo>
                          <a:pt x="234" y="1185"/>
                        </a:lnTo>
                        <a:lnTo>
                          <a:pt x="232" y="1186"/>
                        </a:lnTo>
                        <a:lnTo>
                          <a:pt x="232" y="1188"/>
                        </a:lnTo>
                        <a:lnTo>
                          <a:pt x="231" y="1189"/>
                        </a:lnTo>
                        <a:lnTo>
                          <a:pt x="229" y="1189"/>
                        </a:lnTo>
                        <a:lnTo>
                          <a:pt x="231" y="1189"/>
                        </a:lnTo>
                        <a:lnTo>
                          <a:pt x="229" y="1191"/>
                        </a:lnTo>
                        <a:lnTo>
                          <a:pt x="228" y="1191"/>
                        </a:lnTo>
                        <a:lnTo>
                          <a:pt x="228" y="1193"/>
                        </a:lnTo>
                        <a:lnTo>
                          <a:pt x="228" y="1196"/>
                        </a:lnTo>
                        <a:lnTo>
                          <a:pt x="226" y="1196"/>
                        </a:lnTo>
                        <a:lnTo>
                          <a:pt x="225" y="1196"/>
                        </a:lnTo>
                        <a:lnTo>
                          <a:pt x="223" y="1196"/>
                        </a:lnTo>
                        <a:lnTo>
                          <a:pt x="223" y="1199"/>
                        </a:lnTo>
                        <a:lnTo>
                          <a:pt x="221" y="1200"/>
                        </a:lnTo>
                        <a:lnTo>
                          <a:pt x="221" y="1202"/>
                        </a:lnTo>
                        <a:lnTo>
                          <a:pt x="223" y="1205"/>
                        </a:lnTo>
                        <a:lnTo>
                          <a:pt x="223" y="1207"/>
                        </a:lnTo>
                        <a:lnTo>
                          <a:pt x="221" y="1210"/>
                        </a:lnTo>
                        <a:lnTo>
                          <a:pt x="220" y="1212"/>
                        </a:lnTo>
                        <a:lnTo>
                          <a:pt x="220" y="1213"/>
                        </a:lnTo>
                        <a:lnTo>
                          <a:pt x="218" y="1215"/>
                        </a:lnTo>
                        <a:lnTo>
                          <a:pt x="217" y="1216"/>
                        </a:lnTo>
                        <a:lnTo>
                          <a:pt x="213" y="1216"/>
                        </a:lnTo>
                        <a:lnTo>
                          <a:pt x="212" y="1218"/>
                        </a:lnTo>
                        <a:lnTo>
                          <a:pt x="210" y="1218"/>
                        </a:lnTo>
                        <a:lnTo>
                          <a:pt x="209" y="1218"/>
                        </a:lnTo>
                        <a:lnTo>
                          <a:pt x="209" y="1219"/>
                        </a:lnTo>
                        <a:lnTo>
                          <a:pt x="207" y="1219"/>
                        </a:lnTo>
                        <a:lnTo>
                          <a:pt x="206" y="1221"/>
                        </a:lnTo>
                        <a:lnTo>
                          <a:pt x="202" y="1223"/>
                        </a:lnTo>
                        <a:lnTo>
                          <a:pt x="202" y="1224"/>
                        </a:lnTo>
                        <a:lnTo>
                          <a:pt x="201" y="1226"/>
                        </a:lnTo>
                        <a:lnTo>
                          <a:pt x="199" y="1226"/>
                        </a:lnTo>
                        <a:lnTo>
                          <a:pt x="198" y="1224"/>
                        </a:lnTo>
                        <a:lnTo>
                          <a:pt x="196" y="1224"/>
                        </a:lnTo>
                        <a:lnTo>
                          <a:pt x="196" y="1226"/>
                        </a:lnTo>
                        <a:lnTo>
                          <a:pt x="194" y="1227"/>
                        </a:lnTo>
                        <a:lnTo>
                          <a:pt x="193" y="1227"/>
                        </a:lnTo>
                        <a:lnTo>
                          <a:pt x="191" y="1229"/>
                        </a:lnTo>
                        <a:lnTo>
                          <a:pt x="190" y="1229"/>
                        </a:lnTo>
                        <a:lnTo>
                          <a:pt x="188" y="1229"/>
                        </a:lnTo>
                        <a:lnTo>
                          <a:pt x="187" y="1229"/>
                        </a:lnTo>
                        <a:lnTo>
                          <a:pt x="187" y="1227"/>
                        </a:lnTo>
                        <a:lnTo>
                          <a:pt x="185" y="1226"/>
                        </a:lnTo>
                        <a:lnTo>
                          <a:pt x="185" y="1223"/>
                        </a:lnTo>
                        <a:lnTo>
                          <a:pt x="183" y="1219"/>
                        </a:lnTo>
                        <a:lnTo>
                          <a:pt x="180" y="1218"/>
                        </a:lnTo>
                        <a:lnTo>
                          <a:pt x="180" y="1216"/>
                        </a:lnTo>
                        <a:lnTo>
                          <a:pt x="180" y="1215"/>
                        </a:lnTo>
                        <a:lnTo>
                          <a:pt x="179" y="1215"/>
                        </a:lnTo>
                        <a:lnTo>
                          <a:pt x="177" y="1215"/>
                        </a:lnTo>
                        <a:lnTo>
                          <a:pt x="175" y="1215"/>
                        </a:lnTo>
                        <a:lnTo>
                          <a:pt x="174" y="1215"/>
                        </a:lnTo>
                        <a:lnTo>
                          <a:pt x="172" y="1215"/>
                        </a:lnTo>
                        <a:lnTo>
                          <a:pt x="171" y="1213"/>
                        </a:lnTo>
                        <a:lnTo>
                          <a:pt x="169" y="1212"/>
                        </a:lnTo>
                        <a:lnTo>
                          <a:pt x="168" y="1212"/>
                        </a:lnTo>
                        <a:lnTo>
                          <a:pt x="166" y="1213"/>
                        </a:lnTo>
                        <a:lnTo>
                          <a:pt x="163" y="1213"/>
                        </a:lnTo>
                        <a:lnTo>
                          <a:pt x="161" y="1213"/>
                        </a:lnTo>
                        <a:lnTo>
                          <a:pt x="161" y="1212"/>
                        </a:lnTo>
                        <a:lnTo>
                          <a:pt x="160" y="1210"/>
                        </a:lnTo>
                        <a:lnTo>
                          <a:pt x="158" y="1210"/>
                        </a:lnTo>
                        <a:lnTo>
                          <a:pt x="156" y="1210"/>
                        </a:lnTo>
                        <a:lnTo>
                          <a:pt x="153" y="1210"/>
                        </a:lnTo>
                        <a:lnTo>
                          <a:pt x="150" y="1210"/>
                        </a:lnTo>
                        <a:lnTo>
                          <a:pt x="149" y="1212"/>
                        </a:lnTo>
                        <a:lnTo>
                          <a:pt x="147" y="1213"/>
                        </a:lnTo>
                        <a:lnTo>
                          <a:pt x="145" y="1216"/>
                        </a:lnTo>
                        <a:lnTo>
                          <a:pt x="144" y="1219"/>
                        </a:lnTo>
                        <a:lnTo>
                          <a:pt x="142" y="1223"/>
                        </a:lnTo>
                        <a:lnTo>
                          <a:pt x="141" y="1223"/>
                        </a:lnTo>
                        <a:lnTo>
                          <a:pt x="139" y="1224"/>
                        </a:lnTo>
                        <a:lnTo>
                          <a:pt x="137" y="1226"/>
                        </a:lnTo>
                        <a:lnTo>
                          <a:pt x="134" y="1229"/>
                        </a:lnTo>
                        <a:lnTo>
                          <a:pt x="133" y="1232"/>
                        </a:lnTo>
                        <a:lnTo>
                          <a:pt x="133" y="1234"/>
                        </a:lnTo>
                        <a:lnTo>
                          <a:pt x="131" y="1235"/>
                        </a:lnTo>
                        <a:lnTo>
                          <a:pt x="131" y="1237"/>
                        </a:lnTo>
                        <a:lnTo>
                          <a:pt x="130" y="1238"/>
                        </a:lnTo>
                        <a:lnTo>
                          <a:pt x="128" y="1238"/>
                        </a:lnTo>
                        <a:lnTo>
                          <a:pt x="126" y="1237"/>
                        </a:lnTo>
                        <a:lnTo>
                          <a:pt x="125" y="1234"/>
                        </a:lnTo>
                        <a:lnTo>
                          <a:pt x="123" y="1234"/>
                        </a:lnTo>
                        <a:lnTo>
                          <a:pt x="120" y="1232"/>
                        </a:lnTo>
                        <a:lnTo>
                          <a:pt x="118" y="1231"/>
                        </a:lnTo>
                        <a:lnTo>
                          <a:pt x="115" y="1227"/>
                        </a:lnTo>
                        <a:lnTo>
                          <a:pt x="114" y="1227"/>
                        </a:lnTo>
                        <a:lnTo>
                          <a:pt x="112" y="1224"/>
                        </a:lnTo>
                        <a:lnTo>
                          <a:pt x="107" y="1221"/>
                        </a:lnTo>
                        <a:lnTo>
                          <a:pt x="106" y="1221"/>
                        </a:lnTo>
                        <a:lnTo>
                          <a:pt x="104" y="1218"/>
                        </a:lnTo>
                        <a:lnTo>
                          <a:pt x="103" y="1216"/>
                        </a:lnTo>
                        <a:lnTo>
                          <a:pt x="103" y="1213"/>
                        </a:lnTo>
                        <a:lnTo>
                          <a:pt x="103" y="1212"/>
                        </a:lnTo>
                        <a:lnTo>
                          <a:pt x="103" y="1208"/>
                        </a:lnTo>
                        <a:lnTo>
                          <a:pt x="101" y="1205"/>
                        </a:lnTo>
                        <a:lnTo>
                          <a:pt x="101" y="1202"/>
                        </a:lnTo>
                        <a:lnTo>
                          <a:pt x="99" y="1200"/>
                        </a:lnTo>
                        <a:lnTo>
                          <a:pt x="99" y="1197"/>
                        </a:lnTo>
                        <a:lnTo>
                          <a:pt x="99" y="1196"/>
                        </a:lnTo>
                        <a:lnTo>
                          <a:pt x="99" y="1194"/>
                        </a:lnTo>
                        <a:lnTo>
                          <a:pt x="99" y="1191"/>
                        </a:lnTo>
                        <a:lnTo>
                          <a:pt x="98" y="1188"/>
                        </a:lnTo>
                        <a:lnTo>
                          <a:pt x="99" y="1186"/>
                        </a:lnTo>
                        <a:lnTo>
                          <a:pt x="98" y="1185"/>
                        </a:lnTo>
                        <a:lnTo>
                          <a:pt x="101" y="1183"/>
                        </a:lnTo>
                        <a:lnTo>
                          <a:pt x="103" y="1181"/>
                        </a:lnTo>
                        <a:lnTo>
                          <a:pt x="104" y="1181"/>
                        </a:lnTo>
                        <a:lnTo>
                          <a:pt x="106" y="1180"/>
                        </a:lnTo>
                        <a:lnTo>
                          <a:pt x="111" y="1175"/>
                        </a:lnTo>
                        <a:lnTo>
                          <a:pt x="112" y="1174"/>
                        </a:lnTo>
                        <a:lnTo>
                          <a:pt x="114" y="1174"/>
                        </a:lnTo>
                        <a:lnTo>
                          <a:pt x="115" y="1172"/>
                        </a:lnTo>
                        <a:lnTo>
                          <a:pt x="117" y="1172"/>
                        </a:lnTo>
                        <a:lnTo>
                          <a:pt x="118" y="1172"/>
                        </a:lnTo>
                        <a:lnTo>
                          <a:pt x="118" y="1170"/>
                        </a:lnTo>
                        <a:lnTo>
                          <a:pt x="118" y="1169"/>
                        </a:lnTo>
                        <a:lnTo>
                          <a:pt x="120" y="1166"/>
                        </a:lnTo>
                        <a:lnTo>
                          <a:pt x="120" y="1162"/>
                        </a:lnTo>
                        <a:lnTo>
                          <a:pt x="120" y="1159"/>
                        </a:lnTo>
                        <a:lnTo>
                          <a:pt x="122" y="1156"/>
                        </a:lnTo>
                        <a:lnTo>
                          <a:pt x="123" y="1153"/>
                        </a:lnTo>
                        <a:lnTo>
                          <a:pt x="123" y="1150"/>
                        </a:lnTo>
                        <a:lnTo>
                          <a:pt x="123" y="1145"/>
                        </a:lnTo>
                        <a:lnTo>
                          <a:pt x="123" y="1142"/>
                        </a:lnTo>
                        <a:lnTo>
                          <a:pt x="123" y="1137"/>
                        </a:lnTo>
                        <a:lnTo>
                          <a:pt x="125" y="1134"/>
                        </a:lnTo>
                        <a:lnTo>
                          <a:pt x="125" y="1129"/>
                        </a:lnTo>
                        <a:lnTo>
                          <a:pt x="125" y="1124"/>
                        </a:lnTo>
                        <a:lnTo>
                          <a:pt x="125" y="1118"/>
                        </a:lnTo>
                        <a:lnTo>
                          <a:pt x="125" y="1115"/>
                        </a:lnTo>
                        <a:lnTo>
                          <a:pt x="126" y="1113"/>
                        </a:lnTo>
                        <a:lnTo>
                          <a:pt x="126" y="1112"/>
                        </a:lnTo>
                        <a:lnTo>
                          <a:pt x="128" y="1110"/>
                        </a:lnTo>
                        <a:lnTo>
                          <a:pt x="130" y="1109"/>
                        </a:lnTo>
                        <a:lnTo>
                          <a:pt x="130" y="1105"/>
                        </a:lnTo>
                        <a:lnTo>
                          <a:pt x="130" y="1104"/>
                        </a:lnTo>
                        <a:lnTo>
                          <a:pt x="128" y="1104"/>
                        </a:lnTo>
                        <a:lnTo>
                          <a:pt x="125" y="1102"/>
                        </a:lnTo>
                        <a:lnTo>
                          <a:pt x="123" y="1102"/>
                        </a:lnTo>
                        <a:lnTo>
                          <a:pt x="123" y="1101"/>
                        </a:lnTo>
                        <a:lnTo>
                          <a:pt x="123" y="1099"/>
                        </a:lnTo>
                        <a:lnTo>
                          <a:pt x="125" y="1096"/>
                        </a:lnTo>
                        <a:lnTo>
                          <a:pt x="126" y="1094"/>
                        </a:lnTo>
                        <a:lnTo>
                          <a:pt x="128" y="1093"/>
                        </a:lnTo>
                        <a:lnTo>
                          <a:pt x="128" y="1090"/>
                        </a:lnTo>
                        <a:lnTo>
                          <a:pt x="128" y="1088"/>
                        </a:lnTo>
                        <a:lnTo>
                          <a:pt x="128" y="1085"/>
                        </a:lnTo>
                        <a:lnTo>
                          <a:pt x="128" y="1082"/>
                        </a:lnTo>
                        <a:lnTo>
                          <a:pt x="125" y="1082"/>
                        </a:lnTo>
                        <a:lnTo>
                          <a:pt x="125" y="1080"/>
                        </a:lnTo>
                        <a:lnTo>
                          <a:pt x="123" y="1078"/>
                        </a:lnTo>
                        <a:lnTo>
                          <a:pt x="123" y="1077"/>
                        </a:lnTo>
                        <a:lnTo>
                          <a:pt x="125" y="1077"/>
                        </a:lnTo>
                        <a:lnTo>
                          <a:pt x="126" y="1077"/>
                        </a:lnTo>
                        <a:lnTo>
                          <a:pt x="130" y="1075"/>
                        </a:lnTo>
                        <a:lnTo>
                          <a:pt x="131" y="1075"/>
                        </a:lnTo>
                        <a:lnTo>
                          <a:pt x="133" y="1074"/>
                        </a:lnTo>
                        <a:lnTo>
                          <a:pt x="133" y="1072"/>
                        </a:lnTo>
                        <a:lnTo>
                          <a:pt x="134" y="1071"/>
                        </a:lnTo>
                        <a:lnTo>
                          <a:pt x="134" y="1069"/>
                        </a:lnTo>
                        <a:lnTo>
                          <a:pt x="136" y="1066"/>
                        </a:lnTo>
                        <a:lnTo>
                          <a:pt x="137" y="1064"/>
                        </a:lnTo>
                        <a:lnTo>
                          <a:pt x="137" y="1063"/>
                        </a:lnTo>
                        <a:lnTo>
                          <a:pt x="137" y="1061"/>
                        </a:lnTo>
                        <a:lnTo>
                          <a:pt x="137" y="1058"/>
                        </a:lnTo>
                        <a:lnTo>
                          <a:pt x="134" y="1058"/>
                        </a:lnTo>
                        <a:lnTo>
                          <a:pt x="131" y="1058"/>
                        </a:lnTo>
                        <a:lnTo>
                          <a:pt x="130" y="1058"/>
                        </a:lnTo>
                        <a:lnTo>
                          <a:pt x="126" y="1058"/>
                        </a:lnTo>
                        <a:lnTo>
                          <a:pt x="125" y="1056"/>
                        </a:lnTo>
                        <a:lnTo>
                          <a:pt x="122" y="1056"/>
                        </a:lnTo>
                        <a:lnTo>
                          <a:pt x="120" y="1056"/>
                        </a:lnTo>
                        <a:lnTo>
                          <a:pt x="118" y="1056"/>
                        </a:lnTo>
                        <a:lnTo>
                          <a:pt x="117" y="1056"/>
                        </a:lnTo>
                        <a:lnTo>
                          <a:pt x="115" y="1058"/>
                        </a:lnTo>
                        <a:lnTo>
                          <a:pt x="114" y="1058"/>
                        </a:lnTo>
                        <a:lnTo>
                          <a:pt x="109" y="1056"/>
                        </a:lnTo>
                        <a:lnTo>
                          <a:pt x="107" y="1056"/>
                        </a:lnTo>
                        <a:lnTo>
                          <a:pt x="106" y="1055"/>
                        </a:lnTo>
                        <a:lnTo>
                          <a:pt x="106" y="1053"/>
                        </a:lnTo>
                        <a:lnTo>
                          <a:pt x="106" y="1048"/>
                        </a:lnTo>
                        <a:lnTo>
                          <a:pt x="107" y="1047"/>
                        </a:lnTo>
                        <a:lnTo>
                          <a:pt x="107" y="1045"/>
                        </a:lnTo>
                        <a:lnTo>
                          <a:pt x="109" y="1042"/>
                        </a:lnTo>
                        <a:lnTo>
                          <a:pt x="107" y="1039"/>
                        </a:lnTo>
                        <a:lnTo>
                          <a:pt x="107" y="1036"/>
                        </a:lnTo>
                        <a:lnTo>
                          <a:pt x="109" y="1034"/>
                        </a:lnTo>
                        <a:lnTo>
                          <a:pt x="109" y="1033"/>
                        </a:lnTo>
                        <a:lnTo>
                          <a:pt x="112" y="1031"/>
                        </a:lnTo>
                        <a:lnTo>
                          <a:pt x="114" y="1029"/>
                        </a:lnTo>
                        <a:lnTo>
                          <a:pt x="115" y="1026"/>
                        </a:lnTo>
                        <a:lnTo>
                          <a:pt x="115" y="1021"/>
                        </a:lnTo>
                        <a:lnTo>
                          <a:pt x="117" y="1018"/>
                        </a:lnTo>
                        <a:lnTo>
                          <a:pt x="117" y="1017"/>
                        </a:lnTo>
                        <a:lnTo>
                          <a:pt x="117" y="1015"/>
                        </a:lnTo>
                        <a:lnTo>
                          <a:pt x="117" y="1014"/>
                        </a:lnTo>
                        <a:lnTo>
                          <a:pt x="115" y="1010"/>
                        </a:lnTo>
                        <a:lnTo>
                          <a:pt x="114" y="1010"/>
                        </a:lnTo>
                        <a:lnTo>
                          <a:pt x="112" y="1006"/>
                        </a:lnTo>
                        <a:lnTo>
                          <a:pt x="111" y="1004"/>
                        </a:lnTo>
                        <a:lnTo>
                          <a:pt x="109" y="1002"/>
                        </a:lnTo>
                        <a:lnTo>
                          <a:pt x="107" y="1001"/>
                        </a:lnTo>
                        <a:lnTo>
                          <a:pt x="106" y="1001"/>
                        </a:lnTo>
                        <a:lnTo>
                          <a:pt x="106" y="1002"/>
                        </a:lnTo>
                        <a:lnTo>
                          <a:pt x="103" y="999"/>
                        </a:lnTo>
                        <a:lnTo>
                          <a:pt x="101" y="998"/>
                        </a:lnTo>
                        <a:lnTo>
                          <a:pt x="99" y="996"/>
                        </a:lnTo>
                        <a:lnTo>
                          <a:pt x="98" y="996"/>
                        </a:lnTo>
                        <a:lnTo>
                          <a:pt x="96" y="993"/>
                        </a:lnTo>
                        <a:lnTo>
                          <a:pt x="95" y="993"/>
                        </a:lnTo>
                        <a:lnTo>
                          <a:pt x="93" y="993"/>
                        </a:lnTo>
                        <a:lnTo>
                          <a:pt x="92" y="993"/>
                        </a:lnTo>
                        <a:lnTo>
                          <a:pt x="87" y="995"/>
                        </a:lnTo>
                        <a:lnTo>
                          <a:pt x="85" y="996"/>
                        </a:lnTo>
                        <a:lnTo>
                          <a:pt x="84" y="996"/>
                        </a:lnTo>
                        <a:lnTo>
                          <a:pt x="82" y="999"/>
                        </a:lnTo>
                        <a:lnTo>
                          <a:pt x="82" y="1001"/>
                        </a:lnTo>
                        <a:lnTo>
                          <a:pt x="80" y="1002"/>
                        </a:lnTo>
                        <a:lnTo>
                          <a:pt x="80" y="1004"/>
                        </a:lnTo>
                        <a:lnTo>
                          <a:pt x="79" y="1006"/>
                        </a:lnTo>
                        <a:lnTo>
                          <a:pt x="77" y="1007"/>
                        </a:lnTo>
                        <a:lnTo>
                          <a:pt x="76" y="1009"/>
                        </a:lnTo>
                        <a:lnTo>
                          <a:pt x="73" y="1012"/>
                        </a:lnTo>
                        <a:lnTo>
                          <a:pt x="71" y="1012"/>
                        </a:lnTo>
                        <a:lnTo>
                          <a:pt x="69" y="1014"/>
                        </a:lnTo>
                        <a:lnTo>
                          <a:pt x="68" y="1014"/>
                        </a:lnTo>
                        <a:lnTo>
                          <a:pt x="66" y="1014"/>
                        </a:lnTo>
                        <a:lnTo>
                          <a:pt x="61" y="1012"/>
                        </a:lnTo>
                        <a:lnTo>
                          <a:pt x="55" y="1012"/>
                        </a:lnTo>
                        <a:lnTo>
                          <a:pt x="50" y="1014"/>
                        </a:lnTo>
                        <a:lnTo>
                          <a:pt x="46" y="1014"/>
                        </a:lnTo>
                        <a:lnTo>
                          <a:pt x="41" y="1015"/>
                        </a:lnTo>
                        <a:lnTo>
                          <a:pt x="34" y="1020"/>
                        </a:lnTo>
                        <a:lnTo>
                          <a:pt x="31" y="1021"/>
                        </a:lnTo>
                        <a:lnTo>
                          <a:pt x="28" y="1023"/>
                        </a:lnTo>
                        <a:lnTo>
                          <a:pt x="27" y="1025"/>
                        </a:lnTo>
                        <a:lnTo>
                          <a:pt x="25" y="1025"/>
                        </a:lnTo>
                        <a:lnTo>
                          <a:pt x="22" y="1023"/>
                        </a:lnTo>
                        <a:lnTo>
                          <a:pt x="12" y="1023"/>
                        </a:lnTo>
                        <a:lnTo>
                          <a:pt x="8" y="1025"/>
                        </a:lnTo>
                        <a:lnTo>
                          <a:pt x="4" y="1023"/>
                        </a:lnTo>
                        <a:lnTo>
                          <a:pt x="3" y="1023"/>
                        </a:lnTo>
                        <a:lnTo>
                          <a:pt x="1" y="1023"/>
                        </a:lnTo>
                        <a:lnTo>
                          <a:pt x="1" y="1020"/>
                        </a:lnTo>
                        <a:lnTo>
                          <a:pt x="0" y="1020"/>
                        </a:lnTo>
                        <a:lnTo>
                          <a:pt x="3" y="1018"/>
                        </a:lnTo>
                        <a:lnTo>
                          <a:pt x="3" y="1017"/>
                        </a:lnTo>
                        <a:lnTo>
                          <a:pt x="4" y="1017"/>
                        </a:lnTo>
                        <a:lnTo>
                          <a:pt x="4" y="1015"/>
                        </a:lnTo>
                        <a:lnTo>
                          <a:pt x="6" y="1014"/>
                        </a:lnTo>
                        <a:lnTo>
                          <a:pt x="6" y="1010"/>
                        </a:lnTo>
                        <a:lnTo>
                          <a:pt x="6" y="1009"/>
                        </a:lnTo>
                        <a:lnTo>
                          <a:pt x="8" y="999"/>
                        </a:lnTo>
                        <a:lnTo>
                          <a:pt x="11" y="995"/>
                        </a:lnTo>
                        <a:lnTo>
                          <a:pt x="14" y="991"/>
                        </a:lnTo>
                        <a:lnTo>
                          <a:pt x="15" y="988"/>
                        </a:lnTo>
                        <a:lnTo>
                          <a:pt x="22" y="983"/>
                        </a:lnTo>
                        <a:lnTo>
                          <a:pt x="23" y="983"/>
                        </a:lnTo>
                        <a:lnTo>
                          <a:pt x="25" y="983"/>
                        </a:lnTo>
                        <a:lnTo>
                          <a:pt x="27" y="982"/>
                        </a:lnTo>
                        <a:lnTo>
                          <a:pt x="31" y="982"/>
                        </a:lnTo>
                        <a:lnTo>
                          <a:pt x="36" y="980"/>
                        </a:lnTo>
                        <a:lnTo>
                          <a:pt x="38" y="979"/>
                        </a:lnTo>
                        <a:lnTo>
                          <a:pt x="41" y="979"/>
                        </a:lnTo>
                        <a:lnTo>
                          <a:pt x="42" y="979"/>
                        </a:lnTo>
                        <a:lnTo>
                          <a:pt x="47" y="977"/>
                        </a:lnTo>
                        <a:lnTo>
                          <a:pt x="50" y="976"/>
                        </a:lnTo>
                        <a:lnTo>
                          <a:pt x="55" y="966"/>
                        </a:lnTo>
                        <a:lnTo>
                          <a:pt x="55" y="964"/>
                        </a:lnTo>
                        <a:lnTo>
                          <a:pt x="54" y="963"/>
                        </a:lnTo>
                        <a:lnTo>
                          <a:pt x="52" y="963"/>
                        </a:lnTo>
                        <a:lnTo>
                          <a:pt x="49" y="960"/>
                        </a:lnTo>
                        <a:lnTo>
                          <a:pt x="46" y="958"/>
                        </a:lnTo>
                        <a:lnTo>
                          <a:pt x="44" y="956"/>
                        </a:lnTo>
                        <a:lnTo>
                          <a:pt x="42" y="956"/>
                        </a:lnTo>
                        <a:lnTo>
                          <a:pt x="41" y="955"/>
                        </a:lnTo>
                        <a:lnTo>
                          <a:pt x="39" y="953"/>
                        </a:lnTo>
                        <a:lnTo>
                          <a:pt x="38" y="947"/>
                        </a:lnTo>
                        <a:lnTo>
                          <a:pt x="38" y="945"/>
                        </a:lnTo>
                        <a:lnTo>
                          <a:pt x="38" y="942"/>
                        </a:lnTo>
                        <a:lnTo>
                          <a:pt x="39" y="937"/>
                        </a:lnTo>
                        <a:lnTo>
                          <a:pt x="49" y="931"/>
                        </a:lnTo>
                        <a:lnTo>
                          <a:pt x="65" y="918"/>
                        </a:lnTo>
                        <a:lnTo>
                          <a:pt x="66" y="917"/>
                        </a:lnTo>
                        <a:lnTo>
                          <a:pt x="68" y="915"/>
                        </a:lnTo>
                        <a:lnTo>
                          <a:pt x="69" y="914"/>
                        </a:lnTo>
                        <a:lnTo>
                          <a:pt x="79" y="906"/>
                        </a:lnTo>
                        <a:lnTo>
                          <a:pt x="82" y="903"/>
                        </a:lnTo>
                        <a:lnTo>
                          <a:pt x="84" y="903"/>
                        </a:lnTo>
                        <a:lnTo>
                          <a:pt x="84" y="901"/>
                        </a:lnTo>
                        <a:lnTo>
                          <a:pt x="88" y="896"/>
                        </a:lnTo>
                        <a:lnTo>
                          <a:pt x="92" y="893"/>
                        </a:lnTo>
                        <a:lnTo>
                          <a:pt x="95" y="888"/>
                        </a:lnTo>
                        <a:lnTo>
                          <a:pt x="95" y="887"/>
                        </a:lnTo>
                        <a:lnTo>
                          <a:pt x="96" y="887"/>
                        </a:lnTo>
                        <a:lnTo>
                          <a:pt x="101" y="877"/>
                        </a:lnTo>
                        <a:lnTo>
                          <a:pt x="101" y="873"/>
                        </a:lnTo>
                        <a:lnTo>
                          <a:pt x="101" y="863"/>
                        </a:lnTo>
                        <a:lnTo>
                          <a:pt x="103" y="860"/>
                        </a:lnTo>
                        <a:lnTo>
                          <a:pt x="107" y="857"/>
                        </a:lnTo>
                        <a:lnTo>
                          <a:pt x="114" y="858"/>
                        </a:lnTo>
                        <a:lnTo>
                          <a:pt x="125" y="861"/>
                        </a:lnTo>
                        <a:lnTo>
                          <a:pt x="133" y="865"/>
                        </a:lnTo>
                        <a:lnTo>
                          <a:pt x="136" y="868"/>
                        </a:lnTo>
                        <a:lnTo>
                          <a:pt x="137" y="868"/>
                        </a:lnTo>
                        <a:lnTo>
                          <a:pt x="139" y="868"/>
                        </a:lnTo>
                        <a:lnTo>
                          <a:pt x="141" y="868"/>
                        </a:lnTo>
                        <a:lnTo>
                          <a:pt x="142" y="865"/>
                        </a:lnTo>
                        <a:lnTo>
                          <a:pt x="141" y="860"/>
                        </a:lnTo>
                        <a:lnTo>
                          <a:pt x="137" y="858"/>
                        </a:lnTo>
                        <a:lnTo>
                          <a:pt x="137" y="857"/>
                        </a:lnTo>
                        <a:lnTo>
                          <a:pt x="136" y="855"/>
                        </a:lnTo>
                        <a:lnTo>
                          <a:pt x="131" y="849"/>
                        </a:lnTo>
                        <a:lnTo>
                          <a:pt x="131" y="846"/>
                        </a:lnTo>
                        <a:lnTo>
                          <a:pt x="130" y="844"/>
                        </a:lnTo>
                        <a:lnTo>
                          <a:pt x="130" y="841"/>
                        </a:lnTo>
                        <a:lnTo>
                          <a:pt x="123" y="827"/>
                        </a:lnTo>
                        <a:lnTo>
                          <a:pt x="123" y="819"/>
                        </a:lnTo>
                        <a:lnTo>
                          <a:pt x="123" y="812"/>
                        </a:lnTo>
                        <a:lnTo>
                          <a:pt x="122" y="808"/>
                        </a:lnTo>
                        <a:lnTo>
                          <a:pt x="122" y="803"/>
                        </a:lnTo>
                        <a:lnTo>
                          <a:pt x="123" y="797"/>
                        </a:lnTo>
                        <a:lnTo>
                          <a:pt x="125" y="792"/>
                        </a:lnTo>
                        <a:lnTo>
                          <a:pt x="128" y="787"/>
                        </a:lnTo>
                        <a:lnTo>
                          <a:pt x="128" y="785"/>
                        </a:lnTo>
                        <a:lnTo>
                          <a:pt x="131" y="779"/>
                        </a:lnTo>
                        <a:lnTo>
                          <a:pt x="136" y="760"/>
                        </a:lnTo>
                        <a:lnTo>
                          <a:pt x="139" y="757"/>
                        </a:lnTo>
                        <a:lnTo>
                          <a:pt x="141" y="755"/>
                        </a:lnTo>
                        <a:lnTo>
                          <a:pt x="147" y="749"/>
                        </a:lnTo>
                        <a:lnTo>
                          <a:pt x="150" y="744"/>
                        </a:lnTo>
                        <a:lnTo>
                          <a:pt x="155" y="739"/>
                        </a:lnTo>
                        <a:lnTo>
                          <a:pt x="158" y="732"/>
                        </a:lnTo>
                        <a:lnTo>
                          <a:pt x="156" y="725"/>
                        </a:lnTo>
                        <a:lnTo>
                          <a:pt x="150" y="717"/>
                        </a:lnTo>
                        <a:lnTo>
                          <a:pt x="149" y="713"/>
                        </a:lnTo>
                        <a:lnTo>
                          <a:pt x="147" y="705"/>
                        </a:lnTo>
                        <a:lnTo>
                          <a:pt x="145" y="703"/>
                        </a:lnTo>
                        <a:lnTo>
                          <a:pt x="144" y="698"/>
                        </a:lnTo>
                        <a:lnTo>
                          <a:pt x="142" y="695"/>
                        </a:lnTo>
                        <a:lnTo>
                          <a:pt x="139" y="690"/>
                        </a:lnTo>
                        <a:lnTo>
                          <a:pt x="137" y="687"/>
                        </a:lnTo>
                        <a:lnTo>
                          <a:pt x="136" y="687"/>
                        </a:lnTo>
                        <a:lnTo>
                          <a:pt x="134" y="684"/>
                        </a:lnTo>
                        <a:lnTo>
                          <a:pt x="131" y="682"/>
                        </a:lnTo>
                        <a:lnTo>
                          <a:pt x="130" y="681"/>
                        </a:lnTo>
                        <a:lnTo>
                          <a:pt x="126" y="679"/>
                        </a:lnTo>
                        <a:lnTo>
                          <a:pt x="125" y="678"/>
                        </a:lnTo>
                        <a:lnTo>
                          <a:pt x="115" y="675"/>
                        </a:lnTo>
                        <a:lnTo>
                          <a:pt x="114" y="673"/>
                        </a:lnTo>
                        <a:lnTo>
                          <a:pt x="114" y="671"/>
                        </a:lnTo>
                        <a:lnTo>
                          <a:pt x="111" y="670"/>
                        </a:lnTo>
                        <a:lnTo>
                          <a:pt x="109" y="670"/>
                        </a:lnTo>
                        <a:lnTo>
                          <a:pt x="107" y="668"/>
                        </a:lnTo>
                        <a:lnTo>
                          <a:pt x="106" y="668"/>
                        </a:lnTo>
                        <a:lnTo>
                          <a:pt x="101" y="657"/>
                        </a:lnTo>
                        <a:lnTo>
                          <a:pt x="99" y="652"/>
                        </a:lnTo>
                        <a:lnTo>
                          <a:pt x="98" y="649"/>
                        </a:lnTo>
                        <a:lnTo>
                          <a:pt x="99" y="643"/>
                        </a:lnTo>
                        <a:lnTo>
                          <a:pt x="101" y="637"/>
                        </a:lnTo>
                        <a:lnTo>
                          <a:pt x="99" y="621"/>
                        </a:lnTo>
                        <a:lnTo>
                          <a:pt x="101" y="619"/>
                        </a:lnTo>
                        <a:lnTo>
                          <a:pt x="103" y="616"/>
                        </a:lnTo>
                        <a:lnTo>
                          <a:pt x="104" y="614"/>
                        </a:lnTo>
                        <a:lnTo>
                          <a:pt x="106" y="614"/>
                        </a:lnTo>
                        <a:lnTo>
                          <a:pt x="107" y="614"/>
                        </a:lnTo>
                        <a:lnTo>
                          <a:pt x="109" y="614"/>
                        </a:lnTo>
                        <a:lnTo>
                          <a:pt x="111" y="614"/>
                        </a:lnTo>
                        <a:lnTo>
                          <a:pt x="112" y="614"/>
                        </a:lnTo>
                        <a:lnTo>
                          <a:pt x="118" y="614"/>
                        </a:lnTo>
                        <a:lnTo>
                          <a:pt x="125" y="614"/>
                        </a:lnTo>
                        <a:lnTo>
                          <a:pt x="130" y="613"/>
                        </a:lnTo>
                        <a:lnTo>
                          <a:pt x="137" y="613"/>
                        </a:lnTo>
                        <a:lnTo>
                          <a:pt x="145" y="613"/>
                        </a:lnTo>
                        <a:lnTo>
                          <a:pt x="149" y="611"/>
                        </a:lnTo>
                        <a:lnTo>
                          <a:pt x="155" y="611"/>
                        </a:lnTo>
                        <a:lnTo>
                          <a:pt x="158" y="610"/>
                        </a:lnTo>
                        <a:lnTo>
                          <a:pt x="163" y="610"/>
                        </a:lnTo>
                        <a:lnTo>
                          <a:pt x="164" y="608"/>
                        </a:lnTo>
                        <a:lnTo>
                          <a:pt x="166" y="608"/>
                        </a:lnTo>
                        <a:lnTo>
                          <a:pt x="168" y="608"/>
                        </a:lnTo>
                        <a:lnTo>
                          <a:pt x="174" y="608"/>
                        </a:lnTo>
                        <a:lnTo>
                          <a:pt x="175" y="610"/>
                        </a:lnTo>
                        <a:lnTo>
                          <a:pt x="180" y="611"/>
                        </a:lnTo>
                        <a:lnTo>
                          <a:pt x="183" y="613"/>
                        </a:lnTo>
                        <a:lnTo>
                          <a:pt x="194" y="624"/>
                        </a:lnTo>
                        <a:lnTo>
                          <a:pt x="199" y="625"/>
                        </a:lnTo>
                        <a:lnTo>
                          <a:pt x="202" y="627"/>
                        </a:lnTo>
                        <a:lnTo>
                          <a:pt x="206" y="629"/>
                        </a:lnTo>
                        <a:lnTo>
                          <a:pt x="209" y="629"/>
                        </a:lnTo>
                        <a:lnTo>
                          <a:pt x="220" y="629"/>
                        </a:lnTo>
                        <a:lnTo>
                          <a:pt x="223" y="625"/>
                        </a:lnTo>
                        <a:lnTo>
                          <a:pt x="231" y="622"/>
                        </a:lnTo>
                        <a:lnTo>
                          <a:pt x="234" y="621"/>
                        </a:lnTo>
                        <a:lnTo>
                          <a:pt x="236" y="619"/>
                        </a:lnTo>
                        <a:lnTo>
                          <a:pt x="237" y="618"/>
                        </a:lnTo>
                        <a:lnTo>
                          <a:pt x="242" y="614"/>
                        </a:lnTo>
                        <a:lnTo>
                          <a:pt x="247" y="611"/>
                        </a:lnTo>
                        <a:lnTo>
                          <a:pt x="248" y="611"/>
                        </a:lnTo>
                        <a:lnTo>
                          <a:pt x="250" y="610"/>
                        </a:lnTo>
                        <a:lnTo>
                          <a:pt x="253" y="605"/>
                        </a:lnTo>
                        <a:lnTo>
                          <a:pt x="253" y="603"/>
                        </a:lnTo>
                        <a:lnTo>
                          <a:pt x="258" y="594"/>
                        </a:lnTo>
                        <a:lnTo>
                          <a:pt x="261" y="579"/>
                        </a:lnTo>
                        <a:lnTo>
                          <a:pt x="261" y="575"/>
                        </a:lnTo>
                        <a:lnTo>
                          <a:pt x="261" y="565"/>
                        </a:lnTo>
                        <a:lnTo>
                          <a:pt x="261" y="562"/>
                        </a:lnTo>
                        <a:lnTo>
                          <a:pt x="258" y="551"/>
                        </a:lnTo>
                        <a:lnTo>
                          <a:pt x="255" y="538"/>
                        </a:lnTo>
                        <a:lnTo>
                          <a:pt x="255" y="530"/>
                        </a:lnTo>
                        <a:lnTo>
                          <a:pt x="255" y="524"/>
                        </a:lnTo>
                        <a:lnTo>
                          <a:pt x="255" y="519"/>
                        </a:lnTo>
                        <a:lnTo>
                          <a:pt x="255" y="518"/>
                        </a:lnTo>
                        <a:lnTo>
                          <a:pt x="256" y="507"/>
                        </a:lnTo>
                        <a:lnTo>
                          <a:pt x="258" y="502"/>
                        </a:lnTo>
                        <a:lnTo>
                          <a:pt x="258" y="497"/>
                        </a:lnTo>
                        <a:lnTo>
                          <a:pt x="258" y="496"/>
                        </a:lnTo>
                        <a:lnTo>
                          <a:pt x="258" y="492"/>
                        </a:lnTo>
                        <a:lnTo>
                          <a:pt x="259" y="483"/>
                        </a:lnTo>
                        <a:lnTo>
                          <a:pt x="259" y="481"/>
                        </a:lnTo>
                        <a:lnTo>
                          <a:pt x="259" y="478"/>
                        </a:lnTo>
                        <a:lnTo>
                          <a:pt x="258" y="477"/>
                        </a:lnTo>
                        <a:lnTo>
                          <a:pt x="258" y="473"/>
                        </a:lnTo>
                        <a:lnTo>
                          <a:pt x="256" y="470"/>
                        </a:lnTo>
                        <a:lnTo>
                          <a:pt x="255" y="467"/>
                        </a:lnTo>
                        <a:lnTo>
                          <a:pt x="255" y="465"/>
                        </a:lnTo>
                        <a:lnTo>
                          <a:pt x="252" y="464"/>
                        </a:lnTo>
                        <a:lnTo>
                          <a:pt x="244" y="456"/>
                        </a:lnTo>
                        <a:lnTo>
                          <a:pt x="232" y="443"/>
                        </a:lnTo>
                        <a:lnTo>
                          <a:pt x="232" y="442"/>
                        </a:lnTo>
                        <a:lnTo>
                          <a:pt x="228" y="437"/>
                        </a:lnTo>
                        <a:lnTo>
                          <a:pt x="223" y="424"/>
                        </a:lnTo>
                        <a:lnTo>
                          <a:pt x="223" y="423"/>
                        </a:lnTo>
                        <a:lnTo>
                          <a:pt x="221" y="420"/>
                        </a:lnTo>
                        <a:lnTo>
                          <a:pt x="218" y="412"/>
                        </a:lnTo>
                        <a:lnTo>
                          <a:pt x="215" y="405"/>
                        </a:lnTo>
                        <a:lnTo>
                          <a:pt x="212" y="402"/>
                        </a:lnTo>
                        <a:lnTo>
                          <a:pt x="209" y="394"/>
                        </a:lnTo>
                        <a:lnTo>
                          <a:pt x="202" y="386"/>
                        </a:lnTo>
                        <a:lnTo>
                          <a:pt x="196" y="380"/>
                        </a:lnTo>
                        <a:lnTo>
                          <a:pt x="185" y="372"/>
                        </a:lnTo>
                        <a:lnTo>
                          <a:pt x="183" y="370"/>
                        </a:lnTo>
                        <a:lnTo>
                          <a:pt x="182" y="367"/>
                        </a:lnTo>
                        <a:lnTo>
                          <a:pt x="182" y="364"/>
                        </a:lnTo>
                        <a:lnTo>
                          <a:pt x="182" y="362"/>
                        </a:lnTo>
                        <a:lnTo>
                          <a:pt x="182" y="359"/>
                        </a:lnTo>
                        <a:lnTo>
                          <a:pt x="185" y="356"/>
                        </a:lnTo>
                        <a:lnTo>
                          <a:pt x="188" y="353"/>
                        </a:lnTo>
                        <a:lnTo>
                          <a:pt x="190" y="351"/>
                        </a:lnTo>
                        <a:lnTo>
                          <a:pt x="193" y="350"/>
                        </a:lnTo>
                        <a:lnTo>
                          <a:pt x="196" y="348"/>
                        </a:lnTo>
                        <a:lnTo>
                          <a:pt x="202" y="343"/>
                        </a:lnTo>
                        <a:lnTo>
                          <a:pt x="204" y="343"/>
                        </a:lnTo>
                        <a:lnTo>
                          <a:pt x="213" y="336"/>
                        </a:lnTo>
                        <a:lnTo>
                          <a:pt x="218" y="334"/>
                        </a:lnTo>
                        <a:lnTo>
                          <a:pt x="225" y="331"/>
                        </a:lnTo>
                        <a:lnTo>
                          <a:pt x="229" y="331"/>
                        </a:lnTo>
                        <a:lnTo>
                          <a:pt x="231" y="331"/>
                        </a:lnTo>
                        <a:lnTo>
                          <a:pt x="232" y="331"/>
                        </a:lnTo>
                        <a:lnTo>
                          <a:pt x="239" y="332"/>
                        </a:lnTo>
                        <a:lnTo>
                          <a:pt x="245" y="332"/>
                        </a:lnTo>
                        <a:lnTo>
                          <a:pt x="247" y="331"/>
                        </a:lnTo>
                        <a:lnTo>
                          <a:pt x="250" y="331"/>
                        </a:lnTo>
                        <a:lnTo>
                          <a:pt x="252" y="328"/>
                        </a:lnTo>
                        <a:lnTo>
                          <a:pt x="252" y="326"/>
                        </a:lnTo>
                        <a:lnTo>
                          <a:pt x="252" y="321"/>
                        </a:lnTo>
                        <a:lnTo>
                          <a:pt x="250" y="318"/>
                        </a:lnTo>
                        <a:lnTo>
                          <a:pt x="248" y="318"/>
                        </a:lnTo>
                        <a:lnTo>
                          <a:pt x="247" y="317"/>
                        </a:lnTo>
                        <a:lnTo>
                          <a:pt x="244" y="313"/>
                        </a:lnTo>
                        <a:lnTo>
                          <a:pt x="242" y="310"/>
                        </a:lnTo>
                        <a:lnTo>
                          <a:pt x="240" y="307"/>
                        </a:lnTo>
                        <a:lnTo>
                          <a:pt x="240" y="304"/>
                        </a:lnTo>
                        <a:lnTo>
                          <a:pt x="242" y="301"/>
                        </a:lnTo>
                        <a:lnTo>
                          <a:pt x="245" y="299"/>
                        </a:lnTo>
                        <a:lnTo>
                          <a:pt x="245" y="298"/>
                        </a:lnTo>
                        <a:lnTo>
                          <a:pt x="247" y="298"/>
                        </a:lnTo>
                        <a:lnTo>
                          <a:pt x="250" y="294"/>
                        </a:lnTo>
                        <a:lnTo>
                          <a:pt x="252" y="293"/>
                        </a:lnTo>
                        <a:lnTo>
                          <a:pt x="253" y="291"/>
                        </a:lnTo>
                        <a:lnTo>
                          <a:pt x="255" y="291"/>
                        </a:lnTo>
                        <a:lnTo>
                          <a:pt x="264" y="283"/>
                        </a:lnTo>
                        <a:lnTo>
                          <a:pt x="266" y="283"/>
                        </a:lnTo>
                        <a:lnTo>
                          <a:pt x="267" y="282"/>
                        </a:lnTo>
                        <a:lnTo>
                          <a:pt x="269" y="280"/>
                        </a:lnTo>
                        <a:lnTo>
                          <a:pt x="274" y="279"/>
                        </a:lnTo>
                        <a:lnTo>
                          <a:pt x="275" y="277"/>
                        </a:lnTo>
                        <a:lnTo>
                          <a:pt x="278" y="275"/>
                        </a:lnTo>
                        <a:lnTo>
                          <a:pt x="280" y="275"/>
                        </a:lnTo>
                        <a:lnTo>
                          <a:pt x="283" y="275"/>
                        </a:lnTo>
                        <a:lnTo>
                          <a:pt x="283" y="274"/>
                        </a:lnTo>
                        <a:lnTo>
                          <a:pt x="291" y="272"/>
                        </a:lnTo>
                        <a:lnTo>
                          <a:pt x="301" y="266"/>
                        </a:lnTo>
                        <a:lnTo>
                          <a:pt x="302" y="266"/>
                        </a:lnTo>
                        <a:lnTo>
                          <a:pt x="305" y="264"/>
                        </a:lnTo>
                        <a:lnTo>
                          <a:pt x="307" y="263"/>
                        </a:lnTo>
                        <a:lnTo>
                          <a:pt x="310" y="258"/>
                        </a:lnTo>
                        <a:lnTo>
                          <a:pt x="312" y="256"/>
                        </a:lnTo>
                        <a:lnTo>
                          <a:pt x="315" y="253"/>
                        </a:lnTo>
                        <a:lnTo>
                          <a:pt x="316" y="252"/>
                        </a:lnTo>
                        <a:lnTo>
                          <a:pt x="318" y="250"/>
                        </a:lnTo>
                        <a:lnTo>
                          <a:pt x="326" y="242"/>
                        </a:lnTo>
                        <a:lnTo>
                          <a:pt x="329" y="231"/>
                        </a:lnTo>
                        <a:lnTo>
                          <a:pt x="332" y="225"/>
                        </a:lnTo>
                        <a:lnTo>
                          <a:pt x="332" y="221"/>
                        </a:lnTo>
                        <a:lnTo>
                          <a:pt x="334" y="212"/>
                        </a:lnTo>
                        <a:lnTo>
                          <a:pt x="337" y="206"/>
                        </a:lnTo>
                        <a:lnTo>
                          <a:pt x="337" y="204"/>
                        </a:lnTo>
                        <a:lnTo>
                          <a:pt x="343" y="199"/>
                        </a:lnTo>
                        <a:lnTo>
                          <a:pt x="347" y="198"/>
                        </a:lnTo>
                        <a:lnTo>
                          <a:pt x="348" y="198"/>
                        </a:lnTo>
                        <a:lnTo>
                          <a:pt x="353" y="196"/>
                        </a:lnTo>
                        <a:lnTo>
                          <a:pt x="359" y="195"/>
                        </a:lnTo>
                        <a:lnTo>
                          <a:pt x="364" y="190"/>
                        </a:lnTo>
                        <a:lnTo>
                          <a:pt x="366" y="188"/>
                        </a:lnTo>
                        <a:lnTo>
                          <a:pt x="369" y="185"/>
                        </a:lnTo>
                        <a:lnTo>
                          <a:pt x="370" y="183"/>
                        </a:lnTo>
                        <a:lnTo>
                          <a:pt x="378" y="180"/>
                        </a:lnTo>
                        <a:lnTo>
                          <a:pt x="388" y="177"/>
                        </a:lnTo>
                        <a:lnTo>
                          <a:pt x="389" y="177"/>
                        </a:lnTo>
                        <a:lnTo>
                          <a:pt x="391" y="177"/>
                        </a:lnTo>
                        <a:lnTo>
                          <a:pt x="397" y="176"/>
                        </a:lnTo>
                        <a:lnTo>
                          <a:pt x="402" y="172"/>
                        </a:lnTo>
                        <a:lnTo>
                          <a:pt x="402" y="171"/>
                        </a:lnTo>
                        <a:lnTo>
                          <a:pt x="410" y="160"/>
                        </a:lnTo>
                        <a:lnTo>
                          <a:pt x="410" y="158"/>
                        </a:lnTo>
                        <a:lnTo>
                          <a:pt x="411" y="157"/>
                        </a:lnTo>
                        <a:lnTo>
                          <a:pt x="411" y="150"/>
                        </a:lnTo>
                        <a:lnTo>
                          <a:pt x="410" y="145"/>
                        </a:lnTo>
                        <a:lnTo>
                          <a:pt x="410" y="139"/>
                        </a:lnTo>
                        <a:lnTo>
                          <a:pt x="410" y="138"/>
                        </a:lnTo>
                        <a:lnTo>
                          <a:pt x="413" y="136"/>
                        </a:lnTo>
                        <a:lnTo>
                          <a:pt x="418" y="134"/>
                        </a:lnTo>
                        <a:lnTo>
                          <a:pt x="421" y="134"/>
                        </a:lnTo>
                        <a:lnTo>
                          <a:pt x="424" y="134"/>
                        </a:lnTo>
                        <a:lnTo>
                          <a:pt x="426" y="136"/>
                        </a:lnTo>
                        <a:lnTo>
                          <a:pt x="427" y="136"/>
                        </a:lnTo>
                        <a:lnTo>
                          <a:pt x="427" y="138"/>
                        </a:lnTo>
                        <a:lnTo>
                          <a:pt x="431" y="147"/>
                        </a:lnTo>
                        <a:lnTo>
                          <a:pt x="431" y="149"/>
                        </a:lnTo>
                        <a:lnTo>
                          <a:pt x="432" y="152"/>
                        </a:lnTo>
                        <a:lnTo>
                          <a:pt x="432" y="155"/>
                        </a:lnTo>
                        <a:lnTo>
                          <a:pt x="434" y="160"/>
                        </a:lnTo>
                        <a:lnTo>
                          <a:pt x="438" y="163"/>
                        </a:lnTo>
                        <a:lnTo>
                          <a:pt x="442" y="163"/>
                        </a:lnTo>
                        <a:lnTo>
                          <a:pt x="450" y="166"/>
                        </a:lnTo>
                        <a:lnTo>
                          <a:pt x="453" y="169"/>
                        </a:lnTo>
                        <a:lnTo>
                          <a:pt x="453" y="171"/>
                        </a:lnTo>
                        <a:lnTo>
                          <a:pt x="453" y="172"/>
                        </a:lnTo>
                        <a:lnTo>
                          <a:pt x="453" y="174"/>
                        </a:lnTo>
                        <a:lnTo>
                          <a:pt x="451" y="177"/>
                        </a:lnTo>
                        <a:lnTo>
                          <a:pt x="446" y="177"/>
                        </a:lnTo>
                        <a:lnTo>
                          <a:pt x="443" y="179"/>
                        </a:lnTo>
                        <a:lnTo>
                          <a:pt x="440" y="179"/>
                        </a:lnTo>
                        <a:lnTo>
                          <a:pt x="434" y="182"/>
                        </a:lnTo>
                        <a:lnTo>
                          <a:pt x="427" y="183"/>
                        </a:lnTo>
                        <a:lnTo>
                          <a:pt x="423" y="185"/>
                        </a:lnTo>
                        <a:lnTo>
                          <a:pt x="419" y="188"/>
                        </a:lnTo>
                        <a:lnTo>
                          <a:pt x="418" y="190"/>
                        </a:lnTo>
                        <a:lnTo>
                          <a:pt x="416" y="191"/>
                        </a:lnTo>
                        <a:lnTo>
                          <a:pt x="416" y="193"/>
                        </a:lnTo>
                        <a:lnTo>
                          <a:pt x="416" y="196"/>
                        </a:lnTo>
                        <a:lnTo>
                          <a:pt x="416" y="198"/>
                        </a:lnTo>
                        <a:lnTo>
                          <a:pt x="418" y="199"/>
                        </a:lnTo>
                        <a:lnTo>
                          <a:pt x="418" y="201"/>
                        </a:lnTo>
                        <a:lnTo>
                          <a:pt x="421" y="204"/>
                        </a:lnTo>
                        <a:lnTo>
                          <a:pt x="423" y="204"/>
                        </a:lnTo>
                        <a:lnTo>
                          <a:pt x="426" y="207"/>
                        </a:lnTo>
                        <a:lnTo>
                          <a:pt x="432" y="209"/>
                        </a:lnTo>
                        <a:lnTo>
                          <a:pt x="434" y="210"/>
                        </a:lnTo>
                        <a:lnTo>
                          <a:pt x="440" y="209"/>
                        </a:lnTo>
                        <a:lnTo>
                          <a:pt x="443" y="209"/>
                        </a:lnTo>
                        <a:lnTo>
                          <a:pt x="454" y="209"/>
                        </a:lnTo>
                        <a:lnTo>
                          <a:pt x="457" y="209"/>
                        </a:lnTo>
                        <a:lnTo>
                          <a:pt x="459" y="210"/>
                        </a:lnTo>
                        <a:lnTo>
                          <a:pt x="465" y="212"/>
                        </a:lnTo>
                        <a:lnTo>
                          <a:pt x="467" y="212"/>
                        </a:lnTo>
                        <a:lnTo>
                          <a:pt x="473" y="214"/>
                        </a:lnTo>
                        <a:lnTo>
                          <a:pt x="476" y="214"/>
                        </a:lnTo>
                        <a:lnTo>
                          <a:pt x="483" y="217"/>
                        </a:lnTo>
                        <a:lnTo>
                          <a:pt x="484" y="217"/>
                        </a:lnTo>
                        <a:lnTo>
                          <a:pt x="489" y="218"/>
                        </a:lnTo>
                        <a:lnTo>
                          <a:pt x="492" y="220"/>
                        </a:lnTo>
                        <a:lnTo>
                          <a:pt x="502" y="220"/>
                        </a:lnTo>
                        <a:lnTo>
                          <a:pt x="503" y="220"/>
                        </a:lnTo>
                        <a:lnTo>
                          <a:pt x="508" y="220"/>
                        </a:lnTo>
                        <a:lnTo>
                          <a:pt x="511" y="220"/>
                        </a:lnTo>
                        <a:lnTo>
                          <a:pt x="513" y="220"/>
                        </a:lnTo>
                        <a:lnTo>
                          <a:pt x="513" y="218"/>
                        </a:lnTo>
                        <a:lnTo>
                          <a:pt x="516" y="218"/>
                        </a:lnTo>
                        <a:lnTo>
                          <a:pt x="526" y="221"/>
                        </a:lnTo>
                        <a:lnTo>
                          <a:pt x="533" y="226"/>
                        </a:lnTo>
                        <a:lnTo>
                          <a:pt x="538" y="229"/>
                        </a:lnTo>
                        <a:lnTo>
                          <a:pt x="541" y="233"/>
                        </a:lnTo>
                        <a:lnTo>
                          <a:pt x="546" y="237"/>
                        </a:lnTo>
                        <a:lnTo>
                          <a:pt x="564" y="261"/>
                        </a:lnTo>
                        <a:lnTo>
                          <a:pt x="571" y="267"/>
                        </a:lnTo>
                        <a:lnTo>
                          <a:pt x="581" y="271"/>
                        </a:lnTo>
                        <a:lnTo>
                          <a:pt x="583" y="271"/>
                        </a:lnTo>
                        <a:lnTo>
                          <a:pt x="594" y="275"/>
                        </a:lnTo>
                        <a:lnTo>
                          <a:pt x="603" y="280"/>
                        </a:lnTo>
                        <a:lnTo>
                          <a:pt x="609" y="286"/>
                        </a:lnTo>
                        <a:lnTo>
                          <a:pt x="617" y="293"/>
                        </a:lnTo>
                        <a:lnTo>
                          <a:pt x="632" y="307"/>
                        </a:lnTo>
                        <a:lnTo>
                          <a:pt x="643" y="315"/>
                        </a:lnTo>
                        <a:lnTo>
                          <a:pt x="648" y="318"/>
                        </a:lnTo>
                        <a:lnTo>
                          <a:pt x="654" y="320"/>
                        </a:lnTo>
                        <a:lnTo>
                          <a:pt x="655" y="321"/>
                        </a:lnTo>
                        <a:lnTo>
                          <a:pt x="659" y="321"/>
                        </a:lnTo>
                        <a:lnTo>
                          <a:pt x="660" y="323"/>
                        </a:lnTo>
                        <a:lnTo>
                          <a:pt x="678" y="331"/>
                        </a:lnTo>
                        <a:lnTo>
                          <a:pt x="679" y="331"/>
                        </a:lnTo>
                        <a:lnTo>
                          <a:pt x="689" y="337"/>
                        </a:lnTo>
                        <a:lnTo>
                          <a:pt x="706" y="340"/>
                        </a:lnTo>
                        <a:lnTo>
                          <a:pt x="709" y="340"/>
                        </a:lnTo>
                        <a:lnTo>
                          <a:pt x="717" y="342"/>
                        </a:lnTo>
                        <a:lnTo>
                          <a:pt x="720" y="343"/>
                        </a:lnTo>
                        <a:lnTo>
                          <a:pt x="722" y="343"/>
                        </a:lnTo>
                        <a:lnTo>
                          <a:pt x="728" y="343"/>
                        </a:lnTo>
                        <a:lnTo>
                          <a:pt x="731" y="345"/>
                        </a:lnTo>
                        <a:lnTo>
                          <a:pt x="741" y="345"/>
                        </a:lnTo>
                        <a:lnTo>
                          <a:pt x="747" y="343"/>
                        </a:lnTo>
                        <a:lnTo>
                          <a:pt x="749" y="342"/>
                        </a:lnTo>
                        <a:lnTo>
                          <a:pt x="750" y="342"/>
                        </a:lnTo>
                        <a:lnTo>
                          <a:pt x="752" y="340"/>
                        </a:lnTo>
                        <a:lnTo>
                          <a:pt x="754" y="339"/>
                        </a:lnTo>
                        <a:lnTo>
                          <a:pt x="754" y="337"/>
                        </a:lnTo>
                        <a:lnTo>
                          <a:pt x="757" y="334"/>
                        </a:lnTo>
                        <a:lnTo>
                          <a:pt x="757" y="332"/>
                        </a:lnTo>
                        <a:lnTo>
                          <a:pt x="758" y="323"/>
                        </a:lnTo>
                        <a:lnTo>
                          <a:pt x="758" y="321"/>
                        </a:lnTo>
                        <a:lnTo>
                          <a:pt x="758" y="317"/>
                        </a:lnTo>
                        <a:lnTo>
                          <a:pt x="757" y="305"/>
                        </a:lnTo>
                        <a:lnTo>
                          <a:pt x="755" y="301"/>
                        </a:lnTo>
                        <a:lnTo>
                          <a:pt x="749" y="290"/>
                        </a:lnTo>
                        <a:lnTo>
                          <a:pt x="749" y="285"/>
                        </a:lnTo>
                        <a:lnTo>
                          <a:pt x="750" y="282"/>
                        </a:lnTo>
                        <a:lnTo>
                          <a:pt x="752" y="280"/>
                        </a:lnTo>
                        <a:lnTo>
                          <a:pt x="755" y="279"/>
                        </a:lnTo>
                        <a:lnTo>
                          <a:pt x="763" y="277"/>
                        </a:lnTo>
                        <a:lnTo>
                          <a:pt x="768" y="275"/>
                        </a:lnTo>
                        <a:lnTo>
                          <a:pt x="773" y="275"/>
                        </a:lnTo>
                        <a:lnTo>
                          <a:pt x="779" y="274"/>
                        </a:lnTo>
                        <a:lnTo>
                          <a:pt x="788" y="274"/>
                        </a:lnTo>
                        <a:lnTo>
                          <a:pt x="790" y="274"/>
                        </a:lnTo>
                        <a:lnTo>
                          <a:pt x="800" y="274"/>
                        </a:lnTo>
                        <a:lnTo>
                          <a:pt x="808" y="272"/>
                        </a:lnTo>
                        <a:lnTo>
                          <a:pt x="819" y="271"/>
                        </a:lnTo>
                        <a:lnTo>
                          <a:pt x="828" y="271"/>
                        </a:lnTo>
                        <a:lnTo>
                          <a:pt x="830" y="271"/>
                        </a:lnTo>
                        <a:lnTo>
                          <a:pt x="831" y="271"/>
                        </a:lnTo>
                        <a:lnTo>
                          <a:pt x="849" y="269"/>
                        </a:lnTo>
                        <a:lnTo>
                          <a:pt x="850" y="269"/>
                        </a:lnTo>
                        <a:lnTo>
                          <a:pt x="860" y="267"/>
                        </a:lnTo>
                        <a:lnTo>
                          <a:pt x="866" y="264"/>
                        </a:lnTo>
                        <a:lnTo>
                          <a:pt x="868" y="263"/>
                        </a:lnTo>
                        <a:lnTo>
                          <a:pt x="871" y="255"/>
                        </a:lnTo>
                        <a:lnTo>
                          <a:pt x="871" y="252"/>
                        </a:lnTo>
                        <a:lnTo>
                          <a:pt x="871" y="250"/>
                        </a:lnTo>
                        <a:lnTo>
                          <a:pt x="871" y="247"/>
                        </a:lnTo>
                        <a:lnTo>
                          <a:pt x="868" y="242"/>
                        </a:lnTo>
                        <a:lnTo>
                          <a:pt x="868" y="241"/>
                        </a:lnTo>
                        <a:lnTo>
                          <a:pt x="866" y="234"/>
                        </a:lnTo>
                        <a:lnTo>
                          <a:pt x="857" y="221"/>
                        </a:lnTo>
                        <a:lnTo>
                          <a:pt x="857" y="220"/>
                        </a:lnTo>
                        <a:lnTo>
                          <a:pt x="857" y="215"/>
                        </a:lnTo>
                        <a:lnTo>
                          <a:pt x="857" y="199"/>
                        </a:lnTo>
                        <a:lnTo>
                          <a:pt x="857" y="195"/>
                        </a:lnTo>
                        <a:lnTo>
                          <a:pt x="857" y="193"/>
                        </a:lnTo>
                        <a:lnTo>
                          <a:pt x="855" y="182"/>
                        </a:lnTo>
                        <a:lnTo>
                          <a:pt x="853" y="166"/>
                        </a:lnTo>
                        <a:lnTo>
                          <a:pt x="852" y="155"/>
                        </a:lnTo>
                        <a:lnTo>
                          <a:pt x="850" y="149"/>
                        </a:lnTo>
                        <a:lnTo>
                          <a:pt x="849" y="138"/>
                        </a:lnTo>
                        <a:lnTo>
                          <a:pt x="847" y="128"/>
                        </a:lnTo>
                        <a:lnTo>
                          <a:pt x="844" y="114"/>
                        </a:lnTo>
                        <a:lnTo>
                          <a:pt x="846" y="106"/>
                        </a:lnTo>
                        <a:lnTo>
                          <a:pt x="850" y="98"/>
                        </a:lnTo>
                        <a:lnTo>
                          <a:pt x="852" y="98"/>
                        </a:lnTo>
                        <a:lnTo>
                          <a:pt x="852" y="96"/>
                        </a:lnTo>
                        <a:lnTo>
                          <a:pt x="857" y="88"/>
                        </a:lnTo>
                        <a:lnTo>
                          <a:pt x="858" y="79"/>
                        </a:lnTo>
                        <a:lnTo>
                          <a:pt x="858" y="73"/>
                        </a:lnTo>
                        <a:lnTo>
                          <a:pt x="858" y="69"/>
                        </a:lnTo>
                        <a:lnTo>
                          <a:pt x="860" y="58"/>
                        </a:lnTo>
                        <a:lnTo>
                          <a:pt x="860" y="57"/>
                        </a:lnTo>
                        <a:lnTo>
                          <a:pt x="858" y="54"/>
                        </a:lnTo>
                        <a:lnTo>
                          <a:pt x="860" y="43"/>
                        </a:lnTo>
                        <a:lnTo>
                          <a:pt x="860" y="30"/>
                        </a:lnTo>
                        <a:lnTo>
                          <a:pt x="855" y="25"/>
                        </a:lnTo>
                        <a:lnTo>
                          <a:pt x="852" y="20"/>
                        </a:lnTo>
                        <a:lnTo>
                          <a:pt x="847" y="17"/>
                        </a:lnTo>
                        <a:lnTo>
                          <a:pt x="844" y="14"/>
                        </a:lnTo>
                        <a:lnTo>
                          <a:pt x="842" y="11"/>
                        </a:lnTo>
                        <a:lnTo>
                          <a:pt x="842" y="9"/>
                        </a:lnTo>
                        <a:lnTo>
                          <a:pt x="842" y="8"/>
                        </a:lnTo>
                        <a:lnTo>
                          <a:pt x="846" y="1"/>
                        </a:lnTo>
                        <a:lnTo>
                          <a:pt x="849" y="0"/>
                        </a:lnTo>
                        <a:lnTo>
                          <a:pt x="850" y="0"/>
                        </a:lnTo>
                        <a:lnTo>
                          <a:pt x="857" y="0"/>
                        </a:lnTo>
                        <a:lnTo>
                          <a:pt x="858" y="0"/>
                        </a:lnTo>
                        <a:lnTo>
                          <a:pt x="860" y="1"/>
                        </a:lnTo>
                        <a:lnTo>
                          <a:pt x="869" y="3"/>
                        </a:lnTo>
                        <a:lnTo>
                          <a:pt x="876" y="6"/>
                        </a:lnTo>
                        <a:lnTo>
                          <a:pt x="888" y="14"/>
                        </a:lnTo>
                        <a:close/>
                      </a:path>
                    </a:pathLst>
                  </a:custGeom>
                  <a:solidFill>
                    <a:srgbClr val="9DC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77" name="Freeform 76"/>
                  <p:cNvSpPr>
                    <a:spLocks/>
                  </p:cNvSpPr>
                  <p:nvPr/>
                </p:nvSpPr>
                <p:spPr bwMode="auto">
                  <a:xfrm>
                    <a:off x="3059" y="1490"/>
                    <a:ext cx="474" cy="1513"/>
                  </a:xfrm>
                  <a:custGeom>
                    <a:avLst/>
                    <a:gdLst>
                      <a:gd name="T0" fmla="*/ 73 w 474"/>
                      <a:gd name="T1" fmla="*/ 6 h 1513"/>
                      <a:gd name="T2" fmla="*/ 130 w 474"/>
                      <a:gd name="T3" fmla="*/ 19 h 1513"/>
                      <a:gd name="T4" fmla="*/ 186 w 474"/>
                      <a:gd name="T5" fmla="*/ 70 h 1513"/>
                      <a:gd name="T6" fmla="*/ 225 w 474"/>
                      <a:gd name="T7" fmla="*/ 93 h 1513"/>
                      <a:gd name="T8" fmla="*/ 306 w 474"/>
                      <a:gd name="T9" fmla="*/ 109 h 1513"/>
                      <a:gd name="T10" fmla="*/ 331 w 474"/>
                      <a:gd name="T11" fmla="*/ 133 h 1513"/>
                      <a:gd name="T12" fmla="*/ 352 w 474"/>
                      <a:gd name="T13" fmla="*/ 201 h 1513"/>
                      <a:gd name="T14" fmla="*/ 369 w 474"/>
                      <a:gd name="T15" fmla="*/ 236 h 1513"/>
                      <a:gd name="T16" fmla="*/ 428 w 474"/>
                      <a:gd name="T17" fmla="*/ 234 h 1513"/>
                      <a:gd name="T18" fmla="*/ 449 w 474"/>
                      <a:gd name="T19" fmla="*/ 280 h 1513"/>
                      <a:gd name="T20" fmla="*/ 422 w 474"/>
                      <a:gd name="T21" fmla="*/ 314 h 1513"/>
                      <a:gd name="T22" fmla="*/ 399 w 474"/>
                      <a:gd name="T23" fmla="*/ 344 h 1513"/>
                      <a:gd name="T24" fmla="*/ 325 w 474"/>
                      <a:gd name="T25" fmla="*/ 355 h 1513"/>
                      <a:gd name="T26" fmla="*/ 312 w 474"/>
                      <a:gd name="T27" fmla="*/ 418 h 1513"/>
                      <a:gd name="T28" fmla="*/ 295 w 474"/>
                      <a:gd name="T29" fmla="*/ 464 h 1513"/>
                      <a:gd name="T30" fmla="*/ 293 w 474"/>
                      <a:gd name="T31" fmla="*/ 526 h 1513"/>
                      <a:gd name="T32" fmla="*/ 314 w 474"/>
                      <a:gd name="T33" fmla="*/ 558 h 1513"/>
                      <a:gd name="T34" fmla="*/ 346 w 474"/>
                      <a:gd name="T35" fmla="*/ 586 h 1513"/>
                      <a:gd name="T36" fmla="*/ 312 w 474"/>
                      <a:gd name="T37" fmla="*/ 621 h 1513"/>
                      <a:gd name="T38" fmla="*/ 279 w 474"/>
                      <a:gd name="T39" fmla="*/ 651 h 1513"/>
                      <a:gd name="T40" fmla="*/ 301 w 474"/>
                      <a:gd name="T41" fmla="*/ 730 h 1513"/>
                      <a:gd name="T42" fmla="*/ 262 w 474"/>
                      <a:gd name="T43" fmla="*/ 776 h 1513"/>
                      <a:gd name="T44" fmla="*/ 238 w 474"/>
                      <a:gd name="T45" fmla="*/ 824 h 1513"/>
                      <a:gd name="T46" fmla="*/ 220 w 474"/>
                      <a:gd name="T47" fmla="*/ 838 h 1513"/>
                      <a:gd name="T48" fmla="*/ 200 w 474"/>
                      <a:gd name="T49" fmla="*/ 876 h 1513"/>
                      <a:gd name="T50" fmla="*/ 227 w 474"/>
                      <a:gd name="T51" fmla="*/ 901 h 1513"/>
                      <a:gd name="T52" fmla="*/ 238 w 474"/>
                      <a:gd name="T53" fmla="*/ 928 h 1513"/>
                      <a:gd name="T54" fmla="*/ 255 w 474"/>
                      <a:gd name="T55" fmla="*/ 963 h 1513"/>
                      <a:gd name="T56" fmla="*/ 251 w 474"/>
                      <a:gd name="T57" fmla="*/ 1001 h 1513"/>
                      <a:gd name="T58" fmla="*/ 225 w 474"/>
                      <a:gd name="T59" fmla="*/ 987 h 1513"/>
                      <a:gd name="T60" fmla="*/ 184 w 474"/>
                      <a:gd name="T61" fmla="*/ 992 h 1513"/>
                      <a:gd name="T62" fmla="*/ 178 w 474"/>
                      <a:gd name="T63" fmla="*/ 1012 h 1513"/>
                      <a:gd name="T64" fmla="*/ 200 w 474"/>
                      <a:gd name="T65" fmla="*/ 1038 h 1513"/>
                      <a:gd name="T66" fmla="*/ 224 w 474"/>
                      <a:gd name="T67" fmla="*/ 1055 h 1513"/>
                      <a:gd name="T68" fmla="*/ 206 w 474"/>
                      <a:gd name="T69" fmla="*/ 1090 h 1513"/>
                      <a:gd name="T70" fmla="*/ 238 w 474"/>
                      <a:gd name="T71" fmla="*/ 1114 h 1513"/>
                      <a:gd name="T72" fmla="*/ 224 w 474"/>
                      <a:gd name="T73" fmla="*/ 1150 h 1513"/>
                      <a:gd name="T74" fmla="*/ 187 w 474"/>
                      <a:gd name="T75" fmla="*/ 1158 h 1513"/>
                      <a:gd name="T76" fmla="*/ 194 w 474"/>
                      <a:gd name="T77" fmla="*/ 1188 h 1513"/>
                      <a:gd name="T78" fmla="*/ 230 w 474"/>
                      <a:gd name="T79" fmla="*/ 1194 h 1513"/>
                      <a:gd name="T80" fmla="*/ 260 w 474"/>
                      <a:gd name="T81" fmla="*/ 1196 h 1513"/>
                      <a:gd name="T82" fmla="*/ 290 w 474"/>
                      <a:gd name="T83" fmla="*/ 1221 h 1513"/>
                      <a:gd name="T84" fmla="*/ 308 w 474"/>
                      <a:gd name="T85" fmla="*/ 1283 h 1513"/>
                      <a:gd name="T86" fmla="*/ 335 w 474"/>
                      <a:gd name="T87" fmla="*/ 1326 h 1513"/>
                      <a:gd name="T88" fmla="*/ 368 w 474"/>
                      <a:gd name="T89" fmla="*/ 1375 h 1513"/>
                      <a:gd name="T90" fmla="*/ 418 w 474"/>
                      <a:gd name="T91" fmla="*/ 1399 h 1513"/>
                      <a:gd name="T92" fmla="*/ 407 w 474"/>
                      <a:gd name="T93" fmla="*/ 1422 h 1513"/>
                      <a:gd name="T94" fmla="*/ 388 w 474"/>
                      <a:gd name="T95" fmla="*/ 1430 h 1513"/>
                      <a:gd name="T96" fmla="*/ 363 w 474"/>
                      <a:gd name="T97" fmla="*/ 1434 h 1513"/>
                      <a:gd name="T98" fmla="*/ 344 w 474"/>
                      <a:gd name="T99" fmla="*/ 1459 h 1513"/>
                      <a:gd name="T100" fmla="*/ 279 w 474"/>
                      <a:gd name="T101" fmla="*/ 1453 h 1513"/>
                      <a:gd name="T102" fmla="*/ 247 w 474"/>
                      <a:gd name="T103" fmla="*/ 1498 h 1513"/>
                      <a:gd name="T104" fmla="*/ 230 w 474"/>
                      <a:gd name="T105" fmla="*/ 1510 h 1513"/>
                      <a:gd name="T106" fmla="*/ 205 w 474"/>
                      <a:gd name="T107" fmla="*/ 1506 h 1513"/>
                      <a:gd name="T108" fmla="*/ 222 w 474"/>
                      <a:gd name="T109" fmla="*/ 1478 h 1513"/>
                      <a:gd name="T110" fmla="*/ 227 w 474"/>
                      <a:gd name="T111" fmla="*/ 1437 h 1513"/>
                      <a:gd name="T112" fmla="*/ 233 w 474"/>
                      <a:gd name="T113" fmla="*/ 1402 h 1513"/>
                      <a:gd name="T114" fmla="*/ 220 w 474"/>
                      <a:gd name="T115" fmla="*/ 1372 h 1513"/>
                      <a:gd name="T116" fmla="*/ 233 w 474"/>
                      <a:gd name="T117" fmla="*/ 1342 h 1513"/>
                      <a:gd name="T118" fmla="*/ 214 w 474"/>
                      <a:gd name="T119" fmla="*/ 1329 h 1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4" h="1513">
                        <a:moveTo>
                          <a:pt x="0" y="0"/>
                        </a:moveTo>
                        <a:lnTo>
                          <a:pt x="15" y="6"/>
                        </a:lnTo>
                        <a:lnTo>
                          <a:pt x="18" y="6"/>
                        </a:lnTo>
                        <a:lnTo>
                          <a:pt x="19" y="6"/>
                        </a:lnTo>
                        <a:lnTo>
                          <a:pt x="24" y="6"/>
                        </a:lnTo>
                        <a:lnTo>
                          <a:pt x="26" y="6"/>
                        </a:lnTo>
                        <a:lnTo>
                          <a:pt x="30" y="5"/>
                        </a:lnTo>
                        <a:lnTo>
                          <a:pt x="32" y="5"/>
                        </a:lnTo>
                        <a:lnTo>
                          <a:pt x="34" y="3"/>
                        </a:lnTo>
                        <a:lnTo>
                          <a:pt x="38" y="2"/>
                        </a:lnTo>
                        <a:lnTo>
                          <a:pt x="46" y="0"/>
                        </a:lnTo>
                        <a:lnTo>
                          <a:pt x="49" y="0"/>
                        </a:lnTo>
                        <a:lnTo>
                          <a:pt x="53" y="0"/>
                        </a:lnTo>
                        <a:lnTo>
                          <a:pt x="54" y="0"/>
                        </a:lnTo>
                        <a:lnTo>
                          <a:pt x="64" y="0"/>
                        </a:lnTo>
                        <a:lnTo>
                          <a:pt x="65" y="2"/>
                        </a:lnTo>
                        <a:lnTo>
                          <a:pt x="73" y="6"/>
                        </a:lnTo>
                        <a:lnTo>
                          <a:pt x="78" y="11"/>
                        </a:lnTo>
                        <a:lnTo>
                          <a:pt x="87" y="21"/>
                        </a:lnTo>
                        <a:lnTo>
                          <a:pt x="92" y="36"/>
                        </a:lnTo>
                        <a:lnTo>
                          <a:pt x="97" y="44"/>
                        </a:lnTo>
                        <a:lnTo>
                          <a:pt x="100" y="44"/>
                        </a:lnTo>
                        <a:lnTo>
                          <a:pt x="102" y="44"/>
                        </a:lnTo>
                        <a:lnTo>
                          <a:pt x="105" y="41"/>
                        </a:lnTo>
                        <a:lnTo>
                          <a:pt x="114" y="25"/>
                        </a:lnTo>
                        <a:lnTo>
                          <a:pt x="114" y="24"/>
                        </a:lnTo>
                        <a:lnTo>
                          <a:pt x="116" y="22"/>
                        </a:lnTo>
                        <a:lnTo>
                          <a:pt x="118" y="22"/>
                        </a:lnTo>
                        <a:lnTo>
                          <a:pt x="119" y="21"/>
                        </a:lnTo>
                        <a:lnTo>
                          <a:pt x="121" y="19"/>
                        </a:lnTo>
                        <a:lnTo>
                          <a:pt x="124" y="17"/>
                        </a:lnTo>
                        <a:lnTo>
                          <a:pt x="125" y="17"/>
                        </a:lnTo>
                        <a:lnTo>
                          <a:pt x="129" y="17"/>
                        </a:lnTo>
                        <a:lnTo>
                          <a:pt x="130" y="19"/>
                        </a:lnTo>
                        <a:lnTo>
                          <a:pt x="132" y="19"/>
                        </a:lnTo>
                        <a:lnTo>
                          <a:pt x="140" y="27"/>
                        </a:lnTo>
                        <a:lnTo>
                          <a:pt x="141" y="29"/>
                        </a:lnTo>
                        <a:lnTo>
                          <a:pt x="143" y="29"/>
                        </a:lnTo>
                        <a:lnTo>
                          <a:pt x="154" y="40"/>
                        </a:lnTo>
                        <a:lnTo>
                          <a:pt x="157" y="43"/>
                        </a:lnTo>
                        <a:lnTo>
                          <a:pt x="159" y="44"/>
                        </a:lnTo>
                        <a:lnTo>
                          <a:pt x="160" y="44"/>
                        </a:lnTo>
                        <a:lnTo>
                          <a:pt x="165" y="51"/>
                        </a:lnTo>
                        <a:lnTo>
                          <a:pt x="175" y="60"/>
                        </a:lnTo>
                        <a:lnTo>
                          <a:pt x="178" y="63"/>
                        </a:lnTo>
                        <a:lnTo>
                          <a:pt x="178" y="65"/>
                        </a:lnTo>
                        <a:lnTo>
                          <a:pt x="179" y="67"/>
                        </a:lnTo>
                        <a:lnTo>
                          <a:pt x="182" y="67"/>
                        </a:lnTo>
                        <a:lnTo>
                          <a:pt x="184" y="67"/>
                        </a:lnTo>
                        <a:lnTo>
                          <a:pt x="186" y="68"/>
                        </a:lnTo>
                        <a:lnTo>
                          <a:pt x="186" y="70"/>
                        </a:lnTo>
                        <a:lnTo>
                          <a:pt x="187" y="70"/>
                        </a:lnTo>
                        <a:lnTo>
                          <a:pt x="187" y="71"/>
                        </a:lnTo>
                        <a:lnTo>
                          <a:pt x="189" y="73"/>
                        </a:lnTo>
                        <a:lnTo>
                          <a:pt x="190" y="74"/>
                        </a:lnTo>
                        <a:lnTo>
                          <a:pt x="190" y="76"/>
                        </a:lnTo>
                        <a:lnTo>
                          <a:pt x="192" y="76"/>
                        </a:lnTo>
                        <a:lnTo>
                          <a:pt x="194" y="78"/>
                        </a:lnTo>
                        <a:lnTo>
                          <a:pt x="198" y="81"/>
                        </a:lnTo>
                        <a:lnTo>
                          <a:pt x="201" y="82"/>
                        </a:lnTo>
                        <a:lnTo>
                          <a:pt x="205" y="84"/>
                        </a:lnTo>
                        <a:lnTo>
                          <a:pt x="205" y="86"/>
                        </a:lnTo>
                        <a:lnTo>
                          <a:pt x="206" y="86"/>
                        </a:lnTo>
                        <a:lnTo>
                          <a:pt x="209" y="87"/>
                        </a:lnTo>
                        <a:lnTo>
                          <a:pt x="213" y="90"/>
                        </a:lnTo>
                        <a:lnTo>
                          <a:pt x="216" y="92"/>
                        </a:lnTo>
                        <a:lnTo>
                          <a:pt x="220" y="93"/>
                        </a:lnTo>
                        <a:lnTo>
                          <a:pt x="225" y="93"/>
                        </a:lnTo>
                        <a:lnTo>
                          <a:pt x="228" y="93"/>
                        </a:lnTo>
                        <a:lnTo>
                          <a:pt x="233" y="93"/>
                        </a:lnTo>
                        <a:lnTo>
                          <a:pt x="235" y="95"/>
                        </a:lnTo>
                        <a:lnTo>
                          <a:pt x="236" y="97"/>
                        </a:lnTo>
                        <a:lnTo>
                          <a:pt x="238" y="97"/>
                        </a:lnTo>
                        <a:lnTo>
                          <a:pt x="239" y="97"/>
                        </a:lnTo>
                        <a:lnTo>
                          <a:pt x="241" y="97"/>
                        </a:lnTo>
                        <a:lnTo>
                          <a:pt x="246" y="98"/>
                        </a:lnTo>
                        <a:lnTo>
                          <a:pt x="251" y="98"/>
                        </a:lnTo>
                        <a:lnTo>
                          <a:pt x="257" y="100"/>
                        </a:lnTo>
                        <a:lnTo>
                          <a:pt x="265" y="101"/>
                        </a:lnTo>
                        <a:lnTo>
                          <a:pt x="276" y="103"/>
                        </a:lnTo>
                        <a:lnTo>
                          <a:pt x="285" y="106"/>
                        </a:lnTo>
                        <a:lnTo>
                          <a:pt x="295" y="108"/>
                        </a:lnTo>
                        <a:lnTo>
                          <a:pt x="301" y="108"/>
                        </a:lnTo>
                        <a:lnTo>
                          <a:pt x="304" y="109"/>
                        </a:lnTo>
                        <a:lnTo>
                          <a:pt x="306" y="109"/>
                        </a:lnTo>
                        <a:lnTo>
                          <a:pt x="308" y="109"/>
                        </a:lnTo>
                        <a:lnTo>
                          <a:pt x="308" y="111"/>
                        </a:lnTo>
                        <a:lnTo>
                          <a:pt x="308" y="114"/>
                        </a:lnTo>
                        <a:lnTo>
                          <a:pt x="308" y="117"/>
                        </a:lnTo>
                        <a:lnTo>
                          <a:pt x="309" y="119"/>
                        </a:lnTo>
                        <a:lnTo>
                          <a:pt x="309" y="122"/>
                        </a:lnTo>
                        <a:lnTo>
                          <a:pt x="309" y="124"/>
                        </a:lnTo>
                        <a:lnTo>
                          <a:pt x="312" y="125"/>
                        </a:lnTo>
                        <a:lnTo>
                          <a:pt x="312" y="127"/>
                        </a:lnTo>
                        <a:lnTo>
                          <a:pt x="316" y="128"/>
                        </a:lnTo>
                        <a:lnTo>
                          <a:pt x="317" y="130"/>
                        </a:lnTo>
                        <a:lnTo>
                          <a:pt x="319" y="131"/>
                        </a:lnTo>
                        <a:lnTo>
                          <a:pt x="320" y="133"/>
                        </a:lnTo>
                        <a:lnTo>
                          <a:pt x="322" y="133"/>
                        </a:lnTo>
                        <a:lnTo>
                          <a:pt x="323" y="133"/>
                        </a:lnTo>
                        <a:lnTo>
                          <a:pt x="328" y="133"/>
                        </a:lnTo>
                        <a:lnTo>
                          <a:pt x="331" y="133"/>
                        </a:lnTo>
                        <a:lnTo>
                          <a:pt x="333" y="135"/>
                        </a:lnTo>
                        <a:lnTo>
                          <a:pt x="336" y="133"/>
                        </a:lnTo>
                        <a:lnTo>
                          <a:pt x="338" y="133"/>
                        </a:lnTo>
                        <a:lnTo>
                          <a:pt x="339" y="133"/>
                        </a:lnTo>
                        <a:lnTo>
                          <a:pt x="341" y="131"/>
                        </a:lnTo>
                        <a:lnTo>
                          <a:pt x="342" y="133"/>
                        </a:lnTo>
                        <a:lnTo>
                          <a:pt x="344" y="133"/>
                        </a:lnTo>
                        <a:lnTo>
                          <a:pt x="346" y="135"/>
                        </a:lnTo>
                        <a:lnTo>
                          <a:pt x="347" y="135"/>
                        </a:lnTo>
                        <a:lnTo>
                          <a:pt x="347" y="136"/>
                        </a:lnTo>
                        <a:lnTo>
                          <a:pt x="347" y="147"/>
                        </a:lnTo>
                        <a:lnTo>
                          <a:pt x="347" y="174"/>
                        </a:lnTo>
                        <a:lnTo>
                          <a:pt x="347" y="193"/>
                        </a:lnTo>
                        <a:lnTo>
                          <a:pt x="347" y="198"/>
                        </a:lnTo>
                        <a:lnTo>
                          <a:pt x="347" y="200"/>
                        </a:lnTo>
                        <a:lnTo>
                          <a:pt x="350" y="200"/>
                        </a:lnTo>
                        <a:lnTo>
                          <a:pt x="352" y="201"/>
                        </a:lnTo>
                        <a:lnTo>
                          <a:pt x="354" y="201"/>
                        </a:lnTo>
                        <a:lnTo>
                          <a:pt x="355" y="201"/>
                        </a:lnTo>
                        <a:lnTo>
                          <a:pt x="355" y="203"/>
                        </a:lnTo>
                        <a:lnTo>
                          <a:pt x="357" y="204"/>
                        </a:lnTo>
                        <a:lnTo>
                          <a:pt x="358" y="209"/>
                        </a:lnTo>
                        <a:lnTo>
                          <a:pt x="358" y="211"/>
                        </a:lnTo>
                        <a:lnTo>
                          <a:pt x="361" y="212"/>
                        </a:lnTo>
                        <a:lnTo>
                          <a:pt x="363" y="217"/>
                        </a:lnTo>
                        <a:lnTo>
                          <a:pt x="365" y="219"/>
                        </a:lnTo>
                        <a:lnTo>
                          <a:pt x="365" y="222"/>
                        </a:lnTo>
                        <a:lnTo>
                          <a:pt x="366" y="223"/>
                        </a:lnTo>
                        <a:lnTo>
                          <a:pt x="366" y="227"/>
                        </a:lnTo>
                        <a:lnTo>
                          <a:pt x="366" y="228"/>
                        </a:lnTo>
                        <a:lnTo>
                          <a:pt x="368" y="231"/>
                        </a:lnTo>
                        <a:lnTo>
                          <a:pt x="368" y="233"/>
                        </a:lnTo>
                        <a:lnTo>
                          <a:pt x="369" y="234"/>
                        </a:lnTo>
                        <a:lnTo>
                          <a:pt x="369" y="236"/>
                        </a:lnTo>
                        <a:lnTo>
                          <a:pt x="371" y="236"/>
                        </a:lnTo>
                        <a:lnTo>
                          <a:pt x="385" y="242"/>
                        </a:lnTo>
                        <a:lnTo>
                          <a:pt x="403" y="250"/>
                        </a:lnTo>
                        <a:lnTo>
                          <a:pt x="412" y="253"/>
                        </a:lnTo>
                        <a:lnTo>
                          <a:pt x="415" y="253"/>
                        </a:lnTo>
                        <a:lnTo>
                          <a:pt x="418" y="252"/>
                        </a:lnTo>
                        <a:lnTo>
                          <a:pt x="418" y="247"/>
                        </a:lnTo>
                        <a:lnTo>
                          <a:pt x="420" y="246"/>
                        </a:lnTo>
                        <a:lnTo>
                          <a:pt x="420" y="244"/>
                        </a:lnTo>
                        <a:lnTo>
                          <a:pt x="422" y="242"/>
                        </a:lnTo>
                        <a:lnTo>
                          <a:pt x="422" y="239"/>
                        </a:lnTo>
                        <a:lnTo>
                          <a:pt x="423" y="236"/>
                        </a:lnTo>
                        <a:lnTo>
                          <a:pt x="423" y="234"/>
                        </a:lnTo>
                        <a:lnTo>
                          <a:pt x="423" y="233"/>
                        </a:lnTo>
                        <a:lnTo>
                          <a:pt x="425" y="233"/>
                        </a:lnTo>
                        <a:lnTo>
                          <a:pt x="426" y="234"/>
                        </a:lnTo>
                        <a:lnTo>
                          <a:pt x="428" y="234"/>
                        </a:lnTo>
                        <a:lnTo>
                          <a:pt x="450" y="244"/>
                        </a:lnTo>
                        <a:lnTo>
                          <a:pt x="463" y="250"/>
                        </a:lnTo>
                        <a:lnTo>
                          <a:pt x="471" y="253"/>
                        </a:lnTo>
                        <a:lnTo>
                          <a:pt x="472" y="253"/>
                        </a:lnTo>
                        <a:lnTo>
                          <a:pt x="472" y="255"/>
                        </a:lnTo>
                        <a:lnTo>
                          <a:pt x="472" y="257"/>
                        </a:lnTo>
                        <a:lnTo>
                          <a:pt x="472" y="261"/>
                        </a:lnTo>
                        <a:lnTo>
                          <a:pt x="474" y="263"/>
                        </a:lnTo>
                        <a:lnTo>
                          <a:pt x="464" y="261"/>
                        </a:lnTo>
                        <a:lnTo>
                          <a:pt x="463" y="263"/>
                        </a:lnTo>
                        <a:lnTo>
                          <a:pt x="461" y="263"/>
                        </a:lnTo>
                        <a:lnTo>
                          <a:pt x="460" y="263"/>
                        </a:lnTo>
                        <a:lnTo>
                          <a:pt x="458" y="265"/>
                        </a:lnTo>
                        <a:lnTo>
                          <a:pt x="458" y="266"/>
                        </a:lnTo>
                        <a:lnTo>
                          <a:pt x="453" y="272"/>
                        </a:lnTo>
                        <a:lnTo>
                          <a:pt x="452" y="276"/>
                        </a:lnTo>
                        <a:lnTo>
                          <a:pt x="449" y="280"/>
                        </a:lnTo>
                        <a:lnTo>
                          <a:pt x="447" y="284"/>
                        </a:lnTo>
                        <a:lnTo>
                          <a:pt x="445" y="285"/>
                        </a:lnTo>
                        <a:lnTo>
                          <a:pt x="442" y="287"/>
                        </a:lnTo>
                        <a:lnTo>
                          <a:pt x="441" y="288"/>
                        </a:lnTo>
                        <a:lnTo>
                          <a:pt x="437" y="290"/>
                        </a:lnTo>
                        <a:lnTo>
                          <a:pt x="434" y="290"/>
                        </a:lnTo>
                        <a:lnTo>
                          <a:pt x="433" y="291"/>
                        </a:lnTo>
                        <a:lnTo>
                          <a:pt x="431" y="295"/>
                        </a:lnTo>
                        <a:lnTo>
                          <a:pt x="431" y="296"/>
                        </a:lnTo>
                        <a:lnTo>
                          <a:pt x="430" y="298"/>
                        </a:lnTo>
                        <a:lnTo>
                          <a:pt x="428" y="301"/>
                        </a:lnTo>
                        <a:lnTo>
                          <a:pt x="426" y="303"/>
                        </a:lnTo>
                        <a:lnTo>
                          <a:pt x="426" y="304"/>
                        </a:lnTo>
                        <a:lnTo>
                          <a:pt x="426" y="306"/>
                        </a:lnTo>
                        <a:lnTo>
                          <a:pt x="426" y="309"/>
                        </a:lnTo>
                        <a:lnTo>
                          <a:pt x="425" y="310"/>
                        </a:lnTo>
                        <a:lnTo>
                          <a:pt x="422" y="314"/>
                        </a:lnTo>
                        <a:lnTo>
                          <a:pt x="422" y="315"/>
                        </a:lnTo>
                        <a:lnTo>
                          <a:pt x="420" y="315"/>
                        </a:lnTo>
                        <a:lnTo>
                          <a:pt x="420" y="320"/>
                        </a:lnTo>
                        <a:lnTo>
                          <a:pt x="417" y="318"/>
                        </a:lnTo>
                        <a:lnTo>
                          <a:pt x="415" y="318"/>
                        </a:lnTo>
                        <a:lnTo>
                          <a:pt x="414" y="320"/>
                        </a:lnTo>
                        <a:lnTo>
                          <a:pt x="412" y="323"/>
                        </a:lnTo>
                        <a:lnTo>
                          <a:pt x="411" y="325"/>
                        </a:lnTo>
                        <a:lnTo>
                          <a:pt x="409" y="326"/>
                        </a:lnTo>
                        <a:lnTo>
                          <a:pt x="409" y="329"/>
                        </a:lnTo>
                        <a:lnTo>
                          <a:pt x="407" y="333"/>
                        </a:lnTo>
                        <a:lnTo>
                          <a:pt x="406" y="334"/>
                        </a:lnTo>
                        <a:lnTo>
                          <a:pt x="406" y="336"/>
                        </a:lnTo>
                        <a:lnTo>
                          <a:pt x="403" y="337"/>
                        </a:lnTo>
                        <a:lnTo>
                          <a:pt x="401" y="339"/>
                        </a:lnTo>
                        <a:lnTo>
                          <a:pt x="401" y="341"/>
                        </a:lnTo>
                        <a:lnTo>
                          <a:pt x="399" y="344"/>
                        </a:lnTo>
                        <a:lnTo>
                          <a:pt x="398" y="345"/>
                        </a:lnTo>
                        <a:lnTo>
                          <a:pt x="396" y="347"/>
                        </a:lnTo>
                        <a:lnTo>
                          <a:pt x="395" y="348"/>
                        </a:lnTo>
                        <a:lnTo>
                          <a:pt x="393" y="348"/>
                        </a:lnTo>
                        <a:lnTo>
                          <a:pt x="393" y="350"/>
                        </a:lnTo>
                        <a:lnTo>
                          <a:pt x="392" y="353"/>
                        </a:lnTo>
                        <a:lnTo>
                          <a:pt x="388" y="358"/>
                        </a:lnTo>
                        <a:lnTo>
                          <a:pt x="388" y="360"/>
                        </a:lnTo>
                        <a:lnTo>
                          <a:pt x="385" y="360"/>
                        </a:lnTo>
                        <a:lnTo>
                          <a:pt x="382" y="363"/>
                        </a:lnTo>
                        <a:lnTo>
                          <a:pt x="379" y="363"/>
                        </a:lnTo>
                        <a:lnTo>
                          <a:pt x="376" y="364"/>
                        </a:lnTo>
                        <a:lnTo>
                          <a:pt x="373" y="363"/>
                        </a:lnTo>
                        <a:lnTo>
                          <a:pt x="369" y="363"/>
                        </a:lnTo>
                        <a:lnTo>
                          <a:pt x="361" y="361"/>
                        </a:lnTo>
                        <a:lnTo>
                          <a:pt x="352" y="360"/>
                        </a:lnTo>
                        <a:lnTo>
                          <a:pt x="325" y="355"/>
                        </a:lnTo>
                        <a:lnTo>
                          <a:pt x="317" y="353"/>
                        </a:lnTo>
                        <a:lnTo>
                          <a:pt x="316" y="353"/>
                        </a:lnTo>
                        <a:lnTo>
                          <a:pt x="314" y="353"/>
                        </a:lnTo>
                        <a:lnTo>
                          <a:pt x="312" y="355"/>
                        </a:lnTo>
                        <a:lnTo>
                          <a:pt x="311" y="356"/>
                        </a:lnTo>
                        <a:lnTo>
                          <a:pt x="308" y="361"/>
                        </a:lnTo>
                        <a:lnTo>
                          <a:pt x="306" y="364"/>
                        </a:lnTo>
                        <a:lnTo>
                          <a:pt x="304" y="369"/>
                        </a:lnTo>
                        <a:lnTo>
                          <a:pt x="304" y="372"/>
                        </a:lnTo>
                        <a:lnTo>
                          <a:pt x="304" y="379"/>
                        </a:lnTo>
                        <a:lnTo>
                          <a:pt x="304" y="386"/>
                        </a:lnTo>
                        <a:lnTo>
                          <a:pt x="304" y="391"/>
                        </a:lnTo>
                        <a:lnTo>
                          <a:pt x="304" y="394"/>
                        </a:lnTo>
                        <a:lnTo>
                          <a:pt x="306" y="399"/>
                        </a:lnTo>
                        <a:lnTo>
                          <a:pt x="309" y="404"/>
                        </a:lnTo>
                        <a:lnTo>
                          <a:pt x="311" y="410"/>
                        </a:lnTo>
                        <a:lnTo>
                          <a:pt x="312" y="418"/>
                        </a:lnTo>
                        <a:lnTo>
                          <a:pt x="312" y="425"/>
                        </a:lnTo>
                        <a:lnTo>
                          <a:pt x="314" y="428"/>
                        </a:lnTo>
                        <a:lnTo>
                          <a:pt x="314" y="434"/>
                        </a:lnTo>
                        <a:lnTo>
                          <a:pt x="314" y="437"/>
                        </a:lnTo>
                        <a:lnTo>
                          <a:pt x="314" y="442"/>
                        </a:lnTo>
                        <a:lnTo>
                          <a:pt x="314" y="445"/>
                        </a:lnTo>
                        <a:lnTo>
                          <a:pt x="311" y="445"/>
                        </a:lnTo>
                        <a:lnTo>
                          <a:pt x="309" y="447"/>
                        </a:lnTo>
                        <a:lnTo>
                          <a:pt x="306" y="447"/>
                        </a:lnTo>
                        <a:lnTo>
                          <a:pt x="306" y="450"/>
                        </a:lnTo>
                        <a:lnTo>
                          <a:pt x="304" y="451"/>
                        </a:lnTo>
                        <a:lnTo>
                          <a:pt x="304" y="453"/>
                        </a:lnTo>
                        <a:lnTo>
                          <a:pt x="304" y="455"/>
                        </a:lnTo>
                        <a:lnTo>
                          <a:pt x="301" y="456"/>
                        </a:lnTo>
                        <a:lnTo>
                          <a:pt x="300" y="458"/>
                        </a:lnTo>
                        <a:lnTo>
                          <a:pt x="297" y="461"/>
                        </a:lnTo>
                        <a:lnTo>
                          <a:pt x="295" y="464"/>
                        </a:lnTo>
                        <a:lnTo>
                          <a:pt x="295" y="467"/>
                        </a:lnTo>
                        <a:lnTo>
                          <a:pt x="295" y="470"/>
                        </a:lnTo>
                        <a:lnTo>
                          <a:pt x="297" y="474"/>
                        </a:lnTo>
                        <a:lnTo>
                          <a:pt x="297" y="477"/>
                        </a:lnTo>
                        <a:lnTo>
                          <a:pt x="298" y="478"/>
                        </a:lnTo>
                        <a:lnTo>
                          <a:pt x="298" y="482"/>
                        </a:lnTo>
                        <a:lnTo>
                          <a:pt x="297" y="486"/>
                        </a:lnTo>
                        <a:lnTo>
                          <a:pt x="295" y="496"/>
                        </a:lnTo>
                        <a:lnTo>
                          <a:pt x="295" y="499"/>
                        </a:lnTo>
                        <a:lnTo>
                          <a:pt x="295" y="504"/>
                        </a:lnTo>
                        <a:lnTo>
                          <a:pt x="297" y="505"/>
                        </a:lnTo>
                        <a:lnTo>
                          <a:pt x="297" y="507"/>
                        </a:lnTo>
                        <a:lnTo>
                          <a:pt x="295" y="512"/>
                        </a:lnTo>
                        <a:lnTo>
                          <a:pt x="293" y="518"/>
                        </a:lnTo>
                        <a:lnTo>
                          <a:pt x="293" y="521"/>
                        </a:lnTo>
                        <a:lnTo>
                          <a:pt x="293" y="524"/>
                        </a:lnTo>
                        <a:lnTo>
                          <a:pt x="293" y="526"/>
                        </a:lnTo>
                        <a:lnTo>
                          <a:pt x="295" y="529"/>
                        </a:lnTo>
                        <a:lnTo>
                          <a:pt x="297" y="534"/>
                        </a:lnTo>
                        <a:lnTo>
                          <a:pt x="300" y="537"/>
                        </a:lnTo>
                        <a:lnTo>
                          <a:pt x="300" y="540"/>
                        </a:lnTo>
                        <a:lnTo>
                          <a:pt x="298" y="543"/>
                        </a:lnTo>
                        <a:lnTo>
                          <a:pt x="297" y="546"/>
                        </a:lnTo>
                        <a:lnTo>
                          <a:pt x="297" y="548"/>
                        </a:lnTo>
                        <a:lnTo>
                          <a:pt x="297" y="551"/>
                        </a:lnTo>
                        <a:lnTo>
                          <a:pt x="298" y="554"/>
                        </a:lnTo>
                        <a:lnTo>
                          <a:pt x="300" y="556"/>
                        </a:lnTo>
                        <a:lnTo>
                          <a:pt x="301" y="558"/>
                        </a:lnTo>
                        <a:lnTo>
                          <a:pt x="303" y="558"/>
                        </a:lnTo>
                        <a:lnTo>
                          <a:pt x="306" y="559"/>
                        </a:lnTo>
                        <a:lnTo>
                          <a:pt x="308" y="559"/>
                        </a:lnTo>
                        <a:lnTo>
                          <a:pt x="311" y="558"/>
                        </a:lnTo>
                        <a:lnTo>
                          <a:pt x="312" y="558"/>
                        </a:lnTo>
                        <a:lnTo>
                          <a:pt x="314" y="558"/>
                        </a:lnTo>
                        <a:lnTo>
                          <a:pt x="316" y="558"/>
                        </a:lnTo>
                        <a:lnTo>
                          <a:pt x="317" y="558"/>
                        </a:lnTo>
                        <a:lnTo>
                          <a:pt x="317" y="556"/>
                        </a:lnTo>
                        <a:lnTo>
                          <a:pt x="319" y="556"/>
                        </a:lnTo>
                        <a:lnTo>
                          <a:pt x="320" y="556"/>
                        </a:lnTo>
                        <a:lnTo>
                          <a:pt x="322" y="556"/>
                        </a:lnTo>
                        <a:lnTo>
                          <a:pt x="323" y="556"/>
                        </a:lnTo>
                        <a:lnTo>
                          <a:pt x="327" y="559"/>
                        </a:lnTo>
                        <a:lnTo>
                          <a:pt x="331" y="562"/>
                        </a:lnTo>
                        <a:lnTo>
                          <a:pt x="336" y="567"/>
                        </a:lnTo>
                        <a:lnTo>
                          <a:pt x="342" y="572"/>
                        </a:lnTo>
                        <a:lnTo>
                          <a:pt x="346" y="577"/>
                        </a:lnTo>
                        <a:lnTo>
                          <a:pt x="349" y="580"/>
                        </a:lnTo>
                        <a:lnTo>
                          <a:pt x="350" y="581"/>
                        </a:lnTo>
                        <a:lnTo>
                          <a:pt x="350" y="583"/>
                        </a:lnTo>
                        <a:lnTo>
                          <a:pt x="349" y="584"/>
                        </a:lnTo>
                        <a:lnTo>
                          <a:pt x="346" y="586"/>
                        </a:lnTo>
                        <a:lnTo>
                          <a:pt x="341" y="591"/>
                        </a:lnTo>
                        <a:lnTo>
                          <a:pt x="338" y="594"/>
                        </a:lnTo>
                        <a:lnTo>
                          <a:pt x="335" y="597"/>
                        </a:lnTo>
                        <a:lnTo>
                          <a:pt x="331" y="599"/>
                        </a:lnTo>
                        <a:lnTo>
                          <a:pt x="328" y="600"/>
                        </a:lnTo>
                        <a:lnTo>
                          <a:pt x="327" y="602"/>
                        </a:lnTo>
                        <a:lnTo>
                          <a:pt x="325" y="604"/>
                        </a:lnTo>
                        <a:lnTo>
                          <a:pt x="325" y="605"/>
                        </a:lnTo>
                        <a:lnTo>
                          <a:pt x="323" y="607"/>
                        </a:lnTo>
                        <a:lnTo>
                          <a:pt x="323" y="611"/>
                        </a:lnTo>
                        <a:lnTo>
                          <a:pt x="323" y="616"/>
                        </a:lnTo>
                        <a:lnTo>
                          <a:pt x="322" y="618"/>
                        </a:lnTo>
                        <a:lnTo>
                          <a:pt x="322" y="619"/>
                        </a:lnTo>
                        <a:lnTo>
                          <a:pt x="319" y="618"/>
                        </a:lnTo>
                        <a:lnTo>
                          <a:pt x="316" y="618"/>
                        </a:lnTo>
                        <a:lnTo>
                          <a:pt x="314" y="619"/>
                        </a:lnTo>
                        <a:lnTo>
                          <a:pt x="312" y="621"/>
                        </a:lnTo>
                        <a:lnTo>
                          <a:pt x="311" y="623"/>
                        </a:lnTo>
                        <a:lnTo>
                          <a:pt x="304" y="623"/>
                        </a:lnTo>
                        <a:lnTo>
                          <a:pt x="304" y="624"/>
                        </a:lnTo>
                        <a:lnTo>
                          <a:pt x="303" y="624"/>
                        </a:lnTo>
                        <a:lnTo>
                          <a:pt x="303" y="626"/>
                        </a:lnTo>
                        <a:lnTo>
                          <a:pt x="301" y="627"/>
                        </a:lnTo>
                        <a:lnTo>
                          <a:pt x="301" y="630"/>
                        </a:lnTo>
                        <a:lnTo>
                          <a:pt x="298" y="634"/>
                        </a:lnTo>
                        <a:lnTo>
                          <a:pt x="295" y="637"/>
                        </a:lnTo>
                        <a:lnTo>
                          <a:pt x="295" y="638"/>
                        </a:lnTo>
                        <a:lnTo>
                          <a:pt x="293" y="640"/>
                        </a:lnTo>
                        <a:lnTo>
                          <a:pt x="290" y="642"/>
                        </a:lnTo>
                        <a:lnTo>
                          <a:pt x="289" y="643"/>
                        </a:lnTo>
                        <a:lnTo>
                          <a:pt x="287" y="645"/>
                        </a:lnTo>
                        <a:lnTo>
                          <a:pt x="285" y="646"/>
                        </a:lnTo>
                        <a:lnTo>
                          <a:pt x="282" y="648"/>
                        </a:lnTo>
                        <a:lnTo>
                          <a:pt x="279" y="651"/>
                        </a:lnTo>
                        <a:lnTo>
                          <a:pt x="279" y="653"/>
                        </a:lnTo>
                        <a:lnTo>
                          <a:pt x="277" y="654"/>
                        </a:lnTo>
                        <a:lnTo>
                          <a:pt x="276" y="657"/>
                        </a:lnTo>
                        <a:lnTo>
                          <a:pt x="274" y="659"/>
                        </a:lnTo>
                        <a:lnTo>
                          <a:pt x="273" y="662"/>
                        </a:lnTo>
                        <a:lnTo>
                          <a:pt x="273" y="664"/>
                        </a:lnTo>
                        <a:lnTo>
                          <a:pt x="273" y="665"/>
                        </a:lnTo>
                        <a:lnTo>
                          <a:pt x="271" y="665"/>
                        </a:lnTo>
                        <a:lnTo>
                          <a:pt x="271" y="667"/>
                        </a:lnTo>
                        <a:lnTo>
                          <a:pt x="274" y="676"/>
                        </a:lnTo>
                        <a:lnTo>
                          <a:pt x="282" y="691"/>
                        </a:lnTo>
                        <a:lnTo>
                          <a:pt x="289" y="702"/>
                        </a:lnTo>
                        <a:lnTo>
                          <a:pt x="292" y="710"/>
                        </a:lnTo>
                        <a:lnTo>
                          <a:pt x="297" y="718"/>
                        </a:lnTo>
                        <a:lnTo>
                          <a:pt x="298" y="722"/>
                        </a:lnTo>
                        <a:lnTo>
                          <a:pt x="300" y="727"/>
                        </a:lnTo>
                        <a:lnTo>
                          <a:pt x="301" y="730"/>
                        </a:lnTo>
                        <a:lnTo>
                          <a:pt x="292" y="738"/>
                        </a:lnTo>
                        <a:lnTo>
                          <a:pt x="285" y="743"/>
                        </a:lnTo>
                        <a:lnTo>
                          <a:pt x="282" y="746"/>
                        </a:lnTo>
                        <a:lnTo>
                          <a:pt x="281" y="748"/>
                        </a:lnTo>
                        <a:lnTo>
                          <a:pt x="281" y="749"/>
                        </a:lnTo>
                        <a:lnTo>
                          <a:pt x="282" y="751"/>
                        </a:lnTo>
                        <a:lnTo>
                          <a:pt x="282" y="756"/>
                        </a:lnTo>
                        <a:lnTo>
                          <a:pt x="281" y="757"/>
                        </a:lnTo>
                        <a:lnTo>
                          <a:pt x="281" y="759"/>
                        </a:lnTo>
                        <a:lnTo>
                          <a:pt x="279" y="760"/>
                        </a:lnTo>
                        <a:lnTo>
                          <a:pt x="274" y="763"/>
                        </a:lnTo>
                        <a:lnTo>
                          <a:pt x="273" y="767"/>
                        </a:lnTo>
                        <a:lnTo>
                          <a:pt x="271" y="768"/>
                        </a:lnTo>
                        <a:lnTo>
                          <a:pt x="268" y="773"/>
                        </a:lnTo>
                        <a:lnTo>
                          <a:pt x="266" y="773"/>
                        </a:lnTo>
                        <a:lnTo>
                          <a:pt x="266" y="771"/>
                        </a:lnTo>
                        <a:lnTo>
                          <a:pt x="262" y="776"/>
                        </a:lnTo>
                        <a:lnTo>
                          <a:pt x="255" y="781"/>
                        </a:lnTo>
                        <a:lnTo>
                          <a:pt x="241" y="792"/>
                        </a:lnTo>
                        <a:lnTo>
                          <a:pt x="233" y="798"/>
                        </a:lnTo>
                        <a:lnTo>
                          <a:pt x="227" y="802"/>
                        </a:lnTo>
                        <a:lnTo>
                          <a:pt x="222" y="806"/>
                        </a:lnTo>
                        <a:lnTo>
                          <a:pt x="224" y="806"/>
                        </a:lnTo>
                        <a:lnTo>
                          <a:pt x="225" y="808"/>
                        </a:lnTo>
                        <a:lnTo>
                          <a:pt x="228" y="808"/>
                        </a:lnTo>
                        <a:lnTo>
                          <a:pt x="230" y="808"/>
                        </a:lnTo>
                        <a:lnTo>
                          <a:pt x="232" y="809"/>
                        </a:lnTo>
                        <a:lnTo>
                          <a:pt x="233" y="811"/>
                        </a:lnTo>
                        <a:lnTo>
                          <a:pt x="235" y="813"/>
                        </a:lnTo>
                        <a:lnTo>
                          <a:pt x="236" y="814"/>
                        </a:lnTo>
                        <a:lnTo>
                          <a:pt x="236" y="817"/>
                        </a:lnTo>
                        <a:lnTo>
                          <a:pt x="238" y="821"/>
                        </a:lnTo>
                        <a:lnTo>
                          <a:pt x="238" y="822"/>
                        </a:lnTo>
                        <a:lnTo>
                          <a:pt x="238" y="824"/>
                        </a:lnTo>
                        <a:lnTo>
                          <a:pt x="238" y="825"/>
                        </a:lnTo>
                        <a:lnTo>
                          <a:pt x="238" y="827"/>
                        </a:lnTo>
                        <a:lnTo>
                          <a:pt x="238" y="830"/>
                        </a:lnTo>
                        <a:lnTo>
                          <a:pt x="238" y="832"/>
                        </a:lnTo>
                        <a:lnTo>
                          <a:pt x="238" y="833"/>
                        </a:lnTo>
                        <a:lnTo>
                          <a:pt x="236" y="835"/>
                        </a:lnTo>
                        <a:lnTo>
                          <a:pt x="235" y="836"/>
                        </a:lnTo>
                        <a:lnTo>
                          <a:pt x="233" y="836"/>
                        </a:lnTo>
                        <a:lnTo>
                          <a:pt x="232" y="836"/>
                        </a:lnTo>
                        <a:lnTo>
                          <a:pt x="227" y="835"/>
                        </a:lnTo>
                        <a:lnTo>
                          <a:pt x="227" y="833"/>
                        </a:lnTo>
                        <a:lnTo>
                          <a:pt x="225" y="833"/>
                        </a:lnTo>
                        <a:lnTo>
                          <a:pt x="224" y="833"/>
                        </a:lnTo>
                        <a:lnTo>
                          <a:pt x="222" y="835"/>
                        </a:lnTo>
                        <a:lnTo>
                          <a:pt x="220" y="835"/>
                        </a:lnTo>
                        <a:lnTo>
                          <a:pt x="220" y="836"/>
                        </a:lnTo>
                        <a:lnTo>
                          <a:pt x="220" y="838"/>
                        </a:lnTo>
                        <a:lnTo>
                          <a:pt x="219" y="838"/>
                        </a:lnTo>
                        <a:lnTo>
                          <a:pt x="216" y="841"/>
                        </a:lnTo>
                        <a:lnTo>
                          <a:pt x="213" y="844"/>
                        </a:lnTo>
                        <a:lnTo>
                          <a:pt x="211" y="844"/>
                        </a:lnTo>
                        <a:lnTo>
                          <a:pt x="211" y="846"/>
                        </a:lnTo>
                        <a:lnTo>
                          <a:pt x="209" y="847"/>
                        </a:lnTo>
                        <a:lnTo>
                          <a:pt x="208" y="849"/>
                        </a:lnTo>
                        <a:lnTo>
                          <a:pt x="208" y="851"/>
                        </a:lnTo>
                        <a:lnTo>
                          <a:pt x="208" y="852"/>
                        </a:lnTo>
                        <a:lnTo>
                          <a:pt x="205" y="857"/>
                        </a:lnTo>
                        <a:lnTo>
                          <a:pt x="203" y="859"/>
                        </a:lnTo>
                        <a:lnTo>
                          <a:pt x="203" y="860"/>
                        </a:lnTo>
                        <a:lnTo>
                          <a:pt x="203" y="863"/>
                        </a:lnTo>
                        <a:lnTo>
                          <a:pt x="201" y="868"/>
                        </a:lnTo>
                        <a:lnTo>
                          <a:pt x="200" y="873"/>
                        </a:lnTo>
                        <a:lnTo>
                          <a:pt x="200" y="874"/>
                        </a:lnTo>
                        <a:lnTo>
                          <a:pt x="200" y="876"/>
                        </a:lnTo>
                        <a:lnTo>
                          <a:pt x="200" y="878"/>
                        </a:lnTo>
                        <a:lnTo>
                          <a:pt x="201" y="881"/>
                        </a:lnTo>
                        <a:lnTo>
                          <a:pt x="201" y="882"/>
                        </a:lnTo>
                        <a:lnTo>
                          <a:pt x="203" y="884"/>
                        </a:lnTo>
                        <a:lnTo>
                          <a:pt x="205" y="885"/>
                        </a:lnTo>
                        <a:lnTo>
                          <a:pt x="206" y="887"/>
                        </a:lnTo>
                        <a:lnTo>
                          <a:pt x="208" y="889"/>
                        </a:lnTo>
                        <a:lnTo>
                          <a:pt x="209" y="890"/>
                        </a:lnTo>
                        <a:lnTo>
                          <a:pt x="211" y="890"/>
                        </a:lnTo>
                        <a:lnTo>
                          <a:pt x="213" y="890"/>
                        </a:lnTo>
                        <a:lnTo>
                          <a:pt x="214" y="892"/>
                        </a:lnTo>
                        <a:lnTo>
                          <a:pt x="216" y="893"/>
                        </a:lnTo>
                        <a:lnTo>
                          <a:pt x="219" y="893"/>
                        </a:lnTo>
                        <a:lnTo>
                          <a:pt x="220" y="895"/>
                        </a:lnTo>
                        <a:lnTo>
                          <a:pt x="222" y="897"/>
                        </a:lnTo>
                        <a:lnTo>
                          <a:pt x="225" y="901"/>
                        </a:lnTo>
                        <a:lnTo>
                          <a:pt x="227" y="901"/>
                        </a:lnTo>
                        <a:lnTo>
                          <a:pt x="228" y="903"/>
                        </a:lnTo>
                        <a:lnTo>
                          <a:pt x="230" y="904"/>
                        </a:lnTo>
                        <a:lnTo>
                          <a:pt x="232" y="906"/>
                        </a:lnTo>
                        <a:lnTo>
                          <a:pt x="233" y="908"/>
                        </a:lnTo>
                        <a:lnTo>
                          <a:pt x="233" y="909"/>
                        </a:lnTo>
                        <a:lnTo>
                          <a:pt x="235" y="912"/>
                        </a:lnTo>
                        <a:lnTo>
                          <a:pt x="235" y="914"/>
                        </a:lnTo>
                        <a:lnTo>
                          <a:pt x="236" y="914"/>
                        </a:lnTo>
                        <a:lnTo>
                          <a:pt x="236" y="916"/>
                        </a:lnTo>
                        <a:lnTo>
                          <a:pt x="236" y="919"/>
                        </a:lnTo>
                        <a:lnTo>
                          <a:pt x="238" y="919"/>
                        </a:lnTo>
                        <a:lnTo>
                          <a:pt x="238" y="920"/>
                        </a:lnTo>
                        <a:lnTo>
                          <a:pt x="236" y="922"/>
                        </a:lnTo>
                        <a:lnTo>
                          <a:pt x="238" y="923"/>
                        </a:lnTo>
                        <a:lnTo>
                          <a:pt x="238" y="925"/>
                        </a:lnTo>
                        <a:lnTo>
                          <a:pt x="238" y="927"/>
                        </a:lnTo>
                        <a:lnTo>
                          <a:pt x="238" y="928"/>
                        </a:lnTo>
                        <a:lnTo>
                          <a:pt x="239" y="930"/>
                        </a:lnTo>
                        <a:lnTo>
                          <a:pt x="241" y="933"/>
                        </a:lnTo>
                        <a:lnTo>
                          <a:pt x="241" y="935"/>
                        </a:lnTo>
                        <a:lnTo>
                          <a:pt x="243" y="936"/>
                        </a:lnTo>
                        <a:lnTo>
                          <a:pt x="241" y="941"/>
                        </a:lnTo>
                        <a:lnTo>
                          <a:pt x="241" y="942"/>
                        </a:lnTo>
                        <a:lnTo>
                          <a:pt x="241" y="944"/>
                        </a:lnTo>
                        <a:lnTo>
                          <a:pt x="241" y="946"/>
                        </a:lnTo>
                        <a:lnTo>
                          <a:pt x="243" y="950"/>
                        </a:lnTo>
                        <a:lnTo>
                          <a:pt x="246" y="952"/>
                        </a:lnTo>
                        <a:lnTo>
                          <a:pt x="249" y="954"/>
                        </a:lnTo>
                        <a:lnTo>
                          <a:pt x="251" y="955"/>
                        </a:lnTo>
                        <a:lnTo>
                          <a:pt x="252" y="957"/>
                        </a:lnTo>
                        <a:lnTo>
                          <a:pt x="252" y="958"/>
                        </a:lnTo>
                        <a:lnTo>
                          <a:pt x="254" y="960"/>
                        </a:lnTo>
                        <a:lnTo>
                          <a:pt x="255" y="962"/>
                        </a:lnTo>
                        <a:lnTo>
                          <a:pt x="255" y="963"/>
                        </a:lnTo>
                        <a:lnTo>
                          <a:pt x="257" y="965"/>
                        </a:lnTo>
                        <a:lnTo>
                          <a:pt x="257" y="966"/>
                        </a:lnTo>
                        <a:lnTo>
                          <a:pt x="258" y="968"/>
                        </a:lnTo>
                        <a:lnTo>
                          <a:pt x="258" y="969"/>
                        </a:lnTo>
                        <a:lnTo>
                          <a:pt x="258" y="971"/>
                        </a:lnTo>
                        <a:lnTo>
                          <a:pt x="258" y="973"/>
                        </a:lnTo>
                        <a:lnTo>
                          <a:pt x="257" y="974"/>
                        </a:lnTo>
                        <a:lnTo>
                          <a:pt x="257" y="976"/>
                        </a:lnTo>
                        <a:lnTo>
                          <a:pt x="254" y="981"/>
                        </a:lnTo>
                        <a:lnTo>
                          <a:pt x="252" y="982"/>
                        </a:lnTo>
                        <a:lnTo>
                          <a:pt x="252" y="985"/>
                        </a:lnTo>
                        <a:lnTo>
                          <a:pt x="251" y="985"/>
                        </a:lnTo>
                        <a:lnTo>
                          <a:pt x="251" y="987"/>
                        </a:lnTo>
                        <a:lnTo>
                          <a:pt x="251" y="992"/>
                        </a:lnTo>
                        <a:lnTo>
                          <a:pt x="251" y="993"/>
                        </a:lnTo>
                        <a:lnTo>
                          <a:pt x="251" y="1000"/>
                        </a:lnTo>
                        <a:lnTo>
                          <a:pt x="251" y="1001"/>
                        </a:lnTo>
                        <a:lnTo>
                          <a:pt x="249" y="1003"/>
                        </a:lnTo>
                        <a:lnTo>
                          <a:pt x="247" y="1004"/>
                        </a:lnTo>
                        <a:lnTo>
                          <a:pt x="246" y="1004"/>
                        </a:lnTo>
                        <a:lnTo>
                          <a:pt x="244" y="1004"/>
                        </a:lnTo>
                        <a:lnTo>
                          <a:pt x="243" y="1006"/>
                        </a:lnTo>
                        <a:lnTo>
                          <a:pt x="238" y="1003"/>
                        </a:lnTo>
                        <a:lnTo>
                          <a:pt x="236" y="1001"/>
                        </a:lnTo>
                        <a:lnTo>
                          <a:pt x="236" y="1000"/>
                        </a:lnTo>
                        <a:lnTo>
                          <a:pt x="236" y="998"/>
                        </a:lnTo>
                        <a:lnTo>
                          <a:pt x="235" y="998"/>
                        </a:lnTo>
                        <a:lnTo>
                          <a:pt x="233" y="996"/>
                        </a:lnTo>
                        <a:lnTo>
                          <a:pt x="232" y="995"/>
                        </a:lnTo>
                        <a:lnTo>
                          <a:pt x="232" y="993"/>
                        </a:lnTo>
                        <a:lnTo>
                          <a:pt x="230" y="992"/>
                        </a:lnTo>
                        <a:lnTo>
                          <a:pt x="228" y="990"/>
                        </a:lnTo>
                        <a:lnTo>
                          <a:pt x="227" y="987"/>
                        </a:lnTo>
                        <a:lnTo>
                          <a:pt x="225" y="987"/>
                        </a:lnTo>
                        <a:lnTo>
                          <a:pt x="222" y="985"/>
                        </a:lnTo>
                        <a:lnTo>
                          <a:pt x="220" y="985"/>
                        </a:lnTo>
                        <a:lnTo>
                          <a:pt x="216" y="984"/>
                        </a:lnTo>
                        <a:lnTo>
                          <a:pt x="214" y="982"/>
                        </a:lnTo>
                        <a:lnTo>
                          <a:pt x="211" y="982"/>
                        </a:lnTo>
                        <a:lnTo>
                          <a:pt x="209" y="982"/>
                        </a:lnTo>
                        <a:lnTo>
                          <a:pt x="208" y="982"/>
                        </a:lnTo>
                        <a:lnTo>
                          <a:pt x="205" y="982"/>
                        </a:lnTo>
                        <a:lnTo>
                          <a:pt x="203" y="984"/>
                        </a:lnTo>
                        <a:lnTo>
                          <a:pt x="201" y="985"/>
                        </a:lnTo>
                        <a:lnTo>
                          <a:pt x="198" y="985"/>
                        </a:lnTo>
                        <a:lnTo>
                          <a:pt x="197" y="987"/>
                        </a:lnTo>
                        <a:lnTo>
                          <a:pt x="195" y="987"/>
                        </a:lnTo>
                        <a:lnTo>
                          <a:pt x="192" y="987"/>
                        </a:lnTo>
                        <a:lnTo>
                          <a:pt x="189" y="988"/>
                        </a:lnTo>
                        <a:lnTo>
                          <a:pt x="187" y="990"/>
                        </a:lnTo>
                        <a:lnTo>
                          <a:pt x="184" y="992"/>
                        </a:lnTo>
                        <a:lnTo>
                          <a:pt x="184" y="993"/>
                        </a:lnTo>
                        <a:lnTo>
                          <a:pt x="182" y="993"/>
                        </a:lnTo>
                        <a:lnTo>
                          <a:pt x="181" y="995"/>
                        </a:lnTo>
                        <a:lnTo>
                          <a:pt x="181" y="996"/>
                        </a:lnTo>
                        <a:lnTo>
                          <a:pt x="179" y="996"/>
                        </a:lnTo>
                        <a:lnTo>
                          <a:pt x="178" y="998"/>
                        </a:lnTo>
                        <a:lnTo>
                          <a:pt x="176" y="998"/>
                        </a:lnTo>
                        <a:lnTo>
                          <a:pt x="176" y="1000"/>
                        </a:lnTo>
                        <a:lnTo>
                          <a:pt x="175" y="1000"/>
                        </a:lnTo>
                        <a:lnTo>
                          <a:pt x="175" y="1003"/>
                        </a:lnTo>
                        <a:lnTo>
                          <a:pt x="173" y="1004"/>
                        </a:lnTo>
                        <a:lnTo>
                          <a:pt x="173" y="1006"/>
                        </a:lnTo>
                        <a:lnTo>
                          <a:pt x="173" y="1007"/>
                        </a:lnTo>
                        <a:lnTo>
                          <a:pt x="173" y="1009"/>
                        </a:lnTo>
                        <a:lnTo>
                          <a:pt x="175" y="1011"/>
                        </a:lnTo>
                        <a:lnTo>
                          <a:pt x="176" y="1011"/>
                        </a:lnTo>
                        <a:lnTo>
                          <a:pt x="178" y="1012"/>
                        </a:lnTo>
                        <a:lnTo>
                          <a:pt x="178" y="1014"/>
                        </a:lnTo>
                        <a:lnTo>
                          <a:pt x="179" y="1015"/>
                        </a:lnTo>
                        <a:lnTo>
                          <a:pt x="181" y="1015"/>
                        </a:lnTo>
                        <a:lnTo>
                          <a:pt x="182" y="1017"/>
                        </a:lnTo>
                        <a:lnTo>
                          <a:pt x="184" y="1022"/>
                        </a:lnTo>
                        <a:lnTo>
                          <a:pt x="186" y="1023"/>
                        </a:lnTo>
                        <a:lnTo>
                          <a:pt x="186" y="1025"/>
                        </a:lnTo>
                        <a:lnTo>
                          <a:pt x="186" y="1026"/>
                        </a:lnTo>
                        <a:lnTo>
                          <a:pt x="186" y="1028"/>
                        </a:lnTo>
                        <a:lnTo>
                          <a:pt x="189" y="1030"/>
                        </a:lnTo>
                        <a:lnTo>
                          <a:pt x="190" y="1031"/>
                        </a:lnTo>
                        <a:lnTo>
                          <a:pt x="192" y="1031"/>
                        </a:lnTo>
                        <a:lnTo>
                          <a:pt x="194" y="1033"/>
                        </a:lnTo>
                        <a:lnTo>
                          <a:pt x="195" y="1034"/>
                        </a:lnTo>
                        <a:lnTo>
                          <a:pt x="197" y="1036"/>
                        </a:lnTo>
                        <a:lnTo>
                          <a:pt x="198" y="1036"/>
                        </a:lnTo>
                        <a:lnTo>
                          <a:pt x="200" y="1038"/>
                        </a:lnTo>
                        <a:lnTo>
                          <a:pt x="201" y="1038"/>
                        </a:lnTo>
                        <a:lnTo>
                          <a:pt x="203" y="1038"/>
                        </a:lnTo>
                        <a:lnTo>
                          <a:pt x="205" y="1038"/>
                        </a:lnTo>
                        <a:lnTo>
                          <a:pt x="206" y="1038"/>
                        </a:lnTo>
                        <a:lnTo>
                          <a:pt x="206" y="1039"/>
                        </a:lnTo>
                        <a:lnTo>
                          <a:pt x="208" y="1039"/>
                        </a:lnTo>
                        <a:lnTo>
                          <a:pt x="209" y="1039"/>
                        </a:lnTo>
                        <a:lnTo>
                          <a:pt x="213" y="1039"/>
                        </a:lnTo>
                        <a:lnTo>
                          <a:pt x="219" y="1044"/>
                        </a:lnTo>
                        <a:lnTo>
                          <a:pt x="219" y="1045"/>
                        </a:lnTo>
                        <a:lnTo>
                          <a:pt x="219" y="1047"/>
                        </a:lnTo>
                        <a:lnTo>
                          <a:pt x="220" y="1047"/>
                        </a:lnTo>
                        <a:lnTo>
                          <a:pt x="220" y="1049"/>
                        </a:lnTo>
                        <a:lnTo>
                          <a:pt x="222" y="1050"/>
                        </a:lnTo>
                        <a:lnTo>
                          <a:pt x="222" y="1052"/>
                        </a:lnTo>
                        <a:lnTo>
                          <a:pt x="224" y="1053"/>
                        </a:lnTo>
                        <a:lnTo>
                          <a:pt x="224" y="1055"/>
                        </a:lnTo>
                        <a:lnTo>
                          <a:pt x="224" y="1057"/>
                        </a:lnTo>
                        <a:lnTo>
                          <a:pt x="222" y="1061"/>
                        </a:lnTo>
                        <a:lnTo>
                          <a:pt x="222" y="1063"/>
                        </a:lnTo>
                        <a:lnTo>
                          <a:pt x="220" y="1063"/>
                        </a:lnTo>
                        <a:lnTo>
                          <a:pt x="217" y="1066"/>
                        </a:lnTo>
                        <a:lnTo>
                          <a:pt x="216" y="1068"/>
                        </a:lnTo>
                        <a:lnTo>
                          <a:pt x="214" y="1069"/>
                        </a:lnTo>
                        <a:lnTo>
                          <a:pt x="213" y="1071"/>
                        </a:lnTo>
                        <a:lnTo>
                          <a:pt x="209" y="1074"/>
                        </a:lnTo>
                        <a:lnTo>
                          <a:pt x="206" y="1077"/>
                        </a:lnTo>
                        <a:lnTo>
                          <a:pt x="205" y="1079"/>
                        </a:lnTo>
                        <a:lnTo>
                          <a:pt x="205" y="1080"/>
                        </a:lnTo>
                        <a:lnTo>
                          <a:pt x="203" y="1082"/>
                        </a:lnTo>
                        <a:lnTo>
                          <a:pt x="203" y="1083"/>
                        </a:lnTo>
                        <a:lnTo>
                          <a:pt x="203" y="1087"/>
                        </a:lnTo>
                        <a:lnTo>
                          <a:pt x="205" y="1088"/>
                        </a:lnTo>
                        <a:lnTo>
                          <a:pt x="206" y="1090"/>
                        </a:lnTo>
                        <a:lnTo>
                          <a:pt x="208" y="1093"/>
                        </a:lnTo>
                        <a:lnTo>
                          <a:pt x="209" y="1095"/>
                        </a:lnTo>
                        <a:lnTo>
                          <a:pt x="214" y="1095"/>
                        </a:lnTo>
                        <a:lnTo>
                          <a:pt x="216" y="1095"/>
                        </a:lnTo>
                        <a:lnTo>
                          <a:pt x="217" y="1096"/>
                        </a:lnTo>
                        <a:lnTo>
                          <a:pt x="219" y="1096"/>
                        </a:lnTo>
                        <a:lnTo>
                          <a:pt x="220" y="1098"/>
                        </a:lnTo>
                        <a:lnTo>
                          <a:pt x="222" y="1099"/>
                        </a:lnTo>
                        <a:lnTo>
                          <a:pt x="225" y="1102"/>
                        </a:lnTo>
                        <a:lnTo>
                          <a:pt x="228" y="1102"/>
                        </a:lnTo>
                        <a:lnTo>
                          <a:pt x="228" y="1104"/>
                        </a:lnTo>
                        <a:lnTo>
                          <a:pt x="232" y="1107"/>
                        </a:lnTo>
                        <a:lnTo>
                          <a:pt x="233" y="1109"/>
                        </a:lnTo>
                        <a:lnTo>
                          <a:pt x="236" y="1110"/>
                        </a:lnTo>
                        <a:lnTo>
                          <a:pt x="236" y="1112"/>
                        </a:lnTo>
                        <a:lnTo>
                          <a:pt x="236" y="1114"/>
                        </a:lnTo>
                        <a:lnTo>
                          <a:pt x="238" y="1114"/>
                        </a:lnTo>
                        <a:lnTo>
                          <a:pt x="238" y="1117"/>
                        </a:lnTo>
                        <a:lnTo>
                          <a:pt x="238" y="1121"/>
                        </a:lnTo>
                        <a:lnTo>
                          <a:pt x="238" y="1123"/>
                        </a:lnTo>
                        <a:lnTo>
                          <a:pt x="236" y="1125"/>
                        </a:lnTo>
                        <a:lnTo>
                          <a:pt x="235" y="1128"/>
                        </a:lnTo>
                        <a:lnTo>
                          <a:pt x="233" y="1129"/>
                        </a:lnTo>
                        <a:lnTo>
                          <a:pt x="232" y="1131"/>
                        </a:lnTo>
                        <a:lnTo>
                          <a:pt x="230" y="1133"/>
                        </a:lnTo>
                        <a:lnTo>
                          <a:pt x="230" y="1134"/>
                        </a:lnTo>
                        <a:lnTo>
                          <a:pt x="228" y="1136"/>
                        </a:lnTo>
                        <a:lnTo>
                          <a:pt x="228" y="1137"/>
                        </a:lnTo>
                        <a:lnTo>
                          <a:pt x="228" y="1139"/>
                        </a:lnTo>
                        <a:lnTo>
                          <a:pt x="228" y="1142"/>
                        </a:lnTo>
                        <a:lnTo>
                          <a:pt x="228" y="1144"/>
                        </a:lnTo>
                        <a:lnTo>
                          <a:pt x="227" y="1145"/>
                        </a:lnTo>
                        <a:lnTo>
                          <a:pt x="225" y="1148"/>
                        </a:lnTo>
                        <a:lnTo>
                          <a:pt x="224" y="1150"/>
                        </a:lnTo>
                        <a:lnTo>
                          <a:pt x="222" y="1150"/>
                        </a:lnTo>
                        <a:lnTo>
                          <a:pt x="217" y="1152"/>
                        </a:lnTo>
                        <a:lnTo>
                          <a:pt x="216" y="1153"/>
                        </a:lnTo>
                        <a:lnTo>
                          <a:pt x="213" y="1153"/>
                        </a:lnTo>
                        <a:lnTo>
                          <a:pt x="213" y="1155"/>
                        </a:lnTo>
                        <a:lnTo>
                          <a:pt x="211" y="1155"/>
                        </a:lnTo>
                        <a:lnTo>
                          <a:pt x="209" y="1155"/>
                        </a:lnTo>
                        <a:lnTo>
                          <a:pt x="206" y="1158"/>
                        </a:lnTo>
                        <a:lnTo>
                          <a:pt x="205" y="1158"/>
                        </a:lnTo>
                        <a:lnTo>
                          <a:pt x="203" y="1160"/>
                        </a:lnTo>
                        <a:lnTo>
                          <a:pt x="201" y="1160"/>
                        </a:lnTo>
                        <a:lnTo>
                          <a:pt x="198" y="1160"/>
                        </a:lnTo>
                        <a:lnTo>
                          <a:pt x="197" y="1160"/>
                        </a:lnTo>
                        <a:lnTo>
                          <a:pt x="195" y="1160"/>
                        </a:lnTo>
                        <a:lnTo>
                          <a:pt x="190" y="1158"/>
                        </a:lnTo>
                        <a:lnTo>
                          <a:pt x="189" y="1158"/>
                        </a:lnTo>
                        <a:lnTo>
                          <a:pt x="187" y="1158"/>
                        </a:lnTo>
                        <a:lnTo>
                          <a:pt x="186" y="1158"/>
                        </a:lnTo>
                        <a:lnTo>
                          <a:pt x="182" y="1158"/>
                        </a:lnTo>
                        <a:lnTo>
                          <a:pt x="181" y="1158"/>
                        </a:lnTo>
                        <a:lnTo>
                          <a:pt x="179" y="1160"/>
                        </a:lnTo>
                        <a:lnTo>
                          <a:pt x="178" y="1160"/>
                        </a:lnTo>
                        <a:lnTo>
                          <a:pt x="178" y="1161"/>
                        </a:lnTo>
                        <a:lnTo>
                          <a:pt x="176" y="1164"/>
                        </a:lnTo>
                        <a:lnTo>
                          <a:pt x="176" y="1167"/>
                        </a:lnTo>
                        <a:lnTo>
                          <a:pt x="178" y="1171"/>
                        </a:lnTo>
                        <a:lnTo>
                          <a:pt x="178" y="1172"/>
                        </a:lnTo>
                        <a:lnTo>
                          <a:pt x="178" y="1174"/>
                        </a:lnTo>
                        <a:lnTo>
                          <a:pt x="178" y="1177"/>
                        </a:lnTo>
                        <a:lnTo>
                          <a:pt x="179" y="1179"/>
                        </a:lnTo>
                        <a:lnTo>
                          <a:pt x="182" y="1182"/>
                        </a:lnTo>
                        <a:lnTo>
                          <a:pt x="189" y="1185"/>
                        </a:lnTo>
                        <a:lnTo>
                          <a:pt x="190" y="1186"/>
                        </a:lnTo>
                        <a:lnTo>
                          <a:pt x="194" y="1188"/>
                        </a:lnTo>
                        <a:lnTo>
                          <a:pt x="195" y="1190"/>
                        </a:lnTo>
                        <a:lnTo>
                          <a:pt x="198" y="1193"/>
                        </a:lnTo>
                        <a:lnTo>
                          <a:pt x="201" y="1194"/>
                        </a:lnTo>
                        <a:lnTo>
                          <a:pt x="203" y="1196"/>
                        </a:lnTo>
                        <a:lnTo>
                          <a:pt x="205" y="1196"/>
                        </a:lnTo>
                        <a:lnTo>
                          <a:pt x="206" y="1198"/>
                        </a:lnTo>
                        <a:lnTo>
                          <a:pt x="209" y="1198"/>
                        </a:lnTo>
                        <a:lnTo>
                          <a:pt x="211" y="1198"/>
                        </a:lnTo>
                        <a:lnTo>
                          <a:pt x="213" y="1198"/>
                        </a:lnTo>
                        <a:lnTo>
                          <a:pt x="214" y="1196"/>
                        </a:lnTo>
                        <a:lnTo>
                          <a:pt x="216" y="1196"/>
                        </a:lnTo>
                        <a:lnTo>
                          <a:pt x="217" y="1196"/>
                        </a:lnTo>
                        <a:lnTo>
                          <a:pt x="219" y="1198"/>
                        </a:lnTo>
                        <a:lnTo>
                          <a:pt x="222" y="1196"/>
                        </a:lnTo>
                        <a:lnTo>
                          <a:pt x="225" y="1196"/>
                        </a:lnTo>
                        <a:lnTo>
                          <a:pt x="227" y="1194"/>
                        </a:lnTo>
                        <a:lnTo>
                          <a:pt x="230" y="1194"/>
                        </a:lnTo>
                        <a:lnTo>
                          <a:pt x="230" y="1193"/>
                        </a:lnTo>
                        <a:lnTo>
                          <a:pt x="232" y="1193"/>
                        </a:lnTo>
                        <a:lnTo>
                          <a:pt x="235" y="1194"/>
                        </a:lnTo>
                        <a:lnTo>
                          <a:pt x="239" y="1193"/>
                        </a:lnTo>
                        <a:lnTo>
                          <a:pt x="243" y="1193"/>
                        </a:lnTo>
                        <a:lnTo>
                          <a:pt x="244" y="1193"/>
                        </a:lnTo>
                        <a:lnTo>
                          <a:pt x="246" y="1193"/>
                        </a:lnTo>
                        <a:lnTo>
                          <a:pt x="247" y="1191"/>
                        </a:lnTo>
                        <a:lnTo>
                          <a:pt x="249" y="1191"/>
                        </a:lnTo>
                        <a:lnTo>
                          <a:pt x="251" y="1191"/>
                        </a:lnTo>
                        <a:lnTo>
                          <a:pt x="252" y="1191"/>
                        </a:lnTo>
                        <a:lnTo>
                          <a:pt x="254" y="1193"/>
                        </a:lnTo>
                        <a:lnTo>
                          <a:pt x="255" y="1193"/>
                        </a:lnTo>
                        <a:lnTo>
                          <a:pt x="257" y="1193"/>
                        </a:lnTo>
                        <a:lnTo>
                          <a:pt x="257" y="1194"/>
                        </a:lnTo>
                        <a:lnTo>
                          <a:pt x="258" y="1194"/>
                        </a:lnTo>
                        <a:lnTo>
                          <a:pt x="260" y="1196"/>
                        </a:lnTo>
                        <a:lnTo>
                          <a:pt x="262" y="1198"/>
                        </a:lnTo>
                        <a:lnTo>
                          <a:pt x="263" y="1198"/>
                        </a:lnTo>
                        <a:lnTo>
                          <a:pt x="265" y="1199"/>
                        </a:lnTo>
                        <a:lnTo>
                          <a:pt x="266" y="1201"/>
                        </a:lnTo>
                        <a:lnTo>
                          <a:pt x="268" y="1202"/>
                        </a:lnTo>
                        <a:lnTo>
                          <a:pt x="268" y="1204"/>
                        </a:lnTo>
                        <a:lnTo>
                          <a:pt x="270" y="1204"/>
                        </a:lnTo>
                        <a:lnTo>
                          <a:pt x="271" y="1205"/>
                        </a:lnTo>
                        <a:lnTo>
                          <a:pt x="273" y="1207"/>
                        </a:lnTo>
                        <a:lnTo>
                          <a:pt x="274" y="1207"/>
                        </a:lnTo>
                        <a:lnTo>
                          <a:pt x="274" y="1209"/>
                        </a:lnTo>
                        <a:lnTo>
                          <a:pt x="276" y="1210"/>
                        </a:lnTo>
                        <a:lnTo>
                          <a:pt x="279" y="1212"/>
                        </a:lnTo>
                        <a:lnTo>
                          <a:pt x="282" y="1215"/>
                        </a:lnTo>
                        <a:lnTo>
                          <a:pt x="284" y="1217"/>
                        </a:lnTo>
                        <a:lnTo>
                          <a:pt x="285" y="1218"/>
                        </a:lnTo>
                        <a:lnTo>
                          <a:pt x="290" y="1221"/>
                        </a:lnTo>
                        <a:lnTo>
                          <a:pt x="293" y="1224"/>
                        </a:lnTo>
                        <a:lnTo>
                          <a:pt x="297" y="1228"/>
                        </a:lnTo>
                        <a:lnTo>
                          <a:pt x="298" y="1229"/>
                        </a:lnTo>
                        <a:lnTo>
                          <a:pt x="300" y="1232"/>
                        </a:lnTo>
                        <a:lnTo>
                          <a:pt x="301" y="1234"/>
                        </a:lnTo>
                        <a:lnTo>
                          <a:pt x="301" y="1237"/>
                        </a:lnTo>
                        <a:lnTo>
                          <a:pt x="301" y="1239"/>
                        </a:lnTo>
                        <a:lnTo>
                          <a:pt x="303" y="1242"/>
                        </a:lnTo>
                        <a:lnTo>
                          <a:pt x="303" y="1245"/>
                        </a:lnTo>
                        <a:lnTo>
                          <a:pt x="303" y="1247"/>
                        </a:lnTo>
                        <a:lnTo>
                          <a:pt x="303" y="1250"/>
                        </a:lnTo>
                        <a:lnTo>
                          <a:pt x="304" y="1256"/>
                        </a:lnTo>
                        <a:lnTo>
                          <a:pt x="306" y="1266"/>
                        </a:lnTo>
                        <a:lnTo>
                          <a:pt x="306" y="1272"/>
                        </a:lnTo>
                        <a:lnTo>
                          <a:pt x="308" y="1278"/>
                        </a:lnTo>
                        <a:lnTo>
                          <a:pt x="308" y="1281"/>
                        </a:lnTo>
                        <a:lnTo>
                          <a:pt x="308" y="1283"/>
                        </a:lnTo>
                        <a:lnTo>
                          <a:pt x="309" y="1285"/>
                        </a:lnTo>
                        <a:lnTo>
                          <a:pt x="309" y="1286"/>
                        </a:lnTo>
                        <a:lnTo>
                          <a:pt x="312" y="1288"/>
                        </a:lnTo>
                        <a:lnTo>
                          <a:pt x="314" y="1288"/>
                        </a:lnTo>
                        <a:lnTo>
                          <a:pt x="317" y="1289"/>
                        </a:lnTo>
                        <a:lnTo>
                          <a:pt x="320" y="1291"/>
                        </a:lnTo>
                        <a:lnTo>
                          <a:pt x="322" y="1293"/>
                        </a:lnTo>
                        <a:lnTo>
                          <a:pt x="325" y="1294"/>
                        </a:lnTo>
                        <a:lnTo>
                          <a:pt x="327" y="1297"/>
                        </a:lnTo>
                        <a:lnTo>
                          <a:pt x="328" y="1299"/>
                        </a:lnTo>
                        <a:lnTo>
                          <a:pt x="331" y="1302"/>
                        </a:lnTo>
                        <a:lnTo>
                          <a:pt x="331" y="1305"/>
                        </a:lnTo>
                        <a:lnTo>
                          <a:pt x="333" y="1307"/>
                        </a:lnTo>
                        <a:lnTo>
                          <a:pt x="333" y="1310"/>
                        </a:lnTo>
                        <a:lnTo>
                          <a:pt x="335" y="1315"/>
                        </a:lnTo>
                        <a:lnTo>
                          <a:pt x="335" y="1319"/>
                        </a:lnTo>
                        <a:lnTo>
                          <a:pt x="335" y="1326"/>
                        </a:lnTo>
                        <a:lnTo>
                          <a:pt x="335" y="1329"/>
                        </a:lnTo>
                        <a:lnTo>
                          <a:pt x="333" y="1337"/>
                        </a:lnTo>
                        <a:lnTo>
                          <a:pt x="331" y="1340"/>
                        </a:lnTo>
                        <a:lnTo>
                          <a:pt x="331" y="1343"/>
                        </a:lnTo>
                        <a:lnTo>
                          <a:pt x="330" y="1346"/>
                        </a:lnTo>
                        <a:lnTo>
                          <a:pt x="330" y="1348"/>
                        </a:lnTo>
                        <a:lnTo>
                          <a:pt x="331" y="1350"/>
                        </a:lnTo>
                        <a:lnTo>
                          <a:pt x="331" y="1353"/>
                        </a:lnTo>
                        <a:lnTo>
                          <a:pt x="333" y="1354"/>
                        </a:lnTo>
                        <a:lnTo>
                          <a:pt x="336" y="1358"/>
                        </a:lnTo>
                        <a:lnTo>
                          <a:pt x="341" y="1361"/>
                        </a:lnTo>
                        <a:lnTo>
                          <a:pt x="344" y="1364"/>
                        </a:lnTo>
                        <a:lnTo>
                          <a:pt x="352" y="1369"/>
                        </a:lnTo>
                        <a:lnTo>
                          <a:pt x="357" y="1370"/>
                        </a:lnTo>
                        <a:lnTo>
                          <a:pt x="363" y="1373"/>
                        </a:lnTo>
                        <a:lnTo>
                          <a:pt x="366" y="1375"/>
                        </a:lnTo>
                        <a:lnTo>
                          <a:pt x="368" y="1375"/>
                        </a:lnTo>
                        <a:lnTo>
                          <a:pt x="371" y="1375"/>
                        </a:lnTo>
                        <a:lnTo>
                          <a:pt x="373" y="1375"/>
                        </a:lnTo>
                        <a:lnTo>
                          <a:pt x="374" y="1377"/>
                        </a:lnTo>
                        <a:lnTo>
                          <a:pt x="376" y="1378"/>
                        </a:lnTo>
                        <a:lnTo>
                          <a:pt x="385" y="1384"/>
                        </a:lnTo>
                        <a:lnTo>
                          <a:pt x="388" y="1388"/>
                        </a:lnTo>
                        <a:lnTo>
                          <a:pt x="390" y="1389"/>
                        </a:lnTo>
                        <a:lnTo>
                          <a:pt x="395" y="1391"/>
                        </a:lnTo>
                        <a:lnTo>
                          <a:pt x="401" y="1392"/>
                        </a:lnTo>
                        <a:lnTo>
                          <a:pt x="404" y="1392"/>
                        </a:lnTo>
                        <a:lnTo>
                          <a:pt x="409" y="1392"/>
                        </a:lnTo>
                        <a:lnTo>
                          <a:pt x="411" y="1394"/>
                        </a:lnTo>
                        <a:lnTo>
                          <a:pt x="414" y="1396"/>
                        </a:lnTo>
                        <a:lnTo>
                          <a:pt x="415" y="1396"/>
                        </a:lnTo>
                        <a:lnTo>
                          <a:pt x="415" y="1397"/>
                        </a:lnTo>
                        <a:lnTo>
                          <a:pt x="417" y="1399"/>
                        </a:lnTo>
                        <a:lnTo>
                          <a:pt x="418" y="1399"/>
                        </a:lnTo>
                        <a:lnTo>
                          <a:pt x="420" y="1399"/>
                        </a:lnTo>
                        <a:lnTo>
                          <a:pt x="422" y="1400"/>
                        </a:lnTo>
                        <a:lnTo>
                          <a:pt x="423" y="1402"/>
                        </a:lnTo>
                        <a:lnTo>
                          <a:pt x="423" y="1403"/>
                        </a:lnTo>
                        <a:lnTo>
                          <a:pt x="425" y="1403"/>
                        </a:lnTo>
                        <a:lnTo>
                          <a:pt x="426" y="1407"/>
                        </a:lnTo>
                        <a:lnTo>
                          <a:pt x="428" y="1408"/>
                        </a:lnTo>
                        <a:lnTo>
                          <a:pt x="426" y="1408"/>
                        </a:lnTo>
                        <a:lnTo>
                          <a:pt x="423" y="1411"/>
                        </a:lnTo>
                        <a:lnTo>
                          <a:pt x="422" y="1415"/>
                        </a:lnTo>
                        <a:lnTo>
                          <a:pt x="420" y="1415"/>
                        </a:lnTo>
                        <a:lnTo>
                          <a:pt x="418" y="1416"/>
                        </a:lnTo>
                        <a:lnTo>
                          <a:pt x="417" y="1418"/>
                        </a:lnTo>
                        <a:lnTo>
                          <a:pt x="414" y="1418"/>
                        </a:lnTo>
                        <a:lnTo>
                          <a:pt x="411" y="1421"/>
                        </a:lnTo>
                        <a:lnTo>
                          <a:pt x="411" y="1422"/>
                        </a:lnTo>
                        <a:lnTo>
                          <a:pt x="407" y="1422"/>
                        </a:lnTo>
                        <a:lnTo>
                          <a:pt x="406" y="1424"/>
                        </a:lnTo>
                        <a:lnTo>
                          <a:pt x="404" y="1424"/>
                        </a:lnTo>
                        <a:lnTo>
                          <a:pt x="403" y="1426"/>
                        </a:lnTo>
                        <a:lnTo>
                          <a:pt x="403" y="1427"/>
                        </a:lnTo>
                        <a:lnTo>
                          <a:pt x="403" y="1429"/>
                        </a:lnTo>
                        <a:lnTo>
                          <a:pt x="401" y="1430"/>
                        </a:lnTo>
                        <a:lnTo>
                          <a:pt x="399" y="1430"/>
                        </a:lnTo>
                        <a:lnTo>
                          <a:pt x="398" y="1429"/>
                        </a:lnTo>
                        <a:lnTo>
                          <a:pt x="396" y="1430"/>
                        </a:lnTo>
                        <a:lnTo>
                          <a:pt x="396" y="1429"/>
                        </a:lnTo>
                        <a:lnTo>
                          <a:pt x="395" y="1429"/>
                        </a:lnTo>
                        <a:lnTo>
                          <a:pt x="395" y="1430"/>
                        </a:lnTo>
                        <a:lnTo>
                          <a:pt x="393" y="1430"/>
                        </a:lnTo>
                        <a:lnTo>
                          <a:pt x="392" y="1432"/>
                        </a:lnTo>
                        <a:lnTo>
                          <a:pt x="390" y="1432"/>
                        </a:lnTo>
                        <a:lnTo>
                          <a:pt x="388" y="1432"/>
                        </a:lnTo>
                        <a:lnTo>
                          <a:pt x="388" y="1430"/>
                        </a:lnTo>
                        <a:lnTo>
                          <a:pt x="387" y="1430"/>
                        </a:lnTo>
                        <a:lnTo>
                          <a:pt x="385" y="1430"/>
                        </a:lnTo>
                        <a:lnTo>
                          <a:pt x="384" y="1430"/>
                        </a:lnTo>
                        <a:lnTo>
                          <a:pt x="382" y="1430"/>
                        </a:lnTo>
                        <a:lnTo>
                          <a:pt x="380" y="1430"/>
                        </a:lnTo>
                        <a:lnTo>
                          <a:pt x="379" y="1430"/>
                        </a:lnTo>
                        <a:lnTo>
                          <a:pt x="377" y="1430"/>
                        </a:lnTo>
                        <a:lnTo>
                          <a:pt x="376" y="1430"/>
                        </a:lnTo>
                        <a:lnTo>
                          <a:pt x="374" y="1430"/>
                        </a:lnTo>
                        <a:lnTo>
                          <a:pt x="371" y="1430"/>
                        </a:lnTo>
                        <a:lnTo>
                          <a:pt x="369" y="1432"/>
                        </a:lnTo>
                        <a:lnTo>
                          <a:pt x="368" y="1430"/>
                        </a:lnTo>
                        <a:lnTo>
                          <a:pt x="366" y="1430"/>
                        </a:lnTo>
                        <a:lnTo>
                          <a:pt x="365" y="1430"/>
                        </a:lnTo>
                        <a:lnTo>
                          <a:pt x="363" y="1430"/>
                        </a:lnTo>
                        <a:lnTo>
                          <a:pt x="363" y="1432"/>
                        </a:lnTo>
                        <a:lnTo>
                          <a:pt x="363" y="1434"/>
                        </a:lnTo>
                        <a:lnTo>
                          <a:pt x="361" y="1435"/>
                        </a:lnTo>
                        <a:lnTo>
                          <a:pt x="361" y="1437"/>
                        </a:lnTo>
                        <a:lnTo>
                          <a:pt x="360" y="1438"/>
                        </a:lnTo>
                        <a:lnTo>
                          <a:pt x="360" y="1441"/>
                        </a:lnTo>
                        <a:lnTo>
                          <a:pt x="360" y="1445"/>
                        </a:lnTo>
                        <a:lnTo>
                          <a:pt x="360" y="1446"/>
                        </a:lnTo>
                        <a:lnTo>
                          <a:pt x="360" y="1448"/>
                        </a:lnTo>
                        <a:lnTo>
                          <a:pt x="360" y="1451"/>
                        </a:lnTo>
                        <a:lnTo>
                          <a:pt x="360" y="1453"/>
                        </a:lnTo>
                        <a:lnTo>
                          <a:pt x="358" y="1454"/>
                        </a:lnTo>
                        <a:lnTo>
                          <a:pt x="358" y="1456"/>
                        </a:lnTo>
                        <a:lnTo>
                          <a:pt x="358" y="1457"/>
                        </a:lnTo>
                        <a:lnTo>
                          <a:pt x="358" y="1459"/>
                        </a:lnTo>
                        <a:lnTo>
                          <a:pt x="357" y="1460"/>
                        </a:lnTo>
                        <a:lnTo>
                          <a:pt x="350" y="1459"/>
                        </a:lnTo>
                        <a:lnTo>
                          <a:pt x="347" y="1459"/>
                        </a:lnTo>
                        <a:lnTo>
                          <a:pt x="344" y="1459"/>
                        </a:lnTo>
                        <a:lnTo>
                          <a:pt x="341" y="1459"/>
                        </a:lnTo>
                        <a:lnTo>
                          <a:pt x="338" y="1459"/>
                        </a:lnTo>
                        <a:lnTo>
                          <a:pt x="328" y="1457"/>
                        </a:lnTo>
                        <a:lnTo>
                          <a:pt x="320" y="1457"/>
                        </a:lnTo>
                        <a:lnTo>
                          <a:pt x="314" y="1459"/>
                        </a:lnTo>
                        <a:lnTo>
                          <a:pt x="311" y="1456"/>
                        </a:lnTo>
                        <a:lnTo>
                          <a:pt x="304" y="1453"/>
                        </a:lnTo>
                        <a:lnTo>
                          <a:pt x="303" y="1453"/>
                        </a:lnTo>
                        <a:lnTo>
                          <a:pt x="298" y="1451"/>
                        </a:lnTo>
                        <a:lnTo>
                          <a:pt x="297" y="1449"/>
                        </a:lnTo>
                        <a:lnTo>
                          <a:pt x="293" y="1448"/>
                        </a:lnTo>
                        <a:lnTo>
                          <a:pt x="292" y="1448"/>
                        </a:lnTo>
                        <a:lnTo>
                          <a:pt x="290" y="1446"/>
                        </a:lnTo>
                        <a:lnTo>
                          <a:pt x="289" y="1446"/>
                        </a:lnTo>
                        <a:lnTo>
                          <a:pt x="287" y="1448"/>
                        </a:lnTo>
                        <a:lnTo>
                          <a:pt x="284" y="1449"/>
                        </a:lnTo>
                        <a:lnTo>
                          <a:pt x="279" y="1453"/>
                        </a:lnTo>
                        <a:lnTo>
                          <a:pt x="274" y="1456"/>
                        </a:lnTo>
                        <a:lnTo>
                          <a:pt x="271" y="1459"/>
                        </a:lnTo>
                        <a:lnTo>
                          <a:pt x="268" y="1462"/>
                        </a:lnTo>
                        <a:lnTo>
                          <a:pt x="266" y="1467"/>
                        </a:lnTo>
                        <a:lnTo>
                          <a:pt x="266" y="1468"/>
                        </a:lnTo>
                        <a:lnTo>
                          <a:pt x="265" y="1473"/>
                        </a:lnTo>
                        <a:lnTo>
                          <a:pt x="263" y="1476"/>
                        </a:lnTo>
                        <a:lnTo>
                          <a:pt x="262" y="1478"/>
                        </a:lnTo>
                        <a:lnTo>
                          <a:pt x="257" y="1483"/>
                        </a:lnTo>
                        <a:lnTo>
                          <a:pt x="254" y="1484"/>
                        </a:lnTo>
                        <a:lnTo>
                          <a:pt x="251" y="1486"/>
                        </a:lnTo>
                        <a:lnTo>
                          <a:pt x="251" y="1487"/>
                        </a:lnTo>
                        <a:lnTo>
                          <a:pt x="251" y="1489"/>
                        </a:lnTo>
                        <a:lnTo>
                          <a:pt x="249" y="1494"/>
                        </a:lnTo>
                        <a:lnTo>
                          <a:pt x="247" y="1494"/>
                        </a:lnTo>
                        <a:lnTo>
                          <a:pt x="247" y="1497"/>
                        </a:lnTo>
                        <a:lnTo>
                          <a:pt x="247" y="1498"/>
                        </a:lnTo>
                        <a:lnTo>
                          <a:pt x="249" y="1500"/>
                        </a:lnTo>
                        <a:lnTo>
                          <a:pt x="249" y="1502"/>
                        </a:lnTo>
                        <a:lnTo>
                          <a:pt x="249" y="1503"/>
                        </a:lnTo>
                        <a:lnTo>
                          <a:pt x="249" y="1506"/>
                        </a:lnTo>
                        <a:lnTo>
                          <a:pt x="247" y="1508"/>
                        </a:lnTo>
                        <a:lnTo>
                          <a:pt x="247" y="1510"/>
                        </a:lnTo>
                        <a:lnTo>
                          <a:pt x="247" y="1511"/>
                        </a:lnTo>
                        <a:lnTo>
                          <a:pt x="249" y="1513"/>
                        </a:lnTo>
                        <a:lnTo>
                          <a:pt x="247" y="1513"/>
                        </a:lnTo>
                        <a:lnTo>
                          <a:pt x="246" y="1511"/>
                        </a:lnTo>
                        <a:lnTo>
                          <a:pt x="243" y="1511"/>
                        </a:lnTo>
                        <a:lnTo>
                          <a:pt x="241" y="1511"/>
                        </a:lnTo>
                        <a:lnTo>
                          <a:pt x="238" y="1511"/>
                        </a:lnTo>
                        <a:lnTo>
                          <a:pt x="236" y="1510"/>
                        </a:lnTo>
                        <a:lnTo>
                          <a:pt x="233" y="1510"/>
                        </a:lnTo>
                        <a:lnTo>
                          <a:pt x="232" y="1510"/>
                        </a:lnTo>
                        <a:lnTo>
                          <a:pt x="230" y="1510"/>
                        </a:lnTo>
                        <a:lnTo>
                          <a:pt x="230" y="1511"/>
                        </a:lnTo>
                        <a:lnTo>
                          <a:pt x="228" y="1511"/>
                        </a:lnTo>
                        <a:lnTo>
                          <a:pt x="227" y="1511"/>
                        </a:lnTo>
                        <a:lnTo>
                          <a:pt x="227" y="1510"/>
                        </a:lnTo>
                        <a:lnTo>
                          <a:pt x="225" y="1510"/>
                        </a:lnTo>
                        <a:lnTo>
                          <a:pt x="225" y="1511"/>
                        </a:lnTo>
                        <a:lnTo>
                          <a:pt x="224" y="1511"/>
                        </a:lnTo>
                        <a:lnTo>
                          <a:pt x="220" y="1510"/>
                        </a:lnTo>
                        <a:lnTo>
                          <a:pt x="219" y="1510"/>
                        </a:lnTo>
                        <a:lnTo>
                          <a:pt x="217" y="1510"/>
                        </a:lnTo>
                        <a:lnTo>
                          <a:pt x="214" y="1510"/>
                        </a:lnTo>
                        <a:lnTo>
                          <a:pt x="213" y="1510"/>
                        </a:lnTo>
                        <a:lnTo>
                          <a:pt x="211" y="1510"/>
                        </a:lnTo>
                        <a:lnTo>
                          <a:pt x="209" y="1510"/>
                        </a:lnTo>
                        <a:lnTo>
                          <a:pt x="208" y="1508"/>
                        </a:lnTo>
                        <a:lnTo>
                          <a:pt x="206" y="1508"/>
                        </a:lnTo>
                        <a:lnTo>
                          <a:pt x="205" y="1506"/>
                        </a:lnTo>
                        <a:lnTo>
                          <a:pt x="203" y="1506"/>
                        </a:lnTo>
                        <a:lnTo>
                          <a:pt x="203" y="1505"/>
                        </a:lnTo>
                        <a:lnTo>
                          <a:pt x="203" y="1503"/>
                        </a:lnTo>
                        <a:lnTo>
                          <a:pt x="203" y="1500"/>
                        </a:lnTo>
                        <a:lnTo>
                          <a:pt x="203" y="1498"/>
                        </a:lnTo>
                        <a:lnTo>
                          <a:pt x="205" y="1497"/>
                        </a:lnTo>
                        <a:lnTo>
                          <a:pt x="206" y="1495"/>
                        </a:lnTo>
                        <a:lnTo>
                          <a:pt x="208" y="1494"/>
                        </a:lnTo>
                        <a:lnTo>
                          <a:pt x="209" y="1494"/>
                        </a:lnTo>
                        <a:lnTo>
                          <a:pt x="211" y="1492"/>
                        </a:lnTo>
                        <a:lnTo>
                          <a:pt x="213" y="1491"/>
                        </a:lnTo>
                        <a:lnTo>
                          <a:pt x="214" y="1491"/>
                        </a:lnTo>
                        <a:lnTo>
                          <a:pt x="214" y="1487"/>
                        </a:lnTo>
                        <a:lnTo>
                          <a:pt x="216" y="1486"/>
                        </a:lnTo>
                        <a:lnTo>
                          <a:pt x="217" y="1484"/>
                        </a:lnTo>
                        <a:lnTo>
                          <a:pt x="219" y="1481"/>
                        </a:lnTo>
                        <a:lnTo>
                          <a:pt x="222" y="1478"/>
                        </a:lnTo>
                        <a:lnTo>
                          <a:pt x="222" y="1476"/>
                        </a:lnTo>
                        <a:lnTo>
                          <a:pt x="224" y="1476"/>
                        </a:lnTo>
                        <a:lnTo>
                          <a:pt x="225" y="1475"/>
                        </a:lnTo>
                        <a:lnTo>
                          <a:pt x="227" y="1473"/>
                        </a:lnTo>
                        <a:lnTo>
                          <a:pt x="227" y="1472"/>
                        </a:lnTo>
                        <a:lnTo>
                          <a:pt x="227" y="1470"/>
                        </a:lnTo>
                        <a:lnTo>
                          <a:pt x="228" y="1470"/>
                        </a:lnTo>
                        <a:lnTo>
                          <a:pt x="227" y="1465"/>
                        </a:lnTo>
                        <a:lnTo>
                          <a:pt x="227" y="1462"/>
                        </a:lnTo>
                        <a:lnTo>
                          <a:pt x="227" y="1457"/>
                        </a:lnTo>
                        <a:lnTo>
                          <a:pt x="225" y="1453"/>
                        </a:lnTo>
                        <a:lnTo>
                          <a:pt x="225" y="1451"/>
                        </a:lnTo>
                        <a:lnTo>
                          <a:pt x="225" y="1448"/>
                        </a:lnTo>
                        <a:lnTo>
                          <a:pt x="225" y="1443"/>
                        </a:lnTo>
                        <a:lnTo>
                          <a:pt x="225" y="1441"/>
                        </a:lnTo>
                        <a:lnTo>
                          <a:pt x="227" y="1440"/>
                        </a:lnTo>
                        <a:lnTo>
                          <a:pt x="227" y="1437"/>
                        </a:lnTo>
                        <a:lnTo>
                          <a:pt x="228" y="1435"/>
                        </a:lnTo>
                        <a:lnTo>
                          <a:pt x="228" y="1434"/>
                        </a:lnTo>
                        <a:lnTo>
                          <a:pt x="228" y="1432"/>
                        </a:lnTo>
                        <a:lnTo>
                          <a:pt x="228" y="1430"/>
                        </a:lnTo>
                        <a:lnTo>
                          <a:pt x="230" y="1427"/>
                        </a:lnTo>
                        <a:lnTo>
                          <a:pt x="230" y="1426"/>
                        </a:lnTo>
                        <a:lnTo>
                          <a:pt x="230" y="1424"/>
                        </a:lnTo>
                        <a:lnTo>
                          <a:pt x="230" y="1422"/>
                        </a:lnTo>
                        <a:lnTo>
                          <a:pt x="230" y="1421"/>
                        </a:lnTo>
                        <a:lnTo>
                          <a:pt x="232" y="1419"/>
                        </a:lnTo>
                        <a:lnTo>
                          <a:pt x="232" y="1416"/>
                        </a:lnTo>
                        <a:lnTo>
                          <a:pt x="233" y="1415"/>
                        </a:lnTo>
                        <a:lnTo>
                          <a:pt x="233" y="1410"/>
                        </a:lnTo>
                        <a:lnTo>
                          <a:pt x="233" y="1408"/>
                        </a:lnTo>
                        <a:lnTo>
                          <a:pt x="233" y="1407"/>
                        </a:lnTo>
                        <a:lnTo>
                          <a:pt x="233" y="1403"/>
                        </a:lnTo>
                        <a:lnTo>
                          <a:pt x="233" y="1402"/>
                        </a:lnTo>
                        <a:lnTo>
                          <a:pt x="233" y="1399"/>
                        </a:lnTo>
                        <a:lnTo>
                          <a:pt x="233" y="1396"/>
                        </a:lnTo>
                        <a:lnTo>
                          <a:pt x="232" y="1392"/>
                        </a:lnTo>
                        <a:lnTo>
                          <a:pt x="232" y="1391"/>
                        </a:lnTo>
                        <a:lnTo>
                          <a:pt x="232" y="1388"/>
                        </a:lnTo>
                        <a:lnTo>
                          <a:pt x="232" y="1386"/>
                        </a:lnTo>
                        <a:lnTo>
                          <a:pt x="232" y="1384"/>
                        </a:lnTo>
                        <a:lnTo>
                          <a:pt x="232" y="1381"/>
                        </a:lnTo>
                        <a:lnTo>
                          <a:pt x="232" y="1380"/>
                        </a:lnTo>
                        <a:lnTo>
                          <a:pt x="233" y="1378"/>
                        </a:lnTo>
                        <a:lnTo>
                          <a:pt x="232" y="1375"/>
                        </a:lnTo>
                        <a:lnTo>
                          <a:pt x="230" y="1373"/>
                        </a:lnTo>
                        <a:lnTo>
                          <a:pt x="228" y="1372"/>
                        </a:lnTo>
                        <a:lnTo>
                          <a:pt x="227" y="1372"/>
                        </a:lnTo>
                        <a:lnTo>
                          <a:pt x="224" y="1372"/>
                        </a:lnTo>
                        <a:lnTo>
                          <a:pt x="222" y="1372"/>
                        </a:lnTo>
                        <a:lnTo>
                          <a:pt x="220" y="1372"/>
                        </a:lnTo>
                        <a:lnTo>
                          <a:pt x="219" y="1372"/>
                        </a:lnTo>
                        <a:lnTo>
                          <a:pt x="219" y="1370"/>
                        </a:lnTo>
                        <a:lnTo>
                          <a:pt x="217" y="1370"/>
                        </a:lnTo>
                        <a:lnTo>
                          <a:pt x="217" y="1369"/>
                        </a:lnTo>
                        <a:lnTo>
                          <a:pt x="217" y="1367"/>
                        </a:lnTo>
                        <a:lnTo>
                          <a:pt x="217" y="1365"/>
                        </a:lnTo>
                        <a:lnTo>
                          <a:pt x="219" y="1364"/>
                        </a:lnTo>
                        <a:lnTo>
                          <a:pt x="224" y="1361"/>
                        </a:lnTo>
                        <a:lnTo>
                          <a:pt x="225" y="1359"/>
                        </a:lnTo>
                        <a:lnTo>
                          <a:pt x="227" y="1358"/>
                        </a:lnTo>
                        <a:lnTo>
                          <a:pt x="227" y="1356"/>
                        </a:lnTo>
                        <a:lnTo>
                          <a:pt x="230" y="1354"/>
                        </a:lnTo>
                        <a:lnTo>
                          <a:pt x="230" y="1353"/>
                        </a:lnTo>
                        <a:lnTo>
                          <a:pt x="232" y="1351"/>
                        </a:lnTo>
                        <a:lnTo>
                          <a:pt x="232" y="1350"/>
                        </a:lnTo>
                        <a:lnTo>
                          <a:pt x="232" y="1346"/>
                        </a:lnTo>
                        <a:lnTo>
                          <a:pt x="233" y="1342"/>
                        </a:lnTo>
                        <a:lnTo>
                          <a:pt x="232" y="1339"/>
                        </a:lnTo>
                        <a:lnTo>
                          <a:pt x="230" y="1337"/>
                        </a:lnTo>
                        <a:lnTo>
                          <a:pt x="228" y="1335"/>
                        </a:lnTo>
                        <a:lnTo>
                          <a:pt x="228" y="1334"/>
                        </a:lnTo>
                        <a:lnTo>
                          <a:pt x="227" y="1332"/>
                        </a:lnTo>
                        <a:lnTo>
                          <a:pt x="227" y="1331"/>
                        </a:lnTo>
                        <a:lnTo>
                          <a:pt x="225" y="1329"/>
                        </a:lnTo>
                        <a:lnTo>
                          <a:pt x="224" y="1329"/>
                        </a:lnTo>
                        <a:lnTo>
                          <a:pt x="222" y="1327"/>
                        </a:lnTo>
                        <a:lnTo>
                          <a:pt x="222" y="1329"/>
                        </a:lnTo>
                        <a:lnTo>
                          <a:pt x="220" y="1329"/>
                        </a:lnTo>
                        <a:lnTo>
                          <a:pt x="220" y="1327"/>
                        </a:lnTo>
                        <a:lnTo>
                          <a:pt x="219" y="1327"/>
                        </a:lnTo>
                        <a:lnTo>
                          <a:pt x="219" y="1326"/>
                        </a:lnTo>
                        <a:lnTo>
                          <a:pt x="217" y="1326"/>
                        </a:lnTo>
                        <a:lnTo>
                          <a:pt x="216" y="1327"/>
                        </a:lnTo>
                        <a:lnTo>
                          <a:pt x="214" y="1329"/>
                        </a:lnTo>
                        <a:lnTo>
                          <a:pt x="213" y="1329"/>
                        </a:lnTo>
                        <a:lnTo>
                          <a:pt x="211" y="1329"/>
                        </a:lnTo>
                        <a:lnTo>
                          <a:pt x="209" y="1329"/>
                        </a:lnTo>
                        <a:lnTo>
                          <a:pt x="208" y="1329"/>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78" name="Freeform 77"/>
                  <p:cNvSpPr>
                    <a:spLocks/>
                  </p:cNvSpPr>
                  <p:nvPr/>
                </p:nvSpPr>
                <p:spPr bwMode="auto">
                  <a:xfrm>
                    <a:off x="2269" y="2510"/>
                    <a:ext cx="998" cy="344"/>
                  </a:xfrm>
                  <a:custGeom>
                    <a:avLst/>
                    <a:gdLst>
                      <a:gd name="T0" fmla="*/ 990 w 998"/>
                      <a:gd name="T1" fmla="*/ 314 h 344"/>
                      <a:gd name="T2" fmla="*/ 969 w 998"/>
                      <a:gd name="T3" fmla="*/ 307 h 344"/>
                      <a:gd name="T4" fmla="*/ 957 w 998"/>
                      <a:gd name="T5" fmla="*/ 304 h 344"/>
                      <a:gd name="T6" fmla="*/ 931 w 998"/>
                      <a:gd name="T7" fmla="*/ 307 h 344"/>
                      <a:gd name="T8" fmla="*/ 911 w 998"/>
                      <a:gd name="T9" fmla="*/ 304 h 344"/>
                      <a:gd name="T10" fmla="*/ 909 w 998"/>
                      <a:gd name="T11" fmla="*/ 288 h 344"/>
                      <a:gd name="T12" fmla="*/ 893 w 998"/>
                      <a:gd name="T13" fmla="*/ 287 h 344"/>
                      <a:gd name="T14" fmla="*/ 873 w 998"/>
                      <a:gd name="T15" fmla="*/ 285 h 344"/>
                      <a:gd name="T16" fmla="*/ 865 w 998"/>
                      <a:gd name="T17" fmla="*/ 298 h 344"/>
                      <a:gd name="T18" fmla="*/ 852 w 998"/>
                      <a:gd name="T19" fmla="*/ 312 h 344"/>
                      <a:gd name="T20" fmla="*/ 831 w 998"/>
                      <a:gd name="T21" fmla="*/ 319 h 344"/>
                      <a:gd name="T22" fmla="*/ 812 w 998"/>
                      <a:gd name="T23" fmla="*/ 326 h 344"/>
                      <a:gd name="T24" fmla="*/ 792 w 998"/>
                      <a:gd name="T25" fmla="*/ 334 h 344"/>
                      <a:gd name="T26" fmla="*/ 771 w 998"/>
                      <a:gd name="T27" fmla="*/ 336 h 344"/>
                      <a:gd name="T28" fmla="*/ 751 w 998"/>
                      <a:gd name="T29" fmla="*/ 342 h 344"/>
                      <a:gd name="T30" fmla="*/ 730 w 998"/>
                      <a:gd name="T31" fmla="*/ 325 h 344"/>
                      <a:gd name="T32" fmla="*/ 735 w 998"/>
                      <a:gd name="T33" fmla="*/ 309 h 344"/>
                      <a:gd name="T34" fmla="*/ 727 w 998"/>
                      <a:gd name="T35" fmla="*/ 296 h 344"/>
                      <a:gd name="T36" fmla="*/ 703 w 998"/>
                      <a:gd name="T37" fmla="*/ 293 h 344"/>
                      <a:gd name="T38" fmla="*/ 683 w 998"/>
                      <a:gd name="T39" fmla="*/ 280 h 344"/>
                      <a:gd name="T40" fmla="*/ 664 w 998"/>
                      <a:gd name="T41" fmla="*/ 265 h 344"/>
                      <a:gd name="T42" fmla="*/ 675 w 998"/>
                      <a:gd name="T43" fmla="*/ 249 h 344"/>
                      <a:gd name="T44" fmla="*/ 684 w 998"/>
                      <a:gd name="T45" fmla="*/ 225 h 344"/>
                      <a:gd name="T46" fmla="*/ 689 w 998"/>
                      <a:gd name="T47" fmla="*/ 211 h 344"/>
                      <a:gd name="T48" fmla="*/ 665 w 998"/>
                      <a:gd name="T49" fmla="*/ 204 h 344"/>
                      <a:gd name="T50" fmla="*/ 645 w 998"/>
                      <a:gd name="T51" fmla="*/ 200 h 344"/>
                      <a:gd name="T52" fmla="*/ 627 w 998"/>
                      <a:gd name="T53" fmla="*/ 192 h 344"/>
                      <a:gd name="T54" fmla="*/ 607 w 998"/>
                      <a:gd name="T55" fmla="*/ 189 h 344"/>
                      <a:gd name="T56" fmla="*/ 591 w 998"/>
                      <a:gd name="T57" fmla="*/ 182 h 344"/>
                      <a:gd name="T58" fmla="*/ 578 w 998"/>
                      <a:gd name="T59" fmla="*/ 174 h 344"/>
                      <a:gd name="T60" fmla="*/ 561 w 998"/>
                      <a:gd name="T61" fmla="*/ 166 h 344"/>
                      <a:gd name="T62" fmla="*/ 534 w 998"/>
                      <a:gd name="T63" fmla="*/ 168 h 344"/>
                      <a:gd name="T64" fmla="*/ 510 w 998"/>
                      <a:gd name="T65" fmla="*/ 163 h 344"/>
                      <a:gd name="T66" fmla="*/ 489 w 998"/>
                      <a:gd name="T67" fmla="*/ 176 h 344"/>
                      <a:gd name="T68" fmla="*/ 469 w 998"/>
                      <a:gd name="T69" fmla="*/ 193 h 344"/>
                      <a:gd name="T70" fmla="*/ 445 w 998"/>
                      <a:gd name="T71" fmla="*/ 190 h 344"/>
                      <a:gd name="T72" fmla="*/ 426 w 998"/>
                      <a:gd name="T73" fmla="*/ 181 h 344"/>
                      <a:gd name="T74" fmla="*/ 399 w 998"/>
                      <a:gd name="T75" fmla="*/ 163 h 344"/>
                      <a:gd name="T76" fmla="*/ 386 w 998"/>
                      <a:gd name="T77" fmla="*/ 141 h 344"/>
                      <a:gd name="T78" fmla="*/ 367 w 998"/>
                      <a:gd name="T79" fmla="*/ 128 h 344"/>
                      <a:gd name="T80" fmla="*/ 359 w 998"/>
                      <a:gd name="T81" fmla="*/ 114 h 344"/>
                      <a:gd name="T82" fmla="*/ 344 w 998"/>
                      <a:gd name="T83" fmla="*/ 103 h 344"/>
                      <a:gd name="T84" fmla="*/ 329 w 998"/>
                      <a:gd name="T85" fmla="*/ 98 h 344"/>
                      <a:gd name="T86" fmla="*/ 318 w 998"/>
                      <a:gd name="T87" fmla="*/ 79 h 344"/>
                      <a:gd name="T88" fmla="*/ 312 w 998"/>
                      <a:gd name="T89" fmla="*/ 62 h 344"/>
                      <a:gd name="T90" fmla="*/ 253 w 998"/>
                      <a:gd name="T91" fmla="*/ 49 h 344"/>
                      <a:gd name="T92" fmla="*/ 158 w 998"/>
                      <a:gd name="T93" fmla="*/ 68 h 344"/>
                      <a:gd name="T94" fmla="*/ 144 w 998"/>
                      <a:gd name="T95" fmla="*/ 117 h 344"/>
                      <a:gd name="T96" fmla="*/ 138 w 998"/>
                      <a:gd name="T97" fmla="*/ 149 h 344"/>
                      <a:gd name="T98" fmla="*/ 123 w 998"/>
                      <a:gd name="T99" fmla="*/ 168 h 344"/>
                      <a:gd name="T100" fmla="*/ 103 w 998"/>
                      <a:gd name="T101" fmla="*/ 192 h 344"/>
                      <a:gd name="T102" fmla="*/ 82 w 998"/>
                      <a:gd name="T103" fmla="*/ 181 h 344"/>
                      <a:gd name="T104" fmla="*/ 52 w 998"/>
                      <a:gd name="T105" fmla="*/ 176 h 344"/>
                      <a:gd name="T106" fmla="*/ 27 w 998"/>
                      <a:gd name="T107" fmla="*/ 200 h 344"/>
                      <a:gd name="T108" fmla="*/ 1 w 998"/>
                      <a:gd name="T109" fmla="*/ 163 h 344"/>
                      <a:gd name="T110" fmla="*/ 20 w 998"/>
                      <a:gd name="T111" fmla="*/ 136 h 344"/>
                      <a:gd name="T112" fmla="*/ 28 w 998"/>
                      <a:gd name="T113" fmla="*/ 78 h 344"/>
                      <a:gd name="T114" fmla="*/ 27 w 998"/>
                      <a:gd name="T115" fmla="*/ 48 h 344"/>
                      <a:gd name="T116" fmla="*/ 36 w 998"/>
                      <a:gd name="T117" fmla="*/ 24 h 344"/>
                      <a:gd name="T118" fmla="*/ 9 w 998"/>
                      <a:gd name="T119" fmla="*/ 11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98" h="344">
                        <a:moveTo>
                          <a:pt x="998" y="309"/>
                        </a:moveTo>
                        <a:lnTo>
                          <a:pt x="996" y="307"/>
                        </a:lnTo>
                        <a:lnTo>
                          <a:pt x="996" y="306"/>
                        </a:lnTo>
                        <a:lnTo>
                          <a:pt x="995" y="304"/>
                        </a:lnTo>
                        <a:lnTo>
                          <a:pt x="993" y="304"/>
                        </a:lnTo>
                        <a:lnTo>
                          <a:pt x="991" y="303"/>
                        </a:lnTo>
                        <a:lnTo>
                          <a:pt x="990" y="303"/>
                        </a:lnTo>
                        <a:lnTo>
                          <a:pt x="988" y="303"/>
                        </a:lnTo>
                        <a:lnTo>
                          <a:pt x="987" y="303"/>
                        </a:lnTo>
                        <a:lnTo>
                          <a:pt x="985" y="304"/>
                        </a:lnTo>
                        <a:lnTo>
                          <a:pt x="985" y="306"/>
                        </a:lnTo>
                        <a:lnTo>
                          <a:pt x="985" y="307"/>
                        </a:lnTo>
                        <a:lnTo>
                          <a:pt x="987" y="307"/>
                        </a:lnTo>
                        <a:lnTo>
                          <a:pt x="987" y="309"/>
                        </a:lnTo>
                        <a:lnTo>
                          <a:pt x="988" y="311"/>
                        </a:lnTo>
                        <a:lnTo>
                          <a:pt x="990" y="312"/>
                        </a:lnTo>
                        <a:lnTo>
                          <a:pt x="990" y="314"/>
                        </a:lnTo>
                        <a:lnTo>
                          <a:pt x="988" y="314"/>
                        </a:lnTo>
                        <a:lnTo>
                          <a:pt x="988" y="315"/>
                        </a:lnTo>
                        <a:lnTo>
                          <a:pt x="987" y="317"/>
                        </a:lnTo>
                        <a:lnTo>
                          <a:pt x="985" y="315"/>
                        </a:lnTo>
                        <a:lnTo>
                          <a:pt x="984" y="315"/>
                        </a:lnTo>
                        <a:lnTo>
                          <a:pt x="982" y="315"/>
                        </a:lnTo>
                        <a:lnTo>
                          <a:pt x="980" y="317"/>
                        </a:lnTo>
                        <a:lnTo>
                          <a:pt x="979" y="315"/>
                        </a:lnTo>
                        <a:lnTo>
                          <a:pt x="979" y="314"/>
                        </a:lnTo>
                        <a:lnTo>
                          <a:pt x="977" y="314"/>
                        </a:lnTo>
                        <a:lnTo>
                          <a:pt x="976" y="312"/>
                        </a:lnTo>
                        <a:lnTo>
                          <a:pt x="974" y="312"/>
                        </a:lnTo>
                        <a:lnTo>
                          <a:pt x="972" y="312"/>
                        </a:lnTo>
                        <a:lnTo>
                          <a:pt x="972" y="311"/>
                        </a:lnTo>
                        <a:lnTo>
                          <a:pt x="971" y="311"/>
                        </a:lnTo>
                        <a:lnTo>
                          <a:pt x="969" y="309"/>
                        </a:lnTo>
                        <a:lnTo>
                          <a:pt x="969" y="307"/>
                        </a:lnTo>
                        <a:lnTo>
                          <a:pt x="968" y="306"/>
                        </a:lnTo>
                        <a:lnTo>
                          <a:pt x="968" y="303"/>
                        </a:lnTo>
                        <a:lnTo>
                          <a:pt x="966" y="303"/>
                        </a:lnTo>
                        <a:lnTo>
                          <a:pt x="965" y="301"/>
                        </a:lnTo>
                        <a:lnTo>
                          <a:pt x="963" y="301"/>
                        </a:lnTo>
                        <a:lnTo>
                          <a:pt x="961" y="299"/>
                        </a:lnTo>
                        <a:lnTo>
                          <a:pt x="960" y="298"/>
                        </a:lnTo>
                        <a:lnTo>
                          <a:pt x="960" y="296"/>
                        </a:lnTo>
                        <a:lnTo>
                          <a:pt x="957" y="296"/>
                        </a:lnTo>
                        <a:lnTo>
                          <a:pt x="955" y="296"/>
                        </a:lnTo>
                        <a:lnTo>
                          <a:pt x="953" y="296"/>
                        </a:lnTo>
                        <a:lnTo>
                          <a:pt x="953" y="298"/>
                        </a:lnTo>
                        <a:lnTo>
                          <a:pt x="955" y="299"/>
                        </a:lnTo>
                        <a:lnTo>
                          <a:pt x="955" y="301"/>
                        </a:lnTo>
                        <a:lnTo>
                          <a:pt x="955" y="303"/>
                        </a:lnTo>
                        <a:lnTo>
                          <a:pt x="957" y="303"/>
                        </a:lnTo>
                        <a:lnTo>
                          <a:pt x="957" y="304"/>
                        </a:lnTo>
                        <a:lnTo>
                          <a:pt x="955" y="304"/>
                        </a:lnTo>
                        <a:lnTo>
                          <a:pt x="953" y="303"/>
                        </a:lnTo>
                        <a:lnTo>
                          <a:pt x="952" y="301"/>
                        </a:lnTo>
                        <a:lnTo>
                          <a:pt x="950" y="301"/>
                        </a:lnTo>
                        <a:lnTo>
                          <a:pt x="949" y="301"/>
                        </a:lnTo>
                        <a:lnTo>
                          <a:pt x="947" y="299"/>
                        </a:lnTo>
                        <a:lnTo>
                          <a:pt x="946" y="299"/>
                        </a:lnTo>
                        <a:lnTo>
                          <a:pt x="942" y="299"/>
                        </a:lnTo>
                        <a:lnTo>
                          <a:pt x="941" y="301"/>
                        </a:lnTo>
                        <a:lnTo>
                          <a:pt x="939" y="303"/>
                        </a:lnTo>
                        <a:lnTo>
                          <a:pt x="938" y="304"/>
                        </a:lnTo>
                        <a:lnTo>
                          <a:pt x="936" y="304"/>
                        </a:lnTo>
                        <a:lnTo>
                          <a:pt x="934" y="304"/>
                        </a:lnTo>
                        <a:lnTo>
                          <a:pt x="933" y="304"/>
                        </a:lnTo>
                        <a:lnTo>
                          <a:pt x="933" y="306"/>
                        </a:lnTo>
                        <a:lnTo>
                          <a:pt x="933" y="307"/>
                        </a:lnTo>
                        <a:lnTo>
                          <a:pt x="931" y="307"/>
                        </a:lnTo>
                        <a:lnTo>
                          <a:pt x="931" y="309"/>
                        </a:lnTo>
                        <a:lnTo>
                          <a:pt x="930" y="309"/>
                        </a:lnTo>
                        <a:lnTo>
                          <a:pt x="928" y="309"/>
                        </a:lnTo>
                        <a:lnTo>
                          <a:pt x="928" y="311"/>
                        </a:lnTo>
                        <a:lnTo>
                          <a:pt x="928" y="312"/>
                        </a:lnTo>
                        <a:lnTo>
                          <a:pt x="928" y="314"/>
                        </a:lnTo>
                        <a:lnTo>
                          <a:pt x="927" y="312"/>
                        </a:lnTo>
                        <a:lnTo>
                          <a:pt x="927" y="311"/>
                        </a:lnTo>
                        <a:lnTo>
                          <a:pt x="925" y="311"/>
                        </a:lnTo>
                        <a:lnTo>
                          <a:pt x="923" y="309"/>
                        </a:lnTo>
                        <a:lnTo>
                          <a:pt x="923" y="306"/>
                        </a:lnTo>
                        <a:lnTo>
                          <a:pt x="919" y="304"/>
                        </a:lnTo>
                        <a:lnTo>
                          <a:pt x="917" y="303"/>
                        </a:lnTo>
                        <a:lnTo>
                          <a:pt x="915" y="304"/>
                        </a:lnTo>
                        <a:lnTo>
                          <a:pt x="914" y="304"/>
                        </a:lnTo>
                        <a:lnTo>
                          <a:pt x="912" y="303"/>
                        </a:lnTo>
                        <a:lnTo>
                          <a:pt x="911" y="304"/>
                        </a:lnTo>
                        <a:lnTo>
                          <a:pt x="909" y="304"/>
                        </a:lnTo>
                        <a:lnTo>
                          <a:pt x="909" y="303"/>
                        </a:lnTo>
                        <a:lnTo>
                          <a:pt x="908" y="303"/>
                        </a:lnTo>
                        <a:lnTo>
                          <a:pt x="908" y="301"/>
                        </a:lnTo>
                        <a:lnTo>
                          <a:pt x="908" y="299"/>
                        </a:lnTo>
                        <a:lnTo>
                          <a:pt x="908" y="298"/>
                        </a:lnTo>
                        <a:lnTo>
                          <a:pt x="906" y="298"/>
                        </a:lnTo>
                        <a:lnTo>
                          <a:pt x="906" y="296"/>
                        </a:lnTo>
                        <a:lnTo>
                          <a:pt x="906" y="295"/>
                        </a:lnTo>
                        <a:lnTo>
                          <a:pt x="908" y="295"/>
                        </a:lnTo>
                        <a:lnTo>
                          <a:pt x="908" y="293"/>
                        </a:lnTo>
                        <a:lnTo>
                          <a:pt x="909" y="293"/>
                        </a:lnTo>
                        <a:lnTo>
                          <a:pt x="911" y="292"/>
                        </a:lnTo>
                        <a:lnTo>
                          <a:pt x="911" y="290"/>
                        </a:lnTo>
                        <a:lnTo>
                          <a:pt x="912" y="290"/>
                        </a:lnTo>
                        <a:lnTo>
                          <a:pt x="911" y="288"/>
                        </a:lnTo>
                        <a:lnTo>
                          <a:pt x="909" y="288"/>
                        </a:lnTo>
                        <a:lnTo>
                          <a:pt x="908" y="290"/>
                        </a:lnTo>
                        <a:lnTo>
                          <a:pt x="908" y="288"/>
                        </a:lnTo>
                        <a:lnTo>
                          <a:pt x="906" y="290"/>
                        </a:lnTo>
                        <a:lnTo>
                          <a:pt x="904" y="290"/>
                        </a:lnTo>
                        <a:lnTo>
                          <a:pt x="903" y="288"/>
                        </a:lnTo>
                        <a:lnTo>
                          <a:pt x="903" y="287"/>
                        </a:lnTo>
                        <a:lnTo>
                          <a:pt x="901" y="287"/>
                        </a:lnTo>
                        <a:lnTo>
                          <a:pt x="901" y="285"/>
                        </a:lnTo>
                        <a:lnTo>
                          <a:pt x="901" y="284"/>
                        </a:lnTo>
                        <a:lnTo>
                          <a:pt x="900" y="284"/>
                        </a:lnTo>
                        <a:lnTo>
                          <a:pt x="898" y="284"/>
                        </a:lnTo>
                        <a:lnTo>
                          <a:pt x="896" y="282"/>
                        </a:lnTo>
                        <a:lnTo>
                          <a:pt x="896" y="284"/>
                        </a:lnTo>
                        <a:lnTo>
                          <a:pt x="895" y="284"/>
                        </a:lnTo>
                        <a:lnTo>
                          <a:pt x="895" y="285"/>
                        </a:lnTo>
                        <a:lnTo>
                          <a:pt x="893" y="285"/>
                        </a:lnTo>
                        <a:lnTo>
                          <a:pt x="893" y="287"/>
                        </a:lnTo>
                        <a:lnTo>
                          <a:pt x="892" y="285"/>
                        </a:lnTo>
                        <a:lnTo>
                          <a:pt x="890" y="284"/>
                        </a:lnTo>
                        <a:lnTo>
                          <a:pt x="890" y="282"/>
                        </a:lnTo>
                        <a:lnTo>
                          <a:pt x="888" y="280"/>
                        </a:lnTo>
                        <a:lnTo>
                          <a:pt x="887" y="279"/>
                        </a:lnTo>
                        <a:lnTo>
                          <a:pt x="887" y="280"/>
                        </a:lnTo>
                        <a:lnTo>
                          <a:pt x="885" y="280"/>
                        </a:lnTo>
                        <a:lnTo>
                          <a:pt x="885" y="282"/>
                        </a:lnTo>
                        <a:lnTo>
                          <a:pt x="884" y="282"/>
                        </a:lnTo>
                        <a:lnTo>
                          <a:pt x="884" y="284"/>
                        </a:lnTo>
                        <a:lnTo>
                          <a:pt x="882" y="284"/>
                        </a:lnTo>
                        <a:lnTo>
                          <a:pt x="881" y="284"/>
                        </a:lnTo>
                        <a:lnTo>
                          <a:pt x="879" y="282"/>
                        </a:lnTo>
                        <a:lnTo>
                          <a:pt x="877" y="284"/>
                        </a:lnTo>
                        <a:lnTo>
                          <a:pt x="876" y="284"/>
                        </a:lnTo>
                        <a:lnTo>
                          <a:pt x="874" y="284"/>
                        </a:lnTo>
                        <a:lnTo>
                          <a:pt x="873" y="285"/>
                        </a:lnTo>
                        <a:lnTo>
                          <a:pt x="874" y="285"/>
                        </a:lnTo>
                        <a:lnTo>
                          <a:pt x="874" y="287"/>
                        </a:lnTo>
                        <a:lnTo>
                          <a:pt x="876" y="288"/>
                        </a:lnTo>
                        <a:lnTo>
                          <a:pt x="876" y="290"/>
                        </a:lnTo>
                        <a:lnTo>
                          <a:pt x="876" y="292"/>
                        </a:lnTo>
                        <a:lnTo>
                          <a:pt x="876" y="293"/>
                        </a:lnTo>
                        <a:lnTo>
                          <a:pt x="874" y="293"/>
                        </a:lnTo>
                        <a:lnTo>
                          <a:pt x="873" y="293"/>
                        </a:lnTo>
                        <a:lnTo>
                          <a:pt x="871" y="293"/>
                        </a:lnTo>
                        <a:lnTo>
                          <a:pt x="869" y="295"/>
                        </a:lnTo>
                        <a:lnTo>
                          <a:pt x="869" y="293"/>
                        </a:lnTo>
                        <a:lnTo>
                          <a:pt x="868" y="293"/>
                        </a:lnTo>
                        <a:lnTo>
                          <a:pt x="866" y="293"/>
                        </a:lnTo>
                        <a:lnTo>
                          <a:pt x="868" y="295"/>
                        </a:lnTo>
                        <a:lnTo>
                          <a:pt x="866" y="296"/>
                        </a:lnTo>
                        <a:lnTo>
                          <a:pt x="866" y="298"/>
                        </a:lnTo>
                        <a:lnTo>
                          <a:pt x="865" y="298"/>
                        </a:lnTo>
                        <a:lnTo>
                          <a:pt x="863" y="299"/>
                        </a:lnTo>
                        <a:lnTo>
                          <a:pt x="863" y="301"/>
                        </a:lnTo>
                        <a:lnTo>
                          <a:pt x="863" y="303"/>
                        </a:lnTo>
                        <a:lnTo>
                          <a:pt x="863" y="304"/>
                        </a:lnTo>
                        <a:lnTo>
                          <a:pt x="862" y="304"/>
                        </a:lnTo>
                        <a:lnTo>
                          <a:pt x="860" y="304"/>
                        </a:lnTo>
                        <a:lnTo>
                          <a:pt x="860" y="306"/>
                        </a:lnTo>
                        <a:lnTo>
                          <a:pt x="858" y="306"/>
                        </a:lnTo>
                        <a:lnTo>
                          <a:pt x="860" y="307"/>
                        </a:lnTo>
                        <a:lnTo>
                          <a:pt x="858" y="309"/>
                        </a:lnTo>
                        <a:lnTo>
                          <a:pt x="857" y="309"/>
                        </a:lnTo>
                        <a:lnTo>
                          <a:pt x="855" y="309"/>
                        </a:lnTo>
                        <a:lnTo>
                          <a:pt x="854" y="309"/>
                        </a:lnTo>
                        <a:lnTo>
                          <a:pt x="852" y="311"/>
                        </a:lnTo>
                        <a:lnTo>
                          <a:pt x="854" y="311"/>
                        </a:lnTo>
                        <a:lnTo>
                          <a:pt x="854" y="312"/>
                        </a:lnTo>
                        <a:lnTo>
                          <a:pt x="852" y="312"/>
                        </a:lnTo>
                        <a:lnTo>
                          <a:pt x="850" y="312"/>
                        </a:lnTo>
                        <a:lnTo>
                          <a:pt x="849" y="312"/>
                        </a:lnTo>
                        <a:lnTo>
                          <a:pt x="847" y="312"/>
                        </a:lnTo>
                        <a:lnTo>
                          <a:pt x="846" y="314"/>
                        </a:lnTo>
                        <a:lnTo>
                          <a:pt x="844" y="314"/>
                        </a:lnTo>
                        <a:lnTo>
                          <a:pt x="844" y="315"/>
                        </a:lnTo>
                        <a:lnTo>
                          <a:pt x="843" y="315"/>
                        </a:lnTo>
                        <a:lnTo>
                          <a:pt x="843" y="317"/>
                        </a:lnTo>
                        <a:lnTo>
                          <a:pt x="841" y="317"/>
                        </a:lnTo>
                        <a:lnTo>
                          <a:pt x="841" y="319"/>
                        </a:lnTo>
                        <a:lnTo>
                          <a:pt x="839" y="319"/>
                        </a:lnTo>
                        <a:lnTo>
                          <a:pt x="839" y="317"/>
                        </a:lnTo>
                        <a:lnTo>
                          <a:pt x="838" y="317"/>
                        </a:lnTo>
                        <a:lnTo>
                          <a:pt x="836" y="317"/>
                        </a:lnTo>
                        <a:lnTo>
                          <a:pt x="835" y="317"/>
                        </a:lnTo>
                        <a:lnTo>
                          <a:pt x="833" y="319"/>
                        </a:lnTo>
                        <a:lnTo>
                          <a:pt x="831" y="319"/>
                        </a:lnTo>
                        <a:lnTo>
                          <a:pt x="830" y="319"/>
                        </a:lnTo>
                        <a:lnTo>
                          <a:pt x="830" y="320"/>
                        </a:lnTo>
                        <a:lnTo>
                          <a:pt x="828" y="320"/>
                        </a:lnTo>
                        <a:lnTo>
                          <a:pt x="827" y="320"/>
                        </a:lnTo>
                        <a:lnTo>
                          <a:pt x="827" y="322"/>
                        </a:lnTo>
                        <a:lnTo>
                          <a:pt x="825" y="322"/>
                        </a:lnTo>
                        <a:lnTo>
                          <a:pt x="824" y="322"/>
                        </a:lnTo>
                        <a:lnTo>
                          <a:pt x="822" y="322"/>
                        </a:lnTo>
                        <a:lnTo>
                          <a:pt x="822" y="323"/>
                        </a:lnTo>
                        <a:lnTo>
                          <a:pt x="820" y="322"/>
                        </a:lnTo>
                        <a:lnTo>
                          <a:pt x="819" y="323"/>
                        </a:lnTo>
                        <a:lnTo>
                          <a:pt x="817" y="323"/>
                        </a:lnTo>
                        <a:lnTo>
                          <a:pt x="816" y="323"/>
                        </a:lnTo>
                        <a:lnTo>
                          <a:pt x="816" y="325"/>
                        </a:lnTo>
                        <a:lnTo>
                          <a:pt x="814" y="325"/>
                        </a:lnTo>
                        <a:lnTo>
                          <a:pt x="814" y="326"/>
                        </a:lnTo>
                        <a:lnTo>
                          <a:pt x="812" y="326"/>
                        </a:lnTo>
                        <a:lnTo>
                          <a:pt x="811" y="326"/>
                        </a:lnTo>
                        <a:lnTo>
                          <a:pt x="809" y="328"/>
                        </a:lnTo>
                        <a:lnTo>
                          <a:pt x="808" y="328"/>
                        </a:lnTo>
                        <a:lnTo>
                          <a:pt x="806" y="328"/>
                        </a:lnTo>
                        <a:lnTo>
                          <a:pt x="806" y="330"/>
                        </a:lnTo>
                        <a:lnTo>
                          <a:pt x="805" y="330"/>
                        </a:lnTo>
                        <a:lnTo>
                          <a:pt x="805" y="331"/>
                        </a:lnTo>
                        <a:lnTo>
                          <a:pt x="803" y="331"/>
                        </a:lnTo>
                        <a:lnTo>
                          <a:pt x="803" y="333"/>
                        </a:lnTo>
                        <a:lnTo>
                          <a:pt x="801" y="333"/>
                        </a:lnTo>
                        <a:lnTo>
                          <a:pt x="801" y="334"/>
                        </a:lnTo>
                        <a:lnTo>
                          <a:pt x="800" y="334"/>
                        </a:lnTo>
                        <a:lnTo>
                          <a:pt x="798" y="334"/>
                        </a:lnTo>
                        <a:lnTo>
                          <a:pt x="797" y="334"/>
                        </a:lnTo>
                        <a:lnTo>
                          <a:pt x="795" y="334"/>
                        </a:lnTo>
                        <a:lnTo>
                          <a:pt x="793" y="334"/>
                        </a:lnTo>
                        <a:lnTo>
                          <a:pt x="792" y="334"/>
                        </a:lnTo>
                        <a:lnTo>
                          <a:pt x="790" y="333"/>
                        </a:lnTo>
                        <a:lnTo>
                          <a:pt x="789" y="334"/>
                        </a:lnTo>
                        <a:lnTo>
                          <a:pt x="787" y="334"/>
                        </a:lnTo>
                        <a:lnTo>
                          <a:pt x="787" y="333"/>
                        </a:lnTo>
                        <a:lnTo>
                          <a:pt x="786" y="331"/>
                        </a:lnTo>
                        <a:lnTo>
                          <a:pt x="784" y="331"/>
                        </a:lnTo>
                        <a:lnTo>
                          <a:pt x="782" y="331"/>
                        </a:lnTo>
                        <a:lnTo>
                          <a:pt x="782" y="330"/>
                        </a:lnTo>
                        <a:lnTo>
                          <a:pt x="781" y="330"/>
                        </a:lnTo>
                        <a:lnTo>
                          <a:pt x="779" y="331"/>
                        </a:lnTo>
                        <a:lnTo>
                          <a:pt x="778" y="331"/>
                        </a:lnTo>
                        <a:lnTo>
                          <a:pt x="778" y="333"/>
                        </a:lnTo>
                        <a:lnTo>
                          <a:pt x="776" y="333"/>
                        </a:lnTo>
                        <a:lnTo>
                          <a:pt x="776" y="334"/>
                        </a:lnTo>
                        <a:lnTo>
                          <a:pt x="774" y="334"/>
                        </a:lnTo>
                        <a:lnTo>
                          <a:pt x="773" y="336"/>
                        </a:lnTo>
                        <a:lnTo>
                          <a:pt x="771" y="336"/>
                        </a:lnTo>
                        <a:lnTo>
                          <a:pt x="770" y="338"/>
                        </a:lnTo>
                        <a:lnTo>
                          <a:pt x="770" y="339"/>
                        </a:lnTo>
                        <a:lnTo>
                          <a:pt x="768" y="339"/>
                        </a:lnTo>
                        <a:lnTo>
                          <a:pt x="767" y="341"/>
                        </a:lnTo>
                        <a:lnTo>
                          <a:pt x="765" y="341"/>
                        </a:lnTo>
                        <a:lnTo>
                          <a:pt x="765" y="342"/>
                        </a:lnTo>
                        <a:lnTo>
                          <a:pt x="763" y="342"/>
                        </a:lnTo>
                        <a:lnTo>
                          <a:pt x="762" y="342"/>
                        </a:lnTo>
                        <a:lnTo>
                          <a:pt x="762" y="344"/>
                        </a:lnTo>
                        <a:lnTo>
                          <a:pt x="760" y="344"/>
                        </a:lnTo>
                        <a:lnTo>
                          <a:pt x="760" y="342"/>
                        </a:lnTo>
                        <a:lnTo>
                          <a:pt x="759" y="342"/>
                        </a:lnTo>
                        <a:lnTo>
                          <a:pt x="757" y="342"/>
                        </a:lnTo>
                        <a:lnTo>
                          <a:pt x="755" y="342"/>
                        </a:lnTo>
                        <a:lnTo>
                          <a:pt x="754" y="342"/>
                        </a:lnTo>
                        <a:lnTo>
                          <a:pt x="752" y="342"/>
                        </a:lnTo>
                        <a:lnTo>
                          <a:pt x="751" y="342"/>
                        </a:lnTo>
                        <a:lnTo>
                          <a:pt x="749" y="342"/>
                        </a:lnTo>
                        <a:lnTo>
                          <a:pt x="748" y="342"/>
                        </a:lnTo>
                        <a:lnTo>
                          <a:pt x="746" y="342"/>
                        </a:lnTo>
                        <a:lnTo>
                          <a:pt x="744" y="341"/>
                        </a:lnTo>
                        <a:lnTo>
                          <a:pt x="743" y="341"/>
                        </a:lnTo>
                        <a:lnTo>
                          <a:pt x="741" y="339"/>
                        </a:lnTo>
                        <a:lnTo>
                          <a:pt x="741" y="338"/>
                        </a:lnTo>
                        <a:lnTo>
                          <a:pt x="740" y="336"/>
                        </a:lnTo>
                        <a:lnTo>
                          <a:pt x="738" y="334"/>
                        </a:lnTo>
                        <a:lnTo>
                          <a:pt x="736" y="334"/>
                        </a:lnTo>
                        <a:lnTo>
                          <a:pt x="735" y="333"/>
                        </a:lnTo>
                        <a:lnTo>
                          <a:pt x="733" y="333"/>
                        </a:lnTo>
                        <a:lnTo>
                          <a:pt x="733" y="331"/>
                        </a:lnTo>
                        <a:lnTo>
                          <a:pt x="732" y="330"/>
                        </a:lnTo>
                        <a:lnTo>
                          <a:pt x="730" y="328"/>
                        </a:lnTo>
                        <a:lnTo>
                          <a:pt x="730" y="326"/>
                        </a:lnTo>
                        <a:lnTo>
                          <a:pt x="730" y="325"/>
                        </a:lnTo>
                        <a:lnTo>
                          <a:pt x="730" y="323"/>
                        </a:lnTo>
                        <a:lnTo>
                          <a:pt x="732" y="323"/>
                        </a:lnTo>
                        <a:lnTo>
                          <a:pt x="732" y="322"/>
                        </a:lnTo>
                        <a:lnTo>
                          <a:pt x="733" y="322"/>
                        </a:lnTo>
                        <a:lnTo>
                          <a:pt x="735" y="322"/>
                        </a:lnTo>
                        <a:lnTo>
                          <a:pt x="735" y="320"/>
                        </a:lnTo>
                        <a:lnTo>
                          <a:pt x="736" y="320"/>
                        </a:lnTo>
                        <a:lnTo>
                          <a:pt x="736" y="319"/>
                        </a:lnTo>
                        <a:lnTo>
                          <a:pt x="736" y="317"/>
                        </a:lnTo>
                        <a:lnTo>
                          <a:pt x="735" y="317"/>
                        </a:lnTo>
                        <a:lnTo>
                          <a:pt x="735" y="315"/>
                        </a:lnTo>
                        <a:lnTo>
                          <a:pt x="735" y="314"/>
                        </a:lnTo>
                        <a:lnTo>
                          <a:pt x="733" y="314"/>
                        </a:lnTo>
                        <a:lnTo>
                          <a:pt x="733" y="312"/>
                        </a:lnTo>
                        <a:lnTo>
                          <a:pt x="733" y="311"/>
                        </a:lnTo>
                        <a:lnTo>
                          <a:pt x="733" y="309"/>
                        </a:lnTo>
                        <a:lnTo>
                          <a:pt x="735" y="309"/>
                        </a:lnTo>
                        <a:lnTo>
                          <a:pt x="735" y="307"/>
                        </a:lnTo>
                        <a:lnTo>
                          <a:pt x="735" y="306"/>
                        </a:lnTo>
                        <a:lnTo>
                          <a:pt x="736" y="306"/>
                        </a:lnTo>
                        <a:lnTo>
                          <a:pt x="736" y="304"/>
                        </a:lnTo>
                        <a:lnTo>
                          <a:pt x="736" y="303"/>
                        </a:lnTo>
                        <a:lnTo>
                          <a:pt x="736" y="301"/>
                        </a:lnTo>
                        <a:lnTo>
                          <a:pt x="736" y="299"/>
                        </a:lnTo>
                        <a:lnTo>
                          <a:pt x="736" y="298"/>
                        </a:lnTo>
                        <a:lnTo>
                          <a:pt x="736" y="296"/>
                        </a:lnTo>
                        <a:lnTo>
                          <a:pt x="738" y="295"/>
                        </a:lnTo>
                        <a:lnTo>
                          <a:pt x="736" y="295"/>
                        </a:lnTo>
                        <a:lnTo>
                          <a:pt x="735" y="295"/>
                        </a:lnTo>
                        <a:lnTo>
                          <a:pt x="733" y="295"/>
                        </a:lnTo>
                        <a:lnTo>
                          <a:pt x="732" y="295"/>
                        </a:lnTo>
                        <a:lnTo>
                          <a:pt x="730" y="295"/>
                        </a:lnTo>
                        <a:lnTo>
                          <a:pt x="729" y="295"/>
                        </a:lnTo>
                        <a:lnTo>
                          <a:pt x="727" y="296"/>
                        </a:lnTo>
                        <a:lnTo>
                          <a:pt x="725" y="296"/>
                        </a:lnTo>
                        <a:lnTo>
                          <a:pt x="724" y="296"/>
                        </a:lnTo>
                        <a:lnTo>
                          <a:pt x="722" y="295"/>
                        </a:lnTo>
                        <a:lnTo>
                          <a:pt x="721" y="296"/>
                        </a:lnTo>
                        <a:lnTo>
                          <a:pt x="721" y="295"/>
                        </a:lnTo>
                        <a:lnTo>
                          <a:pt x="719" y="295"/>
                        </a:lnTo>
                        <a:lnTo>
                          <a:pt x="717" y="293"/>
                        </a:lnTo>
                        <a:lnTo>
                          <a:pt x="717" y="292"/>
                        </a:lnTo>
                        <a:lnTo>
                          <a:pt x="716" y="293"/>
                        </a:lnTo>
                        <a:lnTo>
                          <a:pt x="714" y="293"/>
                        </a:lnTo>
                        <a:lnTo>
                          <a:pt x="713" y="293"/>
                        </a:lnTo>
                        <a:lnTo>
                          <a:pt x="711" y="293"/>
                        </a:lnTo>
                        <a:lnTo>
                          <a:pt x="710" y="293"/>
                        </a:lnTo>
                        <a:lnTo>
                          <a:pt x="708" y="293"/>
                        </a:lnTo>
                        <a:lnTo>
                          <a:pt x="706" y="293"/>
                        </a:lnTo>
                        <a:lnTo>
                          <a:pt x="705" y="293"/>
                        </a:lnTo>
                        <a:lnTo>
                          <a:pt x="703" y="293"/>
                        </a:lnTo>
                        <a:lnTo>
                          <a:pt x="702" y="293"/>
                        </a:lnTo>
                        <a:lnTo>
                          <a:pt x="700" y="293"/>
                        </a:lnTo>
                        <a:lnTo>
                          <a:pt x="698" y="293"/>
                        </a:lnTo>
                        <a:lnTo>
                          <a:pt x="695" y="293"/>
                        </a:lnTo>
                        <a:lnTo>
                          <a:pt x="694" y="292"/>
                        </a:lnTo>
                        <a:lnTo>
                          <a:pt x="692" y="292"/>
                        </a:lnTo>
                        <a:lnTo>
                          <a:pt x="690" y="292"/>
                        </a:lnTo>
                        <a:lnTo>
                          <a:pt x="689" y="290"/>
                        </a:lnTo>
                        <a:lnTo>
                          <a:pt x="687" y="290"/>
                        </a:lnTo>
                        <a:lnTo>
                          <a:pt x="686" y="290"/>
                        </a:lnTo>
                        <a:lnTo>
                          <a:pt x="684" y="288"/>
                        </a:lnTo>
                        <a:lnTo>
                          <a:pt x="683" y="288"/>
                        </a:lnTo>
                        <a:lnTo>
                          <a:pt x="683" y="287"/>
                        </a:lnTo>
                        <a:lnTo>
                          <a:pt x="683" y="285"/>
                        </a:lnTo>
                        <a:lnTo>
                          <a:pt x="684" y="284"/>
                        </a:lnTo>
                        <a:lnTo>
                          <a:pt x="684" y="282"/>
                        </a:lnTo>
                        <a:lnTo>
                          <a:pt x="683" y="280"/>
                        </a:lnTo>
                        <a:lnTo>
                          <a:pt x="681" y="280"/>
                        </a:lnTo>
                        <a:lnTo>
                          <a:pt x="681" y="279"/>
                        </a:lnTo>
                        <a:lnTo>
                          <a:pt x="679" y="279"/>
                        </a:lnTo>
                        <a:lnTo>
                          <a:pt x="678" y="277"/>
                        </a:lnTo>
                        <a:lnTo>
                          <a:pt x="676" y="277"/>
                        </a:lnTo>
                        <a:lnTo>
                          <a:pt x="676" y="276"/>
                        </a:lnTo>
                        <a:lnTo>
                          <a:pt x="675" y="274"/>
                        </a:lnTo>
                        <a:lnTo>
                          <a:pt x="673" y="274"/>
                        </a:lnTo>
                        <a:lnTo>
                          <a:pt x="673" y="273"/>
                        </a:lnTo>
                        <a:lnTo>
                          <a:pt x="671" y="273"/>
                        </a:lnTo>
                        <a:lnTo>
                          <a:pt x="670" y="271"/>
                        </a:lnTo>
                        <a:lnTo>
                          <a:pt x="668" y="271"/>
                        </a:lnTo>
                        <a:lnTo>
                          <a:pt x="667" y="269"/>
                        </a:lnTo>
                        <a:lnTo>
                          <a:pt x="667" y="268"/>
                        </a:lnTo>
                        <a:lnTo>
                          <a:pt x="665" y="268"/>
                        </a:lnTo>
                        <a:lnTo>
                          <a:pt x="665" y="266"/>
                        </a:lnTo>
                        <a:lnTo>
                          <a:pt x="664" y="265"/>
                        </a:lnTo>
                        <a:lnTo>
                          <a:pt x="664" y="263"/>
                        </a:lnTo>
                        <a:lnTo>
                          <a:pt x="662" y="263"/>
                        </a:lnTo>
                        <a:lnTo>
                          <a:pt x="662" y="261"/>
                        </a:lnTo>
                        <a:lnTo>
                          <a:pt x="660" y="260"/>
                        </a:lnTo>
                        <a:lnTo>
                          <a:pt x="660" y="258"/>
                        </a:lnTo>
                        <a:lnTo>
                          <a:pt x="660" y="257"/>
                        </a:lnTo>
                        <a:lnTo>
                          <a:pt x="662" y="257"/>
                        </a:lnTo>
                        <a:lnTo>
                          <a:pt x="664" y="257"/>
                        </a:lnTo>
                        <a:lnTo>
                          <a:pt x="665" y="257"/>
                        </a:lnTo>
                        <a:lnTo>
                          <a:pt x="667" y="257"/>
                        </a:lnTo>
                        <a:lnTo>
                          <a:pt x="668" y="257"/>
                        </a:lnTo>
                        <a:lnTo>
                          <a:pt x="670" y="255"/>
                        </a:lnTo>
                        <a:lnTo>
                          <a:pt x="670" y="254"/>
                        </a:lnTo>
                        <a:lnTo>
                          <a:pt x="671" y="252"/>
                        </a:lnTo>
                        <a:lnTo>
                          <a:pt x="671" y="250"/>
                        </a:lnTo>
                        <a:lnTo>
                          <a:pt x="673" y="250"/>
                        </a:lnTo>
                        <a:lnTo>
                          <a:pt x="675" y="249"/>
                        </a:lnTo>
                        <a:lnTo>
                          <a:pt x="676" y="247"/>
                        </a:lnTo>
                        <a:lnTo>
                          <a:pt x="676" y="246"/>
                        </a:lnTo>
                        <a:lnTo>
                          <a:pt x="676" y="244"/>
                        </a:lnTo>
                        <a:lnTo>
                          <a:pt x="676" y="242"/>
                        </a:lnTo>
                        <a:lnTo>
                          <a:pt x="676" y="241"/>
                        </a:lnTo>
                        <a:lnTo>
                          <a:pt x="676" y="239"/>
                        </a:lnTo>
                        <a:lnTo>
                          <a:pt x="676" y="238"/>
                        </a:lnTo>
                        <a:lnTo>
                          <a:pt x="676" y="236"/>
                        </a:lnTo>
                        <a:lnTo>
                          <a:pt x="678" y="235"/>
                        </a:lnTo>
                        <a:lnTo>
                          <a:pt x="678" y="233"/>
                        </a:lnTo>
                        <a:lnTo>
                          <a:pt x="679" y="233"/>
                        </a:lnTo>
                        <a:lnTo>
                          <a:pt x="679" y="231"/>
                        </a:lnTo>
                        <a:lnTo>
                          <a:pt x="679" y="230"/>
                        </a:lnTo>
                        <a:lnTo>
                          <a:pt x="681" y="230"/>
                        </a:lnTo>
                        <a:lnTo>
                          <a:pt x="683" y="228"/>
                        </a:lnTo>
                        <a:lnTo>
                          <a:pt x="683" y="227"/>
                        </a:lnTo>
                        <a:lnTo>
                          <a:pt x="684" y="225"/>
                        </a:lnTo>
                        <a:lnTo>
                          <a:pt x="686" y="225"/>
                        </a:lnTo>
                        <a:lnTo>
                          <a:pt x="686" y="223"/>
                        </a:lnTo>
                        <a:lnTo>
                          <a:pt x="687" y="223"/>
                        </a:lnTo>
                        <a:lnTo>
                          <a:pt x="689" y="222"/>
                        </a:lnTo>
                        <a:lnTo>
                          <a:pt x="689" y="220"/>
                        </a:lnTo>
                        <a:lnTo>
                          <a:pt x="690" y="220"/>
                        </a:lnTo>
                        <a:lnTo>
                          <a:pt x="690" y="219"/>
                        </a:lnTo>
                        <a:lnTo>
                          <a:pt x="692" y="219"/>
                        </a:lnTo>
                        <a:lnTo>
                          <a:pt x="692" y="217"/>
                        </a:lnTo>
                        <a:lnTo>
                          <a:pt x="694" y="216"/>
                        </a:lnTo>
                        <a:lnTo>
                          <a:pt x="694" y="214"/>
                        </a:lnTo>
                        <a:lnTo>
                          <a:pt x="695" y="212"/>
                        </a:lnTo>
                        <a:lnTo>
                          <a:pt x="694" y="212"/>
                        </a:lnTo>
                        <a:lnTo>
                          <a:pt x="694" y="211"/>
                        </a:lnTo>
                        <a:lnTo>
                          <a:pt x="692" y="211"/>
                        </a:lnTo>
                        <a:lnTo>
                          <a:pt x="690" y="211"/>
                        </a:lnTo>
                        <a:lnTo>
                          <a:pt x="689" y="211"/>
                        </a:lnTo>
                        <a:lnTo>
                          <a:pt x="689" y="212"/>
                        </a:lnTo>
                        <a:lnTo>
                          <a:pt x="687" y="212"/>
                        </a:lnTo>
                        <a:lnTo>
                          <a:pt x="686" y="212"/>
                        </a:lnTo>
                        <a:lnTo>
                          <a:pt x="684" y="212"/>
                        </a:lnTo>
                        <a:lnTo>
                          <a:pt x="683" y="212"/>
                        </a:lnTo>
                        <a:lnTo>
                          <a:pt x="681" y="212"/>
                        </a:lnTo>
                        <a:lnTo>
                          <a:pt x="679" y="212"/>
                        </a:lnTo>
                        <a:lnTo>
                          <a:pt x="678" y="211"/>
                        </a:lnTo>
                        <a:lnTo>
                          <a:pt x="676" y="209"/>
                        </a:lnTo>
                        <a:lnTo>
                          <a:pt x="675" y="208"/>
                        </a:lnTo>
                        <a:lnTo>
                          <a:pt x="673" y="206"/>
                        </a:lnTo>
                        <a:lnTo>
                          <a:pt x="673" y="204"/>
                        </a:lnTo>
                        <a:lnTo>
                          <a:pt x="671" y="204"/>
                        </a:lnTo>
                        <a:lnTo>
                          <a:pt x="670" y="204"/>
                        </a:lnTo>
                        <a:lnTo>
                          <a:pt x="668" y="203"/>
                        </a:lnTo>
                        <a:lnTo>
                          <a:pt x="667" y="203"/>
                        </a:lnTo>
                        <a:lnTo>
                          <a:pt x="665" y="204"/>
                        </a:lnTo>
                        <a:lnTo>
                          <a:pt x="664" y="206"/>
                        </a:lnTo>
                        <a:lnTo>
                          <a:pt x="664" y="204"/>
                        </a:lnTo>
                        <a:lnTo>
                          <a:pt x="662" y="204"/>
                        </a:lnTo>
                        <a:lnTo>
                          <a:pt x="660" y="204"/>
                        </a:lnTo>
                        <a:lnTo>
                          <a:pt x="659" y="203"/>
                        </a:lnTo>
                        <a:lnTo>
                          <a:pt x="657" y="203"/>
                        </a:lnTo>
                        <a:lnTo>
                          <a:pt x="656" y="203"/>
                        </a:lnTo>
                        <a:lnTo>
                          <a:pt x="656" y="201"/>
                        </a:lnTo>
                        <a:lnTo>
                          <a:pt x="654" y="201"/>
                        </a:lnTo>
                        <a:lnTo>
                          <a:pt x="652" y="201"/>
                        </a:lnTo>
                        <a:lnTo>
                          <a:pt x="651" y="200"/>
                        </a:lnTo>
                        <a:lnTo>
                          <a:pt x="649" y="200"/>
                        </a:lnTo>
                        <a:lnTo>
                          <a:pt x="648" y="200"/>
                        </a:lnTo>
                        <a:lnTo>
                          <a:pt x="648" y="198"/>
                        </a:lnTo>
                        <a:lnTo>
                          <a:pt x="646" y="198"/>
                        </a:lnTo>
                        <a:lnTo>
                          <a:pt x="646" y="200"/>
                        </a:lnTo>
                        <a:lnTo>
                          <a:pt x="645" y="200"/>
                        </a:lnTo>
                        <a:lnTo>
                          <a:pt x="643" y="200"/>
                        </a:lnTo>
                        <a:lnTo>
                          <a:pt x="643" y="198"/>
                        </a:lnTo>
                        <a:lnTo>
                          <a:pt x="641" y="198"/>
                        </a:lnTo>
                        <a:lnTo>
                          <a:pt x="643" y="197"/>
                        </a:lnTo>
                        <a:lnTo>
                          <a:pt x="645" y="197"/>
                        </a:lnTo>
                        <a:lnTo>
                          <a:pt x="643" y="197"/>
                        </a:lnTo>
                        <a:lnTo>
                          <a:pt x="641" y="195"/>
                        </a:lnTo>
                        <a:lnTo>
                          <a:pt x="641" y="197"/>
                        </a:lnTo>
                        <a:lnTo>
                          <a:pt x="640" y="195"/>
                        </a:lnTo>
                        <a:lnTo>
                          <a:pt x="638" y="195"/>
                        </a:lnTo>
                        <a:lnTo>
                          <a:pt x="637" y="195"/>
                        </a:lnTo>
                        <a:lnTo>
                          <a:pt x="635" y="195"/>
                        </a:lnTo>
                        <a:lnTo>
                          <a:pt x="633" y="193"/>
                        </a:lnTo>
                        <a:lnTo>
                          <a:pt x="632" y="193"/>
                        </a:lnTo>
                        <a:lnTo>
                          <a:pt x="630" y="192"/>
                        </a:lnTo>
                        <a:lnTo>
                          <a:pt x="629" y="192"/>
                        </a:lnTo>
                        <a:lnTo>
                          <a:pt x="627" y="192"/>
                        </a:lnTo>
                        <a:lnTo>
                          <a:pt x="626" y="192"/>
                        </a:lnTo>
                        <a:lnTo>
                          <a:pt x="624" y="192"/>
                        </a:lnTo>
                        <a:lnTo>
                          <a:pt x="624" y="193"/>
                        </a:lnTo>
                        <a:lnTo>
                          <a:pt x="622" y="193"/>
                        </a:lnTo>
                        <a:lnTo>
                          <a:pt x="621" y="195"/>
                        </a:lnTo>
                        <a:lnTo>
                          <a:pt x="619" y="195"/>
                        </a:lnTo>
                        <a:lnTo>
                          <a:pt x="618" y="195"/>
                        </a:lnTo>
                        <a:lnTo>
                          <a:pt x="616" y="193"/>
                        </a:lnTo>
                        <a:lnTo>
                          <a:pt x="614" y="193"/>
                        </a:lnTo>
                        <a:lnTo>
                          <a:pt x="616" y="192"/>
                        </a:lnTo>
                        <a:lnTo>
                          <a:pt x="616" y="190"/>
                        </a:lnTo>
                        <a:lnTo>
                          <a:pt x="614" y="190"/>
                        </a:lnTo>
                        <a:lnTo>
                          <a:pt x="613" y="190"/>
                        </a:lnTo>
                        <a:lnTo>
                          <a:pt x="611" y="190"/>
                        </a:lnTo>
                        <a:lnTo>
                          <a:pt x="610" y="190"/>
                        </a:lnTo>
                        <a:lnTo>
                          <a:pt x="608" y="189"/>
                        </a:lnTo>
                        <a:lnTo>
                          <a:pt x="607" y="189"/>
                        </a:lnTo>
                        <a:lnTo>
                          <a:pt x="607" y="190"/>
                        </a:lnTo>
                        <a:lnTo>
                          <a:pt x="605" y="190"/>
                        </a:lnTo>
                        <a:lnTo>
                          <a:pt x="603" y="190"/>
                        </a:lnTo>
                        <a:lnTo>
                          <a:pt x="603" y="189"/>
                        </a:lnTo>
                        <a:lnTo>
                          <a:pt x="605" y="187"/>
                        </a:lnTo>
                        <a:lnTo>
                          <a:pt x="603" y="187"/>
                        </a:lnTo>
                        <a:lnTo>
                          <a:pt x="602" y="187"/>
                        </a:lnTo>
                        <a:lnTo>
                          <a:pt x="600" y="187"/>
                        </a:lnTo>
                        <a:lnTo>
                          <a:pt x="600" y="189"/>
                        </a:lnTo>
                        <a:lnTo>
                          <a:pt x="599" y="189"/>
                        </a:lnTo>
                        <a:lnTo>
                          <a:pt x="597" y="189"/>
                        </a:lnTo>
                        <a:lnTo>
                          <a:pt x="597" y="187"/>
                        </a:lnTo>
                        <a:lnTo>
                          <a:pt x="595" y="187"/>
                        </a:lnTo>
                        <a:lnTo>
                          <a:pt x="594" y="187"/>
                        </a:lnTo>
                        <a:lnTo>
                          <a:pt x="592" y="185"/>
                        </a:lnTo>
                        <a:lnTo>
                          <a:pt x="592" y="184"/>
                        </a:lnTo>
                        <a:lnTo>
                          <a:pt x="591" y="182"/>
                        </a:lnTo>
                        <a:lnTo>
                          <a:pt x="589" y="182"/>
                        </a:lnTo>
                        <a:lnTo>
                          <a:pt x="589" y="184"/>
                        </a:lnTo>
                        <a:lnTo>
                          <a:pt x="588" y="182"/>
                        </a:lnTo>
                        <a:lnTo>
                          <a:pt x="589" y="182"/>
                        </a:lnTo>
                        <a:lnTo>
                          <a:pt x="589" y="181"/>
                        </a:lnTo>
                        <a:lnTo>
                          <a:pt x="588" y="181"/>
                        </a:lnTo>
                        <a:lnTo>
                          <a:pt x="588" y="179"/>
                        </a:lnTo>
                        <a:lnTo>
                          <a:pt x="586" y="179"/>
                        </a:lnTo>
                        <a:lnTo>
                          <a:pt x="584" y="179"/>
                        </a:lnTo>
                        <a:lnTo>
                          <a:pt x="583" y="181"/>
                        </a:lnTo>
                        <a:lnTo>
                          <a:pt x="583" y="179"/>
                        </a:lnTo>
                        <a:lnTo>
                          <a:pt x="583" y="178"/>
                        </a:lnTo>
                        <a:lnTo>
                          <a:pt x="581" y="178"/>
                        </a:lnTo>
                        <a:lnTo>
                          <a:pt x="581" y="176"/>
                        </a:lnTo>
                        <a:lnTo>
                          <a:pt x="580" y="176"/>
                        </a:lnTo>
                        <a:lnTo>
                          <a:pt x="578" y="176"/>
                        </a:lnTo>
                        <a:lnTo>
                          <a:pt x="578" y="174"/>
                        </a:lnTo>
                        <a:lnTo>
                          <a:pt x="578" y="173"/>
                        </a:lnTo>
                        <a:lnTo>
                          <a:pt x="576" y="173"/>
                        </a:lnTo>
                        <a:lnTo>
                          <a:pt x="575" y="173"/>
                        </a:lnTo>
                        <a:lnTo>
                          <a:pt x="573" y="171"/>
                        </a:lnTo>
                        <a:lnTo>
                          <a:pt x="572" y="170"/>
                        </a:lnTo>
                        <a:lnTo>
                          <a:pt x="572" y="168"/>
                        </a:lnTo>
                        <a:lnTo>
                          <a:pt x="572" y="166"/>
                        </a:lnTo>
                        <a:lnTo>
                          <a:pt x="570" y="166"/>
                        </a:lnTo>
                        <a:lnTo>
                          <a:pt x="570" y="165"/>
                        </a:lnTo>
                        <a:lnTo>
                          <a:pt x="569" y="165"/>
                        </a:lnTo>
                        <a:lnTo>
                          <a:pt x="567" y="165"/>
                        </a:lnTo>
                        <a:lnTo>
                          <a:pt x="565" y="166"/>
                        </a:lnTo>
                        <a:lnTo>
                          <a:pt x="565" y="165"/>
                        </a:lnTo>
                        <a:lnTo>
                          <a:pt x="564" y="165"/>
                        </a:lnTo>
                        <a:lnTo>
                          <a:pt x="562" y="165"/>
                        </a:lnTo>
                        <a:lnTo>
                          <a:pt x="561" y="165"/>
                        </a:lnTo>
                        <a:lnTo>
                          <a:pt x="561" y="166"/>
                        </a:lnTo>
                        <a:lnTo>
                          <a:pt x="559" y="166"/>
                        </a:lnTo>
                        <a:lnTo>
                          <a:pt x="557" y="168"/>
                        </a:lnTo>
                        <a:lnTo>
                          <a:pt x="556" y="168"/>
                        </a:lnTo>
                        <a:lnTo>
                          <a:pt x="554" y="168"/>
                        </a:lnTo>
                        <a:lnTo>
                          <a:pt x="553" y="168"/>
                        </a:lnTo>
                        <a:lnTo>
                          <a:pt x="551" y="168"/>
                        </a:lnTo>
                        <a:lnTo>
                          <a:pt x="550" y="168"/>
                        </a:lnTo>
                        <a:lnTo>
                          <a:pt x="548" y="168"/>
                        </a:lnTo>
                        <a:lnTo>
                          <a:pt x="546" y="168"/>
                        </a:lnTo>
                        <a:lnTo>
                          <a:pt x="545" y="168"/>
                        </a:lnTo>
                        <a:lnTo>
                          <a:pt x="543" y="170"/>
                        </a:lnTo>
                        <a:lnTo>
                          <a:pt x="542" y="168"/>
                        </a:lnTo>
                        <a:lnTo>
                          <a:pt x="540" y="170"/>
                        </a:lnTo>
                        <a:lnTo>
                          <a:pt x="538" y="170"/>
                        </a:lnTo>
                        <a:lnTo>
                          <a:pt x="537" y="168"/>
                        </a:lnTo>
                        <a:lnTo>
                          <a:pt x="535" y="168"/>
                        </a:lnTo>
                        <a:lnTo>
                          <a:pt x="534" y="168"/>
                        </a:lnTo>
                        <a:lnTo>
                          <a:pt x="532" y="168"/>
                        </a:lnTo>
                        <a:lnTo>
                          <a:pt x="531" y="168"/>
                        </a:lnTo>
                        <a:lnTo>
                          <a:pt x="529" y="168"/>
                        </a:lnTo>
                        <a:lnTo>
                          <a:pt x="527" y="168"/>
                        </a:lnTo>
                        <a:lnTo>
                          <a:pt x="526" y="168"/>
                        </a:lnTo>
                        <a:lnTo>
                          <a:pt x="524" y="168"/>
                        </a:lnTo>
                        <a:lnTo>
                          <a:pt x="524" y="166"/>
                        </a:lnTo>
                        <a:lnTo>
                          <a:pt x="523" y="166"/>
                        </a:lnTo>
                        <a:lnTo>
                          <a:pt x="521" y="166"/>
                        </a:lnTo>
                        <a:lnTo>
                          <a:pt x="519" y="166"/>
                        </a:lnTo>
                        <a:lnTo>
                          <a:pt x="518" y="166"/>
                        </a:lnTo>
                        <a:lnTo>
                          <a:pt x="516" y="166"/>
                        </a:lnTo>
                        <a:lnTo>
                          <a:pt x="516" y="165"/>
                        </a:lnTo>
                        <a:lnTo>
                          <a:pt x="515" y="165"/>
                        </a:lnTo>
                        <a:lnTo>
                          <a:pt x="513" y="165"/>
                        </a:lnTo>
                        <a:lnTo>
                          <a:pt x="511" y="163"/>
                        </a:lnTo>
                        <a:lnTo>
                          <a:pt x="510" y="163"/>
                        </a:lnTo>
                        <a:lnTo>
                          <a:pt x="508" y="163"/>
                        </a:lnTo>
                        <a:lnTo>
                          <a:pt x="507" y="162"/>
                        </a:lnTo>
                        <a:lnTo>
                          <a:pt x="505" y="162"/>
                        </a:lnTo>
                        <a:lnTo>
                          <a:pt x="504" y="160"/>
                        </a:lnTo>
                        <a:lnTo>
                          <a:pt x="502" y="160"/>
                        </a:lnTo>
                        <a:lnTo>
                          <a:pt x="500" y="160"/>
                        </a:lnTo>
                        <a:lnTo>
                          <a:pt x="499" y="162"/>
                        </a:lnTo>
                        <a:lnTo>
                          <a:pt x="499" y="163"/>
                        </a:lnTo>
                        <a:lnTo>
                          <a:pt x="497" y="165"/>
                        </a:lnTo>
                        <a:lnTo>
                          <a:pt x="496" y="166"/>
                        </a:lnTo>
                        <a:lnTo>
                          <a:pt x="496" y="168"/>
                        </a:lnTo>
                        <a:lnTo>
                          <a:pt x="494" y="170"/>
                        </a:lnTo>
                        <a:lnTo>
                          <a:pt x="494" y="171"/>
                        </a:lnTo>
                        <a:lnTo>
                          <a:pt x="492" y="173"/>
                        </a:lnTo>
                        <a:lnTo>
                          <a:pt x="491" y="174"/>
                        </a:lnTo>
                        <a:lnTo>
                          <a:pt x="489" y="174"/>
                        </a:lnTo>
                        <a:lnTo>
                          <a:pt x="489" y="176"/>
                        </a:lnTo>
                        <a:lnTo>
                          <a:pt x="488" y="176"/>
                        </a:lnTo>
                        <a:lnTo>
                          <a:pt x="486" y="178"/>
                        </a:lnTo>
                        <a:lnTo>
                          <a:pt x="486" y="179"/>
                        </a:lnTo>
                        <a:lnTo>
                          <a:pt x="485" y="179"/>
                        </a:lnTo>
                        <a:lnTo>
                          <a:pt x="485" y="181"/>
                        </a:lnTo>
                        <a:lnTo>
                          <a:pt x="483" y="181"/>
                        </a:lnTo>
                        <a:lnTo>
                          <a:pt x="481" y="182"/>
                        </a:lnTo>
                        <a:lnTo>
                          <a:pt x="480" y="184"/>
                        </a:lnTo>
                        <a:lnTo>
                          <a:pt x="480" y="185"/>
                        </a:lnTo>
                        <a:lnTo>
                          <a:pt x="478" y="187"/>
                        </a:lnTo>
                        <a:lnTo>
                          <a:pt x="477" y="189"/>
                        </a:lnTo>
                        <a:lnTo>
                          <a:pt x="475" y="190"/>
                        </a:lnTo>
                        <a:lnTo>
                          <a:pt x="473" y="190"/>
                        </a:lnTo>
                        <a:lnTo>
                          <a:pt x="472" y="192"/>
                        </a:lnTo>
                        <a:lnTo>
                          <a:pt x="472" y="193"/>
                        </a:lnTo>
                        <a:lnTo>
                          <a:pt x="470" y="193"/>
                        </a:lnTo>
                        <a:lnTo>
                          <a:pt x="469" y="193"/>
                        </a:lnTo>
                        <a:lnTo>
                          <a:pt x="467" y="192"/>
                        </a:lnTo>
                        <a:lnTo>
                          <a:pt x="466" y="190"/>
                        </a:lnTo>
                        <a:lnTo>
                          <a:pt x="464" y="190"/>
                        </a:lnTo>
                        <a:lnTo>
                          <a:pt x="462" y="190"/>
                        </a:lnTo>
                        <a:lnTo>
                          <a:pt x="461" y="190"/>
                        </a:lnTo>
                        <a:lnTo>
                          <a:pt x="461" y="189"/>
                        </a:lnTo>
                        <a:lnTo>
                          <a:pt x="459" y="189"/>
                        </a:lnTo>
                        <a:lnTo>
                          <a:pt x="458" y="189"/>
                        </a:lnTo>
                        <a:lnTo>
                          <a:pt x="456" y="187"/>
                        </a:lnTo>
                        <a:lnTo>
                          <a:pt x="454" y="189"/>
                        </a:lnTo>
                        <a:lnTo>
                          <a:pt x="453" y="189"/>
                        </a:lnTo>
                        <a:lnTo>
                          <a:pt x="451" y="189"/>
                        </a:lnTo>
                        <a:lnTo>
                          <a:pt x="450" y="189"/>
                        </a:lnTo>
                        <a:lnTo>
                          <a:pt x="448" y="189"/>
                        </a:lnTo>
                        <a:lnTo>
                          <a:pt x="448" y="190"/>
                        </a:lnTo>
                        <a:lnTo>
                          <a:pt x="447" y="190"/>
                        </a:lnTo>
                        <a:lnTo>
                          <a:pt x="445" y="190"/>
                        </a:lnTo>
                        <a:lnTo>
                          <a:pt x="443" y="190"/>
                        </a:lnTo>
                        <a:lnTo>
                          <a:pt x="442" y="190"/>
                        </a:lnTo>
                        <a:lnTo>
                          <a:pt x="440" y="190"/>
                        </a:lnTo>
                        <a:lnTo>
                          <a:pt x="440" y="189"/>
                        </a:lnTo>
                        <a:lnTo>
                          <a:pt x="439" y="189"/>
                        </a:lnTo>
                        <a:lnTo>
                          <a:pt x="437" y="189"/>
                        </a:lnTo>
                        <a:lnTo>
                          <a:pt x="435" y="189"/>
                        </a:lnTo>
                        <a:lnTo>
                          <a:pt x="435" y="187"/>
                        </a:lnTo>
                        <a:lnTo>
                          <a:pt x="434" y="187"/>
                        </a:lnTo>
                        <a:lnTo>
                          <a:pt x="434" y="185"/>
                        </a:lnTo>
                        <a:lnTo>
                          <a:pt x="434" y="184"/>
                        </a:lnTo>
                        <a:lnTo>
                          <a:pt x="432" y="184"/>
                        </a:lnTo>
                        <a:lnTo>
                          <a:pt x="431" y="184"/>
                        </a:lnTo>
                        <a:lnTo>
                          <a:pt x="429" y="182"/>
                        </a:lnTo>
                        <a:lnTo>
                          <a:pt x="428" y="182"/>
                        </a:lnTo>
                        <a:lnTo>
                          <a:pt x="428" y="181"/>
                        </a:lnTo>
                        <a:lnTo>
                          <a:pt x="426" y="181"/>
                        </a:lnTo>
                        <a:lnTo>
                          <a:pt x="424" y="181"/>
                        </a:lnTo>
                        <a:lnTo>
                          <a:pt x="423" y="181"/>
                        </a:lnTo>
                        <a:lnTo>
                          <a:pt x="421" y="181"/>
                        </a:lnTo>
                        <a:lnTo>
                          <a:pt x="420" y="181"/>
                        </a:lnTo>
                        <a:lnTo>
                          <a:pt x="418" y="181"/>
                        </a:lnTo>
                        <a:lnTo>
                          <a:pt x="418" y="179"/>
                        </a:lnTo>
                        <a:lnTo>
                          <a:pt x="416" y="179"/>
                        </a:lnTo>
                        <a:lnTo>
                          <a:pt x="397" y="176"/>
                        </a:lnTo>
                        <a:lnTo>
                          <a:pt x="399" y="174"/>
                        </a:lnTo>
                        <a:lnTo>
                          <a:pt x="399" y="173"/>
                        </a:lnTo>
                        <a:lnTo>
                          <a:pt x="399" y="171"/>
                        </a:lnTo>
                        <a:lnTo>
                          <a:pt x="401" y="170"/>
                        </a:lnTo>
                        <a:lnTo>
                          <a:pt x="399" y="170"/>
                        </a:lnTo>
                        <a:lnTo>
                          <a:pt x="399" y="168"/>
                        </a:lnTo>
                        <a:lnTo>
                          <a:pt x="399" y="166"/>
                        </a:lnTo>
                        <a:lnTo>
                          <a:pt x="399" y="165"/>
                        </a:lnTo>
                        <a:lnTo>
                          <a:pt x="399" y="163"/>
                        </a:lnTo>
                        <a:lnTo>
                          <a:pt x="399" y="162"/>
                        </a:lnTo>
                        <a:lnTo>
                          <a:pt x="397" y="162"/>
                        </a:lnTo>
                        <a:lnTo>
                          <a:pt x="397" y="160"/>
                        </a:lnTo>
                        <a:lnTo>
                          <a:pt x="396" y="160"/>
                        </a:lnTo>
                        <a:lnTo>
                          <a:pt x="394" y="159"/>
                        </a:lnTo>
                        <a:lnTo>
                          <a:pt x="393" y="159"/>
                        </a:lnTo>
                        <a:lnTo>
                          <a:pt x="391" y="157"/>
                        </a:lnTo>
                        <a:lnTo>
                          <a:pt x="390" y="155"/>
                        </a:lnTo>
                        <a:lnTo>
                          <a:pt x="390" y="154"/>
                        </a:lnTo>
                        <a:lnTo>
                          <a:pt x="388" y="152"/>
                        </a:lnTo>
                        <a:lnTo>
                          <a:pt x="386" y="151"/>
                        </a:lnTo>
                        <a:lnTo>
                          <a:pt x="385" y="149"/>
                        </a:lnTo>
                        <a:lnTo>
                          <a:pt x="385" y="147"/>
                        </a:lnTo>
                        <a:lnTo>
                          <a:pt x="386" y="146"/>
                        </a:lnTo>
                        <a:lnTo>
                          <a:pt x="386" y="144"/>
                        </a:lnTo>
                        <a:lnTo>
                          <a:pt x="386" y="143"/>
                        </a:lnTo>
                        <a:lnTo>
                          <a:pt x="386" y="141"/>
                        </a:lnTo>
                        <a:lnTo>
                          <a:pt x="386" y="140"/>
                        </a:lnTo>
                        <a:lnTo>
                          <a:pt x="385" y="138"/>
                        </a:lnTo>
                        <a:lnTo>
                          <a:pt x="385" y="136"/>
                        </a:lnTo>
                        <a:lnTo>
                          <a:pt x="385" y="135"/>
                        </a:lnTo>
                        <a:lnTo>
                          <a:pt x="385" y="133"/>
                        </a:lnTo>
                        <a:lnTo>
                          <a:pt x="383" y="133"/>
                        </a:lnTo>
                        <a:lnTo>
                          <a:pt x="383" y="132"/>
                        </a:lnTo>
                        <a:lnTo>
                          <a:pt x="382" y="132"/>
                        </a:lnTo>
                        <a:lnTo>
                          <a:pt x="380" y="132"/>
                        </a:lnTo>
                        <a:lnTo>
                          <a:pt x="378" y="130"/>
                        </a:lnTo>
                        <a:lnTo>
                          <a:pt x="377" y="130"/>
                        </a:lnTo>
                        <a:lnTo>
                          <a:pt x="375" y="130"/>
                        </a:lnTo>
                        <a:lnTo>
                          <a:pt x="374" y="128"/>
                        </a:lnTo>
                        <a:lnTo>
                          <a:pt x="372" y="128"/>
                        </a:lnTo>
                        <a:lnTo>
                          <a:pt x="371" y="128"/>
                        </a:lnTo>
                        <a:lnTo>
                          <a:pt x="369" y="128"/>
                        </a:lnTo>
                        <a:lnTo>
                          <a:pt x="367" y="128"/>
                        </a:lnTo>
                        <a:lnTo>
                          <a:pt x="366" y="128"/>
                        </a:lnTo>
                        <a:lnTo>
                          <a:pt x="364" y="128"/>
                        </a:lnTo>
                        <a:lnTo>
                          <a:pt x="363" y="127"/>
                        </a:lnTo>
                        <a:lnTo>
                          <a:pt x="361" y="127"/>
                        </a:lnTo>
                        <a:lnTo>
                          <a:pt x="361" y="125"/>
                        </a:lnTo>
                        <a:lnTo>
                          <a:pt x="359" y="125"/>
                        </a:lnTo>
                        <a:lnTo>
                          <a:pt x="358" y="125"/>
                        </a:lnTo>
                        <a:lnTo>
                          <a:pt x="356" y="125"/>
                        </a:lnTo>
                        <a:lnTo>
                          <a:pt x="356" y="124"/>
                        </a:lnTo>
                        <a:lnTo>
                          <a:pt x="355" y="124"/>
                        </a:lnTo>
                        <a:lnTo>
                          <a:pt x="355" y="122"/>
                        </a:lnTo>
                        <a:lnTo>
                          <a:pt x="356" y="120"/>
                        </a:lnTo>
                        <a:lnTo>
                          <a:pt x="358" y="119"/>
                        </a:lnTo>
                        <a:lnTo>
                          <a:pt x="358" y="117"/>
                        </a:lnTo>
                        <a:lnTo>
                          <a:pt x="358" y="116"/>
                        </a:lnTo>
                        <a:lnTo>
                          <a:pt x="359" y="116"/>
                        </a:lnTo>
                        <a:lnTo>
                          <a:pt x="359" y="114"/>
                        </a:lnTo>
                        <a:lnTo>
                          <a:pt x="359" y="113"/>
                        </a:lnTo>
                        <a:lnTo>
                          <a:pt x="359" y="111"/>
                        </a:lnTo>
                        <a:lnTo>
                          <a:pt x="359" y="109"/>
                        </a:lnTo>
                        <a:lnTo>
                          <a:pt x="359" y="108"/>
                        </a:lnTo>
                        <a:lnTo>
                          <a:pt x="358" y="108"/>
                        </a:lnTo>
                        <a:lnTo>
                          <a:pt x="358" y="106"/>
                        </a:lnTo>
                        <a:lnTo>
                          <a:pt x="358" y="105"/>
                        </a:lnTo>
                        <a:lnTo>
                          <a:pt x="356" y="105"/>
                        </a:lnTo>
                        <a:lnTo>
                          <a:pt x="355" y="105"/>
                        </a:lnTo>
                        <a:lnTo>
                          <a:pt x="353" y="105"/>
                        </a:lnTo>
                        <a:lnTo>
                          <a:pt x="353" y="103"/>
                        </a:lnTo>
                        <a:lnTo>
                          <a:pt x="352" y="103"/>
                        </a:lnTo>
                        <a:lnTo>
                          <a:pt x="350" y="103"/>
                        </a:lnTo>
                        <a:lnTo>
                          <a:pt x="348" y="103"/>
                        </a:lnTo>
                        <a:lnTo>
                          <a:pt x="347" y="103"/>
                        </a:lnTo>
                        <a:lnTo>
                          <a:pt x="345" y="103"/>
                        </a:lnTo>
                        <a:lnTo>
                          <a:pt x="344" y="103"/>
                        </a:lnTo>
                        <a:lnTo>
                          <a:pt x="344" y="105"/>
                        </a:lnTo>
                        <a:lnTo>
                          <a:pt x="342" y="105"/>
                        </a:lnTo>
                        <a:lnTo>
                          <a:pt x="340" y="106"/>
                        </a:lnTo>
                        <a:lnTo>
                          <a:pt x="339" y="106"/>
                        </a:lnTo>
                        <a:lnTo>
                          <a:pt x="339" y="108"/>
                        </a:lnTo>
                        <a:lnTo>
                          <a:pt x="337" y="108"/>
                        </a:lnTo>
                        <a:lnTo>
                          <a:pt x="337" y="109"/>
                        </a:lnTo>
                        <a:lnTo>
                          <a:pt x="336" y="109"/>
                        </a:lnTo>
                        <a:lnTo>
                          <a:pt x="334" y="109"/>
                        </a:lnTo>
                        <a:lnTo>
                          <a:pt x="333" y="109"/>
                        </a:lnTo>
                        <a:lnTo>
                          <a:pt x="331" y="108"/>
                        </a:lnTo>
                        <a:lnTo>
                          <a:pt x="331" y="106"/>
                        </a:lnTo>
                        <a:lnTo>
                          <a:pt x="331" y="105"/>
                        </a:lnTo>
                        <a:lnTo>
                          <a:pt x="329" y="103"/>
                        </a:lnTo>
                        <a:lnTo>
                          <a:pt x="329" y="101"/>
                        </a:lnTo>
                        <a:lnTo>
                          <a:pt x="329" y="100"/>
                        </a:lnTo>
                        <a:lnTo>
                          <a:pt x="329" y="98"/>
                        </a:lnTo>
                        <a:lnTo>
                          <a:pt x="328" y="97"/>
                        </a:lnTo>
                        <a:lnTo>
                          <a:pt x="326" y="97"/>
                        </a:lnTo>
                        <a:lnTo>
                          <a:pt x="325" y="95"/>
                        </a:lnTo>
                        <a:lnTo>
                          <a:pt x="325" y="94"/>
                        </a:lnTo>
                        <a:lnTo>
                          <a:pt x="323" y="94"/>
                        </a:lnTo>
                        <a:lnTo>
                          <a:pt x="323" y="92"/>
                        </a:lnTo>
                        <a:lnTo>
                          <a:pt x="323" y="90"/>
                        </a:lnTo>
                        <a:lnTo>
                          <a:pt x="323" y="89"/>
                        </a:lnTo>
                        <a:lnTo>
                          <a:pt x="323" y="87"/>
                        </a:lnTo>
                        <a:lnTo>
                          <a:pt x="321" y="87"/>
                        </a:lnTo>
                        <a:lnTo>
                          <a:pt x="321" y="86"/>
                        </a:lnTo>
                        <a:lnTo>
                          <a:pt x="321" y="84"/>
                        </a:lnTo>
                        <a:lnTo>
                          <a:pt x="321" y="82"/>
                        </a:lnTo>
                        <a:lnTo>
                          <a:pt x="320" y="82"/>
                        </a:lnTo>
                        <a:lnTo>
                          <a:pt x="320" y="81"/>
                        </a:lnTo>
                        <a:lnTo>
                          <a:pt x="318" y="81"/>
                        </a:lnTo>
                        <a:lnTo>
                          <a:pt x="318" y="79"/>
                        </a:lnTo>
                        <a:lnTo>
                          <a:pt x="317" y="79"/>
                        </a:lnTo>
                        <a:lnTo>
                          <a:pt x="317" y="78"/>
                        </a:lnTo>
                        <a:lnTo>
                          <a:pt x="315" y="78"/>
                        </a:lnTo>
                        <a:lnTo>
                          <a:pt x="315" y="76"/>
                        </a:lnTo>
                        <a:lnTo>
                          <a:pt x="315" y="75"/>
                        </a:lnTo>
                        <a:lnTo>
                          <a:pt x="315" y="73"/>
                        </a:lnTo>
                        <a:lnTo>
                          <a:pt x="315" y="71"/>
                        </a:lnTo>
                        <a:lnTo>
                          <a:pt x="315" y="70"/>
                        </a:lnTo>
                        <a:lnTo>
                          <a:pt x="317" y="68"/>
                        </a:lnTo>
                        <a:lnTo>
                          <a:pt x="317" y="67"/>
                        </a:lnTo>
                        <a:lnTo>
                          <a:pt x="317" y="65"/>
                        </a:lnTo>
                        <a:lnTo>
                          <a:pt x="318" y="63"/>
                        </a:lnTo>
                        <a:lnTo>
                          <a:pt x="318" y="62"/>
                        </a:lnTo>
                        <a:lnTo>
                          <a:pt x="317" y="62"/>
                        </a:lnTo>
                        <a:lnTo>
                          <a:pt x="315" y="62"/>
                        </a:lnTo>
                        <a:lnTo>
                          <a:pt x="313" y="62"/>
                        </a:lnTo>
                        <a:lnTo>
                          <a:pt x="312" y="62"/>
                        </a:lnTo>
                        <a:lnTo>
                          <a:pt x="310" y="62"/>
                        </a:lnTo>
                        <a:lnTo>
                          <a:pt x="309" y="62"/>
                        </a:lnTo>
                        <a:lnTo>
                          <a:pt x="307" y="62"/>
                        </a:lnTo>
                        <a:lnTo>
                          <a:pt x="306" y="62"/>
                        </a:lnTo>
                        <a:lnTo>
                          <a:pt x="302" y="62"/>
                        </a:lnTo>
                        <a:lnTo>
                          <a:pt x="299" y="59"/>
                        </a:lnTo>
                        <a:lnTo>
                          <a:pt x="296" y="59"/>
                        </a:lnTo>
                        <a:lnTo>
                          <a:pt x="293" y="57"/>
                        </a:lnTo>
                        <a:lnTo>
                          <a:pt x="291" y="56"/>
                        </a:lnTo>
                        <a:lnTo>
                          <a:pt x="288" y="56"/>
                        </a:lnTo>
                        <a:lnTo>
                          <a:pt x="287" y="54"/>
                        </a:lnTo>
                        <a:lnTo>
                          <a:pt x="279" y="52"/>
                        </a:lnTo>
                        <a:lnTo>
                          <a:pt x="272" y="51"/>
                        </a:lnTo>
                        <a:lnTo>
                          <a:pt x="269" y="49"/>
                        </a:lnTo>
                        <a:lnTo>
                          <a:pt x="264" y="49"/>
                        </a:lnTo>
                        <a:lnTo>
                          <a:pt x="260" y="49"/>
                        </a:lnTo>
                        <a:lnTo>
                          <a:pt x="253" y="49"/>
                        </a:lnTo>
                        <a:lnTo>
                          <a:pt x="247" y="49"/>
                        </a:lnTo>
                        <a:lnTo>
                          <a:pt x="245" y="51"/>
                        </a:lnTo>
                        <a:lnTo>
                          <a:pt x="239" y="54"/>
                        </a:lnTo>
                        <a:lnTo>
                          <a:pt x="237" y="57"/>
                        </a:lnTo>
                        <a:lnTo>
                          <a:pt x="234" y="60"/>
                        </a:lnTo>
                        <a:lnTo>
                          <a:pt x="233" y="60"/>
                        </a:lnTo>
                        <a:lnTo>
                          <a:pt x="233" y="62"/>
                        </a:lnTo>
                        <a:lnTo>
                          <a:pt x="231" y="62"/>
                        </a:lnTo>
                        <a:lnTo>
                          <a:pt x="225" y="62"/>
                        </a:lnTo>
                        <a:lnTo>
                          <a:pt x="218" y="62"/>
                        </a:lnTo>
                        <a:lnTo>
                          <a:pt x="209" y="63"/>
                        </a:lnTo>
                        <a:lnTo>
                          <a:pt x="199" y="65"/>
                        </a:lnTo>
                        <a:lnTo>
                          <a:pt x="190" y="65"/>
                        </a:lnTo>
                        <a:lnTo>
                          <a:pt x="179" y="65"/>
                        </a:lnTo>
                        <a:lnTo>
                          <a:pt x="171" y="67"/>
                        </a:lnTo>
                        <a:lnTo>
                          <a:pt x="165" y="68"/>
                        </a:lnTo>
                        <a:lnTo>
                          <a:pt x="158" y="68"/>
                        </a:lnTo>
                        <a:lnTo>
                          <a:pt x="157" y="68"/>
                        </a:lnTo>
                        <a:lnTo>
                          <a:pt x="157" y="70"/>
                        </a:lnTo>
                        <a:lnTo>
                          <a:pt x="157" y="71"/>
                        </a:lnTo>
                        <a:lnTo>
                          <a:pt x="155" y="75"/>
                        </a:lnTo>
                        <a:lnTo>
                          <a:pt x="155" y="78"/>
                        </a:lnTo>
                        <a:lnTo>
                          <a:pt x="155" y="81"/>
                        </a:lnTo>
                        <a:lnTo>
                          <a:pt x="154" y="82"/>
                        </a:lnTo>
                        <a:lnTo>
                          <a:pt x="154" y="87"/>
                        </a:lnTo>
                        <a:lnTo>
                          <a:pt x="152" y="92"/>
                        </a:lnTo>
                        <a:lnTo>
                          <a:pt x="152" y="97"/>
                        </a:lnTo>
                        <a:lnTo>
                          <a:pt x="152" y="100"/>
                        </a:lnTo>
                        <a:lnTo>
                          <a:pt x="150" y="103"/>
                        </a:lnTo>
                        <a:lnTo>
                          <a:pt x="150" y="106"/>
                        </a:lnTo>
                        <a:lnTo>
                          <a:pt x="147" y="111"/>
                        </a:lnTo>
                        <a:lnTo>
                          <a:pt x="147" y="114"/>
                        </a:lnTo>
                        <a:lnTo>
                          <a:pt x="146" y="116"/>
                        </a:lnTo>
                        <a:lnTo>
                          <a:pt x="144" y="117"/>
                        </a:lnTo>
                        <a:lnTo>
                          <a:pt x="142" y="119"/>
                        </a:lnTo>
                        <a:lnTo>
                          <a:pt x="141" y="120"/>
                        </a:lnTo>
                        <a:lnTo>
                          <a:pt x="141" y="122"/>
                        </a:lnTo>
                        <a:lnTo>
                          <a:pt x="141" y="124"/>
                        </a:lnTo>
                        <a:lnTo>
                          <a:pt x="141" y="127"/>
                        </a:lnTo>
                        <a:lnTo>
                          <a:pt x="141" y="130"/>
                        </a:lnTo>
                        <a:lnTo>
                          <a:pt x="139" y="135"/>
                        </a:lnTo>
                        <a:lnTo>
                          <a:pt x="139" y="138"/>
                        </a:lnTo>
                        <a:lnTo>
                          <a:pt x="139" y="140"/>
                        </a:lnTo>
                        <a:lnTo>
                          <a:pt x="141" y="141"/>
                        </a:lnTo>
                        <a:lnTo>
                          <a:pt x="141" y="143"/>
                        </a:lnTo>
                        <a:lnTo>
                          <a:pt x="141" y="144"/>
                        </a:lnTo>
                        <a:lnTo>
                          <a:pt x="139" y="144"/>
                        </a:lnTo>
                        <a:lnTo>
                          <a:pt x="138" y="144"/>
                        </a:lnTo>
                        <a:lnTo>
                          <a:pt x="138" y="146"/>
                        </a:lnTo>
                        <a:lnTo>
                          <a:pt x="138" y="147"/>
                        </a:lnTo>
                        <a:lnTo>
                          <a:pt x="138" y="149"/>
                        </a:lnTo>
                        <a:lnTo>
                          <a:pt x="136" y="149"/>
                        </a:lnTo>
                        <a:lnTo>
                          <a:pt x="136" y="151"/>
                        </a:lnTo>
                        <a:lnTo>
                          <a:pt x="134" y="152"/>
                        </a:lnTo>
                        <a:lnTo>
                          <a:pt x="134" y="154"/>
                        </a:lnTo>
                        <a:lnTo>
                          <a:pt x="133" y="155"/>
                        </a:lnTo>
                        <a:lnTo>
                          <a:pt x="131" y="155"/>
                        </a:lnTo>
                        <a:lnTo>
                          <a:pt x="133" y="155"/>
                        </a:lnTo>
                        <a:lnTo>
                          <a:pt x="131" y="157"/>
                        </a:lnTo>
                        <a:lnTo>
                          <a:pt x="130" y="157"/>
                        </a:lnTo>
                        <a:lnTo>
                          <a:pt x="130" y="159"/>
                        </a:lnTo>
                        <a:lnTo>
                          <a:pt x="130" y="162"/>
                        </a:lnTo>
                        <a:lnTo>
                          <a:pt x="128" y="162"/>
                        </a:lnTo>
                        <a:lnTo>
                          <a:pt x="127" y="162"/>
                        </a:lnTo>
                        <a:lnTo>
                          <a:pt x="125" y="162"/>
                        </a:lnTo>
                        <a:lnTo>
                          <a:pt x="125" y="165"/>
                        </a:lnTo>
                        <a:lnTo>
                          <a:pt x="123" y="166"/>
                        </a:lnTo>
                        <a:lnTo>
                          <a:pt x="123" y="168"/>
                        </a:lnTo>
                        <a:lnTo>
                          <a:pt x="125" y="171"/>
                        </a:lnTo>
                        <a:lnTo>
                          <a:pt x="125" y="173"/>
                        </a:lnTo>
                        <a:lnTo>
                          <a:pt x="123" y="176"/>
                        </a:lnTo>
                        <a:lnTo>
                          <a:pt x="122" y="178"/>
                        </a:lnTo>
                        <a:lnTo>
                          <a:pt x="122" y="179"/>
                        </a:lnTo>
                        <a:lnTo>
                          <a:pt x="120" y="181"/>
                        </a:lnTo>
                        <a:lnTo>
                          <a:pt x="119" y="182"/>
                        </a:lnTo>
                        <a:lnTo>
                          <a:pt x="115" y="182"/>
                        </a:lnTo>
                        <a:lnTo>
                          <a:pt x="114" y="184"/>
                        </a:lnTo>
                        <a:lnTo>
                          <a:pt x="112" y="184"/>
                        </a:lnTo>
                        <a:lnTo>
                          <a:pt x="111" y="184"/>
                        </a:lnTo>
                        <a:lnTo>
                          <a:pt x="111" y="185"/>
                        </a:lnTo>
                        <a:lnTo>
                          <a:pt x="109" y="185"/>
                        </a:lnTo>
                        <a:lnTo>
                          <a:pt x="108" y="187"/>
                        </a:lnTo>
                        <a:lnTo>
                          <a:pt x="104" y="189"/>
                        </a:lnTo>
                        <a:lnTo>
                          <a:pt x="104" y="190"/>
                        </a:lnTo>
                        <a:lnTo>
                          <a:pt x="103" y="192"/>
                        </a:lnTo>
                        <a:lnTo>
                          <a:pt x="101" y="192"/>
                        </a:lnTo>
                        <a:lnTo>
                          <a:pt x="100" y="190"/>
                        </a:lnTo>
                        <a:lnTo>
                          <a:pt x="98" y="190"/>
                        </a:lnTo>
                        <a:lnTo>
                          <a:pt x="98" y="192"/>
                        </a:lnTo>
                        <a:lnTo>
                          <a:pt x="96" y="193"/>
                        </a:lnTo>
                        <a:lnTo>
                          <a:pt x="95" y="193"/>
                        </a:lnTo>
                        <a:lnTo>
                          <a:pt x="93" y="195"/>
                        </a:lnTo>
                        <a:lnTo>
                          <a:pt x="92" y="195"/>
                        </a:lnTo>
                        <a:lnTo>
                          <a:pt x="90" y="195"/>
                        </a:lnTo>
                        <a:lnTo>
                          <a:pt x="89" y="195"/>
                        </a:lnTo>
                        <a:lnTo>
                          <a:pt x="89" y="193"/>
                        </a:lnTo>
                        <a:lnTo>
                          <a:pt x="87" y="192"/>
                        </a:lnTo>
                        <a:lnTo>
                          <a:pt x="87" y="189"/>
                        </a:lnTo>
                        <a:lnTo>
                          <a:pt x="85" y="185"/>
                        </a:lnTo>
                        <a:lnTo>
                          <a:pt x="82" y="184"/>
                        </a:lnTo>
                        <a:lnTo>
                          <a:pt x="82" y="182"/>
                        </a:lnTo>
                        <a:lnTo>
                          <a:pt x="82" y="181"/>
                        </a:lnTo>
                        <a:lnTo>
                          <a:pt x="81" y="181"/>
                        </a:lnTo>
                        <a:lnTo>
                          <a:pt x="79" y="181"/>
                        </a:lnTo>
                        <a:lnTo>
                          <a:pt x="77" y="181"/>
                        </a:lnTo>
                        <a:lnTo>
                          <a:pt x="76" y="181"/>
                        </a:lnTo>
                        <a:lnTo>
                          <a:pt x="74" y="181"/>
                        </a:lnTo>
                        <a:lnTo>
                          <a:pt x="73" y="179"/>
                        </a:lnTo>
                        <a:lnTo>
                          <a:pt x="71" y="178"/>
                        </a:lnTo>
                        <a:lnTo>
                          <a:pt x="70" y="178"/>
                        </a:lnTo>
                        <a:lnTo>
                          <a:pt x="68" y="179"/>
                        </a:lnTo>
                        <a:lnTo>
                          <a:pt x="65" y="179"/>
                        </a:lnTo>
                        <a:lnTo>
                          <a:pt x="63" y="179"/>
                        </a:lnTo>
                        <a:lnTo>
                          <a:pt x="63" y="178"/>
                        </a:lnTo>
                        <a:lnTo>
                          <a:pt x="62" y="176"/>
                        </a:lnTo>
                        <a:lnTo>
                          <a:pt x="60" y="176"/>
                        </a:lnTo>
                        <a:lnTo>
                          <a:pt x="58" y="176"/>
                        </a:lnTo>
                        <a:lnTo>
                          <a:pt x="55" y="176"/>
                        </a:lnTo>
                        <a:lnTo>
                          <a:pt x="52" y="176"/>
                        </a:lnTo>
                        <a:lnTo>
                          <a:pt x="51" y="178"/>
                        </a:lnTo>
                        <a:lnTo>
                          <a:pt x="49" y="179"/>
                        </a:lnTo>
                        <a:lnTo>
                          <a:pt x="47" y="182"/>
                        </a:lnTo>
                        <a:lnTo>
                          <a:pt x="46" y="185"/>
                        </a:lnTo>
                        <a:lnTo>
                          <a:pt x="44" y="189"/>
                        </a:lnTo>
                        <a:lnTo>
                          <a:pt x="43" y="189"/>
                        </a:lnTo>
                        <a:lnTo>
                          <a:pt x="41" y="190"/>
                        </a:lnTo>
                        <a:lnTo>
                          <a:pt x="39" y="192"/>
                        </a:lnTo>
                        <a:lnTo>
                          <a:pt x="36" y="195"/>
                        </a:lnTo>
                        <a:lnTo>
                          <a:pt x="35" y="198"/>
                        </a:lnTo>
                        <a:lnTo>
                          <a:pt x="35" y="200"/>
                        </a:lnTo>
                        <a:lnTo>
                          <a:pt x="33" y="201"/>
                        </a:lnTo>
                        <a:lnTo>
                          <a:pt x="33" y="203"/>
                        </a:lnTo>
                        <a:lnTo>
                          <a:pt x="32" y="204"/>
                        </a:lnTo>
                        <a:lnTo>
                          <a:pt x="30" y="204"/>
                        </a:lnTo>
                        <a:lnTo>
                          <a:pt x="28" y="203"/>
                        </a:lnTo>
                        <a:lnTo>
                          <a:pt x="27" y="200"/>
                        </a:lnTo>
                        <a:lnTo>
                          <a:pt x="25" y="200"/>
                        </a:lnTo>
                        <a:lnTo>
                          <a:pt x="22" y="198"/>
                        </a:lnTo>
                        <a:lnTo>
                          <a:pt x="20" y="197"/>
                        </a:lnTo>
                        <a:lnTo>
                          <a:pt x="17" y="193"/>
                        </a:lnTo>
                        <a:lnTo>
                          <a:pt x="16" y="193"/>
                        </a:lnTo>
                        <a:lnTo>
                          <a:pt x="14" y="190"/>
                        </a:lnTo>
                        <a:lnTo>
                          <a:pt x="9" y="187"/>
                        </a:lnTo>
                        <a:lnTo>
                          <a:pt x="8" y="187"/>
                        </a:lnTo>
                        <a:lnTo>
                          <a:pt x="6" y="184"/>
                        </a:lnTo>
                        <a:lnTo>
                          <a:pt x="5" y="182"/>
                        </a:lnTo>
                        <a:lnTo>
                          <a:pt x="5" y="179"/>
                        </a:lnTo>
                        <a:lnTo>
                          <a:pt x="5" y="178"/>
                        </a:lnTo>
                        <a:lnTo>
                          <a:pt x="5" y="174"/>
                        </a:lnTo>
                        <a:lnTo>
                          <a:pt x="3" y="171"/>
                        </a:lnTo>
                        <a:lnTo>
                          <a:pt x="3" y="168"/>
                        </a:lnTo>
                        <a:lnTo>
                          <a:pt x="1" y="166"/>
                        </a:lnTo>
                        <a:lnTo>
                          <a:pt x="1" y="163"/>
                        </a:lnTo>
                        <a:lnTo>
                          <a:pt x="1" y="162"/>
                        </a:lnTo>
                        <a:lnTo>
                          <a:pt x="1" y="160"/>
                        </a:lnTo>
                        <a:lnTo>
                          <a:pt x="1" y="157"/>
                        </a:lnTo>
                        <a:lnTo>
                          <a:pt x="0" y="154"/>
                        </a:lnTo>
                        <a:lnTo>
                          <a:pt x="1" y="152"/>
                        </a:lnTo>
                        <a:lnTo>
                          <a:pt x="0" y="151"/>
                        </a:lnTo>
                        <a:lnTo>
                          <a:pt x="3" y="149"/>
                        </a:lnTo>
                        <a:lnTo>
                          <a:pt x="5" y="147"/>
                        </a:lnTo>
                        <a:lnTo>
                          <a:pt x="6" y="147"/>
                        </a:lnTo>
                        <a:lnTo>
                          <a:pt x="8" y="146"/>
                        </a:lnTo>
                        <a:lnTo>
                          <a:pt x="13" y="141"/>
                        </a:lnTo>
                        <a:lnTo>
                          <a:pt x="14" y="140"/>
                        </a:lnTo>
                        <a:lnTo>
                          <a:pt x="16" y="140"/>
                        </a:lnTo>
                        <a:lnTo>
                          <a:pt x="17" y="138"/>
                        </a:lnTo>
                        <a:lnTo>
                          <a:pt x="19" y="138"/>
                        </a:lnTo>
                        <a:lnTo>
                          <a:pt x="20" y="138"/>
                        </a:lnTo>
                        <a:lnTo>
                          <a:pt x="20" y="136"/>
                        </a:lnTo>
                        <a:lnTo>
                          <a:pt x="20" y="135"/>
                        </a:lnTo>
                        <a:lnTo>
                          <a:pt x="22" y="132"/>
                        </a:lnTo>
                        <a:lnTo>
                          <a:pt x="22" y="128"/>
                        </a:lnTo>
                        <a:lnTo>
                          <a:pt x="22" y="125"/>
                        </a:lnTo>
                        <a:lnTo>
                          <a:pt x="24" y="122"/>
                        </a:lnTo>
                        <a:lnTo>
                          <a:pt x="25" y="119"/>
                        </a:lnTo>
                        <a:lnTo>
                          <a:pt x="25" y="116"/>
                        </a:lnTo>
                        <a:lnTo>
                          <a:pt x="25" y="111"/>
                        </a:lnTo>
                        <a:lnTo>
                          <a:pt x="25" y="108"/>
                        </a:lnTo>
                        <a:lnTo>
                          <a:pt x="25" y="103"/>
                        </a:lnTo>
                        <a:lnTo>
                          <a:pt x="27" y="100"/>
                        </a:lnTo>
                        <a:lnTo>
                          <a:pt x="27" y="95"/>
                        </a:lnTo>
                        <a:lnTo>
                          <a:pt x="27" y="90"/>
                        </a:lnTo>
                        <a:lnTo>
                          <a:pt x="27" y="84"/>
                        </a:lnTo>
                        <a:lnTo>
                          <a:pt x="27" y="81"/>
                        </a:lnTo>
                        <a:lnTo>
                          <a:pt x="28" y="79"/>
                        </a:lnTo>
                        <a:lnTo>
                          <a:pt x="28" y="78"/>
                        </a:lnTo>
                        <a:lnTo>
                          <a:pt x="30" y="76"/>
                        </a:lnTo>
                        <a:lnTo>
                          <a:pt x="32" y="75"/>
                        </a:lnTo>
                        <a:lnTo>
                          <a:pt x="32" y="71"/>
                        </a:lnTo>
                        <a:lnTo>
                          <a:pt x="32" y="70"/>
                        </a:lnTo>
                        <a:lnTo>
                          <a:pt x="30" y="70"/>
                        </a:lnTo>
                        <a:lnTo>
                          <a:pt x="27" y="68"/>
                        </a:lnTo>
                        <a:lnTo>
                          <a:pt x="25" y="68"/>
                        </a:lnTo>
                        <a:lnTo>
                          <a:pt x="25" y="67"/>
                        </a:lnTo>
                        <a:lnTo>
                          <a:pt x="25" y="65"/>
                        </a:lnTo>
                        <a:lnTo>
                          <a:pt x="27" y="62"/>
                        </a:lnTo>
                        <a:lnTo>
                          <a:pt x="28" y="60"/>
                        </a:lnTo>
                        <a:lnTo>
                          <a:pt x="30" y="59"/>
                        </a:lnTo>
                        <a:lnTo>
                          <a:pt x="30" y="56"/>
                        </a:lnTo>
                        <a:lnTo>
                          <a:pt x="30" y="54"/>
                        </a:lnTo>
                        <a:lnTo>
                          <a:pt x="30" y="51"/>
                        </a:lnTo>
                        <a:lnTo>
                          <a:pt x="30" y="48"/>
                        </a:lnTo>
                        <a:lnTo>
                          <a:pt x="27" y="48"/>
                        </a:lnTo>
                        <a:lnTo>
                          <a:pt x="27" y="46"/>
                        </a:lnTo>
                        <a:lnTo>
                          <a:pt x="25" y="44"/>
                        </a:lnTo>
                        <a:lnTo>
                          <a:pt x="25" y="43"/>
                        </a:lnTo>
                        <a:lnTo>
                          <a:pt x="27" y="43"/>
                        </a:lnTo>
                        <a:lnTo>
                          <a:pt x="28" y="43"/>
                        </a:lnTo>
                        <a:lnTo>
                          <a:pt x="32" y="41"/>
                        </a:lnTo>
                        <a:lnTo>
                          <a:pt x="33" y="41"/>
                        </a:lnTo>
                        <a:lnTo>
                          <a:pt x="35" y="40"/>
                        </a:lnTo>
                        <a:lnTo>
                          <a:pt x="35" y="38"/>
                        </a:lnTo>
                        <a:lnTo>
                          <a:pt x="36" y="37"/>
                        </a:lnTo>
                        <a:lnTo>
                          <a:pt x="36" y="35"/>
                        </a:lnTo>
                        <a:lnTo>
                          <a:pt x="38" y="32"/>
                        </a:lnTo>
                        <a:lnTo>
                          <a:pt x="39" y="30"/>
                        </a:lnTo>
                        <a:lnTo>
                          <a:pt x="39" y="29"/>
                        </a:lnTo>
                        <a:lnTo>
                          <a:pt x="39" y="27"/>
                        </a:lnTo>
                        <a:lnTo>
                          <a:pt x="39" y="24"/>
                        </a:lnTo>
                        <a:lnTo>
                          <a:pt x="36" y="24"/>
                        </a:lnTo>
                        <a:lnTo>
                          <a:pt x="33" y="24"/>
                        </a:lnTo>
                        <a:lnTo>
                          <a:pt x="32" y="24"/>
                        </a:lnTo>
                        <a:lnTo>
                          <a:pt x="28" y="24"/>
                        </a:lnTo>
                        <a:lnTo>
                          <a:pt x="27" y="22"/>
                        </a:lnTo>
                        <a:lnTo>
                          <a:pt x="24" y="22"/>
                        </a:lnTo>
                        <a:lnTo>
                          <a:pt x="22" y="22"/>
                        </a:lnTo>
                        <a:lnTo>
                          <a:pt x="20" y="22"/>
                        </a:lnTo>
                        <a:lnTo>
                          <a:pt x="19" y="22"/>
                        </a:lnTo>
                        <a:lnTo>
                          <a:pt x="17" y="24"/>
                        </a:lnTo>
                        <a:lnTo>
                          <a:pt x="16" y="24"/>
                        </a:lnTo>
                        <a:lnTo>
                          <a:pt x="11" y="22"/>
                        </a:lnTo>
                        <a:lnTo>
                          <a:pt x="9" y="22"/>
                        </a:lnTo>
                        <a:lnTo>
                          <a:pt x="8" y="21"/>
                        </a:lnTo>
                        <a:lnTo>
                          <a:pt x="8" y="19"/>
                        </a:lnTo>
                        <a:lnTo>
                          <a:pt x="8" y="14"/>
                        </a:lnTo>
                        <a:lnTo>
                          <a:pt x="9" y="13"/>
                        </a:lnTo>
                        <a:lnTo>
                          <a:pt x="9" y="11"/>
                        </a:lnTo>
                        <a:lnTo>
                          <a:pt x="11" y="8"/>
                        </a:lnTo>
                        <a:lnTo>
                          <a:pt x="9" y="5"/>
                        </a:lnTo>
                        <a:lnTo>
                          <a:pt x="9" y="2"/>
                        </a:lnTo>
                        <a:lnTo>
                          <a:pt x="11"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79" name="Freeform 78"/>
                  <p:cNvSpPr>
                    <a:spLocks/>
                  </p:cNvSpPr>
                  <p:nvPr/>
                </p:nvSpPr>
                <p:spPr bwMode="auto">
                  <a:xfrm>
                    <a:off x="2171" y="1476"/>
                    <a:ext cx="888" cy="1034"/>
                  </a:xfrm>
                  <a:custGeom>
                    <a:avLst/>
                    <a:gdLst>
                      <a:gd name="T0" fmla="*/ 117 w 888"/>
                      <a:gd name="T1" fmla="*/ 1015 h 1034"/>
                      <a:gd name="T2" fmla="*/ 106 w 888"/>
                      <a:gd name="T3" fmla="*/ 1002 h 1034"/>
                      <a:gd name="T4" fmla="*/ 87 w 888"/>
                      <a:gd name="T5" fmla="*/ 995 h 1034"/>
                      <a:gd name="T6" fmla="*/ 76 w 888"/>
                      <a:gd name="T7" fmla="*/ 1009 h 1034"/>
                      <a:gd name="T8" fmla="*/ 46 w 888"/>
                      <a:gd name="T9" fmla="*/ 1014 h 1034"/>
                      <a:gd name="T10" fmla="*/ 8 w 888"/>
                      <a:gd name="T11" fmla="*/ 1025 h 1034"/>
                      <a:gd name="T12" fmla="*/ 4 w 888"/>
                      <a:gd name="T13" fmla="*/ 1015 h 1034"/>
                      <a:gd name="T14" fmla="*/ 23 w 888"/>
                      <a:gd name="T15" fmla="*/ 983 h 1034"/>
                      <a:gd name="T16" fmla="*/ 50 w 888"/>
                      <a:gd name="T17" fmla="*/ 976 h 1034"/>
                      <a:gd name="T18" fmla="*/ 41 w 888"/>
                      <a:gd name="T19" fmla="*/ 955 h 1034"/>
                      <a:gd name="T20" fmla="*/ 68 w 888"/>
                      <a:gd name="T21" fmla="*/ 915 h 1034"/>
                      <a:gd name="T22" fmla="*/ 95 w 888"/>
                      <a:gd name="T23" fmla="*/ 887 h 1034"/>
                      <a:gd name="T24" fmla="*/ 133 w 888"/>
                      <a:gd name="T25" fmla="*/ 865 h 1034"/>
                      <a:gd name="T26" fmla="*/ 136 w 888"/>
                      <a:gd name="T27" fmla="*/ 855 h 1034"/>
                      <a:gd name="T28" fmla="*/ 122 w 888"/>
                      <a:gd name="T29" fmla="*/ 803 h 1034"/>
                      <a:gd name="T30" fmla="*/ 147 w 888"/>
                      <a:gd name="T31" fmla="*/ 749 h 1034"/>
                      <a:gd name="T32" fmla="*/ 144 w 888"/>
                      <a:gd name="T33" fmla="*/ 698 h 1034"/>
                      <a:gd name="T34" fmla="*/ 125 w 888"/>
                      <a:gd name="T35" fmla="*/ 678 h 1034"/>
                      <a:gd name="T36" fmla="*/ 99 w 888"/>
                      <a:gd name="T37" fmla="*/ 652 h 1034"/>
                      <a:gd name="T38" fmla="*/ 107 w 888"/>
                      <a:gd name="T39" fmla="*/ 614 h 1034"/>
                      <a:gd name="T40" fmla="*/ 149 w 888"/>
                      <a:gd name="T41" fmla="*/ 611 h 1034"/>
                      <a:gd name="T42" fmla="*/ 180 w 888"/>
                      <a:gd name="T43" fmla="*/ 611 h 1034"/>
                      <a:gd name="T44" fmla="*/ 231 w 888"/>
                      <a:gd name="T45" fmla="*/ 622 h 1034"/>
                      <a:gd name="T46" fmla="*/ 253 w 888"/>
                      <a:gd name="T47" fmla="*/ 603 h 1034"/>
                      <a:gd name="T48" fmla="*/ 255 w 888"/>
                      <a:gd name="T49" fmla="*/ 524 h 1034"/>
                      <a:gd name="T50" fmla="*/ 259 w 888"/>
                      <a:gd name="T51" fmla="*/ 481 h 1034"/>
                      <a:gd name="T52" fmla="*/ 232 w 888"/>
                      <a:gd name="T53" fmla="*/ 443 h 1034"/>
                      <a:gd name="T54" fmla="*/ 209 w 888"/>
                      <a:gd name="T55" fmla="*/ 394 h 1034"/>
                      <a:gd name="T56" fmla="*/ 185 w 888"/>
                      <a:gd name="T57" fmla="*/ 356 h 1034"/>
                      <a:gd name="T58" fmla="*/ 225 w 888"/>
                      <a:gd name="T59" fmla="*/ 331 h 1034"/>
                      <a:gd name="T60" fmla="*/ 252 w 888"/>
                      <a:gd name="T61" fmla="*/ 326 h 1034"/>
                      <a:gd name="T62" fmla="*/ 242 w 888"/>
                      <a:gd name="T63" fmla="*/ 301 h 1034"/>
                      <a:gd name="T64" fmla="*/ 266 w 888"/>
                      <a:gd name="T65" fmla="*/ 283 h 1034"/>
                      <a:gd name="T66" fmla="*/ 291 w 888"/>
                      <a:gd name="T67" fmla="*/ 272 h 1034"/>
                      <a:gd name="T68" fmla="*/ 318 w 888"/>
                      <a:gd name="T69" fmla="*/ 250 h 1034"/>
                      <a:gd name="T70" fmla="*/ 347 w 888"/>
                      <a:gd name="T71" fmla="*/ 198 h 1034"/>
                      <a:gd name="T72" fmla="*/ 388 w 888"/>
                      <a:gd name="T73" fmla="*/ 177 h 1034"/>
                      <a:gd name="T74" fmla="*/ 411 w 888"/>
                      <a:gd name="T75" fmla="*/ 150 h 1034"/>
                      <a:gd name="T76" fmla="*/ 427 w 888"/>
                      <a:gd name="T77" fmla="*/ 136 h 1034"/>
                      <a:gd name="T78" fmla="*/ 450 w 888"/>
                      <a:gd name="T79" fmla="*/ 166 h 1034"/>
                      <a:gd name="T80" fmla="*/ 434 w 888"/>
                      <a:gd name="T81" fmla="*/ 182 h 1034"/>
                      <a:gd name="T82" fmla="*/ 418 w 888"/>
                      <a:gd name="T83" fmla="*/ 199 h 1034"/>
                      <a:gd name="T84" fmla="*/ 454 w 888"/>
                      <a:gd name="T85" fmla="*/ 209 h 1034"/>
                      <a:gd name="T86" fmla="*/ 489 w 888"/>
                      <a:gd name="T87" fmla="*/ 218 h 1034"/>
                      <a:gd name="T88" fmla="*/ 526 w 888"/>
                      <a:gd name="T89" fmla="*/ 221 h 1034"/>
                      <a:gd name="T90" fmla="*/ 594 w 888"/>
                      <a:gd name="T91" fmla="*/ 275 h 1034"/>
                      <a:gd name="T92" fmla="*/ 659 w 888"/>
                      <a:gd name="T93" fmla="*/ 321 h 1034"/>
                      <a:gd name="T94" fmla="*/ 722 w 888"/>
                      <a:gd name="T95" fmla="*/ 343 h 1034"/>
                      <a:gd name="T96" fmla="*/ 754 w 888"/>
                      <a:gd name="T97" fmla="*/ 337 h 1034"/>
                      <a:gd name="T98" fmla="*/ 749 w 888"/>
                      <a:gd name="T99" fmla="*/ 285 h 1034"/>
                      <a:gd name="T100" fmla="*/ 790 w 888"/>
                      <a:gd name="T101" fmla="*/ 274 h 1034"/>
                      <a:gd name="T102" fmla="*/ 860 w 888"/>
                      <a:gd name="T103" fmla="*/ 267 h 1034"/>
                      <a:gd name="T104" fmla="*/ 866 w 888"/>
                      <a:gd name="T105" fmla="*/ 234 h 1034"/>
                      <a:gd name="T106" fmla="*/ 852 w 888"/>
                      <a:gd name="T107" fmla="*/ 155 h 1034"/>
                      <a:gd name="T108" fmla="*/ 857 w 888"/>
                      <a:gd name="T109" fmla="*/ 88 h 1034"/>
                      <a:gd name="T110" fmla="*/ 855 w 888"/>
                      <a:gd name="T111" fmla="*/ 25 h 1034"/>
                      <a:gd name="T112" fmla="*/ 850 w 888"/>
                      <a:gd name="T113" fmla="*/ 0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88" h="1034">
                        <a:moveTo>
                          <a:pt x="109" y="1034"/>
                        </a:moveTo>
                        <a:lnTo>
                          <a:pt x="109" y="1033"/>
                        </a:lnTo>
                        <a:lnTo>
                          <a:pt x="112" y="1031"/>
                        </a:lnTo>
                        <a:lnTo>
                          <a:pt x="114" y="1029"/>
                        </a:lnTo>
                        <a:lnTo>
                          <a:pt x="115" y="1026"/>
                        </a:lnTo>
                        <a:lnTo>
                          <a:pt x="115" y="1021"/>
                        </a:lnTo>
                        <a:lnTo>
                          <a:pt x="117" y="1018"/>
                        </a:lnTo>
                        <a:lnTo>
                          <a:pt x="117" y="1017"/>
                        </a:lnTo>
                        <a:lnTo>
                          <a:pt x="117" y="1015"/>
                        </a:lnTo>
                        <a:lnTo>
                          <a:pt x="117" y="1014"/>
                        </a:lnTo>
                        <a:lnTo>
                          <a:pt x="115" y="1010"/>
                        </a:lnTo>
                        <a:lnTo>
                          <a:pt x="114" y="1010"/>
                        </a:lnTo>
                        <a:lnTo>
                          <a:pt x="112" y="1006"/>
                        </a:lnTo>
                        <a:lnTo>
                          <a:pt x="111" y="1004"/>
                        </a:lnTo>
                        <a:lnTo>
                          <a:pt x="109" y="1002"/>
                        </a:lnTo>
                        <a:lnTo>
                          <a:pt x="107" y="1001"/>
                        </a:lnTo>
                        <a:lnTo>
                          <a:pt x="106" y="1001"/>
                        </a:lnTo>
                        <a:lnTo>
                          <a:pt x="106" y="1002"/>
                        </a:lnTo>
                        <a:lnTo>
                          <a:pt x="103" y="999"/>
                        </a:lnTo>
                        <a:lnTo>
                          <a:pt x="101" y="998"/>
                        </a:lnTo>
                        <a:lnTo>
                          <a:pt x="99" y="996"/>
                        </a:lnTo>
                        <a:lnTo>
                          <a:pt x="98" y="996"/>
                        </a:lnTo>
                        <a:lnTo>
                          <a:pt x="96" y="993"/>
                        </a:lnTo>
                        <a:lnTo>
                          <a:pt x="95" y="993"/>
                        </a:lnTo>
                        <a:lnTo>
                          <a:pt x="93" y="993"/>
                        </a:lnTo>
                        <a:lnTo>
                          <a:pt x="92" y="993"/>
                        </a:lnTo>
                        <a:lnTo>
                          <a:pt x="87" y="995"/>
                        </a:lnTo>
                        <a:lnTo>
                          <a:pt x="85" y="996"/>
                        </a:lnTo>
                        <a:lnTo>
                          <a:pt x="84" y="996"/>
                        </a:lnTo>
                        <a:lnTo>
                          <a:pt x="82" y="999"/>
                        </a:lnTo>
                        <a:lnTo>
                          <a:pt x="82" y="1001"/>
                        </a:lnTo>
                        <a:lnTo>
                          <a:pt x="80" y="1002"/>
                        </a:lnTo>
                        <a:lnTo>
                          <a:pt x="80" y="1004"/>
                        </a:lnTo>
                        <a:lnTo>
                          <a:pt x="79" y="1006"/>
                        </a:lnTo>
                        <a:lnTo>
                          <a:pt x="77" y="1007"/>
                        </a:lnTo>
                        <a:lnTo>
                          <a:pt x="76" y="1009"/>
                        </a:lnTo>
                        <a:lnTo>
                          <a:pt x="73" y="1012"/>
                        </a:lnTo>
                        <a:lnTo>
                          <a:pt x="71" y="1012"/>
                        </a:lnTo>
                        <a:lnTo>
                          <a:pt x="69" y="1014"/>
                        </a:lnTo>
                        <a:lnTo>
                          <a:pt x="68" y="1014"/>
                        </a:lnTo>
                        <a:lnTo>
                          <a:pt x="66" y="1014"/>
                        </a:lnTo>
                        <a:lnTo>
                          <a:pt x="61" y="1012"/>
                        </a:lnTo>
                        <a:lnTo>
                          <a:pt x="55" y="1012"/>
                        </a:lnTo>
                        <a:lnTo>
                          <a:pt x="50" y="1014"/>
                        </a:lnTo>
                        <a:lnTo>
                          <a:pt x="46" y="1014"/>
                        </a:lnTo>
                        <a:lnTo>
                          <a:pt x="41" y="1015"/>
                        </a:lnTo>
                        <a:lnTo>
                          <a:pt x="34" y="1020"/>
                        </a:lnTo>
                        <a:lnTo>
                          <a:pt x="31" y="1021"/>
                        </a:lnTo>
                        <a:lnTo>
                          <a:pt x="28" y="1023"/>
                        </a:lnTo>
                        <a:lnTo>
                          <a:pt x="27" y="1025"/>
                        </a:lnTo>
                        <a:lnTo>
                          <a:pt x="25" y="1025"/>
                        </a:lnTo>
                        <a:lnTo>
                          <a:pt x="22" y="1023"/>
                        </a:lnTo>
                        <a:lnTo>
                          <a:pt x="12" y="1023"/>
                        </a:lnTo>
                        <a:lnTo>
                          <a:pt x="8" y="1025"/>
                        </a:lnTo>
                        <a:lnTo>
                          <a:pt x="4" y="1023"/>
                        </a:lnTo>
                        <a:lnTo>
                          <a:pt x="3" y="1023"/>
                        </a:lnTo>
                        <a:lnTo>
                          <a:pt x="1" y="1023"/>
                        </a:lnTo>
                        <a:lnTo>
                          <a:pt x="1" y="1020"/>
                        </a:lnTo>
                        <a:lnTo>
                          <a:pt x="0" y="1020"/>
                        </a:lnTo>
                        <a:lnTo>
                          <a:pt x="3" y="1018"/>
                        </a:lnTo>
                        <a:lnTo>
                          <a:pt x="3" y="1017"/>
                        </a:lnTo>
                        <a:lnTo>
                          <a:pt x="4" y="1017"/>
                        </a:lnTo>
                        <a:lnTo>
                          <a:pt x="4" y="1015"/>
                        </a:lnTo>
                        <a:lnTo>
                          <a:pt x="6" y="1014"/>
                        </a:lnTo>
                        <a:lnTo>
                          <a:pt x="6" y="1010"/>
                        </a:lnTo>
                        <a:lnTo>
                          <a:pt x="6" y="1009"/>
                        </a:lnTo>
                        <a:lnTo>
                          <a:pt x="8" y="999"/>
                        </a:lnTo>
                        <a:lnTo>
                          <a:pt x="11" y="995"/>
                        </a:lnTo>
                        <a:lnTo>
                          <a:pt x="14" y="991"/>
                        </a:lnTo>
                        <a:lnTo>
                          <a:pt x="15" y="988"/>
                        </a:lnTo>
                        <a:lnTo>
                          <a:pt x="22" y="983"/>
                        </a:lnTo>
                        <a:lnTo>
                          <a:pt x="23" y="983"/>
                        </a:lnTo>
                        <a:lnTo>
                          <a:pt x="25" y="983"/>
                        </a:lnTo>
                        <a:lnTo>
                          <a:pt x="27" y="982"/>
                        </a:lnTo>
                        <a:lnTo>
                          <a:pt x="31" y="982"/>
                        </a:lnTo>
                        <a:lnTo>
                          <a:pt x="36" y="980"/>
                        </a:lnTo>
                        <a:lnTo>
                          <a:pt x="38" y="979"/>
                        </a:lnTo>
                        <a:lnTo>
                          <a:pt x="41" y="979"/>
                        </a:lnTo>
                        <a:lnTo>
                          <a:pt x="42" y="979"/>
                        </a:lnTo>
                        <a:lnTo>
                          <a:pt x="47" y="977"/>
                        </a:lnTo>
                        <a:lnTo>
                          <a:pt x="50" y="976"/>
                        </a:lnTo>
                        <a:lnTo>
                          <a:pt x="55" y="966"/>
                        </a:lnTo>
                        <a:lnTo>
                          <a:pt x="55" y="964"/>
                        </a:lnTo>
                        <a:lnTo>
                          <a:pt x="54" y="963"/>
                        </a:lnTo>
                        <a:lnTo>
                          <a:pt x="52" y="963"/>
                        </a:lnTo>
                        <a:lnTo>
                          <a:pt x="49" y="960"/>
                        </a:lnTo>
                        <a:lnTo>
                          <a:pt x="46" y="958"/>
                        </a:lnTo>
                        <a:lnTo>
                          <a:pt x="44" y="956"/>
                        </a:lnTo>
                        <a:lnTo>
                          <a:pt x="42" y="956"/>
                        </a:lnTo>
                        <a:lnTo>
                          <a:pt x="41" y="955"/>
                        </a:lnTo>
                        <a:lnTo>
                          <a:pt x="39" y="953"/>
                        </a:lnTo>
                        <a:lnTo>
                          <a:pt x="38" y="947"/>
                        </a:lnTo>
                        <a:lnTo>
                          <a:pt x="38" y="945"/>
                        </a:lnTo>
                        <a:lnTo>
                          <a:pt x="38" y="942"/>
                        </a:lnTo>
                        <a:lnTo>
                          <a:pt x="39" y="937"/>
                        </a:lnTo>
                        <a:lnTo>
                          <a:pt x="49" y="931"/>
                        </a:lnTo>
                        <a:lnTo>
                          <a:pt x="65" y="918"/>
                        </a:lnTo>
                        <a:lnTo>
                          <a:pt x="66" y="917"/>
                        </a:lnTo>
                        <a:lnTo>
                          <a:pt x="68" y="915"/>
                        </a:lnTo>
                        <a:lnTo>
                          <a:pt x="69" y="914"/>
                        </a:lnTo>
                        <a:lnTo>
                          <a:pt x="79" y="906"/>
                        </a:lnTo>
                        <a:lnTo>
                          <a:pt x="82" y="903"/>
                        </a:lnTo>
                        <a:lnTo>
                          <a:pt x="84" y="903"/>
                        </a:lnTo>
                        <a:lnTo>
                          <a:pt x="84" y="901"/>
                        </a:lnTo>
                        <a:lnTo>
                          <a:pt x="88" y="896"/>
                        </a:lnTo>
                        <a:lnTo>
                          <a:pt x="92" y="893"/>
                        </a:lnTo>
                        <a:lnTo>
                          <a:pt x="95" y="888"/>
                        </a:lnTo>
                        <a:lnTo>
                          <a:pt x="95" y="887"/>
                        </a:lnTo>
                        <a:lnTo>
                          <a:pt x="96" y="887"/>
                        </a:lnTo>
                        <a:lnTo>
                          <a:pt x="101" y="877"/>
                        </a:lnTo>
                        <a:lnTo>
                          <a:pt x="101" y="873"/>
                        </a:lnTo>
                        <a:lnTo>
                          <a:pt x="101" y="863"/>
                        </a:lnTo>
                        <a:lnTo>
                          <a:pt x="103" y="860"/>
                        </a:lnTo>
                        <a:lnTo>
                          <a:pt x="107" y="857"/>
                        </a:lnTo>
                        <a:lnTo>
                          <a:pt x="114" y="858"/>
                        </a:lnTo>
                        <a:lnTo>
                          <a:pt x="125" y="861"/>
                        </a:lnTo>
                        <a:lnTo>
                          <a:pt x="133" y="865"/>
                        </a:lnTo>
                        <a:lnTo>
                          <a:pt x="136" y="868"/>
                        </a:lnTo>
                        <a:lnTo>
                          <a:pt x="137" y="868"/>
                        </a:lnTo>
                        <a:lnTo>
                          <a:pt x="139" y="868"/>
                        </a:lnTo>
                        <a:lnTo>
                          <a:pt x="141" y="868"/>
                        </a:lnTo>
                        <a:lnTo>
                          <a:pt x="142" y="865"/>
                        </a:lnTo>
                        <a:lnTo>
                          <a:pt x="141" y="860"/>
                        </a:lnTo>
                        <a:lnTo>
                          <a:pt x="137" y="858"/>
                        </a:lnTo>
                        <a:lnTo>
                          <a:pt x="137" y="857"/>
                        </a:lnTo>
                        <a:lnTo>
                          <a:pt x="136" y="855"/>
                        </a:lnTo>
                        <a:lnTo>
                          <a:pt x="131" y="849"/>
                        </a:lnTo>
                        <a:lnTo>
                          <a:pt x="131" y="846"/>
                        </a:lnTo>
                        <a:lnTo>
                          <a:pt x="130" y="844"/>
                        </a:lnTo>
                        <a:lnTo>
                          <a:pt x="130" y="841"/>
                        </a:lnTo>
                        <a:lnTo>
                          <a:pt x="123" y="827"/>
                        </a:lnTo>
                        <a:lnTo>
                          <a:pt x="123" y="819"/>
                        </a:lnTo>
                        <a:lnTo>
                          <a:pt x="123" y="812"/>
                        </a:lnTo>
                        <a:lnTo>
                          <a:pt x="122" y="808"/>
                        </a:lnTo>
                        <a:lnTo>
                          <a:pt x="122" y="803"/>
                        </a:lnTo>
                        <a:lnTo>
                          <a:pt x="123" y="797"/>
                        </a:lnTo>
                        <a:lnTo>
                          <a:pt x="125" y="792"/>
                        </a:lnTo>
                        <a:lnTo>
                          <a:pt x="128" y="787"/>
                        </a:lnTo>
                        <a:lnTo>
                          <a:pt x="128" y="785"/>
                        </a:lnTo>
                        <a:lnTo>
                          <a:pt x="131" y="779"/>
                        </a:lnTo>
                        <a:lnTo>
                          <a:pt x="136" y="760"/>
                        </a:lnTo>
                        <a:lnTo>
                          <a:pt x="139" y="757"/>
                        </a:lnTo>
                        <a:lnTo>
                          <a:pt x="141" y="755"/>
                        </a:lnTo>
                        <a:lnTo>
                          <a:pt x="147" y="749"/>
                        </a:lnTo>
                        <a:lnTo>
                          <a:pt x="150" y="744"/>
                        </a:lnTo>
                        <a:lnTo>
                          <a:pt x="155" y="739"/>
                        </a:lnTo>
                        <a:lnTo>
                          <a:pt x="158" y="732"/>
                        </a:lnTo>
                        <a:lnTo>
                          <a:pt x="156" y="725"/>
                        </a:lnTo>
                        <a:lnTo>
                          <a:pt x="150" y="717"/>
                        </a:lnTo>
                        <a:lnTo>
                          <a:pt x="149" y="713"/>
                        </a:lnTo>
                        <a:lnTo>
                          <a:pt x="147" y="705"/>
                        </a:lnTo>
                        <a:lnTo>
                          <a:pt x="145" y="703"/>
                        </a:lnTo>
                        <a:lnTo>
                          <a:pt x="144" y="698"/>
                        </a:lnTo>
                        <a:lnTo>
                          <a:pt x="142" y="695"/>
                        </a:lnTo>
                        <a:lnTo>
                          <a:pt x="139" y="690"/>
                        </a:lnTo>
                        <a:lnTo>
                          <a:pt x="137" y="687"/>
                        </a:lnTo>
                        <a:lnTo>
                          <a:pt x="136" y="687"/>
                        </a:lnTo>
                        <a:lnTo>
                          <a:pt x="134" y="684"/>
                        </a:lnTo>
                        <a:lnTo>
                          <a:pt x="131" y="682"/>
                        </a:lnTo>
                        <a:lnTo>
                          <a:pt x="130" y="681"/>
                        </a:lnTo>
                        <a:lnTo>
                          <a:pt x="126" y="679"/>
                        </a:lnTo>
                        <a:lnTo>
                          <a:pt x="125" y="678"/>
                        </a:lnTo>
                        <a:lnTo>
                          <a:pt x="115" y="675"/>
                        </a:lnTo>
                        <a:lnTo>
                          <a:pt x="114" y="673"/>
                        </a:lnTo>
                        <a:lnTo>
                          <a:pt x="114" y="671"/>
                        </a:lnTo>
                        <a:lnTo>
                          <a:pt x="111" y="670"/>
                        </a:lnTo>
                        <a:lnTo>
                          <a:pt x="109" y="670"/>
                        </a:lnTo>
                        <a:lnTo>
                          <a:pt x="107" y="668"/>
                        </a:lnTo>
                        <a:lnTo>
                          <a:pt x="106" y="668"/>
                        </a:lnTo>
                        <a:lnTo>
                          <a:pt x="101" y="657"/>
                        </a:lnTo>
                        <a:lnTo>
                          <a:pt x="99" y="652"/>
                        </a:lnTo>
                        <a:lnTo>
                          <a:pt x="98" y="649"/>
                        </a:lnTo>
                        <a:lnTo>
                          <a:pt x="99" y="643"/>
                        </a:lnTo>
                        <a:lnTo>
                          <a:pt x="101" y="637"/>
                        </a:lnTo>
                        <a:lnTo>
                          <a:pt x="99" y="621"/>
                        </a:lnTo>
                        <a:lnTo>
                          <a:pt x="101" y="619"/>
                        </a:lnTo>
                        <a:lnTo>
                          <a:pt x="103" y="616"/>
                        </a:lnTo>
                        <a:lnTo>
                          <a:pt x="104" y="614"/>
                        </a:lnTo>
                        <a:lnTo>
                          <a:pt x="106" y="614"/>
                        </a:lnTo>
                        <a:lnTo>
                          <a:pt x="107" y="614"/>
                        </a:lnTo>
                        <a:lnTo>
                          <a:pt x="109" y="614"/>
                        </a:lnTo>
                        <a:lnTo>
                          <a:pt x="111" y="614"/>
                        </a:lnTo>
                        <a:lnTo>
                          <a:pt x="112" y="614"/>
                        </a:lnTo>
                        <a:lnTo>
                          <a:pt x="118" y="614"/>
                        </a:lnTo>
                        <a:lnTo>
                          <a:pt x="125" y="614"/>
                        </a:lnTo>
                        <a:lnTo>
                          <a:pt x="130" y="613"/>
                        </a:lnTo>
                        <a:lnTo>
                          <a:pt x="137" y="613"/>
                        </a:lnTo>
                        <a:lnTo>
                          <a:pt x="145" y="613"/>
                        </a:lnTo>
                        <a:lnTo>
                          <a:pt x="149" y="611"/>
                        </a:lnTo>
                        <a:lnTo>
                          <a:pt x="155" y="611"/>
                        </a:lnTo>
                        <a:lnTo>
                          <a:pt x="158" y="610"/>
                        </a:lnTo>
                        <a:lnTo>
                          <a:pt x="163" y="610"/>
                        </a:lnTo>
                        <a:lnTo>
                          <a:pt x="164" y="608"/>
                        </a:lnTo>
                        <a:lnTo>
                          <a:pt x="166" y="608"/>
                        </a:lnTo>
                        <a:lnTo>
                          <a:pt x="168" y="608"/>
                        </a:lnTo>
                        <a:lnTo>
                          <a:pt x="174" y="608"/>
                        </a:lnTo>
                        <a:lnTo>
                          <a:pt x="175" y="610"/>
                        </a:lnTo>
                        <a:lnTo>
                          <a:pt x="180" y="611"/>
                        </a:lnTo>
                        <a:lnTo>
                          <a:pt x="183" y="613"/>
                        </a:lnTo>
                        <a:lnTo>
                          <a:pt x="194" y="624"/>
                        </a:lnTo>
                        <a:lnTo>
                          <a:pt x="199" y="625"/>
                        </a:lnTo>
                        <a:lnTo>
                          <a:pt x="202" y="627"/>
                        </a:lnTo>
                        <a:lnTo>
                          <a:pt x="206" y="629"/>
                        </a:lnTo>
                        <a:lnTo>
                          <a:pt x="209" y="629"/>
                        </a:lnTo>
                        <a:lnTo>
                          <a:pt x="220" y="629"/>
                        </a:lnTo>
                        <a:lnTo>
                          <a:pt x="223" y="625"/>
                        </a:lnTo>
                        <a:lnTo>
                          <a:pt x="231" y="622"/>
                        </a:lnTo>
                        <a:lnTo>
                          <a:pt x="234" y="621"/>
                        </a:lnTo>
                        <a:lnTo>
                          <a:pt x="236" y="619"/>
                        </a:lnTo>
                        <a:lnTo>
                          <a:pt x="237" y="618"/>
                        </a:lnTo>
                        <a:lnTo>
                          <a:pt x="242" y="614"/>
                        </a:lnTo>
                        <a:lnTo>
                          <a:pt x="247" y="611"/>
                        </a:lnTo>
                        <a:lnTo>
                          <a:pt x="248" y="611"/>
                        </a:lnTo>
                        <a:lnTo>
                          <a:pt x="250" y="610"/>
                        </a:lnTo>
                        <a:lnTo>
                          <a:pt x="253" y="605"/>
                        </a:lnTo>
                        <a:lnTo>
                          <a:pt x="253" y="603"/>
                        </a:lnTo>
                        <a:lnTo>
                          <a:pt x="258" y="594"/>
                        </a:lnTo>
                        <a:lnTo>
                          <a:pt x="261" y="579"/>
                        </a:lnTo>
                        <a:lnTo>
                          <a:pt x="261" y="575"/>
                        </a:lnTo>
                        <a:lnTo>
                          <a:pt x="261" y="565"/>
                        </a:lnTo>
                        <a:lnTo>
                          <a:pt x="261" y="562"/>
                        </a:lnTo>
                        <a:lnTo>
                          <a:pt x="258" y="551"/>
                        </a:lnTo>
                        <a:lnTo>
                          <a:pt x="255" y="538"/>
                        </a:lnTo>
                        <a:lnTo>
                          <a:pt x="255" y="530"/>
                        </a:lnTo>
                        <a:lnTo>
                          <a:pt x="255" y="524"/>
                        </a:lnTo>
                        <a:lnTo>
                          <a:pt x="255" y="519"/>
                        </a:lnTo>
                        <a:lnTo>
                          <a:pt x="255" y="518"/>
                        </a:lnTo>
                        <a:lnTo>
                          <a:pt x="256" y="507"/>
                        </a:lnTo>
                        <a:lnTo>
                          <a:pt x="258" y="502"/>
                        </a:lnTo>
                        <a:lnTo>
                          <a:pt x="258" y="497"/>
                        </a:lnTo>
                        <a:lnTo>
                          <a:pt x="258" y="496"/>
                        </a:lnTo>
                        <a:lnTo>
                          <a:pt x="258" y="492"/>
                        </a:lnTo>
                        <a:lnTo>
                          <a:pt x="259" y="483"/>
                        </a:lnTo>
                        <a:lnTo>
                          <a:pt x="259" y="481"/>
                        </a:lnTo>
                        <a:lnTo>
                          <a:pt x="259" y="478"/>
                        </a:lnTo>
                        <a:lnTo>
                          <a:pt x="258" y="477"/>
                        </a:lnTo>
                        <a:lnTo>
                          <a:pt x="258" y="473"/>
                        </a:lnTo>
                        <a:lnTo>
                          <a:pt x="256" y="470"/>
                        </a:lnTo>
                        <a:lnTo>
                          <a:pt x="255" y="467"/>
                        </a:lnTo>
                        <a:lnTo>
                          <a:pt x="255" y="465"/>
                        </a:lnTo>
                        <a:lnTo>
                          <a:pt x="252" y="464"/>
                        </a:lnTo>
                        <a:lnTo>
                          <a:pt x="244" y="456"/>
                        </a:lnTo>
                        <a:lnTo>
                          <a:pt x="232" y="443"/>
                        </a:lnTo>
                        <a:lnTo>
                          <a:pt x="232" y="442"/>
                        </a:lnTo>
                        <a:lnTo>
                          <a:pt x="228" y="437"/>
                        </a:lnTo>
                        <a:lnTo>
                          <a:pt x="223" y="424"/>
                        </a:lnTo>
                        <a:lnTo>
                          <a:pt x="223" y="423"/>
                        </a:lnTo>
                        <a:lnTo>
                          <a:pt x="221" y="420"/>
                        </a:lnTo>
                        <a:lnTo>
                          <a:pt x="218" y="412"/>
                        </a:lnTo>
                        <a:lnTo>
                          <a:pt x="215" y="405"/>
                        </a:lnTo>
                        <a:lnTo>
                          <a:pt x="212" y="402"/>
                        </a:lnTo>
                        <a:lnTo>
                          <a:pt x="209" y="394"/>
                        </a:lnTo>
                        <a:lnTo>
                          <a:pt x="202" y="386"/>
                        </a:lnTo>
                        <a:lnTo>
                          <a:pt x="196" y="380"/>
                        </a:lnTo>
                        <a:lnTo>
                          <a:pt x="185" y="372"/>
                        </a:lnTo>
                        <a:lnTo>
                          <a:pt x="183" y="370"/>
                        </a:lnTo>
                        <a:lnTo>
                          <a:pt x="182" y="367"/>
                        </a:lnTo>
                        <a:lnTo>
                          <a:pt x="182" y="364"/>
                        </a:lnTo>
                        <a:lnTo>
                          <a:pt x="182" y="362"/>
                        </a:lnTo>
                        <a:lnTo>
                          <a:pt x="182" y="359"/>
                        </a:lnTo>
                        <a:lnTo>
                          <a:pt x="185" y="356"/>
                        </a:lnTo>
                        <a:lnTo>
                          <a:pt x="188" y="353"/>
                        </a:lnTo>
                        <a:lnTo>
                          <a:pt x="190" y="351"/>
                        </a:lnTo>
                        <a:lnTo>
                          <a:pt x="193" y="350"/>
                        </a:lnTo>
                        <a:lnTo>
                          <a:pt x="196" y="348"/>
                        </a:lnTo>
                        <a:lnTo>
                          <a:pt x="202" y="343"/>
                        </a:lnTo>
                        <a:lnTo>
                          <a:pt x="204" y="343"/>
                        </a:lnTo>
                        <a:lnTo>
                          <a:pt x="213" y="336"/>
                        </a:lnTo>
                        <a:lnTo>
                          <a:pt x="218" y="334"/>
                        </a:lnTo>
                        <a:lnTo>
                          <a:pt x="225" y="331"/>
                        </a:lnTo>
                        <a:lnTo>
                          <a:pt x="229" y="331"/>
                        </a:lnTo>
                        <a:lnTo>
                          <a:pt x="231" y="331"/>
                        </a:lnTo>
                        <a:lnTo>
                          <a:pt x="232" y="331"/>
                        </a:lnTo>
                        <a:lnTo>
                          <a:pt x="239" y="332"/>
                        </a:lnTo>
                        <a:lnTo>
                          <a:pt x="245" y="332"/>
                        </a:lnTo>
                        <a:lnTo>
                          <a:pt x="247" y="331"/>
                        </a:lnTo>
                        <a:lnTo>
                          <a:pt x="250" y="331"/>
                        </a:lnTo>
                        <a:lnTo>
                          <a:pt x="252" y="328"/>
                        </a:lnTo>
                        <a:lnTo>
                          <a:pt x="252" y="326"/>
                        </a:lnTo>
                        <a:lnTo>
                          <a:pt x="252" y="321"/>
                        </a:lnTo>
                        <a:lnTo>
                          <a:pt x="250" y="318"/>
                        </a:lnTo>
                        <a:lnTo>
                          <a:pt x="248" y="318"/>
                        </a:lnTo>
                        <a:lnTo>
                          <a:pt x="247" y="317"/>
                        </a:lnTo>
                        <a:lnTo>
                          <a:pt x="244" y="313"/>
                        </a:lnTo>
                        <a:lnTo>
                          <a:pt x="242" y="310"/>
                        </a:lnTo>
                        <a:lnTo>
                          <a:pt x="240" y="307"/>
                        </a:lnTo>
                        <a:lnTo>
                          <a:pt x="240" y="304"/>
                        </a:lnTo>
                        <a:lnTo>
                          <a:pt x="242" y="301"/>
                        </a:lnTo>
                        <a:lnTo>
                          <a:pt x="245" y="299"/>
                        </a:lnTo>
                        <a:lnTo>
                          <a:pt x="245" y="298"/>
                        </a:lnTo>
                        <a:lnTo>
                          <a:pt x="247" y="298"/>
                        </a:lnTo>
                        <a:lnTo>
                          <a:pt x="250" y="294"/>
                        </a:lnTo>
                        <a:lnTo>
                          <a:pt x="252" y="293"/>
                        </a:lnTo>
                        <a:lnTo>
                          <a:pt x="253" y="291"/>
                        </a:lnTo>
                        <a:lnTo>
                          <a:pt x="255" y="291"/>
                        </a:lnTo>
                        <a:lnTo>
                          <a:pt x="264" y="283"/>
                        </a:lnTo>
                        <a:lnTo>
                          <a:pt x="266" y="283"/>
                        </a:lnTo>
                        <a:lnTo>
                          <a:pt x="267" y="282"/>
                        </a:lnTo>
                        <a:lnTo>
                          <a:pt x="269" y="280"/>
                        </a:lnTo>
                        <a:lnTo>
                          <a:pt x="274" y="279"/>
                        </a:lnTo>
                        <a:lnTo>
                          <a:pt x="275" y="277"/>
                        </a:lnTo>
                        <a:lnTo>
                          <a:pt x="278" y="275"/>
                        </a:lnTo>
                        <a:lnTo>
                          <a:pt x="280" y="275"/>
                        </a:lnTo>
                        <a:lnTo>
                          <a:pt x="283" y="275"/>
                        </a:lnTo>
                        <a:lnTo>
                          <a:pt x="283" y="274"/>
                        </a:lnTo>
                        <a:lnTo>
                          <a:pt x="291" y="272"/>
                        </a:lnTo>
                        <a:lnTo>
                          <a:pt x="301" y="266"/>
                        </a:lnTo>
                        <a:lnTo>
                          <a:pt x="302" y="266"/>
                        </a:lnTo>
                        <a:lnTo>
                          <a:pt x="305" y="264"/>
                        </a:lnTo>
                        <a:lnTo>
                          <a:pt x="307" y="263"/>
                        </a:lnTo>
                        <a:lnTo>
                          <a:pt x="310" y="258"/>
                        </a:lnTo>
                        <a:lnTo>
                          <a:pt x="312" y="256"/>
                        </a:lnTo>
                        <a:lnTo>
                          <a:pt x="315" y="253"/>
                        </a:lnTo>
                        <a:lnTo>
                          <a:pt x="316" y="252"/>
                        </a:lnTo>
                        <a:lnTo>
                          <a:pt x="318" y="250"/>
                        </a:lnTo>
                        <a:lnTo>
                          <a:pt x="326" y="242"/>
                        </a:lnTo>
                        <a:lnTo>
                          <a:pt x="329" y="231"/>
                        </a:lnTo>
                        <a:lnTo>
                          <a:pt x="332" y="225"/>
                        </a:lnTo>
                        <a:lnTo>
                          <a:pt x="332" y="221"/>
                        </a:lnTo>
                        <a:lnTo>
                          <a:pt x="334" y="212"/>
                        </a:lnTo>
                        <a:lnTo>
                          <a:pt x="337" y="206"/>
                        </a:lnTo>
                        <a:lnTo>
                          <a:pt x="337" y="204"/>
                        </a:lnTo>
                        <a:lnTo>
                          <a:pt x="343" y="199"/>
                        </a:lnTo>
                        <a:lnTo>
                          <a:pt x="347" y="198"/>
                        </a:lnTo>
                        <a:lnTo>
                          <a:pt x="348" y="198"/>
                        </a:lnTo>
                        <a:lnTo>
                          <a:pt x="353" y="196"/>
                        </a:lnTo>
                        <a:lnTo>
                          <a:pt x="359" y="195"/>
                        </a:lnTo>
                        <a:lnTo>
                          <a:pt x="364" y="190"/>
                        </a:lnTo>
                        <a:lnTo>
                          <a:pt x="366" y="188"/>
                        </a:lnTo>
                        <a:lnTo>
                          <a:pt x="369" y="185"/>
                        </a:lnTo>
                        <a:lnTo>
                          <a:pt x="370" y="183"/>
                        </a:lnTo>
                        <a:lnTo>
                          <a:pt x="378" y="180"/>
                        </a:lnTo>
                        <a:lnTo>
                          <a:pt x="388" y="177"/>
                        </a:lnTo>
                        <a:lnTo>
                          <a:pt x="389" y="177"/>
                        </a:lnTo>
                        <a:lnTo>
                          <a:pt x="391" y="177"/>
                        </a:lnTo>
                        <a:lnTo>
                          <a:pt x="397" y="176"/>
                        </a:lnTo>
                        <a:lnTo>
                          <a:pt x="402" y="172"/>
                        </a:lnTo>
                        <a:lnTo>
                          <a:pt x="402" y="171"/>
                        </a:lnTo>
                        <a:lnTo>
                          <a:pt x="410" y="160"/>
                        </a:lnTo>
                        <a:lnTo>
                          <a:pt x="410" y="158"/>
                        </a:lnTo>
                        <a:lnTo>
                          <a:pt x="411" y="157"/>
                        </a:lnTo>
                        <a:lnTo>
                          <a:pt x="411" y="150"/>
                        </a:lnTo>
                        <a:lnTo>
                          <a:pt x="410" y="145"/>
                        </a:lnTo>
                        <a:lnTo>
                          <a:pt x="410" y="139"/>
                        </a:lnTo>
                        <a:lnTo>
                          <a:pt x="410" y="138"/>
                        </a:lnTo>
                        <a:lnTo>
                          <a:pt x="413" y="136"/>
                        </a:lnTo>
                        <a:lnTo>
                          <a:pt x="418" y="134"/>
                        </a:lnTo>
                        <a:lnTo>
                          <a:pt x="421" y="134"/>
                        </a:lnTo>
                        <a:lnTo>
                          <a:pt x="424" y="134"/>
                        </a:lnTo>
                        <a:lnTo>
                          <a:pt x="426" y="136"/>
                        </a:lnTo>
                        <a:lnTo>
                          <a:pt x="427" y="136"/>
                        </a:lnTo>
                        <a:lnTo>
                          <a:pt x="427" y="138"/>
                        </a:lnTo>
                        <a:lnTo>
                          <a:pt x="431" y="147"/>
                        </a:lnTo>
                        <a:lnTo>
                          <a:pt x="431" y="149"/>
                        </a:lnTo>
                        <a:lnTo>
                          <a:pt x="432" y="152"/>
                        </a:lnTo>
                        <a:lnTo>
                          <a:pt x="432" y="155"/>
                        </a:lnTo>
                        <a:lnTo>
                          <a:pt x="434" y="160"/>
                        </a:lnTo>
                        <a:lnTo>
                          <a:pt x="438" y="163"/>
                        </a:lnTo>
                        <a:lnTo>
                          <a:pt x="442" y="163"/>
                        </a:lnTo>
                        <a:lnTo>
                          <a:pt x="450" y="166"/>
                        </a:lnTo>
                        <a:lnTo>
                          <a:pt x="453" y="169"/>
                        </a:lnTo>
                        <a:lnTo>
                          <a:pt x="453" y="171"/>
                        </a:lnTo>
                        <a:lnTo>
                          <a:pt x="453" y="172"/>
                        </a:lnTo>
                        <a:lnTo>
                          <a:pt x="453" y="174"/>
                        </a:lnTo>
                        <a:lnTo>
                          <a:pt x="451" y="177"/>
                        </a:lnTo>
                        <a:lnTo>
                          <a:pt x="446" y="177"/>
                        </a:lnTo>
                        <a:lnTo>
                          <a:pt x="443" y="179"/>
                        </a:lnTo>
                        <a:lnTo>
                          <a:pt x="440" y="179"/>
                        </a:lnTo>
                        <a:lnTo>
                          <a:pt x="434" y="182"/>
                        </a:lnTo>
                        <a:lnTo>
                          <a:pt x="427" y="183"/>
                        </a:lnTo>
                        <a:lnTo>
                          <a:pt x="423" y="185"/>
                        </a:lnTo>
                        <a:lnTo>
                          <a:pt x="419" y="188"/>
                        </a:lnTo>
                        <a:lnTo>
                          <a:pt x="418" y="190"/>
                        </a:lnTo>
                        <a:lnTo>
                          <a:pt x="416" y="191"/>
                        </a:lnTo>
                        <a:lnTo>
                          <a:pt x="416" y="193"/>
                        </a:lnTo>
                        <a:lnTo>
                          <a:pt x="416" y="196"/>
                        </a:lnTo>
                        <a:lnTo>
                          <a:pt x="416" y="198"/>
                        </a:lnTo>
                        <a:lnTo>
                          <a:pt x="418" y="199"/>
                        </a:lnTo>
                        <a:lnTo>
                          <a:pt x="418" y="201"/>
                        </a:lnTo>
                        <a:lnTo>
                          <a:pt x="421" y="204"/>
                        </a:lnTo>
                        <a:lnTo>
                          <a:pt x="423" y="204"/>
                        </a:lnTo>
                        <a:lnTo>
                          <a:pt x="426" y="207"/>
                        </a:lnTo>
                        <a:lnTo>
                          <a:pt x="432" y="209"/>
                        </a:lnTo>
                        <a:lnTo>
                          <a:pt x="434" y="210"/>
                        </a:lnTo>
                        <a:lnTo>
                          <a:pt x="440" y="209"/>
                        </a:lnTo>
                        <a:lnTo>
                          <a:pt x="443" y="209"/>
                        </a:lnTo>
                        <a:lnTo>
                          <a:pt x="454" y="209"/>
                        </a:lnTo>
                        <a:lnTo>
                          <a:pt x="457" y="209"/>
                        </a:lnTo>
                        <a:lnTo>
                          <a:pt x="459" y="210"/>
                        </a:lnTo>
                        <a:lnTo>
                          <a:pt x="465" y="212"/>
                        </a:lnTo>
                        <a:lnTo>
                          <a:pt x="467" y="212"/>
                        </a:lnTo>
                        <a:lnTo>
                          <a:pt x="473" y="214"/>
                        </a:lnTo>
                        <a:lnTo>
                          <a:pt x="476" y="214"/>
                        </a:lnTo>
                        <a:lnTo>
                          <a:pt x="483" y="217"/>
                        </a:lnTo>
                        <a:lnTo>
                          <a:pt x="484" y="217"/>
                        </a:lnTo>
                        <a:lnTo>
                          <a:pt x="489" y="218"/>
                        </a:lnTo>
                        <a:lnTo>
                          <a:pt x="492" y="220"/>
                        </a:lnTo>
                        <a:lnTo>
                          <a:pt x="502" y="220"/>
                        </a:lnTo>
                        <a:lnTo>
                          <a:pt x="503" y="220"/>
                        </a:lnTo>
                        <a:lnTo>
                          <a:pt x="508" y="220"/>
                        </a:lnTo>
                        <a:lnTo>
                          <a:pt x="511" y="220"/>
                        </a:lnTo>
                        <a:lnTo>
                          <a:pt x="513" y="220"/>
                        </a:lnTo>
                        <a:lnTo>
                          <a:pt x="513" y="218"/>
                        </a:lnTo>
                        <a:lnTo>
                          <a:pt x="516" y="218"/>
                        </a:lnTo>
                        <a:lnTo>
                          <a:pt x="526" y="221"/>
                        </a:lnTo>
                        <a:lnTo>
                          <a:pt x="533" y="226"/>
                        </a:lnTo>
                        <a:lnTo>
                          <a:pt x="538" y="229"/>
                        </a:lnTo>
                        <a:lnTo>
                          <a:pt x="541" y="233"/>
                        </a:lnTo>
                        <a:lnTo>
                          <a:pt x="546" y="237"/>
                        </a:lnTo>
                        <a:lnTo>
                          <a:pt x="564" y="261"/>
                        </a:lnTo>
                        <a:lnTo>
                          <a:pt x="571" y="267"/>
                        </a:lnTo>
                        <a:lnTo>
                          <a:pt x="581" y="271"/>
                        </a:lnTo>
                        <a:lnTo>
                          <a:pt x="583" y="271"/>
                        </a:lnTo>
                        <a:lnTo>
                          <a:pt x="594" y="275"/>
                        </a:lnTo>
                        <a:lnTo>
                          <a:pt x="603" y="280"/>
                        </a:lnTo>
                        <a:lnTo>
                          <a:pt x="609" y="286"/>
                        </a:lnTo>
                        <a:lnTo>
                          <a:pt x="617" y="293"/>
                        </a:lnTo>
                        <a:lnTo>
                          <a:pt x="632" y="307"/>
                        </a:lnTo>
                        <a:lnTo>
                          <a:pt x="643" y="315"/>
                        </a:lnTo>
                        <a:lnTo>
                          <a:pt x="648" y="318"/>
                        </a:lnTo>
                        <a:lnTo>
                          <a:pt x="654" y="320"/>
                        </a:lnTo>
                        <a:lnTo>
                          <a:pt x="655" y="321"/>
                        </a:lnTo>
                        <a:lnTo>
                          <a:pt x="659" y="321"/>
                        </a:lnTo>
                        <a:lnTo>
                          <a:pt x="660" y="323"/>
                        </a:lnTo>
                        <a:lnTo>
                          <a:pt x="678" y="331"/>
                        </a:lnTo>
                        <a:lnTo>
                          <a:pt x="679" y="331"/>
                        </a:lnTo>
                        <a:lnTo>
                          <a:pt x="689" y="337"/>
                        </a:lnTo>
                        <a:lnTo>
                          <a:pt x="706" y="340"/>
                        </a:lnTo>
                        <a:lnTo>
                          <a:pt x="709" y="340"/>
                        </a:lnTo>
                        <a:lnTo>
                          <a:pt x="717" y="342"/>
                        </a:lnTo>
                        <a:lnTo>
                          <a:pt x="720" y="343"/>
                        </a:lnTo>
                        <a:lnTo>
                          <a:pt x="722" y="343"/>
                        </a:lnTo>
                        <a:lnTo>
                          <a:pt x="728" y="343"/>
                        </a:lnTo>
                        <a:lnTo>
                          <a:pt x="731" y="345"/>
                        </a:lnTo>
                        <a:lnTo>
                          <a:pt x="741" y="345"/>
                        </a:lnTo>
                        <a:lnTo>
                          <a:pt x="747" y="343"/>
                        </a:lnTo>
                        <a:lnTo>
                          <a:pt x="749" y="342"/>
                        </a:lnTo>
                        <a:lnTo>
                          <a:pt x="750" y="342"/>
                        </a:lnTo>
                        <a:lnTo>
                          <a:pt x="752" y="340"/>
                        </a:lnTo>
                        <a:lnTo>
                          <a:pt x="754" y="339"/>
                        </a:lnTo>
                        <a:lnTo>
                          <a:pt x="754" y="337"/>
                        </a:lnTo>
                        <a:lnTo>
                          <a:pt x="757" y="334"/>
                        </a:lnTo>
                        <a:lnTo>
                          <a:pt x="757" y="332"/>
                        </a:lnTo>
                        <a:lnTo>
                          <a:pt x="758" y="323"/>
                        </a:lnTo>
                        <a:lnTo>
                          <a:pt x="758" y="321"/>
                        </a:lnTo>
                        <a:lnTo>
                          <a:pt x="758" y="317"/>
                        </a:lnTo>
                        <a:lnTo>
                          <a:pt x="757" y="305"/>
                        </a:lnTo>
                        <a:lnTo>
                          <a:pt x="755" y="301"/>
                        </a:lnTo>
                        <a:lnTo>
                          <a:pt x="749" y="290"/>
                        </a:lnTo>
                        <a:lnTo>
                          <a:pt x="749" y="285"/>
                        </a:lnTo>
                        <a:lnTo>
                          <a:pt x="750" y="282"/>
                        </a:lnTo>
                        <a:lnTo>
                          <a:pt x="752" y="280"/>
                        </a:lnTo>
                        <a:lnTo>
                          <a:pt x="755" y="279"/>
                        </a:lnTo>
                        <a:lnTo>
                          <a:pt x="763" y="277"/>
                        </a:lnTo>
                        <a:lnTo>
                          <a:pt x="768" y="275"/>
                        </a:lnTo>
                        <a:lnTo>
                          <a:pt x="773" y="275"/>
                        </a:lnTo>
                        <a:lnTo>
                          <a:pt x="779" y="274"/>
                        </a:lnTo>
                        <a:lnTo>
                          <a:pt x="788" y="274"/>
                        </a:lnTo>
                        <a:lnTo>
                          <a:pt x="790" y="274"/>
                        </a:lnTo>
                        <a:lnTo>
                          <a:pt x="800" y="274"/>
                        </a:lnTo>
                        <a:lnTo>
                          <a:pt x="808" y="272"/>
                        </a:lnTo>
                        <a:lnTo>
                          <a:pt x="819" y="271"/>
                        </a:lnTo>
                        <a:lnTo>
                          <a:pt x="828" y="271"/>
                        </a:lnTo>
                        <a:lnTo>
                          <a:pt x="830" y="271"/>
                        </a:lnTo>
                        <a:lnTo>
                          <a:pt x="831" y="271"/>
                        </a:lnTo>
                        <a:lnTo>
                          <a:pt x="849" y="269"/>
                        </a:lnTo>
                        <a:lnTo>
                          <a:pt x="850" y="269"/>
                        </a:lnTo>
                        <a:lnTo>
                          <a:pt x="860" y="267"/>
                        </a:lnTo>
                        <a:lnTo>
                          <a:pt x="866" y="264"/>
                        </a:lnTo>
                        <a:lnTo>
                          <a:pt x="868" y="263"/>
                        </a:lnTo>
                        <a:lnTo>
                          <a:pt x="871" y="255"/>
                        </a:lnTo>
                        <a:lnTo>
                          <a:pt x="871" y="252"/>
                        </a:lnTo>
                        <a:lnTo>
                          <a:pt x="871" y="250"/>
                        </a:lnTo>
                        <a:lnTo>
                          <a:pt x="871" y="247"/>
                        </a:lnTo>
                        <a:lnTo>
                          <a:pt x="868" y="242"/>
                        </a:lnTo>
                        <a:lnTo>
                          <a:pt x="868" y="241"/>
                        </a:lnTo>
                        <a:lnTo>
                          <a:pt x="866" y="234"/>
                        </a:lnTo>
                        <a:lnTo>
                          <a:pt x="857" y="221"/>
                        </a:lnTo>
                        <a:lnTo>
                          <a:pt x="857" y="220"/>
                        </a:lnTo>
                        <a:lnTo>
                          <a:pt x="857" y="215"/>
                        </a:lnTo>
                        <a:lnTo>
                          <a:pt x="857" y="199"/>
                        </a:lnTo>
                        <a:lnTo>
                          <a:pt x="857" y="195"/>
                        </a:lnTo>
                        <a:lnTo>
                          <a:pt x="857" y="193"/>
                        </a:lnTo>
                        <a:lnTo>
                          <a:pt x="855" y="182"/>
                        </a:lnTo>
                        <a:lnTo>
                          <a:pt x="853" y="166"/>
                        </a:lnTo>
                        <a:lnTo>
                          <a:pt x="852" y="155"/>
                        </a:lnTo>
                        <a:lnTo>
                          <a:pt x="850" y="149"/>
                        </a:lnTo>
                        <a:lnTo>
                          <a:pt x="849" y="138"/>
                        </a:lnTo>
                        <a:lnTo>
                          <a:pt x="847" y="128"/>
                        </a:lnTo>
                        <a:lnTo>
                          <a:pt x="844" y="114"/>
                        </a:lnTo>
                        <a:lnTo>
                          <a:pt x="846" y="106"/>
                        </a:lnTo>
                        <a:lnTo>
                          <a:pt x="850" y="98"/>
                        </a:lnTo>
                        <a:lnTo>
                          <a:pt x="852" y="98"/>
                        </a:lnTo>
                        <a:lnTo>
                          <a:pt x="852" y="96"/>
                        </a:lnTo>
                        <a:lnTo>
                          <a:pt x="857" y="88"/>
                        </a:lnTo>
                        <a:lnTo>
                          <a:pt x="858" y="79"/>
                        </a:lnTo>
                        <a:lnTo>
                          <a:pt x="858" y="73"/>
                        </a:lnTo>
                        <a:lnTo>
                          <a:pt x="858" y="69"/>
                        </a:lnTo>
                        <a:lnTo>
                          <a:pt x="860" y="58"/>
                        </a:lnTo>
                        <a:lnTo>
                          <a:pt x="860" y="57"/>
                        </a:lnTo>
                        <a:lnTo>
                          <a:pt x="858" y="54"/>
                        </a:lnTo>
                        <a:lnTo>
                          <a:pt x="860" y="43"/>
                        </a:lnTo>
                        <a:lnTo>
                          <a:pt x="860" y="30"/>
                        </a:lnTo>
                        <a:lnTo>
                          <a:pt x="855" y="25"/>
                        </a:lnTo>
                        <a:lnTo>
                          <a:pt x="852" y="20"/>
                        </a:lnTo>
                        <a:lnTo>
                          <a:pt x="847" y="17"/>
                        </a:lnTo>
                        <a:lnTo>
                          <a:pt x="844" y="14"/>
                        </a:lnTo>
                        <a:lnTo>
                          <a:pt x="842" y="11"/>
                        </a:lnTo>
                        <a:lnTo>
                          <a:pt x="842" y="9"/>
                        </a:lnTo>
                        <a:lnTo>
                          <a:pt x="842" y="8"/>
                        </a:lnTo>
                        <a:lnTo>
                          <a:pt x="846" y="1"/>
                        </a:lnTo>
                        <a:lnTo>
                          <a:pt x="849" y="0"/>
                        </a:lnTo>
                        <a:lnTo>
                          <a:pt x="850" y="0"/>
                        </a:lnTo>
                        <a:lnTo>
                          <a:pt x="857" y="0"/>
                        </a:lnTo>
                        <a:lnTo>
                          <a:pt x="858" y="0"/>
                        </a:lnTo>
                        <a:lnTo>
                          <a:pt x="860" y="1"/>
                        </a:lnTo>
                        <a:lnTo>
                          <a:pt x="869" y="3"/>
                        </a:lnTo>
                        <a:lnTo>
                          <a:pt x="876" y="6"/>
                        </a:lnTo>
                        <a:lnTo>
                          <a:pt x="888" y="14"/>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80" name="Freeform 79"/>
                  <p:cNvSpPr>
                    <a:spLocks/>
                  </p:cNvSpPr>
                  <p:nvPr/>
                </p:nvSpPr>
                <p:spPr bwMode="auto">
                  <a:xfrm>
                    <a:off x="1637" y="3137"/>
                    <a:ext cx="1137" cy="880"/>
                  </a:xfrm>
                  <a:custGeom>
                    <a:avLst/>
                    <a:gdLst>
                      <a:gd name="T0" fmla="*/ 185 w 1137"/>
                      <a:gd name="T1" fmla="*/ 122 h 880"/>
                      <a:gd name="T2" fmla="*/ 223 w 1137"/>
                      <a:gd name="T3" fmla="*/ 135 h 880"/>
                      <a:gd name="T4" fmla="*/ 268 w 1137"/>
                      <a:gd name="T5" fmla="*/ 121 h 880"/>
                      <a:gd name="T6" fmla="*/ 315 w 1137"/>
                      <a:gd name="T7" fmla="*/ 116 h 880"/>
                      <a:gd name="T8" fmla="*/ 339 w 1137"/>
                      <a:gd name="T9" fmla="*/ 83 h 880"/>
                      <a:gd name="T10" fmla="*/ 380 w 1137"/>
                      <a:gd name="T11" fmla="*/ 88 h 880"/>
                      <a:gd name="T12" fmla="*/ 423 w 1137"/>
                      <a:gd name="T13" fmla="*/ 88 h 880"/>
                      <a:gd name="T14" fmla="*/ 466 w 1137"/>
                      <a:gd name="T15" fmla="*/ 99 h 880"/>
                      <a:gd name="T16" fmla="*/ 486 w 1137"/>
                      <a:gd name="T17" fmla="*/ 137 h 880"/>
                      <a:gd name="T18" fmla="*/ 530 w 1137"/>
                      <a:gd name="T19" fmla="*/ 149 h 880"/>
                      <a:gd name="T20" fmla="*/ 575 w 1137"/>
                      <a:gd name="T21" fmla="*/ 118 h 880"/>
                      <a:gd name="T22" fmla="*/ 607 w 1137"/>
                      <a:gd name="T23" fmla="*/ 94 h 880"/>
                      <a:gd name="T24" fmla="*/ 643 w 1137"/>
                      <a:gd name="T25" fmla="*/ 89 h 880"/>
                      <a:gd name="T26" fmla="*/ 671 w 1137"/>
                      <a:gd name="T27" fmla="*/ 121 h 880"/>
                      <a:gd name="T28" fmla="*/ 690 w 1137"/>
                      <a:gd name="T29" fmla="*/ 162 h 880"/>
                      <a:gd name="T30" fmla="*/ 725 w 1137"/>
                      <a:gd name="T31" fmla="*/ 173 h 880"/>
                      <a:gd name="T32" fmla="*/ 762 w 1137"/>
                      <a:gd name="T33" fmla="*/ 187 h 880"/>
                      <a:gd name="T34" fmla="*/ 793 w 1137"/>
                      <a:gd name="T35" fmla="*/ 190 h 880"/>
                      <a:gd name="T36" fmla="*/ 836 w 1137"/>
                      <a:gd name="T37" fmla="*/ 168 h 880"/>
                      <a:gd name="T38" fmla="*/ 877 w 1137"/>
                      <a:gd name="T39" fmla="*/ 146 h 880"/>
                      <a:gd name="T40" fmla="*/ 901 w 1137"/>
                      <a:gd name="T41" fmla="*/ 165 h 880"/>
                      <a:gd name="T42" fmla="*/ 930 w 1137"/>
                      <a:gd name="T43" fmla="*/ 181 h 880"/>
                      <a:gd name="T44" fmla="*/ 971 w 1137"/>
                      <a:gd name="T45" fmla="*/ 195 h 880"/>
                      <a:gd name="T46" fmla="*/ 999 w 1137"/>
                      <a:gd name="T47" fmla="*/ 202 h 880"/>
                      <a:gd name="T48" fmla="*/ 1026 w 1137"/>
                      <a:gd name="T49" fmla="*/ 179 h 880"/>
                      <a:gd name="T50" fmla="*/ 1045 w 1137"/>
                      <a:gd name="T51" fmla="*/ 154 h 880"/>
                      <a:gd name="T52" fmla="*/ 1071 w 1137"/>
                      <a:gd name="T53" fmla="*/ 107 h 880"/>
                      <a:gd name="T54" fmla="*/ 1113 w 1137"/>
                      <a:gd name="T55" fmla="*/ 116 h 880"/>
                      <a:gd name="T56" fmla="*/ 1136 w 1137"/>
                      <a:gd name="T57" fmla="*/ 157 h 880"/>
                      <a:gd name="T58" fmla="*/ 1074 w 1137"/>
                      <a:gd name="T59" fmla="*/ 167 h 880"/>
                      <a:gd name="T60" fmla="*/ 1113 w 1137"/>
                      <a:gd name="T61" fmla="*/ 213 h 880"/>
                      <a:gd name="T62" fmla="*/ 1113 w 1137"/>
                      <a:gd name="T63" fmla="*/ 276 h 880"/>
                      <a:gd name="T64" fmla="*/ 1124 w 1137"/>
                      <a:gd name="T65" fmla="*/ 330 h 880"/>
                      <a:gd name="T66" fmla="*/ 1074 w 1137"/>
                      <a:gd name="T67" fmla="*/ 420 h 880"/>
                      <a:gd name="T68" fmla="*/ 1096 w 1137"/>
                      <a:gd name="T69" fmla="*/ 480 h 880"/>
                      <a:gd name="T70" fmla="*/ 1056 w 1137"/>
                      <a:gd name="T71" fmla="*/ 550 h 880"/>
                      <a:gd name="T72" fmla="*/ 979 w 1137"/>
                      <a:gd name="T73" fmla="*/ 563 h 880"/>
                      <a:gd name="T74" fmla="*/ 944 w 1137"/>
                      <a:gd name="T75" fmla="*/ 612 h 880"/>
                      <a:gd name="T76" fmla="*/ 993 w 1137"/>
                      <a:gd name="T77" fmla="*/ 655 h 880"/>
                      <a:gd name="T78" fmla="*/ 961 w 1137"/>
                      <a:gd name="T79" fmla="*/ 710 h 880"/>
                      <a:gd name="T80" fmla="*/ 887 w 1137"/>
                      <a:gd name="T81" fmla="*/ 751 h 880"/>
                      <a:gd name="T82" fmla="*/ 773 w 1137"/>
                      <a:gd name="T83" fmla="*/ 781 h 880"/>
                      <a:gd name="T84" fmla="*/ 751 w 1137"/>
                      <a:gd name="T85" fmla="*/ 862 h 880"/>
                      <a:gd name="T86" fmla="*/ 667 w 1137"/>
                      <a:gd name="T87" fmla="*/ 838 h 880"/>
                      <a:gd name="T88" fmla="*/ 594 w 1137"/>
                      <a:gd name="T89" fmla="*/ 786 h 880"/>
                      <a:gd name="T90" fmla="*/ 554 w 1137"/>
                      <a:gd name="T91" fmla="*/ 807 h 880"/>
                      <a:gd name="T92" fmla="*/ 486 w 1137"/>
                      <a:gd name="T93" fmla="*/ 797 h 880"/>
                      <a:gd name="T94" fmla="*/ 450 w 1137"/>
                      <a:gd name="T95" fmla="*/ 762 h 880"/>
                      <a:gd name="T96" fmla="*/ 377 w 1137"/>
                      <a:gd name="T97" fmla="*/ 699 h 880"/>
                      <a:gd name="T98" fmla="*/ 350 w 1137"/>
                      <a:gd name="T99" fmla="*/ 658 h 880"/>
                      <a:gd name="T100" fmla="*/ 321 w 1137"/>
                      <a:gd name="T101" fmla="*/ 591 h 880"/>
                      <a:gd name="T102" fmla="*/ 288 w 1137"/>
                      <a:gd name="T103" fmla="*/ 567 h 880"/>
                      <a:gd name="T104" fmla="*/ 274 w 1137"/>
                      <a:gd name="T105" fmla="*/ 520 h 880"/>
                      <a:gd name="T106" fmla="*/ 256 w 1137"/>
                      <a:gd name="T107" fmla="*/ 465 h 880"/>
                      <a:gd name="T108" fmla="*/ 176 w 1137"/>
                      <a:gd name="T109" fmla="*/ 436 h 880"/>
                      <a:gd name="T110" fmla="*/ 103 w 1137"/>
                      <a:gd name="T111" fmla="*/ 444 h 880"/>
                      <a:gd name="T112" fmla="*/ 28 w 1137"/>
                      <a:gd name="T113" fmla="*/ 412 h 880"/>
                      <a:gd name="T114" fmla="*/ 5 w 1137"/>
                      <a:gd name="T115" fmla="*/ 343 h 880"/>
                      <a:gd name="T116" fmla="*/ 24 w 1137"/>
                      <a:gd name="T117" fmla="*/ 243 h 880"/>
                      <a:gd name="T118" fmla="*/ 51 w 1137"/>
                      <a:gd name="T119" fmla="*/ 95 h 880"/>
                      <a:gd name="T120" fmla="*/ 74 w 1137"/>
                      <a:gd name="T121" fmla="*/ 15 h 880"/>
                      <a:gd name="T122" fmla="*/ 125 w 1137"/>
                      <a:gd name="T123" fmla="*/ 48 h 880"/>
                      <a:gd name="T124" fmla="*/ 157 w 1137"/>
                      <a:gd name="T125" fmla="*/ 88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37" h="880">
                        <a:moveTo>
                          <a:pt x="158" y="103"/>
                        </a:moveTo>
                        <a:lnTo>
                          <a:pt x="160" y="103"/>
                        </a:lnTo>
                        <a:lnTo>
                          <a:pt x="161" y="103"/>
                        </a:lnTo>
                        <a:lnTo>
                          <a:pt x="163" y="103"/>
                        </a:lnTo>
                        <a:lnTo>
                          <a:pt x="165" y="102"/>
                        </a:lnTo>
                        <a:lnTo>
                          <a:pt x="166" y="102"/>
                        </a:lnTo>
                        <a:lnTo>
                          <a:pt x="168" y="100"/>
                        </a:lnTo>
                        <a:lnTo>
                          <a:pt x="169" y="99"/>
                        </a:lnTo>
                        <a:lnTo>
                          <a:pt x="171" y="99"/>
                        </a:lnTo>
                        <a:lnTo>
                          <a:pt x="172" y="99"/>
                        </a:lnTo>
                        <a:lnTo>
                          <a:pt x="174" y="99"/>
                        </a:lnTo>
                        <a:lnTo>
                          <a:pt x="176" y="97"/>
                        </a:lnTo>
                        <a:lnTo>
                          <a:pt x="177" y="99"/>
                        </a:lnTo>
                        <a:lnTo>
                          <a:pt x="177" y="97"/>
                        </a:lnTo>
                        <a:lnTo>
                          <a:pt x="179" y="99"/>
                        </a:lnTo>
                        <a:lnTo>
                          <a:pt x="180" y="99"/>
                        </a:lnTo>
                        <a:lnTo>
                          <a:pt x="180" y="100"/>
                        </a:lnTo>
                        <a:lnTo>
                          <a:pt x="182" y="100"/>
                        </a:lnTo>
                        <a:lnTo>
                          <a:pt x="182" y="102"/>
                        </a:lnTo>
                        <a:lnTo>
                          <a:pt x="184" y="103"/>
                        </a:lnTo>
                        <a:lnTo>
                          <a:pt x="184" y="105"/>
                        </a:lnTo>
                        <a:lnTo>
                          <a:pt x="185" y="107"/>
                        </a:lnTo>
                        <a:lnTo>
                          <a:pt x="185" y="108"/>
                        </a:lnTo>
                        <a:lnTo>
                          <a:pt x="185" y="110"/>
                        </a:lnTo>
                        <a:lnTo>
                          <a:pt x="185" y="111"/>
                        </a:lnTo>
                        <a:lnTo>
                          <a:pt x="185" y="113"/>
                        </a:lnTo>
                        <a:lnTo>
                          <a:pt x="185" y="114"/>
                        </a:lnTo>
                        <a:lnTo>
                          <a:pt x="185" y="116"/>
                        </a:lnTo>
                        <a:lnTo>
                          <a:pt x="185" y="118"/>
                        </a:lnTo>
                        <a:lnTo>
                          <a:pt x="185" y="119"/>
                        </a:lnTo>
                        <a:lnTo>
                          <a:pt x="185" y="121"/>
                        </a:lnTo>
                        <a:lnTo>
                          <a:pt x="185" y="122"/>
                        </a:lnTo>
                        <a:lnTo>
                          <a:pt x="187" y="122"/>
                        </a:lnTo>
                        <a:lnTo>
                          <a:pt x="187" y="124"/>
                        </a:lnTo>
                        <a:lnTo>
                          <a:pt x="188" y="126"/>
                        </a:lnTo>
                        <a:lnTo>
                          <a:pt x="188" y="127"/>
                        </a:lnTo>
                        <a:lnTo>
                          <a:pt x="188" y="129"/>
                        </a:lnTo>
                        <a:lnTo>
                          <a:pt x="188" y="130"/>
                        </a:lnTo>
                        <a:lnTo>
                          <a:pt x="190" y="132"/>
                        </a:lnTo>
                        <a:lnTo>
                          <a:pt x="191" y="133"/>
                        </a:lnTo>
                        <a:lnTo>
                          <a:pt x="193" y="135"/>
                        </a:lnTo>
                        <a:lnTo>
                          <a:pt x="195" y="137"/>
                        </a:lnTo>
                        <a:lnTo>
                          <a:pt x="196" y="138"/>
                        </a:lnTo>
                        <a:lnTo>
                          <a:pt x="196" y="140"/>
                        </a:lnTo>
                        <a:lnTo>
                          <a:pt x="198" y="140"/>
                        </a:lnTo>
                        <a:lnTo>
                          <a:pt x="198" y="141"/>
                        </a:lnTo>
                        <a:lnTo>
                          <a:pt x="199" y="143"/>
                        </a:lnTo>
                        <a:lnTo>
                          <a:pt x="199" y="145"/>
                        </a:lnTo>
                        <a:lnTo>
                          <a:pt x="201" y="143"/>
                        </a:lnTo>
                        <a:lnTo>
                          <a:pt x="203" y="143"/>
                        </a:lnTo>
                        <a:lnTo>
                          <a:pt x="204" y="143"/>
                        </a:lnTo>
                        <a:lnTo>
                          <a:pt x="206" y="141"/>
                        </a:lnTo>
                        <a:lnTo>
                          <a:pt x="207" y="141"/>
                        </a:lnTo>
                        <a:lnTo>
                          <a:pt x="209" y="140"/>
                        </a:lnTo>
                        <a:lnTo>
                          <a:pt x="211" y="140"/>
                        </a:lnTo>
                        <a:lnTo>
                          <a:pt x="212" y="138"/>
                        </a:lnTo>
                        <a:lnTo>
                          <a:pt x="214" y="138"/>
                        </a:lnTo>
                        <a:lnTo>
                          <a:pt x="215" y="138"/>
                        </a:lnTo>
                        <a:lnTo>
                          <a:pt x="217" y="137"/>
                        </a:lnTo>
                        <a:lnTo>
                          <a:pt x="218" y="137"/>
                        </a:lnTo>
                        <a:lnTo>
                          <a:pt x="220" y="137"/>
                        </a:lnTo>
                        <a:lnTo>
                          <a:pt x="220" y="135"/>
                        </a:lnTo>
                        <a:lnTo>
                          <a:pt x="222" y="135"/>
                        </a:lnTo>
                        <a:lnTo>
                          <a:pt x="223" y="135"/>
                        </a:lnTo>
                        <a:lnTo>
                          <a:pt x="223" y="133"/>
                        </a:lnTo>
                        <a:lnTo>
                          <a:pt x="225" y="133"/>
                        </a:lnTo>
                        <a:lnTo>
                          <a:pt x="226" y="132"/>
                        </a:lnTo>
                        <a:lnTo>
                          <a:pt x="228" y="132"/>
                        </a:lnTo>
                        <a:lnTo>
                          <a:pt x="230" y="132"/>
                        </a:lnTo>
                        <a:lnTo>
                          <a:pt x="231" y="130"/>
                        </a:lnTo>
                        <a:lnTo>
                          <a:pt x="233" y="130"/>
                        </a:lnTo>
                        <a:lnTo>
                          <a:pt x="233" y="129"/>
                        </a:lnTo>
                        <a:lnTo>
                          <a:pt x="234" y="129"/>
                        </a:lnTo>
                        <a:lnTo>
                          <a:pt x="236" y="127"/>
                        </a:lnTo>
                        <a:lnTo>
                          <a:pt x="237" y="127"/>
                        </a:lnTo>
                        <a:lnTo>
                          <a:pt x="239" y="127"/>
                        </a:lnTo>
                        <a:lnTo>
                          <a:pt x="241" y="126"/>
                        </a:lnTo>
                        <a:lnTo>
                          <a:pt x="242" y="126"/>
                        </a:lnTo>
                        <a:lnTo>
                          <a:pt x="244" y="126"/>
                        </a:lnTo>
                        <a:lnTo>
                          <a:pt x="245" y="126"/>
                        </a:lnTo>
                        <a:lnTo>
                          <a:pt x="247" y="124"/>
                        </a:lnTo>
                        <a:lnTo>
                          <a:pt x="249" y="124"/>
                        </a:lnTo>
                        <a:lnTo>
                          <a:pt x="250" y="124"/>
                        </a:lnTo>
                        <a:lnTo>
                          <a:pt x="250" y="122"/>
                        </a:lnTo>
                        <a:lnTo>
                          <a:pt x="252" y="122"/>
                        </a:lnTo>
                        <a:lnTo>
                          <a:pt x="253" y="122"/>
                        </a:lnTo>
                        <a:lnTo>
                          <a:pt x="255" y="122"/>
                        </a:lnTo>
                        <a:lnTo>
                          <a:pt x="256" y="122"/>
                        </a:lnTo>
                        <a:lnTo>
                          <a:pt x="258" y="122"/>
                        </a:lnTo>
                        <a:lnTo>
                          <a:pt x="258" y="121"/>
                        </a:lnTo>
                        <a:lnTo>
                          <a:pt x="260" y="121"/>
                        </a:lnTo>
                        <a:lnTo>
                          <a:pt x="261" y="121"/>
                        </a:lnTo>
                        <a:lnTo>
                          <a:pt x="263" y="121"/>
                        </a:lnTo>
                        <a:lnTo>
                          <a:pt x="264" y="121"/>
                        </a:lnTo>
                        <a:lnTo>
                          <a:pt x="266" y="121"/>
                        </a:lnTo>
                        <a:lnTo>
                          <a:pt x="268" y="121"/>
                        </a:lnTo>
                        <a:lnTo>
                          <a:pt x="269" y="121"/>
                        </a:lnTo>
                        <a:lnTo>
                          <a:pt x="271" y="121"/>
                        </a:lnTo>
                        <a:lnTo>
                          <a:pt x="272" y="121"/>
                        </a:lnTo>
                        <a:lnTo>
                          <a:pt x="274" y="121"/>
                        </a:lnTo>
                        <a:lnTo>
                          <a:pt x="275" y="122"/>
                        </a:lnTo>
                        <a:lnTo>
                          <a:pt x="277" y="122"/>
                        </a:lnTo>
                        <a:lnTo>
                          <a:pt x="279" y="122"/>
                        </a:lnTo>
                        <a:lnTo>
                          <a:pt x="280" y="122"/>
                        </a:lnTo>
                        <a:lnTo>
                          <a:pt x="282" y="122"/>
                        </a:lnTo>
                        <a:lnTo>
                          <a:pt x="283" y="122"/>
                        </a:lnTo>
                        <a:lnTo>
                          <a:pt x="285" y="121"/>
                        </a:lnTo>
                        <a:lnTo>
                          <a:pt x="287" y="121"/>
                        </a:lnTo>
                        <a:lnTo>
                          <a:pt x="288" y="119"/>
                        </a:lnTo>
                        <a:lnTo>
                          <a:pt x="290" y="119"/>
                        </a:lnTo>
                        <a:lnTo>
                          <a:pt x="291" y="119"/>
                        </a:lnTo>
                        <a:lnTo>
                          <a:pt x="293" y="119"/>
                        </a:lnTo>
                        <a:lnTo>
                          <a:pt x="294" y="119"/>
                        </a:lnTo>
                        <a:lnTo>
                          <a:pt x="296" y="118"/>
                        </a:lnTo>
                        <a:lnTo>
                          <a:pt x="298" y="118"/>
                        </a:lnTo>
                        <a:lnTo>
                          <a:pt x="298" y="116"/>
                        </a:lnTo>
                        <a:lnTo>
                          <a:pt x="299" y="116"/>
                        </a:lnTo>
                        <a:lnTo>
                          <a:pt x="301" y="114"/>
                        </a:lnTo>
                        <a:lnTo>
                          <a:pt x="302" y="114"/>
                        </a:lnTo>
                        <a:lnTo>
                          <a:pt x="304" y="114"/>
                        </a:lnTo>
                        <a:lnTo>
                          <a:pt x="306" y="114"/>
                        </a:lnTo>
                        <a:lnTo>
                          <a:pt x="307" y="114"/>
                        </a:lnTo>
                        <a:lnTo>
                          <a:pt x="309" y="114"/>
                        </a:lnTo>
                        <a:lnTo>
                          <a:pt x="310" y="114"/>
                        </a:lnTo>
                        <a:lnTo>
                          <a:pt x="312" y="114"/>
                        </a:lnTo>
                        <a:lnTo>
                          <a:pt x="313" y="114"/>
                        </a:lnTo>
                        <a:lnTo>
                          <a:pt x="313" y="116"/>
                        </a:lnTo>
                        <a:lnTo>
                          <a:pt x="315" y="116"/>
                        </a:lnTo>
                        <a:lnTo>
                          <a:pt x="317" y="116"/>
                        </a:lnTo>
                        <a:lnTo>
                          <a:pt x="318" y="116"/>
                        </a:lnTo>
                        <a:lnTo>
                          <a:pt x="318" y="114"/>
                        </a:lnTo>
                        <a:lnTo>
                          <a:pt x="320" y="114"/>
                        </a:lnTo>
                        <a:lnTo>
                          <a:pt x="321" y="113"/>
                        </a:lnTo>
                        <a:lnTo>
                          <a:pt x="323" y="111"/>
                        </a:lnTo>
                        <a:lnTo>
                          <a:pt x="323" y="110"/>
                        </a:lnTo>
                        <a:lnTo>
                          <a:pt x="323" y="108"/>
                        </a:lnTo>
                        <a:lnTo>
                          <a:pt x="325" y="107"/>
                        </a:lnTo>
                        <a:lnTo>
                          <a:pt x="325" y="105"/>
                        </a:lnTo>
                        <a:lnTo>
                          <a:pt x="325" y="103"/>
                        </a:lnTo>
                        <a:lnTo>
                          <a:pt x="326" y="103"/>
                        </a:lnTo>
                        <a:lnTo>
                          <a:pt x="326" y="102"/>
                        </a:lnTo>
                        <a:lnTo>
                          <a:pt x="328" y="102"/>
                        </a:lnTo>
                        <a:lnTo>
                          <a:pt x="328" y="100"/>
                        </a:lnTo>
                        <a:lnTo>
                          <a:pt x="328" y="99"/>
                        </a:lnTo>
                        <a:lnTo>
                          <a:pt x="329" y="99"/>
                        </a:lnTo>
                        <a:lnTo>
                          <a:pt x="329" y="97"/>
                        </a:lnTo>
                        <a:lnTo>
                          <a:pt x="329" y="95"/>
                        </a:lnTo>
                        <a:lnTo>
                          <a:pt x="331" y="95"/>
                        </a:lnTo>
                        <a:lnTo>
                          <a:pt x="331" y="94"/>
                        </a:lnTo>
                        <a:lnTo>
                          <a:pt x="331" y="92"/>
                        </a:lnTo>
                        <a:lnTo>
                          <a:pt x="332" y="92"/>
                        </a:lnTo>
                        <a:lnTo>
                          <a:pt x="332" y="91"/>
                        </a:lnTo>
                        <a:lnTo>
                          <a:pt x="332" y="89"/>
                        </a:lnTo>
                        <a:lnTo>
                          <a:pt x="334" y="89"/>
                        </a:lnTo>
                        <a:lnTo>
                          <a:pt x="334" y="88"/>
                        </a:lnTo>
                        <a:lnTo>
                          <a:pt x="336" y="88"/>
                        </a:lnTo>
                        <a:lnTo>
                          <a:pt x="337" y="86"/>
                        </a:lnTo>
                        <a:lnTo>
                          <a:pt x="337" y="84"/>
                        </a:lnTo>
                        <a:lnTo>
                          <a:pt x="339" y="84"/>
                        </a:lnTo>
                        <a:lnTo>
                          <a:pt x="339" y="83"/>
                        </a:lnTo>
                        <a:lnTo>
                          <a:pt x="340" y="81"/>
                        </a:lnTo>
                        <a:lnTo>
                          <a:pt x="342" y="81"/>
                        </a:lnTo>
                        <a:lnTo>
                          <a:pt x="344" y="81"/>
                        </a:lnTo>
                        <a:lnTo>
                          <a:pt x="345" y="81"/>
                        </a:lnTo>
                        <a:lnTo>
                          <a:pt x="347" y="81"/>
                        </a:lnTo>
                        <a:lnTo>
                          <a:pt x="348" y="83"/>
                        </a:lnTo>
                        <a:lnTo>
                          <a:pt x="350" y="83"/>
                        </a:lnTo>
                        <a:lnTo>
                          <a:pt x="351" y="83"/>
                        </a:lnTo>
                        <a:lnTo>
                          <a:pt x="353" y="83"/>
                        </a:lnTo>
                        <a:lnTo>
                          <a:pt x="355" y="84"/>
                        </a:lnTo>
                        <a:lnTo>
                          <a:pt x="356" y="84"/>
                        </a:lnTo>
                        <a:lnTo>
                          <a:pt x="356" y="86"/>
                        </a:lnTo>
                        <a:lnTo>
                          <a:pt x="358" y="86"/>
                        </a:lnTo>
                        <a:lnTo>
                          <a:pt x="359" y="86"/>
                        </a:lnTo>
                        <a:lnTo>
                          <a:pt x="359" y="88"/>
                        </a:lnTo>
                        <a:lnTo>
                          <a:pt x="361" y="88"/>
                        </a:lnTo>
                        <a:lnTo>
                          <a:pt x="361" y="89"/>
                        </a:lnTo>
                        <a:lnTo>
                          <a:pt x="363" y="89"/>
                        </a:lnTo>
                        <a:lnTo>
                          <a:pt x="364" y="91"/>
                        </a:lnTo>
                        <a:lnTo>
                          <a:pt x="364" y="89"/>
                        </a:lnTo>
                        <a:lnTo>
                          <a:pt x="366" y="89"/>
                        </a:lnTo>
                        <a:lnTo>
                          <a:pt x="366" y="91"/>
                        </a:lnTo>
                        <a:lnTo>
                          <a:pt x="367" y="91"/>
                        </a:lnTo>
                        <a:lnTo>
                          <a:pt x="367" y="89"/>
                        </a:lnTo>
                        <a:lnTo>
                          <a:pt x="369" y="89"/>
                        </a:lnTo>
                        <a:lnTo>
                          <a:pt x="370" y="89"/>
                        </a:lnTo>
                        <a:lnTo>
                          <a:pt x="372" y="89"/>
                        </a:lnTo>
                        <a:lnTo>
                          <a:pt x="374" y="89"/>
                        </a:lnTo>
                        <a:lnTo>
                          <a:pt x="375" y="89"/>
                        </a:lnTo>
                        <a:lnTo>
                          <a:pt x="377" y="88"/>
                        </a:lnTo>
                        <a:lnTo>
                          <a:pt x="378" y="88"/>
                        </a:lnTo>
                        <a:lnTo>
                          <a:pt x="380" y="88"/>
                        </a:lnTo>
                        <a:lnTo>
                          <a:pt x="382" y="88"/>
                        </a:lnTo>
                        <a:lnTo>
                          <a:pt x="383" y="88"/>
                        </a:lnTo>
                        <a:lnTo>
                          <a:pt x="383" y="89"/>
                        </a:lnTo>
                        <a:lnTo>
                          <a:pt x="385" y="89"/>
                        </a:lnTo>
                        <a:lnTo>
                          <a:pt x="386" y="88"/>
                        </a:lnTo>
                        <a:lnTo>
                          <a:pt x="388" y="88"/>
                        </a:lnTo>
                        <a:lnTo>
                          <a:pt x="389" y="88"/>
                        </a:lnTo>
                        <a:lnTo>
                          <a:pt x="391" y="88"/>
                        </a:lnTo>
                        <a:lnTo>
                          <a:pt x="393" y="88"/>
                        </a:lnTo>
                        <a:lnTo>
                          <a:pt x="394" y="88"/>
                        </a:lnTo>
                        <a:lnTo>
                          <a:pt x="396" y="88"/>
                        </a:lnTo>
                        <a:lnTo>
                          <a:pt x="397" y="88"/>
                        </a:lnTo>
                        <a:lnTo>
                          <a:pt x="397" y="89"/>
                        </a:lnTo>
                        <a:lnTo>
                          <a:pt x="397" y="91"/>
                        </a:lnTo>
                        <a:lnTo>
                          <a:pt x="399" y="91"/>
                        </a:lnTo>
                        <a:lnTo>
                          <a:pt x="399" y="92"/>
                        </a:lnTo>
                        <a:lnTo>
                          <a:pt x="401" y="92"/>
                        </a:lnTo>
                        <a:lnTo>
                          <a:pt x="402" y="92"/>
                        </a:lnTo>
                        <a:lnTo>
                          <a:pt x="402" y="91"/>
                        </a:lnTo>
                        <a:lnTo>
                          <a:pt x="404" y="91"/>
                        </a:lnTo>
                        <a:lnTo>
                          <a:pt x="405" y="89"/>
                        </a:lnTo>
                        <a:lnTo>
                          <a:pt x="407" y="89"/>
                        </a:lnTo>
                        <a:lnTo>
                          <a:pt x="407" y="88"/>
                        </a:lnTo>
                        <a:lnTo>
                          <a:pt x="410" y="88"/>
                        </a:lnTo>
                        <a:lnTo>
                          <a:pt x="412" y="88"/>
                        </a:lnTo>
                        <a:lnTo>
                          <a:pt x="413" y="88"/>
                        </a:lnTo>
                        <a:lnTo>
                          <a:pt x="415" y="88"/>
                        </a:lnTo>
                        <a:lnTo>
                          <a:pt x="416" y="88"/>
                        </a:lnTo>
                        <a:lnTo>
                          <a:pt x="418" y="88"/>
                        </a:lnTo>
                        <a:lnTo>
                          <a:pt x="420" y="88"/>
                        </a:lnTo>
                        <a:lnTo>
                          <a:pt x="421" y="88"/>
                        </a:lnTo>
                        <a:lnTo>
                          <a:pt x="423" y="88"/>
                        </a:lnTo>
                        <a:lnTo>
                          <a:pt x="424" y="88"/>
                        </a:lnTo>
                        <a:lnTo>
                          <a:pt x="426" y="88"/>
                        </a:lnTo>
                        <a:lnTo>
                          <a:pt x="428" y="88"/>
                        </a:lnTo>
                        <a:lnTo>
                          <a:pt x="429" y="88"/>
                        </a:lnTo>
                        <a:lnTo>
                          <a:pt x="431" y="88"/>
                        </a:lnTo>
                        <a:lnTo>
                          <a:pt x="432" y="89"/>
                        </a:lnTo>
                        <a:lnTo>
                          <a:pt x="434" y="89"/>
                        </a:lnTo>
                        <a:lnTo>
                          <a:pt x="435" y="89"/>
                        </a:lnTo>
                        <a:lnTo>
                          <a:pt x="437" y="89"/>
                        </a:lnTo>
                        <a:lnTo>
                          <a:pt x="439" y="89"/>
                        </a:lnTo>
                        <a:lnTo>
                          <a:pt x="440" y="89"/>
                        </a:lnTo>
                        <a:lnTo>
                          <a:pt x="442" y="89"/>
                        </a:lnTo>
                        <a:lnTo>
                          <a:pt x="443" y="89"/>
                        </a:lnTo>
                        <a:lnTo>
                          <a:pt x="447" y="89"/>
                        </a:lnTo>
                        <a:lnTo>
                          <a:pt x="448" y="89"/>
                        </a:lnTo>
                        <a:lnTo>
                          <a:pt x="450" y="89"/>
                        </a:lnTo>
                        <a:lnTo>
                          <a:pt x="451" y="89"/>
                        </a:lnTo>
                        <a:lnTo>
                          <a:pt x="451" y="91"/>
                        </a:lnTo>
                        <a:lnTo>
                          <a:pt x="453" y="91"/>
                        </a:lnTo>
                        <a:lnTo>
                          <a:pt x="454" y="91"/>
                        </a:lnTo>
                        <a:lnTo>
                          <a:pt x="456" y="91"/>
                        </a:lnTo>
                        <a:lnTo>
                          <a:pt x="458" y="91"/>
                        </a:lnTo>
                        <a:lnTo>
                          <a:pt x="459" y="91"/>
                        </a:lnTo>
                        <a:lnTo>
                          <a:pt x="461" y="91"/>
                        </a:lnTo>
                        <a:lnTo>
                          <a:pt x="462" y="91"/>
                        </a:lnTo>
                        <a:lnTo>
                          <a:pt x="462" y="92"/>
                        </a:lnTo>
                        <a:lnTo>
                          <a:pt x="464" y="92"/>
                        </a:lnTo>
                        <a:lnTo>
                          <a:pt x="464" y="94"/>
                        </a:lnTo>
                        <a:lnTo>
                          <a:pt x="464" y="95"/>
                        </a:lnTo>
                        <a:lnTo>
                          <a:pt x="464" y="97"/>
                        </a:lnTo>
                        <a:lnTo>
                          <a:pt x="466" y="97"/>
                        </a:lnTo>
                        <a:lnTo>
                          <a:pt x="466" y="99"/>
                        </a:lnTo>
                        <a:lnTo>
                          <a:pt x="467" y="99"/>
                        </a:lnTo>
                        <a:lnTo>
                          <a:pt x="469" y="99"/>
                        </a:lnTo>
                        <a:lnTo>
                          <a:pt x="469" y="100"/>
                        </a:lnTo>
                        <a:lnTo>
                          <a:pt x="470" y="102"/>
                        </a:lnTo>
                        <a:lnTo>
                          <a:pt x="470" y="103"/>
                        </a:lnTo>
                        <a:lnTo>
                          <a:pt x="470" y="105"/>
                        </a:lnTo>
                        <a:lnTo>
                          <a:pt x="470" y="107"/>
                        </a:lnTo>
                        <a:lnTo>
                          <a:pt x="470" y="108"/>
                        </a:lnTo>
                        <a:lnTo>
                          <a:pt x="470" y="110"/>
                        </a:lnTo>
                        <a:lnTo>
                          <a:pt x="470" y="111"/>
                        </a:lnTo>
                        <a:lnTo>
                          <a:pt x="472" y="111"/>
                        </a:lnTo>
                        <a:lnTo>
                          <a:pt x="472" y="113"/>
                        </a:lnTo>
                        <a:lnTo>
                          <a:pt x="473" y="114"/>
                        </a:lnTo>
                        <a:lnTo>
                          <a:pt x="473" y="116"/>
                        </a:lnTo>
                        <a:lnTo>
                          <a:pt x="475" y="116"/>
                        </a:lnTo>
                        <a:lnTo>
                          <a:pt x="477" y="118"/>
                        </a:lnTo>
                        <a:lnTo>
                          <a:pt x="478" y="118"/>
                        </a:lnTo>
                        <a:lnTo>
                          <a:pt x="478" y="119"/>
                        </a:lnTo>
                        <a:lnTo>
                          <a:pt x="480" y="121"/>
                        </a:lnTo>
                        <a:lnTo>
                          <a:pt x="480" y="122"/>
                        </a:lnTo>
                        <a:lnTo>
                          <a:pt x="480" y="124"/>
                        </a:lnTo>
                        <a:lnTo>
                          <a:pt x="481" y="124"/>
                        </a:lnTo>
                        <a:lnTo>
                          <a:pt x="481" y="126"/>
                        </a:lnTo>
                        <a:lnTo>
                          <a:pt x="481" y="127"/>
                        </a:lnTo>
                        <a:lnTo>
                          <a:pt x="481" y="129"/>
                        </a:lnTo>
                        <a:lnTo>
                          <a:pt x="480" y="130"/>
                        </a:lnTo>
                        <a:lnTo>
                          <a:pt x="481" y="132"/>
                        </a:lnTo>
                        <a:lnTo>
                          <a:pt x="481" y="133"/>
                        </a:lnTo>
                        <a:lnTo>
                          <a:pt x="483" y="133"/>
                        </a:lnTo>
                        <a:lnTo>
                          <a:pt x="485" y="135"/>
                        </a:lnTo>
                        <a:lnTo>
                          <a:pt x="486" y="135"/>
                        </a:lnTo>
                        <a:lnTo>
                          <a:pt x="486" y="137"/>
                        </a:lnTo>
                        <a:lnTo>
                          <a:pt x="488" y="137"/>
                        </a:lnTo>
                        <a:lnTo>
                          <a:pt x="489" y="138"/>
                        </a:lnTo>
                        <a:lnTo>
                          <a:pt x="491" y="138"/>
                        </a:lnTo>
                        <a:lnTo>
                          <a:pt x="492" y="138"/>
                        </a:lnTo>
                        <a:lnTo>
                          <a:pt x="494" y="138"/>
                        </a:lnTo>
                        <a:lnTo>
                          <a:pt x="496" y="138"/>
                        </a:lnTo>
                        <a:lnTo>
                          <a:pt x="497" y="138"/>
                        </a:lnTo>
                        <a:lnTo>
                          <a:pt x="499" y="140"/>
                        </a:lnTo>
                        <a:lnTo>
                          <a:pt x="500" y="140"/>
                        </a:lnTo>
                        <a:lnTo>
                          <a:pt x="502" y="141"/>
                        </a:lnTo>
                        <a:lnTo>
                          <a:pt x="502" y="143"/>
                        </a:lnTo>
                        <a:lnTo>
                          <a:pt x="504" y="143"/>
                        </a:lnTo>
                        <a:lnTo>
                          <a:pt x="505" y="143"/>
                        </a:lnTo>
                        <a:lnTo>
                          <a:pt x="507" y="145"/>
                        </a:lnTo>
                        <a:lnTo>
                          <a:pt x="507" y="146"/>
                        </a:lnTo>
                        <a:lnTo>
                          <a:pt x="508" y="146"/>
                        </a:lnTo>
                        <a:lnTo>
                          <a:pt x="508" y="148"/>
                        </a:lnTo>
                        <a:lnTo>
                          <a:pt x="510" y="149"/>
                        </a:lnTo>
                        <a:lnTo>
                          <a:pt x="511" y="151"/>
                        </a:lnTo>
                        <a:lnTo>
                          <a:pt x="513" y="151"/>
                        </a:lnTo>
                        <a:lnTo>
                          <a:pt x="515" y="151"/>
                        </a:lnTo>
                        <a:lnTo>
                          <a:pt x="516" y="151"/>
                        </a:lnTo>
                        <a:lnTo>
                          <a:pt x="518" y="151"/>
                        </a:lnTo>
                        <a:lnTo>
                          <a:pt x="519" y="151"/>
                        </a:lnTo>
                        <a:lnTo>
                          <a:pt x="521" y="151"/>
                        </a:lnTo>
                        <a:lnTo>
                          <a:pt x="523" y="151"/>
                        </a:lnTo>
                        <a:lnTo>
                          <a:pt x="524" y="151"/>
                        </a:lnTo>
                        <a:lnTo>
                          <a:pt x="526" y="151"/>
                        </a:lnTo>
                        <a:lnTo>
                          <a:pt x="527" y="151"/>
                        </a:lnTo>
                        <a:lnTo>
                          <a:pt x="529" y="151"/>
                        </a:lnTo>
                        <a:lnTo>
                          <a:pt x="530" y="151"/>
                        </a:lnTo>
                        <a:lnTo>
                          <a:pt x="530" y="149"/>
                        </a:lnTo>
                        <a:lnTo>
                          <a:pt x="532" y="149"/>
                        </a:lnTo>
                        <a:lnTo>
                          <a:pt x="534" y="148"/>
                        </a:lnTo>
                        <a:lnTo>
                          <a:pt x="535" y="148"/>
                        </a:lnTo>
                        <a:lnTo>
                          <a:pt x="537" y="146"/>
                        </a:lnTo>
                        <a:lnTo>
                          <a:pt x="537" y="145"/>
                        </a:lnTo>
                        <a:lnTo>
                          <a:pt x="538" y="145"/>
                        </a:lnTo>
                        <a:lnTo>
                          <a:pt x="538" y="143"/>
                        </a:lnTo>
                        <a:lnTo>
                          <a:pt x="540" y="143"/>
                        </a:lnTo>
                        <a:lnTo>
                          <a:pt x="542" y="141"/>
                        </a:lnTo>
                        <a:lnTo>
                          <a:pt x="545" y="138"/>
                        </a:lnTo>
                        <a:lnTo>
                          <a:pt x="546" y="138"/>
                        </a:lnTo>
                        <a:lnTo>
                          <a:pt x="548" y="137"/>
                        </a:lnTo>
                        <a:lnTo>
                          <a:pt x="549" y="137"/>
                        </a:lnTo>
                        <a:lnTo>
                          <a:pt x="549" y="135"/>
                        </a:lnTo>
                        <a:lnTo>
                          <a:pt x="551" y="133"/>
                        </a:lnTo>
                        <a:lnTo>
                          <a:pt x="553" y="133"/>
                        </a:lnTo>
                        <a:lnTo>
                          <a:pt x="553" y="132"/>
                        </a:lnTo>
                        <a:lnTo>
                          <a:pt x="554" y="130"/>
                        </a:lnTo>
                        <a:lnTo>
                          <a:pt x="557" y="129"/>
                        </a:lnTo>
                        <a:lnTo>
                          <a:pt x="559" y="127"/>
                        </a:lnTo>
                        <a:lnTo>
                          <a:pt x="561" y="126"/>
                        </a:lnTo>
                        <a:lnTo>
                          <a:pt x="562" y="126"/>
                        </a:lnTo>
                        <a:lnTo>
                          <a:pt x="564" y="126"/>
                        </a:lnTo>
                        <a:lnTo>
                          <a:pt x="565" y="124"/>
                        </a:lnTo>
                        <a:lnTo>
                          <a:pt x="567" y="124"/>
                        </a:lnTo>
                        <a:lnTo>
                          <a:pt x="568" y="122"/>
                        </a:lnTo>
                        <a:lnTo>
                          <a:pt x="570" y="122"/>
                        </a:lnTo>
                        <a:lnTo>
                          <a:pt x="572" y="122"/>
                        </a:lnTo>
                        <a:lnTo>
                          <a:pt x="572" y="121"/>
                        </a:lnTo>
                        <a:lnTo>
                          <a:pt x="573" y="121"/>
                        </a:lnTo>
                        <a:lnTo>
                          <a:pt x="575" y="119"/>
                        </a:lnTo>
                        <a:lnTo>
                          <a:pt x="575" y="118"/>
                        </a:lnTo>
                        <a:lnTo>
                          <a:pt x="575" y="116"/>
                        </a:lnTo>
                        <a:lnTo>
                          <a:pt x="573" y="114"/>
                        </a:lnTo>
                        <a:lnTo>
                          <a:pt x="573" y="113"/>
                        </a:lnTo>
                        <a:lnTo>
                          <a:pt x="573" y="111"/>
                        </a:lnTo>
                        <a:lnTo>
                          <a:pt x="575" y="110"/>
                        </a:lnTo>
                        <a:lnTo>
                          <a:pt x="576" y="110"/>
                        </a:lnTo>
                        <a:lnTo>
                          <a:pt x="576" y="108"/>
                        </a:lnTo>
                        <a:lnTo>
                          <a:pt x="578" y="108"/>
                        </a:lnTo>
                        <a:lnTo>
                          <a:pt x="578" y="107"/>
                        </a:lnTo>
                        <a:lnTo>
                          <a:pt x="580" y="107"/>
                        </a:lnTo>
                        <a:lnTo>
                          <a:pt x="580" y="105"/>
                        </a:lnTo>
                        <a:lnTo>
                          <a:pt x="581" y="105"/>
                        </a:lnTo>
                        <a:lnTo>
                          <a:pt x="583" y="105"/>
                        </a:lnTo>
                        <a:lnTo>
                          <a:pt x="583" y="103"/>
                        </a:lnTo>
                        <a:lnTo>
                          <a:pt x="584" y="103"/>
                        </a:lnTo>
                        <a:lnTo>
                          <a:pt x="586" y="103"/>
                        </a:lnTo>
                        <a:lnTo>
                          <a:pt x="588" y="102"/>
                        </a:lnTo>
                        <a:lnTo>
                          <a:pt x="589" y="102"/>
                        </a:lnTo>
                        <a:lnTo>
                          <a:pt x="591" y="102"/>
                        </a:lnTo>
                        <a:lnTo>
                          <a:pt x="591" y="100"/>
                        </a:lnTo>
                        <a:lnTo>
                          <a:pt x="592" y="100"/>
                        </a:lnTo>
                        <a:lnTo>
                          <a:pt x="594" y="100"/>
                        </a:lnTo>
                        <a:lnTo>
                          <a:pt x="594" y="99"/>
                        </a:lnTo>
                        <a:lnTo>
                          <a:pt x="595" y="99"/>
                        </a:lnTo>
                        <a:lnTo>
                          <a:pt x="597" y="97"/>
                        </a:lnTo>
                        <a:lnTo>
                          <a:pt x="599" y="97"/>
                        </a:lnTo>
                        <a:lnTo>
                          <a:pt x="599" y="95"/>
                        </a:lnTo>
                        <a:lnTo>
                          <a:pt x="600" y="95"/>
                        </a:lnTo>
                        <a:lnTo>
                          <a:pt x="602" y="94"/>
                        </a:lnTo>
                        <a:lnTo>
                          <a:pt x="603" y="94"/>
                        </a:lnTo>
                        <a:lnTo>
                          <a:pt x="605" y="94"/>
                        </a:lnTo>
                        <a:lnTo>
                          <a:pt x="607" y="94"/>
                        </a:lnTo>
                        <a:lnTo>
                          <a:pt x="608" y="94"/>
                        </a:lnTo>
                        <a:lnTo>
                          <a:pt x="611" y="94"/>
                        </a:lnTo>
                        <a:lnTo>
                          <a:pt x="611" y="95"/>
                        </a:lnTo>
                        <a:lnTo>
                          <a:pt x="613" y="95"/>
                        </a:lnTo>
                        <a:lnTo>
                          <a:pt x="614" y="95"/>
                        </a:lnTo>
                        <a:lnTo>
                          <a:pt x="616" y="97"/>
                        </a:lnTo>
                        <a:lnTo>
                          <a:pt x="618" y="97"/>
                        </a:lnTo>
                        <a:lnTo>
                          <a:pt x="619" y="97"/>
                        </a:lnTo>
                        <a:lnTo>
                          <a:pt x="621" y="97"/>
                        </a:lnTo>
                        <a:lnTo>
                          <a:pt x="622" y="97"/>
                        </a:lnTo>
                        <a:lnTo>
                          <a:pt x="622" y="95"/>
                        </a:lnTo>
                        <a:lnTo>
                          <a:pt x="624" y="95"/>
                        </a:lnTo>
                        <a:lnTo>
                          <a:pt x="626" y="95"/>
                        </a:lnTo>
                        <a:lnTo>
                          <a:pt x="626" y="94"/>
                        </a:lnTo>
                        <a:lnTo>
                          <a:pt x="627" y="94"/>
                        </a:lnTo>
                        <a:lnTo>
                          <a:pt x="629" y="94"/>
                        </a:lnTo>
                        <a:lnTo>
                          <a:pt x="632" y="92"/>
                        </a:lnTo>
                        <a:lnTo>
                          <a:pt x="632" y="94"/>
                        </a:lnTo>
                        <a:lnTo>
                          <a:pt x="633" y="94"/>
                        </a:lnTo>
                        <a:lnTo>
                          <a:pt x="635" y="94"/>
                        </a:lnTo>
                        <a:lnTo>
                          <a:pt x="635" y="95"/>
                        </a:lnTo>
                        <a:lnTo>
                          <a:pt x="637" y="95"/>
                        </a:lnTo>
                        <a:lnTo>
                          <a:pt x="638" y="95"/>
                        </a:lnTo>
                        <a:lnTo>
                          <a:pt x="637" y="95"/>
                        </a:lnTo>
                        <a:lnTo>
                          <a:pt x="638" y="95"/>
                        </a:lnTo>
                        <a:lnTo>
                          <a:pt x="638" y="94"/>
                        </a:lnTo>
                        <a:lnTo>
                          <a:pt x="640" y="94"/>
                        </a:lnTo>
                        <a:lnTo>
                          <a:pt x="640" y="92"/>
                        </a:lnTo>
                        <a:lnTo>
                          <a:pt x="640" y="91"/>
                        </a:lnTo>
                        <a:lnTo>
                          <a:pt x="641" y="91"/>
                        </a:lnTo>
                        <a:lnTo>
                          <a:pt x="643" y="91"/>
                        </a:lnTo>
                        <a:lnTo>
                          <a:pt x="643" y="89"/>
                        </a:lnTo>
                        <a:lnTo>
                          <a:pt x="645" y="89"/>
                        </a:lnTo>
                        <a:lnTo>
                          <a:pt x="646" y="89"/>
                        </a:lnTo>
                        <a:lnTo>
                          <a:pt x="648" y="89"/>
                        </a:lnTo>
                        <a:lnTo>
                          <a:pt x="649" y="89"/>
                        </a:lnTo>
                        <a:lnTo>
                          <a:pt x="651" y="91"/>
                        </a:lnTo>
                        <a:lnTo>
                          <a:pt x="652" y="91"/>
                        </a:lnTo>
                        <a:lnTo>
                          <a:pt x="652" y="92"/>
                        </a:lnTo>
                        <a:lnTo>
                          <a:pt x="654" y="92"/>
                        </a:lnTo>
                        <a:lnTo>
                          <a:pt x="656" y="92"/>
                        </a:lnTo>
                        <a:lnTo>
                          <a:pt x="657" y="92"/>
                        </a:lnTo>
                        <a:lnTo>
                          <a:pt x="659" y="92"/>
                        </a:lnTo>
                        <a:lnTo>
                          <a:pt x="659" y="94"/>
                        </a:lnTo>
                        <a:lnTo>
                          <a:pt x="659" y="95"/>
                        </a:lnTo>
                        <a:lnTo>
                          <a:pt x="660" y="95"/>
                        </a:lnTo>
                        <a:lnTo>
                          <a:pt x="660" y="97"/>
                        </a:lnTo>
                        <a:lnTo>
                          <a:pt x="660" y="99"/>
                        </a:lnTo>
                        <a:lnTo>
                          <a:pt x="662" y="99"/>
                        </a:lnTo>
                        <a:lnTo>
                          <a:pt x="662" y="100"/>
                        </a:lnTo>
                        <a:lnTo>
                          <a:pt x="662" y="102"/>
                        </a:lnTo>
                        <a:lnTo>
                          <a:pt x="664" y="103"/>
                        </a:lnTo>
                        <a:lnTo>
                          <a:pt x="664" y="105"/>
                        </a:lnTo>
                        <a:lnTo>
                          <a:pt x="665" y="107"/>
                        </a:lnTo>
                        <a:lnTo>
                          <a:pt x="665" y="108"/>
                        </a:lnTo>
                        <a:lnTo>
                          <a:pt x="665" y="110"/>
                        </a:lnTo>
                        <a:lnTo>
                          <a:pt x="667" y="111"/>
                        </a:lnTo>
                        <a:lnTo>
                          <a:pt x="667" y="113"/>
                        </a:lnTo>
                        <a:lnTo>
                          <a:pt x="668" y="114"/>
                        </a:lnTo>
                        <a:lnTo>
                          <a:pt x="668" y="116"/>
                        </a:lnTo>
                        <a:lnTo>
                          <a:pt x="670" y="118"/>
                        </a:lnTo>
                        <a:lnTo>
                          <a:pt x="670" y="119"/>
                        </a:lnTo>
                        <a:lnTo>
                          <a:pt x="671" y="119"/>
                        </a:lnTo>
                        <a:lnTo>
                          <a:pt x="671" y="121"/>
                        </a:lnTo>
                        <a:lnTo>
                          <a:pt x="671" y="122"/>
                        </a:lnTo>
                        <a:lnTo>
                          <a:pt x="671" y="124"/>
                        </a:lnTo>
                        <a:lnTo>
                          <a:pt x="673" y="124"/>
                        </a:lnTo>
                        <a:lnTo>
                          <a:pt x="673" y="126"/>
                        </a:lnTo>
                        <a:lnTo>
                          <a:pt x="673" y="127"/>
                        </a:lnTo>
                        <a:lnTo>
                          <a:pt x="675" y="127"/>
                        </a:lnTo>
                        <a:lnTo>
                          <a:pt x="675" y="129"/>
                        </a:lnTo>
                        <a:lnTo>
                          <a:pt x="675" y="130"/>
                        </a:lnTo>
                        <a:lnTo>
                          <a:pt x="676" y="130"/>
                        </a:lnTo>
                        <a:lnTo>
                          <a:pt x="676" y="132"/>
                        </a:lnTo>
                        <a:lnTo>
                          <a:pt x="678" y="133"/>
                        </a:lnTo>
                        <a:lnTo>
                          <a:pt x="678" y="135"/>
                        </a:lnTo>
                        <a:lnTo>
                          <a:pt x="678" y="137"/>
                        </a:lnTo>
                        <a:lnTo>
                          <a:pt x="679" y="138"/>
                        </a:lnTo>
                        <a:lnTo>
                          <a:pt x="679" y="140"/>
                        </a:lnTo>
                        <a:lnTo>
                          <a:pt x="681" y="141"/>
                        </a:lnTo>
                        <a:lnTo>
                          <a:pt x="681" y="143"/>
                        </a:lnTo>
                        <a:lnTo>
                          <a:pt x="683" y="143"/>
                        </a:lnTo>
                        <a:lnTo>
                          <a:pt x="683" y="145"/>
                        </a:lnTo>
                        <a:lnTo>
                          <a:pt x="683" y="146"/>
                        </a:lnTo>
                        <a:lnTo>
                          <a:pt x="683" y="148"/>
                        </a:lnTo>
                        <a:lnTo>
                          <a:pt x="684" y="149"/>
                        </a:lnTo>
                        <a:lnTo>
                          <a:pt x="684" y="151"/>
                        </a:lnTo>
                        <a:lnTo>
                          <a:pt x="686" y="151"/>
                        </a:lnTo>
                        <a:lnTo>
                          <a:pt x="686" y="152"/>
                        </a:lnTo>
                        <a:lnTo>
                          <a:pt x="686" y="154"/>
                        </a:lnTo>
                        <a:lnTo>
                          <a:pt x="687" y="154"/>
                        </a:lnTo>
                        <a:lnTo>
                          <a:pt x="687" y="156"/>
                        </a:lnTo>
                        <a:lnTo>
                          <a:pt x="687" y="157"/>
                        </a:lnTo>
                        <a:lnTo>
                          <a:pt x="689" y="159"/>
                        </a:lnTo>
                        <a:lnTo>
                          <a:pt x="689" y="160"/>
                        </a:lnTo>
                        <a:lnTo>
                          <a:pt x="690" y="162"/>
                        </a:lnTo>
                        <a:lnTo>
                          <a:pt x="690" y="164"/>
                        </a:lnTo>
                        <a:lnTo>
                          <a:pt x="692" y="165"/>
                        </a:lnTo>
                        <a:lnTo>
                          <a:pt x="692" y="167"/>
                        </a:lnTo>
                        <a:lnTo>
                          <a:pt x="694" y="168"/>
                        </a:lnTo>
                        <a:lnTo>
                          <a:pt x="694" y="170"/>
                        </a:lnTo>
                        <a:lnTo>
                          <a:pt x="694" y="171"/>
                        </a:lnTo>
                        <a:lnTo>
                          <a:pt x="695" y="171"/>
                        </a:lnTo>
                        <a:lnTo>
                          <a:pt x="695" y="173"/>
                        </a:lnTo>
                        <a:lnTo>
                          <a:pt x="695" y="175"/>
                        </a:lnTo>
                        <a:lnTo>
                          <a:pt x="695" y="176"/>
                        </a:lnTo>
                        <a:lnTo>
                          <a:pt x="697" y="176"/>
                        </a:lnTo>
                        <a:lnTo>
                          <a:pt x="698" y="176"/>
                        </a:lnTo>
                        <a:lnTo>
                          <a:pt x="700" y="178"/>
                        </a:lnTo>
                        <a:lnTo>
                          <a:pt x="702" y="176"/>
                        </a:lnTo>
                        <a:lnTo>
                          <a:pt x="703" y="176"/>
                        </a:lnTo>
                        <a:lnTo>
                          <a:pt x="705" y="176"/>
                        </a:lnTo>
                        <a:lnTo>
                          <a:pt x="706" y="176"/>
                        </a:lnTo>
                        <a:lnTo>
                          <a:pt x="706" y="175"/>
                        </a:lnTo>
                        <a:lnTo>
                          <a:pt x="708" y="175"/>
                        </a:lnTo>
                        <a:lnTo>
                          <a:pt x="709" y="173"/>
                        </a:lnTo>
                        <a:lnTo>
                          <a:pt x="711" y="173"/>
                        </a:lnTo>
                        <a:lnTo>
                          <a:pt x="711" y="171"/>
                        </a:lnTo>
                        <a:lnTo>
                          <a:pt x="713" y="171"/>
                        </a:lnTo>
                        <a:lnTo>
                          <a:pt x="714" y="170"/>
                        </a:lnTo>
                        <a:lnTo>
                          <a:pt x="716" y="170"/>
                        </a:lnTo>
                        <a:lnTo>
                          <a:pt x="717" y="170"/>
                        </a:lnTo>
                        <a:lnTo>
                          <a:pt x="719" y="170"/>
                        </a:lnTo>
                        <a:lnTo>
                          <a:pt x="719" y="171"/>
                        </a:lnTo>
                        <a:lnTo>
                          <a:pt x="721" y="171"/>
                        </a:lnTo>
                        <a:lnTo>
                          <a:pt x="722" y="171"/>
                        </a:lnTo>
                        <a:lnTo>
                          <a:pt x="724" y="173"/>
                        </a:lnTo>
                        <a:lnTo>
                          <a:pt x="725" y="173"/>
                        </a:lnTo>
                        <a:lnTo>
                          <a:pt x="727" y="173"/>
                        </a:lnTo>
                        <a:lnTo>
                          <a:pt x="728" y="173"/>
                        </a:lnTo>
                        <a:lnTo>
                          <a:pt x="728" y="175"/>
                        </a:lnTo>
                        <a:lnTo>
                          <a:pt x="732" y="175"/>
                        </a:lnTo>
                        <a:lnTo>
                          <a:pt x="733" y="175"/>
                        </a:lnTo>
                        <a:lnTo>
                          <a:pt x="735" y="175"/>
                        </a:lnTo>
                        <a:lnTo>
                          <a:pt x="736" y="175"/>
                        </a:lnTo>
                        <a:lnTo>
                          <a:pt x="738" y="175"/>
                        </a:lnTo>
                        <a:lnTo>
                          <a:pt x="738" y="173"/>
                        </a:lnTo>
                        <a:lnTo>
                          <a:pt x="740" y="173"/>
                        </a:lnTo>
                        <a:lnTo>
                          <a:pt x="741" y="173"/>
                        </a:lnTo>
                        <a:lnTo>
                          <a:pt x="743" y="175"/>
                        </a:lnTo>
                        <a:lnTo>
                          <a:pt x="744" y="175"/>
                        </a:lnTo>
                        <a:lnTo>
                          <a:pt x="746" y="175"/>
                        </a:lnTo>
                        <a:lnTo>
                          <a:pt x="747" y="175"/>
                        </a:lnTo>
                        <a:lnTo>
                          <a:pt x="749" y="175"/>
                        </a:lnTo>
                        <a:lnTo>
                          <a:pt x="751" y="175"/>
                        </a:lnTo>
                        <a:lnTo>
                          <a:pt x="752" y="175"/>
                        </a:lnTo>
                        <a:lnTo>
                          <a:pt x="752" y="176"/>
                        </a:lnTo>
                        <a:lnTo>
                          <a:pt x="754" y="176"/>
                        </a:lnTo>
                        <a:lnTo>
                          <a:pt x="755" y="176"/>
                        </a:lnTo>
                        <a:lnTo>
                          <a:pt x="755" y="175"/>
                        </a:lnTo>
                        <a:lnTo>
                          <a:pt x="757" y="175"/>
                        </a:lnTo>
                        <a:lnTo>
                          <a:pt x="759" y="176"/>
                        </a:lnTo>
                        <a:lnTo>
                          <a:pt x="759" y="178"/>
                        </a:lnTo>
                        <a:lnTo>
                          <a:pt x="759" y="179"/>
                        </a:lnTo>
                        <a:lnTo>
                          <a:pt x="759" y="181"/>
                        </a:lnTo>
                        <a:lnTo>
                          <a:pt x="760" y="183"/>
                        </a:lnTo>
                        <a:lnTo>
                          <a:pt x="760" y="184"/>
                        </a:lnTo>
                        <a:lnTo>
                          <a:pt x="760" y="186"/>
                        </a:lnTo>
                        <a:lnTo>
                          <a:pt x="762" y="186"/>
                        </a:lnTo>
                        <a:lnTo>
                          <a:pt x="762" y="187"/>
                        </a:lnTo>
                        <a:lnTo>
                          <a:pt x="762" y="189"/>
                        </a:lnTo>
                        <a:lnTo>
                          <a:pt x="763" y="190"/>
                        </a:lnTo>
                        <a:lnTo>
                          <a:pt x="763" y="192"/>
                        </a:lnTo>
                        <a:lnTo>
                          <a:pt x="765" y="192"/>
                        </a:lnTo>
                        <a:lnTo>
                          <a:pt x="765" y="194"/>
                        </a:lnTo>
                        <a:lnTo>
                          <a:pt x="766" y="194"/>
                        </a:lnTo>
                        <a:lnTo>
                          <a:pt x="766" y="195"/>
                        </a:lnTo>
                        <a:lnTo>
                          <a:pt x="768" y="195"/>
                        </a:lnTo>
                        <a:lnTo>
                          <a:pt x="768" y="197"/>
                        </a:lnTo>
                        <a:lnTo>
                          <a:pt x="770" y="197"/>
                        </a:lnTo>
                        <a:lnTo>
                          <a:pt x="771" y="197"/>
                        </a:lnTo>
                        <a:lnTo>
                          <a:pt x="771" y="198"/>
                        </a:lnTo>
                        <a:lnTo>
                          <a:pt x="773" y="198"/>
                        </a:lnTo>
                        <a:lnTo>
                          <a:pt x="774" y="200"/>
                        </a:lnTo>
                        <a:lnTo>
                          <a:pt x="774" y="198"/>
                        </a:lnTo>
                        <a:lnTo>
                          <a:pt x="776" y="198"/>
                        </a:lnTo>
                        <a:lnTo>
                          <a:pt x="778" y="198"/>
                        </a:lnTo>
                        <a:lnTo>
                          <a:pt x="779" y="198"/>
                        </a:lnTo>
                        <a:lnTo>
                          <a:pt x="781" y="198"/>
                        </a:lnTo>
                        <a:lnTo>
                          <a:pt x="781" y="200"/>
                        </a:lnTo>
                        <a:lnTo>
                          <a:pt x="782" y="200"/>
                        </a:lnTo>
                        <a:lnTo>
                          <a:pt x="784" y="198"/>
                        </a:lnTo>
                        <a:lnTo>
                          <a:pt x="786" y="197"/>
                        </a:lnTo>
                        <a:lnTo>
                          <a:pt x="786" y="195"/>
                        </a:lnTo>
                        <a:lnTo>
                          <a:pt x="787" y="195"/>
                        </a:lnTo>
                        <a:lnTo>
                          <a:pt x="787" y="194"/>
                        </a:lnTo>
                        <a:lnTo>
                          <a:pt x="787" y="192"/>
                        </a:lnTo>
                        <a:lnTo>
                          <a:pt x="789" y="192"/>
                        </a:lnTo>
                        <a:lnTo>
                          <a:pt x="790" y="192"/>
                        </a:lnTo>
                        <a:lnTo>
                          <a:pt x="790" y="190"/>
                        </a:lnTo>
                        <a:lnTo>
                          <a:pt x="792" y="190"/>
                        </a:lnTo>
                        <a:lnTo>
                          <a:pt x="793" y="190"/>
                        </a:lnTo>
                        <a:lnTo>
                          <a:pt x="795" y="190"/>
                        </a:lnTo>
                        <a:lnTo>
                          <a:pt x="797" y="190"/>
                        </a:lnTo>
                        <a:lnTo>
                          <a:pt x="798" y="189"/>
                        </a:lnTo>
                        <a:lnTo>
                          <a:pt x="798" y="187"/>
                        </a:lnTo>
                        <a:lnTo>
                          <a:pt x="800" y="187"/>
                        </a:lnTo>
                        <a:lnTo>
                          <a:pt x="801" y="186"/>
                        </a:lnTo>
                        <a:lnTo>
                          <a:pt x="801" y="184"/>
                        </a:lnTo>
                        <a:lnTo>
                          <a:pt x="803" y="183"/>
                        </a:lnTo>
                        <a:lnTo>
                          <a:pt x="803" y="181"/>
                        </a:lnTo>
                        <a:lnTo>
                          <a:pt x="805" y="179"/>
                        </a:lnTo>
                        <a:lnTo>
                          <a:pt x="805" y="178"/>
                        </a:lnTo>
                        <a:lnTo>
                          <a:pt x="805" y="176"/>
                        </a:lnTo>
                        <a:lnTo>
                          <a:pt x="806" y="175"/>
                        </a:lnTo>
                        <a:lnTo>
                          <a:pt x="806" y="173"/>
                        </a:lnTo>
                        <a:lnTo>
                          <a:pt x="808" y="171"/>
                        </a:lnTo>
                        <a:lnTo>
                          <a:pt x="809" y="171"/>
                        </a:lnTo>
                        <a:lnTo>
                          <a:pt x="811" y="171"/>
                        </a:lnTo>
                        <a:lnTo>
                          <a:pt x="812" y="170"/>
                        </a:lnTo>
                        <a:lnTo>
                          <a:pt x="814" y="170"/>
                        </a:lnTo>
                        <a:lnTo>
                          <a:pt x="816" y="170"/>
                        </a:lnTo>
                        <a:lnTo>
                          <a:pt x="817" y="170"/>
                        </a:lnTo>
                        <a:lnTo>
                          <a:pt x="819" y="170"/>
                        </a:lnTo>
                        <a:lnTo>
                          <a:pt x="820" y="170"/>
                        </a:lnTo>
                        <a:lnTo>
                          <a:pt x="822" y="170"/>
                        </a:lnTo>
                        <a:lnTo>
                          <a:pt x="824" y="168"/>
                        </a:lnTo>
                        <a:lnTo>
                          <a:pt x="825" y="168"/>
                        </a:lnTo>
                        <a:lnTo>
                          <a:pt x="827" y="168"/>
                        </a:lnTo>
                        <a:lnTo>
                          <a:pt x="828" y="168"/>
                        </a:lnTo>
                        <a:lnTo>
                          <a:pt x="831" y="168"/>
                        </a:lnTo>
                        <a:lnTo>
                          <a:pt x="833" y="168"/>
                        </a:lnTo>
                        <a:lnTo>
                          <a:pt x="835" y="168"/>
                        </a:lnTo>
                        <a:lnTo>
                          <a:pt x="836" y="168"/>
                        </a:lnTo>
                        <a:lnTo>
                          <a:pt x="838" y="167"/>
                        </a:lnTo>
                        <a:lnTo>
                          <a:pt x="839" y="167"/>
                        </a:lnTo>
                        <a:lnTo>
                          <a:pt x="839" y="165"/>
                        </a:lnTo>
                        <a:lnTo>
                          <a:pt x="841" y="165"/>
                        </a:lnTo>
                        <a:lnTo>
                          <a:pt x="843" y="165"/>
                        </a:lnTo>
                        <a:lnTo>
                          <a:pt x="844" y="165"/>
                        </a:lnTo>
                        <a:lnTo>
                          <a:pt x="846" y="165"/>
                        </a:lnTo>
                        <a:lnTo>
                          <a:pt x="847" y="165"/>
                        </a:lnTo>
                        <a:lnTo>
                          <a:pt x="849" y="165"/>
                        </a:lnTo>
                        <a:lnTo>
                          <a:pt x="850" y="165"/>
                        </a:lnTo>
                        <a:lnTo>
                          <a:pt x="852" y="164"/>
                        </a:lnTo>
                        <a:lnTo>
                          <a:pt x="852" y="162"/>
                        </a:lnTo>
                        <a:lnTo>
                          <a:pt x="854" y="162"/>
                        </a:lnTo>
                        <a:lnTo>
                          <a:pt x="855" y="160"/>
                        </a:lnTo>
                        <a:lnTo>
                          <a:pt x="857" y="159"/>
                        </a:lnTo>
                        <a:lnTo>
                          <a:pt x="858" y="159"/>
                        </a:lnTo>
                        <a:lnTo>
                          <a:pt x="860" y="159"/>
                        </a:lnTo>
                        <a:lnTo>
                          <a:pt x="862" y="159"/>
                        </a:lnTo>
                        <a:lnTo>
                          <a:pt x="862" y="157"/>
                        </a:lnTo>
                        <a:lnTo>
                          <a:pt x="863" y="157"/>
                        </a:lnTo>
                        <a:lnTo>
                          <a:pt x="865" y="156"/>
                        </a:lnTo>
                        <a:lnTo>
                          <a:pt x="866" y="156"/>
                        </a:lnTo>
                        <a:lnTo>
                          <a:pt x="866" y="154"/>
                        </a:lnTo>
                        <a:lnTo>
                          <a:pt x="868" y="152"/>
                        </a:lnTo>
                        <a:lnTo>
                          <a:pt x="868" y="151"/>
                        </a:lnTo>
                        <a:lnTo>
                          <a:pt x="869" y="151"/>
                        </a:lnTo>
                        <a:lnTo>
                          <a:pt x="869" y="149"/>
                        </a:lnTo>
                        <a:lnTo>
                          <a:pt x="871" y="149"/>
                        </a:lnTo>
                        <a:lnTo>
                          <a:pt x="873" y="149"/>
                        </a:lnTo>
                        <a:lnTo>
                          <a:pt x="874" y="148"/>
                        </a:lnTo>
                        <a:lnTo>
                          <a:pt x="876" y="148"/>
                        </a:lnTo>
                        <a:lnTo>
                          <a:pt x="877" y="146"/>
                        </a:lnTo>
                        <a:lnTo>
                          <a:pt x="879" y="146"/>
                        </a:lnTo>
                        <a:lnTo>
                          <a:pt x="879" y="145"/>
                        </a:lnTo>
                        <a:lnTo>
                          <a:pt x="879" y="143"/>
                        </a:lnTo>
                        <a:lnTo>
                          <a:pt x="881" y="143"/>
                        </a:lnTo>
                        <a:lnTo>
                          <a:pt x="881" y="141"/>
                        </a:lnTo>
                        <a:lnTo>
                          <a:pt x="882" y="140"/>
                        </a:lnTo>
                        <a:lnTo>
                          <a:pt x="882" y="141"/>
                        </a:lnTo>
                        <a:lnTo>
                          <a:pt x="884" y="140"/>
                        </a:lnTo>
                        <a:lnTo>
                          <a:pt x="885" y="140"/>
                        </a:lnTo>
                        <a:lnTo>
                          <a:pt x="885" y="141"/>
                        </a:lnTo>
                        <a:lnTo>
                          <a:pt x="887" y="141"/>
                        </a:lnTo>
                        <a:lnTo>
                          <a:pt x="887" y="143"/>
                        </a:lnTo>
                        <a:lnTo>
                          <a:pt x="887" y="145"/>
                        </a:lnTo>
                        <a:lnTo>
                          <a:pt x="888" y="145"/>
                        </a:lnTo>
                        <a:lnTo>
                          <a:pt x="888" y="146"/>
                        </a:lnTo>
                        <a:lnTo>
                          <a:pt x="888" y="148"/>
                        </a:lnTo>
                        <a:lnTo>
                          <a:pt x="890" y="148"/>
                        </a:lnTo>
                        <a:lnTo>
                          <a:pt x="890" y="149"/>
                        </a:lnTo>
                        <a:lnTo>
                          <a:pt x="892" y="151"/>
                        </a:lnTo>
                        <a:lnTo>
                          <a:pt x="892" y="152"/>
                        </a:lnTo>
                        <a:lnTo>
                          <a:pt x="892" y="154"/>
                        </a:lnTo>
                        <a:lnTo>
                          <a:pt x="893" y="154"/>
                        </a:lnTo>
                        <a:lnTo>
                          <a:pt x="893" y="156"/>
                        </a:lnTo>
                        <a:lnTo>
                          <a:pt x="895" y="157"/>
                        </a:lnTo>
                        <a:lnTo>
                          <a:pt x="896" y="159"/>
                        </a:lnTo>
                        <a:lnTo>
                          <a:pt x="896" y="160"/>
                        </a:lnTo>
                        <a:lnTo>
                          <a:pt x="898" y="160"/>
                        </a:lnTo>
                        <a:lnTo>
                          <a:pt x="898" y="162"/>
                        </a:lnTo>
                        <a:lnTo>
                          <a:pt x="898" y="164"/>
                        </a:lnTo>
                        <a:lnTo>
                          <a:pt x="900" y="164"/>
                        </a:lnTo>
                        <a:lnTo>
                          <a:pt x="900" y="165"/>
                        </a:lnTo>
                        <a:lnTo>
                          <a:pt x="901" y="165"/>
                        </a:lnTo>
                        <a:lnTo>
                          <a:pt x="901" y="167"/>
                        </a:lnTo>
                        <a:lnTo>
                          <a:pt x="903" y="168"/>
                        </a:lnTo>
                        <a:lnTo>
                          <a:pt x="903" y="170"/>
                        </a:lnTo>
                        <a:lnTo>
                          <a:pt x="904" y="170"/>
                        </a:lnTo>
                        <a:lnTo>
                          <a:pt x="906" y="171"/>
                        </a:lnTo>
                        <a:lnTo>
                          <a:pt x="907" y="171"/>
                        </a:lnTo>
                        <a:lnTo>
                          <a:pt x="907" y="173"/>
                        </a:lnTo>
                        <a:lnTo>
                          <a:pt x="909" y="173"/>
                        </a:lnTo>
                        <a:lnTo>
                          <a:pt x="911" y="175"/>
                        </a:lnTo>
                        <a:lnTo>
                          <a:pt x="912" y="175"/>
                        </a:lnTo>
                        <a:lnTo>
                          <a:pt x="912" y="176"/>
                        </a:lnTo>
                        <a:lnTo>
                          <a:pt x="914" y="176"/>
                        </a:lnTo>
                        <a:lnTo>
                          <a:pt x="914" y="175"/>
                        </a:lnTo>
                        <a:lnTo>
                          <a:pt x="915" y="175"/>
                        </a:lnTo>
                        <a:lnTo>
                          <a:pt x="915" y="176"/>
                        </a:lnTo>
                        <a:lnTo>
                          <a:pt x="915" y="178"/>
                        </a:lnTo>
                        <a:lnTo>
                          <a:pt x="917" y="178"/>
                        </a:lnTo>
                        <a:lnTo>
                          <a:pt x="917" y="176"/>
                        </a:lnTo>
                        <a:lnTo>
                          <a:pt x="919" y="176"/>
                        </a:lnTo>
                        <a:lnTo>
                          <a:pt x="920" y="176"/>
                        </a:lnTo>
                        <a:lnTo>
                          <a:pt x="920" y="178"/>
                        </a:lnTo>
                        <a:lnTo>
                          <a:pt x="922" y="176"/>
                        </a:lnTo>
                        <a:lnTo>
                          <a:pt x="922" y="175"/>
                        </a:lnTo>
                        <a:lnTo>
                          <a:pt x="922" y="173"/>
                        </a:lnTo>
                        <a:lnTo>
                          <a:pt x="923" y="173"/>
                        </a:lnTo>
                        <a:lnTo>
                          <a:pt x="925" y="175"/>
                        </a:lnTo>
                        <a:lnTo>
                          <a:pt x="925" y="176"/>
                        </a:lnTo>
                        <a:lnTo>
                          <a:pt x="925" y="178"/>
                        </a:lnTo>
                        <a:lnTo>
                          <a:pt x="925" y="179"/>
                        </a:lnTo>
                        <a:lnTo>
                          <a:pt x="926" y="179"/>
                        </a:lnTo>
                        <a:lnTo>
                          <a:pt x="928" y="181"/>
                        </a:lnTo>
                        <a:lnTo>
                          <a:pt x="930" y="181"/>
                        </a:lnTo>
                        <a:lnTo>
                          <a:pt x="930" y="183"/>
                        </a:lnTo>
                        <a:lnTo>
                          <a:pt x="931" y="183"/>
                        </a:lnTo>
                        <a:lnTo>
                          <a:pt x="933" y="183"/>
                        </a:lnTo>
                        <a:lnTo>
                          <a:pt x="933" y="181"/>
                        </a:lnTo>
                        <a:lnTo>
                          <a:pt x="934" y="181"/>
                        </a:lnTo>
                        <a:lnTo>
                          <a:pt x="938" y="183"/>
                        </a:lnTo>
                        <a:lnTo>
                          <a:pt x="938" y="181"/>
                        </a:lnTo>
                        <a:lnTo>
                          <a:pt x="939" y="181"/>
                        </a:lnTo>
                        <a:lnTo>
                          <a:pt x="941" y="183"/>
                        </a:lnTo>
                        <a:lnTo>
                          <a:pt x="941" y="186"/>
                        </a:lnTo>
                        <a:lnTo>
                          <a:pt x="941" y="187"/>
                        </a:lnTo>
                        <a:lnTo>
                          <a:pt x="942" y="189"/>
                        </a:lnTo>
                        <a:lnTo>
                          <a:pt x="944" y="190"/>
                        </a:lnTo>
                        <a:lnTo>
                          <a:pt x="945" y="190"/>
                        </a:lnTo>
                        <a:lnTo>
                          <a:pt x="949" y="190"/>
                        </a:lnTo>
                        <a:lnTo>
                          <a:pt x="949" y="192"/>
                        </a:lnTo>
                        <a:lnTo>
                          <a:pt x="950" y="192"/>
                        </a:lnTo>
                        <a:lnTo>
                          <a:pt x="953" y="192"/>
                        </a:lnTo>
                        <a:lnTo>
                          <a:pt x="953" y="190"/>
                        </a:lnTo>
                        <a:lnTo>
                          <a:pt x="955" y="190"/>
                        </a:lnTo>
                        <a:lnTo>
                          <a:pt x="957" y="190"/>
                        </a:lnTo>
                        <a:lnTo>
                          <a:pt x="958" y="190"/>
                        </a:lnTo>
                        <a:lnTo>
                          <a:pt x="960" y="190"/>
                        </a:lnTo>
                        <a:lnTo>
                          <a:pt x="961" y="190"/>
                        </a:lnTo>
                        <a:lnTo>
                          <a:pt x="963" y="190"/>
                        </a:lnTo>
                        <a:lnTo>
                          <a:pt x="965" y="190"/>
                        </a:lnTo>
                        <a:lnTo>
                          <a:pt x="966" y="190"/>
                        </a:lnTo>
                        <a:lnTo>
                          <a:pt x="968" y="190"/>
                        </a:lnTo>
                        <a:lnTo>
                          <a:pt x="968" y="192"/>
                        </a:lnTo>
                        <a:lnTo>
                          <a:pt x="968" y="194"/>
                        </a:lnTo>
                        <a:lnTo>
                          <a:pt x="969" y="195"/>
                        </a:lnTo>
                        <a:lnTo>
                          <a:pt x="971" y="195"/>
                        </a:lnTo>
                        <a:lnTo>
                          <a:pt x="972" y="197"/>
                        </a:lnTo>
                        <a:lnTo>
                          <a:pt x="972" y="198"/>
                        </a:lnTo>
                        <a:lnTo>
                          <a:pt x="974" y="200"/>
                        </a:lnTo>
                        <a:lnTo>
                          <a:pt x="976" y="202"/>
                        </a:lnTo>
                        <a:lnTo>
                          <a:pt x="977" y="202"/>
                        </a:lnTo>
                        <a:lnTo>
                          <a:pt x="979" y="202"/>
                        </a:lnTo>
                        <a:lnTo>
                          <a:pt x="980" y="202"/>
                        </a:lnTo>
                        <a:lnTo>
                          <a:pt x="980" y="203"/>
                        </a:lnTo>
                        <a:lnTo>
                          <a:pt x="984" y="206"/>
                        </a:lnTo>
                        <a:lnTo>
                          <a:pt x="984" y="208"/>
                        </a:lnTo>
                        <a:lnTo>
                          <a:pt x="982" y="211"/>
                        </a:lnTo>
                        <a:lnTo>
                          <a:pt x="982" y="213"/>
                        </a:lnTo>
                        <a:lnTo>
                          <a:pt x="980" y="214"/>
                        </a:lnTo>
                        <a:lnTo>
                          <a:pt x="982" y="216"/>
                        </a:lnTo>
                        <a:lnTo>
                          <a:pt x="982" y="217"/>
                        </a:lnTo>
                        <a:lnTo>
                          <a:pt x="984" y="217"/>
                        </a:lnTo>
                        <a:lnTo>
                          <a:pt x="985" y="217"/>
                        </a:lnTo>
                        <a:lnTo>
                          <a:pt x="987" y="216"/>
                        </a:lnTo>
                        <a:lnTo>
                          <a:pt x="987" y="213"/>
                        </a:lnTo>
                        <a:lnTo>
                          <a:pt x="988" y="211"/>
                        </a:lnTo>
                        <a:lnTo>
                          <a:pt x="990" y="209"/>
                        </a:lnTo>
                        <a:lnTo>
                          <a:pt x="990" y="208"/>
                        </a:lnTo>
                        <a:lnTo>
                          <a:pt x="988" y="206"/>
                        </a:lnTo>
                        <a:lnTo>
                          <a:pt x="990" y="206"/>
                        </a:lnTo>
                        <a:lnTo>
                          <a:pt x="991" y="206"/>
                        </a:lnTo>
                        <a:lnTo>
                          <a:pt x="993" y="206"/>
                        </a:lnTo>
                        <a:lnTo>
                          <a:pt x="995" y="206"/>
                        </a:lnTo>
                        <a:lnTo>
                          <a:pt x="996" y="206"/>
                        </a:lnTo>
                        <a:lnTo>
                          <a:pt x="996" y="205"/>
                        </a:lnTo>
                        <a:lnTo>
                          <a:pt x="996" y="203"/>
                        </a:lnTo>
                        <a:lnTo>
                          <a:pt x="996" y="202"/>
                        </a:lnTo>
                        <a:lnTo>
                          <a:pt x="999" y="202"/>
                        </a:lnTo>
                        <a:lnTo>
                          <a:pt x="1001" y="200"/>
                        </a:lnTo>
                        <a:lnTo>
                          <a:pt x="1003" y="200"/>
                        </a:lnTo>
                        <a:lnTo>
                          <a:pt x="1004" y="200"/>
                        </a:lnTo>
                        <a:lnTo>
                          <a:pt x="1006" y="200"/>
                        </a:lnTo>
                        <a:lnTo>
                          <a:pt x="1007" y="202"/>
                        </a:lnTo>
                        <a:lnTo>
                          <a:pt x="1009" y="200"/>
                        </a:lnTo>
                        <a:lnTo>
                          <a:pt x="1010" y="200"/>
                        </a:lnTo>
                        <a:lnTo>
                          <a:pt x="1010" y="198"/>
                        </a:lnTo>
                        <a:lnTo>
                          <a:pt x="1012" y="198"/>
                        </a:lnTo>
                        <a:lnTo>
                          <a:pt x="1014" y="198"/>
                        </a:lnTo>
                        <a:lnTo>
                          <a:pt x="1015" y="200"/>
                        </a:lnTo>
                        <a:lnTo>
                          <a:pt x="1017" y="200"/>
                        </a:lnTo>
                        <a:lnTo>
                          <a:pt x="1018" y="200"/>
                        </a:lnTo>
                        <a:lnTo>
                          <a:pt x="1020" y="200"/>
                        </a:lnTo>
                        <a:lnTo>
                          <a:pt x="1020" y="198"/>
                        </a:lnTo>
                        <a:lnTo>
                          <a:pt x="1020" y="197"/>
                        </a:lnTo>
                        <a:lnTo>
                          <a:pt x="1022" y="197"/>
                        </a:lnTo>
                        <a:lnTo>
                          <a:pt x="1022" y="195"/>
                        </a:lnTo>
                        <a:lnTo>
                          <a:pt x="1023" y="195"/>
                        </a:lnTo>
                        <a:lnTo>
                          <a:pt x="1025" y="197"/>
                        </a:lnTo>
                        <a:lnTo>
                          <a:pt x="1028" y="194"/>
                        </a:lnTo>
                        <a:lnTo>
                          <a:pt x="1029" y="192"/>
                        </a:lnTo>
                        <a:lnTo>
                          <a:pt x="1029" y="190"/>
                        </a:lnTo>
                        <a:lnTo>
                          <a:pt x="1028" y="189"/>
                        </a:lnTo>
                        <a:lnTo>
                          <a:pt x="1028" y="187"/>
                        </a:lnTo>
                        <a:lnTo>
                          <a:pt x="1028" y="186"/>
                        </a:lnTo>
                        <a:lnTo>
                          <a:pt x="1026" y="186"/>
                        </a:lnTo>
                        <a:lnTo>
                          <a:pt x="1026" y="184"/>
                        </a:lnTo>
                        <a:lnTo>
                          <a:pt x="1025" y="184"/>
                        </a:lnTo>
                        <a:lnTo>
                          <a:pt x="1025" y="183"/>
                        </a:lnTo>
                        <a:lnTo>
                          <a:pt x="1026" y="181"/>
                        </a:lnTo>
                        <a:lnTo>
                          <a:pt x="1026" y="179"/>
                        </a:lnTo>
                        <a:lnTo>
                          <a:pt x="1028" y="179"/>
                        </a:lnTo>
                        <a:lnTo>
                          <a:pt x="1028" y="181"/>
                        </a:lnTo>
                        <a:lnTo>
                          <a:pt x="1029" y="179"/>
                        </a:lnTo>
                        <a:lnTo>
                          <a:pt x="1031" y="179"/>
                        </a:lnTo>
                        <a:lnTo>
                          <a:pt x="1033" y="179"/>
                        </a:lnTo>
                        <a:lnTo>
                          <a:pt x="1034" y="181"/>
                        </a:lnTo>
                        <a:lnTo>
                          <a:pt x="1036" y="181"/>
                        </a:lnTo>
                        <a:lnTo>
                          <a:pt x="1037" y="181"/>
                        </a:lnTo>
                        <a:lnTo>
                          <a:pt x="1039" y="179"/>
                        </a:lnTo>
                        <a:lnTo>
                          <a:pt x="1037" y="176"/>
                        </a:lnTo>
                        <a:lnTo>
                          <a:pt x="1036" y="176"/>
                        </a:lnTo>
                        <a:lnTo>
                          <a:pt x="1034" y="178"/>
                        </a:lnTo>
                        <a:lnTo>
                          <a:pt x="1033" y="178"/>
                        </a:lnTo>
                        <a:lnTo>
                          <a:pt x="1033" y="176"/>
                        </a:lnTo>
                        <a:lnTo>
                          <a:pt x="1029" y="173"/>
                        </a:lnTo>
                        <a:lnTo>
                          <a:pt x="1031" y="171"/>
                        </a:lnTo>
                        <a:lnTo>
                          <a:pt x="1033" y="171"/>
                        </a:lnTo>
                        <a:lnTo>
                          <a:pt x="1034" y="170"/>
                        </a:lnTo>
                        <a:lnTo>
                          <a:pt x="1036" y="168"/>
                        </a:lnTo>
                        <a:lnTo>
                          <a:pt x="1034" y="167"/>
                        </a:lnTo>
                        <a:lnTo>
                          <a:pt x="1033" y="165"/>
                        </a:lnTo>
                        <a:lnTo>
                          <a:pt x="1031" y="165"/>
                        </a:lnTo>
                        <a:lnTo>
                          <a:pt x="1031" y="164"/>
                        </a:lnTo>
                        <a:lnTo>
                          <a:pt x="1031" y="162"/>
                        </a:lnTo>
                        <a:lnTo>
                          <a:pt x="1033" y="162"/>
                        </a:lnTo>
                        <a:lnTo>
                          <a:pt x="1034" y="162"/>
                        </a:lnTo>
                        <a:lnTo>
                          <a:pt x="1036" y="162"/>
                        </a:lnTo>
                        <a:lnTo>
                          <a:pt x="1037" y="160"/>
                        </a:lnTo>
                        <a:lnTo>
                          <a:pt x="1037" y="159"/>
                        </a:lnTo>
                        <a:lnTo>
                          <a:pt x="1041" y="159"/>
                        </a:lnTo>
                        <a:lnTo>
                          <a:pt x="1044" y="156"/>
                        </a:lnTo>
                        <a:lnTo>
                          <a:pt x="1045" y="154"/>
                        </a:lnTo>
                        <a:lnTo>
                          <a:pt x="1045" y="152"/>
                        </a:lnTo>
                        <a:lnTo>
                          <a:pt x="1044" y="152"/>
                        </a:lnTo>
                        <a:lnTo>
                          <a:pt x="1042" y="151"/>
                        </a:lnTo>
                        <a:lnTo>
                          <a:pt x="1042" y="149"/>
                        </a:lnTo>
                        <a:lnTo>
                          <a:pt x="1042" y="148"/>
                        </a:lnTo>
                        <a:lnTo>
                          <a:pt x="1044" y="145"/>
                        </a:lnTo>
                        <a:lnTo>
                          <a:pt x="1047" y="141"/>
                        </a:lnTo>
                        <a:lnTo>
                          <a:pt x="1048" y="141"/>
                        </a:lnTo>
                        <a:lnTo>
                          <a:pt x="1048" y="140"/>
                        </a:lnTo>
                        <a:lnTo>
                          <a:pt x="1050" y="138"/>
                        </a:lnTo>
                        <a:lnTo>
                          <a:pt x="1050" y="135"/>
                        </a:lnTo>
                        <a:lnTo>
                          <a:pt x="1052" y="132"/>
                        </a:lnTo>
                        <a:lnTo>
                          <a:pt x="1053" y="130"/>
                        </a:lnTo>
                        <a:lnTo>
                          <a:pt x="1055" y="130"/>
                        </a:lnTo>
                        <a:lnTo>
                          <a:pt x="1055" y="129"/>
                        </a:lnTo>
                        <a:lnTo>
                          <a:pt x="1058" y="126"/>
                        </a:lnTo>
                        <a:lnTo>
                          <a:pt x="1061" y="124"/>
                        </a:lnTo>
                        <a:lnTo>
                          <a:pt x="1061" y="122"/>
                        </a:lnTo>
                        <a:lnTo>
                          <a:pt x="1061" y="119"/>
                        </a:lnTo>
                        <a:lnTo>
                          <a:pt x="1061" y="118"/>
                        </a:lnTo>
                        <a:lnTo>
                          <a:pt x="1060" y="118"/>
                        </a:lnTo>
                        <a:lnTo>
                          <a:pt x="1061" y="114"/>
                        </a:lnTo>
                        <a:lnTo>
                          <a:pt x="1061" y="113"/>
                        </a:lnTo>
                        <a:lnTo>
                          <a:pt x="1063" y="113"/>
                        </a:lnTo>
                        <a:lnTo>
                          <a:pt x="1063" y="111"/>
                        </a:lnTo>
                        <a:lnTo>
                          <a:pt x="1064" y="111"/>
                        </a:lnTo>
                        <a:lnTo>
                          <a:pt x="1064" y="113"/>
                        </a:lnTo>
                        <a:lnTo>
                          <a:pt x="1066" y="113"/>
                        </a:lnTo>
                        <a:lnTo>
                          <a:pt x="1066" y="111"/>
                        </a:lnTo>
                        <a:lnTo>
                          <a:pt x="1067" y="110"/>
                        </a:lnTo>
                        <a:lnTo>
                          <a:pt x="1069" y="108"/>
                        </a:lnTo>
                        <a:lnTo>
                          <a:pt x="1071" y="107"/>
                        </a:lnTo>
                        <a:lnTo>
                          <a:pt x="1072" y="105"/>
                        </a:lnTo>
                        <a:lnTo>
                          <a:pt x="1074" y="107"/>
                        </a:lnTo>
                        <a:lnTo>
                          <a:pt x="1075" y="108"/>
                        </a:lnTo>
                        <a:lnTo>
                          <a:pt x="1075" y="110"/>
                        </a:lnTo>
                        <a:lnTo>
                          <a:pt x="1077" y="110"/>
                        </a:lnTo>
                        <a:lnTo>
                          <a:pt x="1079" y="108"/>
                        </a:lnTo>
                        <a:lnTo>
                          <a:pt x="1080" y="108"/>
                        </a:lnTo>
                        <a:lnTo>
                          <a:pt x="1085" y="107"/>
                        </a:lnTo>
                        <a:lnTo>
                          <a:pt x="1086" y="107"/>
                        </a:lnTo>
                        <a:lnTo>
                          <a:pt x="1088" y="107"/>
                        </a:lnTo>
                        <a:lnTo>
                          <a:pt x="1088" y="110"/>
                        </a:lnTo>
                        <a:lnTo>
                          <a:pt x="1088" y="113"/>
                        </a:lnTo>
                        <a:lnTo>
                          <a:pt x="1088" y="114"/>
                        </a:lnTo>
                        <a:lnTo>
                          <a:pt x="1088" y="116"/>
                        </a:lnTo>
                        <a:lnTo>
                          <a:pt x="1090" y="118"/>
                        </a:lnTo>
                        <a:lnTo>
                          <a:pt x="1091" y="118"/>
                        </a:lnTo>
                        <a:lnTo>
                          <a:pt x="1093" y="118"/>
                        </a:lnTo>
                        <a:lnTo>
                          <a:pt x="1094" y="118"/>
                        </a:lnTo>
                        <a:lnTo>
                          <a:pt x="1096" y="118"/>
                        </a:lnTo>
                        <a:lnTo>
                          <a:pt x="1098" y="118"/>
                        </a:lnTo>
                        <a:lnTo>
                          <a:pt x="1099" y="118"/>
                        </a:lnTo>
                        <a:lnTo>
                          <a:pt x="1101" y="116"/>
                        </a:lnTo>
                        <a:lnTo>
                          <a:pt x="1102" y="116"/>
                        </a:lnTo>
                        <a:lnTo>
                          <a:pt x="1104" y="116"/>
                        </a:lnTo>
                        <a:lnTo>
                          <a:pt x="1104" y="114"/>
                        </a:lnTo>
                        <a:lnTo>
                          <a:pt x="1107" y="114"/>
                        </a:lnTo>
                        <a:lnTo>
                          <a:pt x="1109" y="114"/>
                        </a:lnTo>
                        <a:lnTo>
                          <a:pt x="1109" y="113"/>
                        </a:lnTo>
                        <a:lnTo>
                          <a:pt x="1110" y="113"/>
                        </a:lnTo>
                        <a:lnTo>
                          <a:pt x="1112" y="113"/>
                        </a:lnTo>
                        <a:lnTo>
                          <a:pt x="1113" y="114"/>
                        </a:lnTo>
                        <a:lnTo>
                          <a:pt x="1113" y="116"/>
                        </a:lnTo>
                        <a:lnTo>
                          <a:pt x="1113" y="118"/>
                        </a:lnTo>
                        <a:lnTo>
                          <a:pt x="1113" y="119"/>
                        </a:lnTo>
                        <a:lnTo>
                          <a:pt x="1113" y="122"/>
                        </a:lnTo>
                        <a:lnTo>
                          <a:pt x="1113" y="124"/>
                        </a:lnTo>
                        <a:lnTo>
                          <a:pt x="1115" y="124"/>
                        </a:lnTo>
                        <a:lnTo>
                          <a:pt x="1117" y="126"/>
                        </a:lnTo>
                        <a:lnTo>
                          <a:pt x="1118" y="127"/>
                        </a:lnTo>
                        <a:lnTo>
                          <a:pt x="1117" y="127"/>
                        </a:lnTo>
                        <a:lnTo>
                          <a:pt x="1115" y="127"/>
                        </a:lnTo>
                        <a:lnTo>
                          <a:pt x="1117" y="127"/>
                        </a:lnTo>
                        <a:lnTo>
                          <a:pt x="1118" y="127"/>
                        </a:lnTo>
                        <a:lnTo>
                          <a:pt x="1118" y="129"/>
                        </a:lnTo>
                        <a:lnTo>
                          <a:pt x="1120" y="130"/>
                        </a:lnTo>
                        <a:lnTo>
                          <a:pt x="1121" y="132"/>
                        </a:lnTo>
                        <a:lnTo>
                          <a:pt x="1123" y="133"/>
                        </a:lnTo>
                        <a:lnTo>
                          <a:pt x="1124" y="135"/>
                        </a:lnTo>
                        <a:lnTo>
                          <a:pt x="1124" y="137"/>
                        </a:lnTo>
                        <a:lnTo>
                          <a:pt x="1126" y="137"/>
                        </a:lnTo>
                        <a:lnTo>
                          <a:pt x="1128" y="137"/>
                        </a:lnTo>
                        <a:lnTo>
                          <a:pt x="1129" y="137"/>
                        </a:lnTo>
                        <a:lnTo>
                          <a:pt x="1129" y="138"/>
                        </a:lnTo>
                        <a:lnTo>
                          <a:pt x="1129" y="140"/>
                        </a:lnTo>
                        <a:lnTo>
                          <a:pt x="1128" y="141"/>
                        </a:lnTo>
                        <a:lnTo>
                          <a:pt x="1128" y="143"/>
                        </a:lnTo>
                        <a:lnTo>
                          <a:pt x="1129" y="143"/>
                        </a:lnTo>
                        <a:lnTo>
                          <a:pt x="1129" y="145"/>
                        </a:lnTo>
                        <a:lnTo>
                          <a:pt x="1131" y="146"/>
                        </a:lnTo>
                        <a:lnTo>
                          <a:pt x="1132" y="149"/>
                        </a:lnTo>
                        <a:lnTo>
                          <a:pt x="1134" y="151"/>
                        </a:lnTo>
                        <a:lnTo>
                          <a:pt x="1134" y="152"/>
                        </a:lnTo>
                        <a:lnTo>
                          <a:pt x="1134" y="154"/>
                        </a:lnTo>
                        <a:lnTo>
                          <a:pt x="1136" y="157"/>
                        </a:lnTo>
                        <a:lnTo>
                          <a:pt x="1137" y="157"/>
                        </a:lnTo>
                        <a:lnTo>
                          <a:pt x="1136" y="159"/>
                        </a:lnTo>
                        <a:lnTo>
                          <a:pt x="1134" y="159"/>
                        </a:lnTo>
                        <a:lnTo>
                          <a:pt x="1132" y="160"/>
                        </a:lnTo>
                        <a:lnTo>
                          <a:pt x="1131" y="162"/>
                        </a:lnTo>
                        <a:lnTo>
                          <a:pt x="1129" y="162"/>
                        </a:lnTo>
                        <a:lnTo>
                          <a:pt x="1128" y="162"/>
                        </a:lnTo>
                        <a:lnTo>
                          <a:pt x="1124" y="162"/>
                        </a:lnTo>
                        <a:lnTo>
                          <a:pt x="1123" y="162"/>
                        </a:lnTo>
                        <a:lnTo>
                          <a:pt x="1121" y="162"/>
                        </a:lnTo>
                        <a:lnTo>
                          <a:pt x="1118" y="164"/>
                        </a:lnTo>
                        <a:lnTo>
                          <a:pt x="1117" y="165"/>
                        </a:lnTo>
                        <a:lnTo>
                          <a:pt x="1113" y="167"/>
                        </a:lnTo>
                        <a:lnTo>
                          <a:pt x="1112" y="167"/>
                        </a:lnTo>
                        <a:lnTo>
                          <a:pt x="1110" y="168"/>
                        </a:lnTo>
                        <a:lnTo>
                          <a:pt x="1109" y="170"/>
                        </a:lnTo>
                        <a:lnTo>
                          <a:pt x="1104" y="168"/>
                        </a:lnTo>
                        <a:lnTo>
                          <a:pt x="1102" y="168"/>
                        </a:lnTo>
                        <a:lnTo>
                          <a:pt x="1099" y="167"/>
                        </a:lnTo>
                        <a:lnTo>
                          <a:pt x="1098" y="167"/>
                        </a:lnTo>
                        <a:lnTo>
                          <a:pt x="1096" y="167"/>
                        </a:lnTo>
                        <a:lnTo>
                          <a:pt x="1094" y="167"/>
                        </a:lnTo>
                        <a:lnTo>
                          <a:pt x="1093" y="167"/>
                        </a:lnTo>
                        <a:lnTo>
                          <a:pt x="1091" y="168"/>
                        </a:lnTo>
                        <a:lnTo>
                          <a:pt x="1090" y="168"/>
                        </a:lnTo>
                        <a:lnTo>
                          <a:pt x="1086" y="168"/>
                        </a:lnTo>
                        <a:lnTo>
                          <a:pt x="1082" y="168"/>
                        </a:lnTo>
                        <a:lnTo>
                          <a:pt x="1080" y="168"/>
                        </a:lnTo>
                        <a:lnTo>
                          <a:pt x="1079" y="167"/>
                        </a:lnTo>
                        <a:lnTo>
                          <a:pt x="1077" y="167"/>
                        </a:lnTo>
                        <a:lnTo>
                          <a:pt x="1075" y="167"/>
                        </a:lnTo>
                        <a:lnTo>
                          <a:pt x="1074" y="167"/>
                        </a:lnTo>
                        <a:lnTo>
                          <a:pt x="1072" y="167"/>
                        </a:lnTo>
                        <a:lnTo>
                          <a:pt x="1071" y="168"/>
                        </a:lnTo>
                        <a:lnTo>
                          <a:pt x="1069" y="171"/>
                        </a:lnTo>
                        <a:lnTo>
                          <a:pt x="1067" y="175"/>
                        </a:lnTo>
                        <a:lnTo>
                          <a:pt x="1066" y="176"/>
                        </a:lnTo>
                        <a:lnTo>
                          <a:pt x="1064" y="179"/>
                        </a:lnTo>
                        <a:lnTo>
                          <a:pt x="1064" y="181"/>
                        </a:lnTo>
                        <a:lnTo>
                          <a:pt x="1063" y="183"/>
                        </a:lnTo>
                        <a:lnTo>
                          <a:pt x="1064" y="184"/>
                        </a:lnTo>
                        <a:lnTo>
                          <a:pt x="1064" y="187"/>
                        </a:lnTo>
                        <a:lnTo>
                          <a:pt x="1066" y="189"/>
                        </a:lnTo>
                        <a:lnTo>
                          <a:pt x="1067" y="192"/>
                        </a:lnTo>
                        <a:lnTo>
                          <a:pt x="1069" y="195"/>
                        </a:lnTo>
                        <a:lnTo>
                          <a:pt x="1072" y="197"/>
                        </a:lnTo>
                        <a:lnTo>
                          <a:pt x="1074" y="198"/>
                        </a:lnTo>
                        <a:lnTo>
                          <a:pt x="1077" y="200"/>
                        </a:lnTo>
                        <a:lnTo>
                          <a:pt x="1083" y="202"/>
                        </a:lnTo>
                        <a:lnTo>
                          <a:pt x="1088" y="203"/>
                        </a:lnTo>
                        <a:lnTo>
                          <a:pt x="1091" y="202"/>
                        </a:lnTo>
                        <a:lnTo>
                          <a:pt x="1094" y="202"/>
                        </a:lnTo>
                        <a:lnTo>
                          <a:pt x="1098" y="200"/>
                        </a:lnTo>
                        <a:lnTo>
                          <a:pt x="1099" y="200"/>
                        </a:lnTo>
                        <a:lnTo>
                          <a:pt x="1102" y="200"/>
                        </a:lnTo>
                        <a:lnTo>
                          <a:pt x="1104" y="200"/>
                        </a:lnTo>
                        <a:lnTo>
                          <a:pt x="1107" y="202"/>
                        </a:lnTo>
                        <a:lnTo>
                          <a:pt x="1109" y="203"/>
                        </a:lnTo>
                        <a:lnTo>
                          <a:pt x="1110" y="203"/>
                        </a:lnTo>
                        <a:lnTo>
                          <a:pt x="1112" y="205"/>
                        </a:lnTo>
                        <a:lnTo>
                          <a:pt x="1112" y="206"/>
                        </a:lnTo>
                        <a:lnTo>
                          <a:pt x="1113" y="209"/>
                        </a:lnTo>
                        <a:lnTo>
                          <a:pt x="1113" y="211"/>
                        </a:lnTo>
                        <a:lnTo>
                          <a:pt x="1113" y="213"/>
                        </a:lnTo>
                        <a:lnTo>
                          <a:pt x="1112" y="214"/>
                        </a:lnTo>
                        <a:lnTo>
                          <a:pt x="1112" y="216"/>
                        </a:lnTo>
                        <a:lnTo>
                          <a:pt x="1112" y="217"/>
                        </a:lnTo>
                        <a:lnTo>
                          <a:pt x="1112" y="219"/>
                        </a:lnTo>
                        <a:lnTo>
                          <a:pt x="1112" y="221"/>
                        </a:lnTo>
                        <a:lnTo>
                          <a:pt x="1113" y="222"/>
                        </a:lnTo>
                        <a:lnTo>
                          <a:pt x="1115" y="225"/>
                        </a:lnTo>
                        <a:lnTo>
                          <a:pt x="1117" y="227"/>
                        </a:lnTo>
                        <a:lnTo>
                          <a:pt x="1118" y="228"/>
                        </a:lnTo>
                        <a:lnTo>
                          <a:pt x="1118" y="233"/>
                        </a:lnTo>
                        <a:lnTo>
                          <a:pt x="1118" y="236"/>
                        </a:lnTo>
                        <a:lnTo>
                          <a:pt x="1118" y="238"/>
                        </a:lnTo>
                        <a:lnTo>
                          <a:pt x="1117" y="240"/>
                        </a:lnTo>
                        <a:lnTo>
                          <a:pt x="1115" y="243"/>
                        </a:lnTo>
                        <a:lnTo>
                          <a:pt x="1113" y="246"/>
                        </a:lnTo>
                        <a:lnTo>
                          <a:pt x="1113" y="252"/>
                        </a:lnTo>
                        <a:lnTo>
                          <a:pt x="1113" y="254"/>
                        </a:lnTo>
                        <a:lnTo>
                          <a:pt x="1113" y="255"/>
                        </a:lnTo>
                        <a:lnTo>
                          <a:pt x="1115" y="255"/>
                        </a:lnTo>
                        <a:lnTo>
                          <a:pt x="1115" y="257"/>
                        </a:lnTo>
                        <a:lnTo>
                          <a:pt x="1117" y="259"/>
                        </a:lnTo>
                        <a:lnTo>
                          <a:pt x="1118" y="260"/>
                        </a:lnTo>
                        <a:lnTo>
                          <a:pt x="1118" y="262"/>
                        </a:lnTo>
                        <a:lnTo>
                          <a:pt x="1118" y="263"/>
                        </a:lnTo>
                        <a:lnTo>
                          <a:pt x="1118" y="265"/>
                        </a:lnTo>
                        <a:lnTo>
                          <a:pt x="1118" y="267"/>
                        </a:lnTo>
                        <a:lnTo>
                          <a:pt x="1117" y="268"/>
                        </a:lnTo>
                        <a:lnTo>
                          <a:pt x="1115" y="270"/>
                        </a:lnTo>
                        <a:lnTo>
                          <a:pt x="1115" y="271"/>
                        </a:lnTo>
                        <a:lnTo>
                          <a:pt x="1113" y="273"/>
                        </a:lnTo>
                        <a:lnTo>
                          <a:pt x="1113" y="274"/>
                        </a:lnTo>
                        <a:lnTo>
                          <a:pt x="1113" y="276"/>
                        </a:lnTo>
                        <a:lnTo>
                          <a:pt x="1115" y="278"/>
                        </a:lnTo>
                        <a:lnTo>
                          <a:pt x="1117" y="279"/>
                        </a:lnTo>
                        <a:lnTo>
                          <a:pt x="1118" y="282"/>
                        </a:lnTo>
                        <a:lnTo>
                          <a:pt x="1120" y="284"/>
                        </a:lnTo>
                        <a:lnTo>
                          <a:pt x="1120" y="287"/>
                        </a:lnTo>
                        <a:lnTo>
                          <a:pt x="1120" y="289"/>
                        </a:lnTo>
                        <a:lnTo>
                          <a:pt x="1118" y="290"/>
                        </a:lnTo>
                        <a:lnTo>
                          <a:pt x="1118" y="292"/>
                        </a:lnTo>
                        <a:lnTo>
                          <a:pt x="1118" y="293"/>
                        </a:lnTo>
                        <a:lnTo>
                          <a:pt x="1118" y="295"/>
                        </a:lnTo>
                        <a:lnTo>
                          <a:pt x="1118" y="297"/>
                        </a:lnTo>
                        <a:lnTo>
                          <a:pt x="1118" y="298"/>
                        </a:lnTo>
                        <a:lnTo>
                          <a:pt x="1118" y="300"/>
                        </a:lnTo>
                        <a:lnTo>
                          <a:pt x="1117" y="300"/>
                        </a:lnTo>
                        <a:lnTo>
                          <a:pt x="1117" y="301"/>
                        </a:lnTo>
                        <a:lnTo>
                          <a:pt x="1115" y="303"/>
                        </a:lnTo>
                        <a:lnTo>
                          <a:pt x="1115" y="305"/>
                        </a:lnTo>
                        <a:lnTo>
                          <a:pt x="1117" y="306"/>
                        </a:lnTo>
                        <a:lnTo>
                          <a:pt x="1120" y="308"/>
                        </a:lnTo>
                        <a:lnTo>
                          <a:pt x="1123" y="309"/>
                        </a:lnTo>
                        <a:lnTo>
                          <a:pt x="1124" y="311"/>
                        </a:lnTo>
                        <a:lnTo>
                          <a:pt x="1126" y="312"/>
                        </a:lnTo>
                        <a:lnTo>
                          <a:pt x="1126" y="314"/>
                        </a:lnTo>
                        <a:lnTo>
                          <a:pt x="1128" y="316"/>
                        </a:lnTo>
                        <a:lnTo>
                          <a:pt x="1126" y="317"/>
                        </a:lnTo>
                        <a:lnTo>
                          <a:pt x="1126" y="319"/>
                        </a:lnTo>
                        <a:lnTo>
                          <a:pt x="1124" y="320"/>
                        </a:lnTo>
                        <a:lnTo>
                          <a:pt x="1124" y="322"/>
                        </a:lnTo>
                        <a:lnTo>
                          <a:pt x="1123" y="324"/>
                        </a:lnTo>
                        <a:lnTo>
                          <a:pt x="1123" y="325"/>
                        </a:lnTo>
                        <a:lnTo>
                          <a:pt x="1124" y="327"/>
                        </a:lnTo>
                        <a:lnTo>
                          <a:pt x="1124" y="330"/>
                        </a:lnTo>
                        <a:lnTo>
                          <a:pt x="1124" y="333"/>
                        </a:lnTo>
                        <a:lnTo>
                          <a:pt x="1124" y="336"/>
                        </a:lnTo>
                        <a:lnTo>
                          <a:pt x="1124" y="338"/>
                        </a:lnTo>
                        <a:lnTo>
                          <a:pt x="1123" y="339"/>
                        </a:lnTo>
                        <a:lnTo>
                          <a:pt x="1118" y="344"/>
                        </a:lnTo>
                        <a:lnTo>
                          <a:pt x="1115" y="349"/>
                        </a:lnTo>
                        <a:lnTo>
                          <a:pt x="1113" y="352"/>
                        </a:lnTo>
                        <a:lnTo>
                          <a:pt x="1112" y="355"/>
                        </a:lnTo>
                        <a:lnTo>
                          <a:pt x="1112" y="358"/>
                        </a:lnTo>
                        <a:lnTo>
                          <a:pt x="1112" y="363"/>
                        </a:lnTo>
                        <a:lnTo>
                          <a:pt x="1112" y="365"/>
                        </a:lnTo>
                        <a:lnTo>
                          <a:pt x="1112" y="368"/>
                        </a:lnTo>
                        <a:lnTo>
                          <a:pt x="1112" y="369"/>
                        </a:lnTo>
                        <a:lnTo>
                          <a:pt x="1112" y="373"/>
                        </a:lnTo>
                        <a:lnTo>
                          <a:pt x="1112" y="376"/>
                        </a:lnTo>
                        <a:lnTo>
                          <a:pt x="1110" y="377"/>
                        </a:lnTo>
                        <a:lnTo>
                          <a:pt x="1109" y="381"/>
                        </a:lnTo>
                        <a:lnTo>
                          <a:pt x="1107" y="384"/>
                        </a:lnTo>
                        <a:lnTo>
                          <a:pt x="1105" y="385"/>
                        </a:lnTo>
                        <a:lnTo>
                          <a:pt x="1098" y="393"/>
                        </a:lnTo>
                        <a:lnTo>
                          <a:pt x="1090" y="400"/>
                        </a:lnTo>
                        <a:lnTo>
                          <a:pt x="1085" y="403"/>
                        </a:lnTo>
                        <a:lnTo>
                          <a:pt x="1079" y="409"/>
                        </a:lnTo>
                        <a:lnTo>
                          <a:pt x="1075" y="411"/>
                        </a:lnTo>
                        <a:lnTo>
                          <a:pt x="1072" y="412"/>
                        </a:lnTo>
                        <a:lnTo>
                          <a:pt x="1071" y="414"/>
                        </a:lnTo>
                        <a:lnTo>
                          <a:pt x="1071" y="415"/>
                        </a:lnTo>
                        <a:lnTo>
                          <a:pt x="1069" y="417"/>
                        </a:lnTo>
                        <a:lnTo>
                          <a:pt x="1071" y="419"/>
                        </a:lnTo>
                        <a:lnTo>
                          <a:pt x="1071" y="420"/>
                        </a:lnTo>
                        <a:lnTo>
                          <a:pt x="1072" y="420"/>
                        </a:lnTo>
                        <a:lnTo>
                          <a:pt x="1074" y="420"/>
                        </a:lnTo>
                        <a:lnTo>
                          <a:pt x="1074" y="422"/>
                        </a:lnTo>
                        <a:lnTo>
                          <a:pt x="1079" y="423"/>
                        </a:lnTo>
                        <a:lnTo>
                          <a:pt x="1080" y="423"/>
                        </a:lnTo>
                        <a:lnTo>
                          <a:pt x="1083" y="428"/>
                        </a:lnTo>
                        <a:lnTo>
                          <a:pt x="1086" y="430"/>
                        </a:lnTo>
                        <a:lnTo>
                          <a:pt x="1085" y="430"/>
                        </a:lnTo>
                        <a:lnTo>
                          <a:pt x="1085" y="431"/>
                        </a:lnTo>
                        <a:lnTo>
                          <a:pt x="1085" y="433"/>
                        </a:lnTo>
                        <a:lnTo>
                          <a:pt x="1083" y="439"/>
                        </a:lnTo>
                        <a:lnTo>
                          <a:pt x="1083" y="441"/>
                        </a:lnTo>
                        <a:lnTo>
                          <a:pt x="1083" y="442"/>
                        </a:lnTo>
                        <a:lnTo>
                          <a:pt x="1083" y="444"/>
                        </a:lnTo>
                        <a:lnTo>
                          <a:pt x="1086" y="446"/>
                        </a:lnTo>
                        <a:lnTo>
                          <a:pt x="1086" y="449"/>
                        </a:lnTo>
                        <a:lnTo>
                          <a:pt x="1086" y="450"/>
                        </a:lnTo>
                        <a:lnTo>
                          <a:pt x="1086" y="452"/>
                        </a:lnTo>
                        <a:lnTo>
                          <a:pt x="1088" y="452"/>
                        </a:lnTo>
                        <a:lnTo>
                          <a:pt x="1088" y="455"/>
                        </a:lnTo>
                        <a:lnTo>
                          <a:pt x="1090" y="457"/>
                        </a:lnTo>
                        <a:lnTo>
                          <a:pt x="1091" y="458"/>
                        </a:lnTo>
                        <a:lnTo>
                          <a:pt x="1093" y="460"/>
                        </a:lnTo>
                        <a:lnTo>
                          <a:pt x="1094" y="461"/>
                        </a:lnTo>
                        <a:lnTo>
                          <a:pt x="1094" y="463"/>
                        </a:lnTo>
                        <a:lnTo>
                          <a:pt x="1096" y="463"/>
                        </a:lnTo>
                        <a:lnTo>
                          <a:pt x="1096" y="469"/>
                        </a:lnTo>
                        <a:lnTo>
                          <a:pt x="1094" y="469"/>
                        </a:lnTo>
                        <a:lnTo>
                          <a:pt x="1094" y="471"/>
                        </a:lnTo>
                        <a:lnTo>
                          <a:pt x="1094" y="472"/>
                        </a:lnTo>
                        <a:lnTo>
                          <a:pt x="1094" y="474"/>
                        </a:lnTo>
                        <a:lnTo>
                          <a:pt x="1096" y="476"/>
                        </a:lnTo>
                        <a:lnTo>
                          <a:pt x="1098" y="477"/>
                        </a:lnTo>
                        <a:lnTo>
                          <a:pt x="1096" y="480"/>
                        </a:lnTo>
                        <a:lnTo>
                          <a:pt x="1098" y="482"/>
                        </a:lnTo>
                        <a:lnTo>
                          <a:pt x="1096" y="485"/>
                        </a:lnTo>
                        <a:lnTo>
                          <a:pt x="1094" y="487"/>
                        </a:lnTo>
                        <a:lnTo>
                          <a:pt x="1091" y="488"/>
                        </a:lnTo>
                        <a:lnTo>
                          <a:pt x="1090" y="488"/>
                        </a:lnTo>
                        <a:lnTo>
                          <a:pt x="1090" y="490"/>
                        </a:lnTo>
                        <a:lnTo>
                          <a:pt x="1088" y="490"/>
                        </a:lnTo>
                        <a:lnTo>
                          <a:pt x="1086" y="491"/>
                        </a:lnTo>
                        <a:lnTo>
                          <a:pt x="1085" y="491"/>
                        </a:lnTo>
                        <a:lnTo>
                          <a:pt x="1085" y="495"/>
                        </a:lnTo>
                        <a:lnTo>
                          <a:pt x="1083" y="495"/>
                        </a:lnTo>
                        <a:lnTo>
                          <a:pt x="1083" y="499"/>
                        </a:lnTo>
                        <a:lnTo>
                          <a:pt x="1083" y="501"/>
                        </a:lnTo>
                        <a:lnTo>
                          <a:pt x="1082" y="501"/>
                        </a:lnTo>
                        <a:lnTo>
                          <a:pt x="1082" y="503"/>
                        </a:lnTo>
                        <a:lnTo>
                          <a:pt x="1082" y="504"/>
                        </a:lnTo>
                        <a:lnTo>
                          <a:pt x="1080" y="507"/>
                        </a:lnTo>
                        <a:lnTo>
                          <a:pt x="1074" y="514"/>
                        </a:lnTo>
                        <a:lnTo>
                          <a:pt x="1071" y="517"/>
                        </a:lnTo>
                        <a:lnTo>
                          <a:pt x="1069" y="518"/>
                        </a:lnTo>
                        <a:lnTo>
                          <a:pt x="1069" y="520"/>
                        </a:lnTo>
                        <a:lnTo>
                          <a:pt x="1067" y="520"/>
                        </a:lnTo>
                        <a:lnTo>
                          <a:pt x="1064" y="523"/>
                        </a:lnTo>
                        <a:lnTo>
                          <a:pt x="1063" y="528"/>
                        </a:lnTo>
                        <a:lnTo>
                          <a:pt x="1061" y="531"/>
                        </a:lnTo>
                        <a:lnTo>
                          <a:pt x="1061" y="536"/>
                        </a:lnTo>
                        <a:lnTo>
                          <a:pt x="1061" y="541"/>
                        </a:lnTo>
                        <a:lnTo>
                          <a:pt x="1061" y="544"/>
                        </a:lnTo>
                        <a:lnTo>
                          <a:pt x="1060" y="547"/>
                        </a:lnTo>
                        <a:lnTo>
                          <a:pt x="1060" y="548"/>
                        </a:lnTo>
                        <a:lnTo>
                          <a:pt x="1058" y="550"/>
                        </a:lnTo>
                        <a:lnTo>
                          <a:pt x="1056" y="550"/>
                        </a:lnTo>
                        <a:lnTo>
                          <a:pt x="1055" y="550"/>
                        </a:lnTo>
                        <a:lnTo>
                          <a:pt x="1050" y="550"/>
                        </a:lnTo>
                        <a:lnTo>
                          <a:pt x="1047" y="548"/>
                        </a:lnTo>
                        <a:lnTo>
                          <a:pt x="1045" y="548"/>
                        </a:lnTo>
                        <a:lnTo>
                          <a:pt x="1044" y="548"/>
                        </a:lnTo>
                        <a:lnTo>
                          <a:pt x="1042" y="550"/>
                        </a:lnTo>
                        <a:lnTo>
                          <a:pt x="1034" y="555"/>
                        </a:lnTo>
                        <a:lnTo>
                          <a:pt x="1029" y="558"/>
                        </a:lnTo>
                        <a:lnTo>
                          <a:pt x="1026" y="560"/>
                        </a:lnTo>
                        <a:lnTo>
                          <a:pt x="1025" y="561"/>
                        </a:lnTo>
                        <a:lnTo>
                          <a:pt x="1023" y="561"/>
                        </a:lnTo>
                        <a:lnTo>
                          <a:pt x="1020" y="561"/>
                        </a:lnTo>
                        <a:lnTo>
                          <a:pt x="1015" y="566"/>
                        </a:lnTo>
                        <a:lnTo>
                          <a:pt x="1014" y="566"/>
                        </a:lnTo>
                        <a:lnTo>
                          <a:pt x="1012" y="566"/>
                        </a:lnTo>
                        <a:lnTo>
                          <a:pt x="1007" y="566"/>
                        </a:lnTo>
                        <a:lnTo>
                          <a:pt x="1006" y="566"/>
                        </a:lnTo>
                        <a:lnTo>
                          <a:pt x="1004" y="567"/>
                        </a:lnTo>
                        <a:lnTo>
                          <a:pt x="1003" y="567"/>
                        </a:lnTo>
                        <a:lnTo>
                          <a:pt x="1001" y="567"/>
                        </a:lnTo>
                        <a:lnTo>
                          <a:pt x="998" y="569"/>
                        </a:lnTo>
                        <a:lnTo>
                          <a:pt x="995" y="571"/>
                        </a:lnTo>
                        <a:lnTo>
                          <a:pt x="995" y="569"/>
                        </a:lnTo>
                        <a:lnTo>
                          <a:pt x="991" y="569"/>
                        </a:lnTo>
                        <a:lnTo>
                          <a:pt x="990" y="567"/>
                        </a:lnTo>
                        <a:lnTo>
                          <a:pt x="987" y="566"/>
                        </a:lnTo>
                        <a:lnTo>
                          <a:pt x="985" y="564"/>
                        </a:lnTo>
                        <a:lnTo>
                          <a:pt x="984" y="564"/>
                        </a:lnTo>
                        <a:lnTo>
                          <a:pt x="984" y="563"/>
                        </a:lnTo>
                        <a:lnTo>
                          <a:pt x="982" y="563"/>
                        </a:lnTo>
                        <a:lnTo>
                          <a:pt x="980" y="563"/>
                        </a:lnTo>
                        <a:lnTo>
                          <a:pt x="979" y="563"/>
                        </a:lnTo>
                        <a:lnTo>
                          <a:pt x="977" y="564"/>
                        </a:lnTo>
                        <a:lnTo>
                          <a:pt x="974" y="564"/>
                        </a:lnTo>
                        <a:lnTo>
                          <a:pt x="972" y="564"/>
                        </a:lnTo>
                        <a:lnTo>
                          <a:pt x="971" y="564"/>
                        </a:lnTo>
                        <a:lnTo>
                          <a:pt x="969" y="564"/>
                        </a:lnTo>
                        <a:lnTo>
                          <a:pt x="968" y="563"/>
                        </a:lnTo>
                        <a:lnTo>
                          <a:pt x="968" y="561"/>
                        </a:lnTo>
                        <a:lnTo>
                          <a:pt x="966" y="561"/>
                        </a:lnTo>
                        <a:lnTo>
                          <a:pt x="963" y="561"/>
                        </a:lnTo>
                        <a:lnTo>
                          <a:pt x="961" y="561"/>
                        </a:lnTo>
                        <a:lnTo>
                          <a:pt x="958" y="561"/>
                        </a:lnTo>
                        <a:lnTo>
                          <a:pt x="955" y="561"/>
                        </a:lnTo>
                        <a:lnTo>
                          <a:pt x="953" y="561"/>
                        </a:lnTo>
                        <a:lnTo>
                          <a:pt x="952" y="563"/>
                        </a:lnTo>
                        <a:lnTo>
                          <a:pt x="950" y="564"/>
                        </a:lnTo>
                        <a:lnTo>
                          <a:pt x="949" y="566"/>
                        </a:lnTo>
                        <a:lnTo>
                          <a:pt x="947" y="571"/>
                        </a:lnTo>
                        <a:lnTo>
                          <a:pt x="945" y="574"/>
                        </a:lnTo>
                        <a:lnTo>
                          <a:pt x="944" y="577"/>
                        </a:lnTo>
                        <a:lnTo>
                          <a:pt x="942" y="580"/>
                        </a:lnTo>
                        <a:lnTo>
                          <a:pt x="941" y="586"/>
                        </a:lnTo>
                        <a:lnTo>
                          <a:pt x="938" y="590"/>
                        </a:lnTo>
                        <a:lnTo>
                          <a:pt x="938" y="593"/>
                        </a:lnTo>
                        <a:lnTo>
                          <a:pt x="936" y="598"/>
                        </a:lnTo>
                        <a:lnTo>
                          <a:pt x="936" y="601"/>
                        </a:lnTo>
                        <a:lnTo>
                          <a:pt x="936" y="604"/>
                        </a:lnTo>
                        <a:lnTo>
                          <a:pt x="934" y="605"/>
                        </a:lnTo>
                        <a:lnTo>
                          <a:pt x="938" y="609"/>
                        </a:lnTo>
                        <a:lnTo>
                          <a:pt x="939" y="609"/>
                        </a:lnTo>
                        <a:lnTo>
                          <a:pt x="941" y="609"/>
                        </a:lnTo>
                        <a:lnTo>
                          <a:pt x="942" y="610"/>
                        </a:lnTo>
                        <a:lnTo>
                          <a:pt x="944" y="612"/>
                        </a:lnTo>
                        <a:lnTo>
                          <a:pt x="944" y="613"/>
                        </a:lnTo>
                        <a:lnTo>
                          <a:pt x="945" y="615"/>
                        </a:lnTo>
                        <a:lnTo>
                          <a:pt x="947" y="615"/>
                        </a:lnTo>
                        <a:lnTo>
                          <a:pt x="950" y="617"/>
                        </a:lnTo>
                        <a:lnTo>
                          <a:pt x="952" y="618"/>
                        </a:lnTo>
                        <a:lnTo>
                          <a:pt x="953" y="620"/>
                        </a:lnTo>
                        <a:lnTo>
                          <a:pt x="957" y="620"/>
                        </a:lnTo>
                        <a:lnTo>
                          <a:pt x="958" y="623"/>
                        </a:lnTo>
                        <a:lnTo>
                          <a:pt x="960" y="624"/>
                        </a:lnTo>
                        <a:lnTo>
                          <a:pt x="958" y="629"/>
                        </a:lnTo>
                        <a:lnTo>
                          <a:pt x="960" y="629"/>
                        </a:lnTo>
                        <a:lnTo>
                          <a:pt x="958" y="629"/>
                        </a:lnTo>
                        <a:lnTo>
                          <a:pt x="961" y="634"/>
                        </a:lnTo>
                        <a:lnTo>
                          <a:pt x="963" y="636"/>
                        </a:lnTo>
                        <a:lnTo>
                          <a:pt x="963" y="637"/>
                        </a:lnTo>
                        <a:lnTo>
                          <a:pt x="965" y="637"/>
                        </a:lnTo>
                        <a:lnTo>
                          <a:pt x="968" y="637"/>
                        </a:lnTo>
                        <a:lnTo>
                          <a:pt x="969" y="639"/>
                        </a:lnTo>
                        <a:lnTo>
                          <a:pt x="971" y="640"/>
                        </a:lnTo>
                        <a:lnTo>
                          <a:pt x="974" y="640"/>
                        </a:lnTo>
                        <a:lnTo>
                          <a:pt x="977" y="640"/>
                        </a:lnTo>
                        <a:lnTo>
                          <a:pt x="979" y="642"/>
                        </a:lnTo>
                        <a:lnTo>
                          <a:pt x="982" y="642"/>
                        </a:lnTo>
                        <a:lnTo>
                          <a:pt x="984" y="644"/>
                        </a:lnTo>
                        <a:lnTo>
                          <a:pt x="985" y="648"/>
                        </a:lnTo>
                        <a:lnTo>
                          <a:pt x="987" y="648"/>
                        </a:lnTo>
                        <a:lnTo>
                          <a:pt x="988" y="648"/>
                        </a:lnTo>
                        <a:lnTo>
                          <a:pt x="990" y="650"/>
                        </a:lnTo>
                        <a:lnTo>
                          <a:pt x="990" y="651"/>
                        </a:lnTo>
                        <a:lnTo>
                          <a:pt x="990" y="653"/>
                        </a:lnTo>
                        <a:lnTo>
                          <a:pt x="991" y="655"/>
                        </a:lnTo>
                        <a:lnTo>
                          <a:pt x="993" y="655"/>
                        </a:lnTo>
                        <a:lnTo>
                          <a:pt x="995" y="656"/>
                        </a:lnTo>
                        <a:lnTo>
                          <a:pt x="995" y="658"/>
                        </a:lnTo>
                        <a:lnTo>
                          <a:pt x="996" y="659"/>
                        </a:lnTo>
                        <a:lnTo>
                          <a:pt x="998" y="659"/>
                        </a:lnTo>
                        <a:lnTo>
                          <a:pt x="999" y="661"/>
                        </a:lnTo>
                        <a:lnTo>
                          <a:pt x="1001" y="663"/>
                        </a:lnTo>
                        <a:lnTo>
                          <a:pt x="1001" y="664"/>
                        </a:lnTo>
                        <a:lnTo>
                          <a:pt x="1004" y="664"/>
                        </a:lnTo>
                        <a:lnTo>
                          <a:pt x="1003" y="666"/>
                        </a:lnTo>
                        <a:lnTo>
                          <a:pt x="1003" y="667"/>
                        </a:lnTo>
                        <a:lnTo>
                          <a:pt x="1003" y="669"/>
                        </a:lnTo>
                        <a:lnTo>
                          <a:pt x="1003" y="670"/>
                        </a:lnTo>
                        <a:lnTo>
                          <a:pt x="1001" y="672"/>
                        </a:lnTo>
                        <a:lnTo>
                          <a:pt x="1001" y="674"/>
                        </a:lnTo>
                        <a:lnTo>
                          <a:pt x="999" y="675"/>
                        </a:lnTo>
                        <a:lnTo>
                          <a:pt x="999" y="680"/>
                        </a:lnTo>
                        <a:lnTo>
                          <a:pt x="999" y="682"/>
                        </a:lnTo>
                        <a:lnTo>
                          <a:pt x="999" y="683"/>
                        </a:lnTo>
                        <a:lnTo>
                          <a:pt x="999" y="686"/>
                        </a:lnTo>
                        <a:lnTo>
                          <a:pt x="999" y="688"/>
                        </a:lnTo>
                        <a:lnTo>
                          <a:pt x="999" y="689"/>
                        </a:lnTo>
                        <a:lnTo>
                          <a:pt x="996" y="691"/>
                        </a:lnTo>
                        <a:lnTo>
                          <a:pt x="993" y="696"/>
                        </a:lnTo>
                        <a:lnTo>
                          <a:pt x="987" y="704"/>
                        </a:lnTo>
                        <a:lnTo>
                          <a:pt x="985" y="705"/>
                        </a:lnTo>
                        <a:lnTo>
                          <a:pt x="980" y="704"/>
                        </a:lnTo>
                        <a:lnTo>
                          <a:pt x="979" y="704"/>
                        </a:lnTo>
                        <a:lnTo>
                          <a:pt x="974" y="710"/>
                        </a:lnTo>
                        <a:lnTo>
                          <a:pt x="969" y="708"/>
                        </a:lnTo>
                        <a:lnTo>
                          <a:pt x="965" y="710"/>
                        </a:lnTo>
                        <a:lnTo>
                          <a:pt x="963" y="710"/>
                        </a:lnTo>
                        <a:lnTo>
                          <a:pt x="961" y="710"/>
                        </a:lnTo>
                        <a:lnTo>
                          <a:pt x="958" y="708"/>
                        </a:lnTo>
                        <a:lnTo>
                          <a:pt x="957" y="708"/>
                        </a:lnTo>
                        <a:lnTo>
                          <a:pt x="953" y="710"/>
                        </a:lnTo>
                        <a:lnTo>
                          <a:pt x="952" y="710"/>
                        </a:lnTo>
                        <a:lnTo>
                          <a:pt x="950" y="712"/>
                        </a:lnTo>
                        <a:lnTo>
                          <a:pt x="950" y="713"/>
                        </a:lnTo>
                        <a:lnTo>
                          <a:pt x="952" y="715"/>
                        </a:lnTo>
                        <a:lnTo>
                          <a:pt x="950" y="715"/>
                        </a:lnTo>
                        <a:lnTo>
                          <a:pt x="949" y="721"/>
                        </a:lnTo>
                        <a:lnTo>
                          <a:pt x="949" y="723"/>
                        </a:lnTo>
                        <a:lnTo>
                          <a:pt x="952" y="726"/>
                        </a:lnTo>
                        <a:lnTo>
                          <a:pt x="950" y="727"/>
                        </a:lnTo>
                        <a:lnTo>
                          <a:pt x="950" y="729"/>
                        </a:lnTo>
                        <a:lnTo>
                          <a:pt x="949" y="732"/>
                        </a:lnTo>
                        <a:lnTo>
                          <a:pt x="947" y="732"/>
                        </a:lnTo>
                        <a:lnTo>
                          <a:pt x="942" y="735"/>
                        </a:lnTo>
                        <a:lnTo>
                          <a:pt x="939" y="735"/>
                        </a:lnTo>
                        <a:lnTo>
                          <a:pt x="936" y="734"/>
                        </a:lnTo>
                        <a:lnTo>
                          <a:pt x="934" y="734"/>
                        </a:lnTo>
                        <a:lnTo>
                          <a:pt x="930" y="731"/>
                        </a:lnTo>
                        <a:lnTo>
                          <a:pt x="926" y="732"/>
                        </a:lnTo>
                        <a:lnTo>
                          <a:pt x="925" y="732"/>
                        </a:lnTo>
                        <a:lnTo>
                          <a:pt x="915" y="732"/>
                        </a:lnTo>
                        <a:lnTo>
                          <a:pt x="915" y="734"/>
                        </a:lnTo>
                        <a:lnTo>
                          <a:pt x="914" y="734"/>
                        </a:lnTo>
                        <a:lnTo>
                          <a:pt x="907" y="742"/>
                        </a:lnTo>
                        <a:lnTo>
                          <a:pt x="909" y="753"/>
                        </a:lnTo>
                        <a:lnTo>
                          <a:pt x="904" y="753"/>
                        </a:lnTo>
                        <a:lnTo>
                          <a:pt x="901" y="753"/>
                        </a:lnTo>
                        <a:lnTo>
                          <a:pt x="896" y="754"/>
                        </a:lnTo>
                        <a:lnTo>
                          <a:pt x="895" y="753"/>
                        </a:lnTo>
                        <a:lnTo>
                          <a:pt x="887" y="751"/>
                        </a:lnTo>
                        <a:lnTo>
                          <a:pt x="884" y="748"/>
                        </a:lnTo>
                        <a:lnTo>
                          <a:pt x="879" y="745"/>
                        </a:lnTo>
                        <a:lnTo>
                          <a:pt x="869" y="742"/>
                        </a:lnTo>
                        <a:lnTo>
                          <a:pt x="868" y="740"/>
                        </a:lnTo>
                        <a:lnTo>
                          <a:pt x="858" y="734"/>
                        </a:lnTo>
                        <a:lnTo>
                          <a:pt x="855" y="734"/>
                        </a:lnTo>
                        <a:lnTo>
                          <a:pt x="854" y="734"/>
                        </a:lnTo>
                        <a:lnTo>
                          <a:pt x="852" y="735"/>
                        </a:lnTo>
                        <a:lnTo>
                          <a:pt x="849" y="737"/>
                        </a:lnTo>
                        <a:lnTo>
                          <a:pt x="849" y="739"/>
                        </a:lnTo>
                        <a:lnTo>
                          <a:pt x="846" y="746"/>
                        </a:lnTo>
                        <a:lnTo>
                          <a:pt x="839" y="750"/>
                        </a:lnTo>
                        <a:lnTo>
                          <a:pt x="836" y="753"/>
                        </a:lnTo>
                        <a:lnTo>
                          <a:pt x="833" y="754"/>
                        </a:lnTo>
                        <a:lnTo>
                          <a:pt x="831" y="754"/>
                        </a:lnTo>
                        <a:lnTo>
                          <a:pt x="831" y="758"/>
                        </a:lnTo>
                        <a:lnTo>
                          <a:pt x="830" y="761"/>
                        </a:lnTo>
                        <a:lnTo>
                          <a:pt x="828" y="764"/>
                        </a:lnTo>
                        <a:lnTo>
                          <a:pt x="825" y="767"/>
                        </a:lnTo>
                        <a:lnTo>
                          <a:pt x="824" y="769"/>
                        </a:lnTo>
                        <a:lnTo>
                          <a:pt x="820" y="770"/>
                        </a:lnTo>
                        <a:lnTo>
                          <a:pt x="806" y="777"/>
                        </a:lnTo>
                        <a:lnTo>
                          <a:pt x="800" y="777"/>
                        </a:lnTo>
                        <a:lnTo>
                          <a:pt x="795" y="777"/>
                        </a:lnTo>
                        <a:lnTo>
                          <a:pt x="792" y="778"/>
                        </a:lnTo>
                        <a:lnTo>
                          <a:pt x="790" y="781"/>
                        </a:lnTo>
                        <a:lnTo>
                          <a:pt x="784" y="781"/>
                        </a:lnTo>
                        <a:lnTo>
                          <a:pt x="782" y="781"/>
                        </a:lnTo>
                        <a:lnTo>
                          <a:pt x="779" y="781"/>
                        </a:lnTo>
                        <a:lnTo>
                          <a:pt x="778" y="781"/>
                        </a:lnTo>
                        <a:lnTo>
                          <a:pt x="776" y="780"/>
                        </a:lnTo>
                        <a:lnTo>
                          <a:pt x="773" y="781"/>
                        </a:lnTo>
                        <a:lnTo>
                          <a:pt x="771" y="781"/>
                        </a:lnTo>
                        <a:lnTo>
                          <a:pt x="770" y="780"/>
                        </a:lnTo>
                        <a:lnTo>
                          <a:pt x="768" y="780"/>
                        </a:lnTo>
                        <a:lnTo>
                          <a:pt x="765" y="788"/>
                        </a:lnTo>
                        <a:lnTo>
                          <a:pt x="763" y="791"/>
                        </a:lnTo>
                        <a:lnTo>
                          <a:pt x="765" y="792"/>
                        </a:lnTo>
                        <a:lnTo>
                          <a:pt x="770" y="792"/>
                        </a:lnTo>
                        <a:lnTo>
                          <a:pt x="771" y="792"/>
                        </a:lnTo>
                        <a:lnTo>
                          <a:pt x="771" y="794"/>
                        </a:lnTo>
                        <a:lnTo>
                          <a:pt x="770" y="796"/>
                        </a:lnTo>
                        <a:lnTo>
                          <a:pt x="768" y="799"/>
                        </a:lnTo>
                        <a:lnTo>
                          <a:pt x="768" y="802"/>
                        </a:lnTo>
                        <a:lnTo>
                          <a:pt x="768" y="807"/>
                        </a:lnTo>
                        <a:lnTo>
                          <a:pt x="766" y="808"/>
                        </a:lnTo>
                        <a:lnTo>
                          <a:pt x="765" y="810"/>
                        </a:lnTo>
                        <a:lnTo>
                          <a:pt x="765" y="813"/>
                        </a:lnTo>
                        <a:lnTo>
                          <a:pt x="765" y="815"/>
                        </a:lnTo>
                        <a:lnTo>
                          <a:pt x="763" y="816"/>
                        </a:lnTo>
                        <a:lnTo>
                          <a:pt x="760" y="819"/>
                        </a:lnTo>
                        <a:lnTo>
                          <a:pt x="760" y="821"/>
                        </a:lnTo>
                        <a:lnTo>
                          <a:pt x="762" y="824"/>
                        </a:lnTo>
                        <a:lnTo>
                          <a:pt x="760" y="830"/>
                        </a:lnTo>
                        <a:lnTo>
                          <a:pt x="759" y="832"/>
                        </a:lnTo>
                        <a:lnTo>
                          <a:pt x="757" y="834"/>
                        </a:lnTo>
                        <a:lnTo>
                          <a:pt x="757" y="837"/>
                        </a:lnTo>
                        <a:lnTo>
                          <a:pt x="759" y="838"/>
                        </a:lnTo>
                        <a:lnTo>
                          <a:pt x="757" y="843"/>
                        </a:lnTo>
                        <a:lnTo>
                          <a:pt x="757" y="846"/>
                        </a:lnTo>
                        <a:lnTo>
                          <a:pt x="757" y="848"/>
                        </a:lnTo>
                        <a:lnTo>
                          <a:pt x="755" y="853"/>
                        </a:lnTo>
                        <a:lnTo>
                          <a:pt x="754" y="857"/>
                        </a:lnTo>
                        <a:lnTo>
                          <a:pt x="751" y="862"/>
                        </a:lnTo>
                        <a:lnTo>
                          <a:pt x="747" y="865"/>
                        </a:lnTo>
                        <a:lnTo>
                          <a:pt x="747" y="867"/>
                        </a:lnTo>
                        <a:lnTo>
                          <a:pt x="743" y="872"/>
                        </a:lnTo>
                        <a:lnTo>
                          <a:pt x="738" y="876"/>
                        </a:lnTo>
                        <a:lnTo>
                          <a:pt x="727" y="868"/>
                        </a:lnTo>
                        <a:lnTo>
                          <a:pt x="721" y="862"/>
                        </a:lnTo>
                        <a:lnTo>
                          <a:pt x="719" y="861"/>
                        </a:lnTo>
                        <a:lnTo>
                          <a:pt x="713" y="861"/>
                        </a:lnTo>
                        <a:lnTo>
                          <a:pt x="711" y="861"/>
                        </a:lnTo>
                        <a:lnTo>
                          <a:pt x="708" y="862"/>
                        </a:lnTo>
                        <a:lnTo>
                          <a:pt x="706" y="864"/>
                        </a:lnTo>
                        <a:lnTo>
                          <a:pt x="706" y="865"/>
                        </a:lnTo>
                        <a:lnTo>
                          <a:pt x="705" y="868"/>
                        </a:lnTo>
                        <a:lnTo>
                          <a:pt x="705" y="870"/>
                        </a:lnTo>
                        <a:lnTo>
                          <a:pt x="706" y="873"/>
                        </a:lnTo>
                        <a:lnTo>
                          <a:pt x="706" y="875"/>
                        </a:lnTo>
                        <a:lnTo>
                          <a:pt x="705" y="878"/>
                        </a:lnTo>
                        <a:lnTo>
                          <a:pt x="703" y="880"/>
                        </a:lnTo>
                        <a:lnTo>
                          <a:pt x="700" y="880"/>
                        </a:lnTo>
                        <a:lnTo>
                          <a:pt x="695" y="880"/>
                        </a:lnTo>
                        <a:lnTo>
                          <a:pt x="694" y="880"/>
                        </a:lnTo>
                        <a:lnTo>
                          <a:pt x="692" y="878"/>
                        </a:lnTo>
                        <a:lnTo>
                          <a:pt x="686" y="873"/>
                        </a:lnTo>
                        <a:lnTo>
                          <a:pt x="684" y="868"/>
                        </a:lnTo>
                        <a:lnTo>
                          <a:pt x="683" y="864"/>
                        </a:lnTo>
                        <a:lnTo>
                          <a:pt x="678" y="848"/>
                        </a:lnTo>
                        <a:lnTo>
                          <a:pt x="676" y="845"/>
                        </a:lnTo>
                        <a:lnTo>
                          <a:pt x="675" y="843"/>
                        </a:lnTo>
                        <a:lnTo>
                          <a:pt x="673" y="842"/>
                        </a:lnTo>
                        <a:lnTo>
                          <a:pt x="671" y="840"/>
                        </a:lnTo>
                        <a:lnTo>
                          <a:pt x="668" y="838"/>
                        </a:lnTo>
                        <a:lnTo>
                          <a:pt x="667" y="838"/>
                        </a:lnTo>
                        <a:lnTo>
                          <a:pt x="665" y="838"/>
                        </a:lnTo>
                        <a:lnTo>
                          <a:pt x="664" y="838"/>
                        </a:lnTo>
                        <a:lnTo>
                          <a:pt x="657" y="842"/>
                        </a:lnTo>
                        <a:lnTo>
                          <a:pt x="652" y="843"/>
                        </a:lnTo>
                        <a:lnTo>
                          <a:pt x="648" y="843"/>
                        </a:lnTo>
                        <a:lnTo>
                          <a:pt x="643" y="845"/>
                        </a:lnTo>
                        <a:lnTo>
                          <a:pt x="641" y="845"/>
                        </a:lnTo>
                        <a:lnTo>
                          <a:pt x="630" y="845"/>
                        </a:lnTo>
                        <a:lnTo>
                          <a:pt x="627" y="846"/>
                        </a:lnTo>
                        <a:lnTo>
                          <a:pt x="626" y="848"/>
                        </a:lnTo>
                        <a:lnTo>
                          <a:pt x="622" y="848"/>
                        </a:lnTo>
                        <a:lnTo>
                          <a:pt x="621" y="846"/>
                        </a:lnTo>
                        <a:lnTo>
                          <a:pt x="618" y="842"/>
                        </a:lnTo>
                        <a:lnTo>
                          <a:pt x="616" y="840"/>
                        </a:lnTo>
                        <a:lnTo>
                          <a:pt x="614" y="834"/>
                        </a:lnTo>
                        <a:lnTo>
                          <a:pt x="614" y="832"/>
                        </a:lnTo>
                        <a:lnTo>
                          <a:pt x="613" y="830"/>
                        </a:lnTo>
                        <a:lnTo>
                          <a:pt x="614" y="827"/>
                        </a:lnTo>
                        <a:lnTo>
                          <a:pt x="613" y="824"/>
                        </a:lnTo>
                        <a:lnTo>
                          <a:pt x="613" y="823"/>
                        </a:lnTo>
                        <a:lnTo>
                          <a:pt x="613" y="816"/>
                        </a:lnTo>
                        <a:lnTo>
                          <a:pt x="613" y="811"/>
                        </a:lnTo>
                        <a:lnTo>
                          <a:pt x="621" y="805"/>
                        </a:lnTo>
                        <a:lnTo>
                          <a:pt x="622" y="802"/>
                        </a:lnTo>
                        <a:lnTo>
                          <a:pt x="622" y="799"/>
                        </a:lnTo>
                        <a:lnTo>
                          <a:pt x="624" y="794"/>
                        </a:lnTo>
                        <a:lnTo>
                          <a:pt x="622" y="791"/>
                        </a:lnTo>
                        <a:lnTo>
                          <a:pt x="621" y="789"/>
                        </a:lnTo>
                        <a:lnTo>
                          <a:pt x="614" y="786"/>
                        </a:lnTo>
                        <a:lnTo>
                          <a:pt x="613" y="786"/>
                        </a:lnTo>
                        <a:lnTo>
                          <a:pt x="611" y="786"/>
                        </a:lnTo>
                        <a:lnTo>
                          <a:pt x="594" y="786"/>
                        </a:lnTo>
                        <a:lnTo>
                          <a:pt x="591" y="789"/>
                        </a:lnTo>
                        <a:lnTo>
                          <a:pt x="589" y="791"/>
                        </a:lnTo>
                        <a:lnTo>
                          <a:pt x="589" y="792"/>
                        </a:lnTo>
                        <a:lnTo>
                          <a:pt x="591" y="794"/>
                        </a:lnTo>
                        <a:lnTo>
                          <a:pt x="594" y="799"/>
                        </a:lnTo>
                        <a:lnTo>
                          <a:pt x="599" y="800"/>
                        </a:lnTo>
                        <a:lnTo>
                          <a:pt x="599" y="802"/>
                        </a:lnTo>
                        <a:lnTo>
                          <a:pt x="599" y="803"/>
                        </a:lnTo>
                        <a:lnTo>
                          <a:pt x="599" y="805"/>
                        </a:lnTo>
                        <a:lnTo>
                          <a:pt x="597" y="807"/>
                        </a:lnTo>
                        <a:lnTo>
                          <a:pt x="592" y="815"/>
                        </a:lnTo>
                        <a:lnTo>
                          <a:pt x="588" y="821"/>
                        </a:lnTo>
                        <a:lnTo>
                          <a:pt x="583" y="823"/>
                        </a:lnTo>
                        <a:lnTo>
                          <a:pt x="578" y="823"/>
                        </a:lnTo>
                        <a:lnTo>
                          <a:pt x="576" y="821"/>
                        </a:lnTo>
                        <a:lnTo>
                          <a:pt x="575" y="821"/>
                        </a:lnTo>
                        <a:lnTo>
                          <a:pt x="572" y="819"/>
                        </a:lnTo>
                        <a:lnTo>
                          <a:pt x="572" y="818"/>
                        </a:lnTo>
                        <a:lnTo>
                          <a:pt x="572" y="816"/>
                        </a:lnTo>
                        <a:lnTo>
                          <a:pt x="570" y="815"/>
                        </a:lnTo>
                        <a:lnTo>
                          <a:pt x="570" y="813"/>
                        </a:lnTo>
                        <a:lnTo>
                          <a:pt x="568" y="811"/>
                        </a:lnTo>
                        <a:lnTo>
                          <a:pt x="567" y="810"/>
                        </a:lnTo>
                        <a:lnTo>
                          <a:pt x="565" y="810"/>
                        </a:lnTo>
                        <a:lnTo>
                          <a:pt x="565" y="808"/>
                        </a:lnTo>
                        <a:lnTo>
                          <a:pt x="564" y="805"/>
                        </a:lnTo>
                        <a:lnTo>
                          <a:pt x="559" y="805"/>
                        </a:lnTo>
                        <a:lnTo>
                          <a:pt x="557" y="803"/>
                        </a:lnTo>
                        <a:lnTo>
                          <a:pt x="556" y="802"/>
                        </a:lnTo>
                        <a:lnTo>
                          <a:pt x="554" y="800"/>
                        </a:lnTo>
                        <a:lnTo>
                          <a:pt x="553" y="802"/>
                        </a:lnTo>
                        <a:lnTo>
                          <a:pt x="554" y="807"/>
                        </a:lnTo>
                        <a:lnTo>
                          <a:pt x="551" y="808"/>
                        </a:lnTo>
                        <a:lnTo>
                          <a:pt x="549" y="813"/>
                        </a:lnTo>
                        <a:lnTo>
                          <a:pt x="548" y="813"/>
                        </a:lnTo>
                        <a:lnTo>
                          <a:pt x="548" y="815"/>
                        </a:lnTo>
                        <a:lnTo>
                          <a:pt x="546" y="813"/>
                        </a:lnTo>
                        <a:lnTo>
                          <a:pt x="543" y="811"/>
                        </a:lnTo>
                        <a:lnTo>
                          <a:pt x="538" y="810"/>
                        </a:lnTo>
                        <a:lnTo>
                          <a:pt x="535" y="807"/>
                        </a:lnTo>
                        <a:lnTo>
                          <a:pt x="532" y="807"/>
                        </a:lnTo>
                        <a:lnTo>
                          <a:pt x="530" y="808"/>
                        </a:lnTo>
                        <a:lnTo>
                          <a:pt x="529" y="810"/>
                        </a:lnTo>
                        <a:lnTo>
                          <a:pt x="529" y="811"/>
                        </a:lnTo>
                        <a:lnTo>
                          <a:pt x="529" y="815"/>
                        </a:lnTo>
                        <a:lnTo>
                          <a:pt x="529" y="816"/>
                        </a:lnTo>
                        <a:lnTo>
                          <a:pt x="524" y="823"/>
                        </a:lnTo>
                        <a:lnTo>
                          <a:pt x="523" y="823"/>
                        </a:lnTo>
                        <a:lnTo>
                          <a:pt x="519" y="821"/>
                        </a:lnTo>
                        <a:lnTo>
                          <a:pt x="518" y="823"/>
                        </a:lnTo>
                        <a:lnTo>
                          <a:pt x="518" y="826"/>
                        </a:lnTo>
                        <a:lnTo>
                          <a:pt x="515" y="827"/>
                        </a:lnTo>
                        <a:lnTo>
                          <a:pt x="513" y="829"/>
                        </a:lnTo>
                        <a:lnTo>
                          <a:pt x="508" y="829"/>
                        </a:lnTo>
                        <a:lnTo>
                          <a:pt x="507" y="829"/>
                        </a:lnTo>
                        <a:lnTo>
                          <a:pt x="507" y="827"/>
                        </a:lnTo>
                        <a:lnTo>
                          <a:pt x="507" y="823"/>
                        </a:lnTo>
                        <a:lnTo>
                          <a:pt x="504" y="823"/>
                        </a:lnTo>
                        <a:lnTo>
                          <a:pt x="502" y="823"/>
                        </a:lnTo>
                        <a:lnTo>
                          <a:pt x="499" y="823"/>
                        </a:lnTo>
                        <a:lnTo>
                          <a:pt x="496" y="818"/>
                        </a:lnTo>
                        <a:lnTo>
                          <a:pt x="491" y="805"/>
                        </a:lnTo>
                        <a:lnTo>
                          <a:pt x="488" y="802"/>
                        </a:lnTo>
                        <a:lnTo>
                          <a:pt x="486" y="797"/>
                        </a:lnTo>
                        <a:lnTo>
                          <a:pt x="481" y="794"/>
                        </a:lnTo>
                        <a:lnTo>
                          <a:pt x="481" y="792"/>
                        </a:lnTo>
                        <a:lnTo>
                          <a:pt x="480" y="789"/>
                        </a:lnTo>
                        <a:lnTo>
                          <a:pt x="480" y="786"/>
                        </a:lnTo>
                        <a:lnTo>
                          <a:pt x="478" y="784"/>
                        </a:lnTo>
                        <a:lnTo>
                          <a:pt x="475" y="783"/>
                        </a:lnTo>
                        <a:lnTo>
                          <a:pt x="473" y="783"/>
                        </a:lnTo>
                        <a:lnTo>
                          <a:pt x="467" y="781"/>
                        </a:lnTo>
                        <a:lnTo>
                          <a:pt x="459" y="781"/>
                        </a:lnTo>
                        <a:lnTo>
                          <a:pt x="459" y="784"/>
                        </a:lnTo>
                        <a:lnTo>
                          <a:pt x="459" y="789"/>
                        </a:lnTo>
                        <a:lnTo>
                          <a:pt x="459" y="792"/>
                        </a:lnTo>
                        <a:lnTo>
                          <a:pt x="456" y="792"/>
                        </a:lnTo>
                        <a:lnTo>
                          <a:pt x="453" y="791"/>
                        </a:lnTo>
                        <a:lnTo>
                          <a:pt x="451" y="789"/>
                        </a:lnTo>
                        <a:lnTo>
                          <a:pt x="451" y="781"/>
                        </a:lnTo>
                        <a:lnTo>
                          <a:pt x="448" y="780"/>
                        </a:lnTo>
                        <a:lnTo>
                          <a:pt x="445" y="780"/>
                        </a:lnTo>
                        <a:lnTo>
                          <a:pt x="442" y="781"/>
                        </a:lnTo>
                        <a:lnTo>
                          <a:pt x="442" y="780"/>
                        </a:lnTo>
                        <a:lnTo>
                          <a:pt x="443" y="775"/>
                        </a:lnTo>
                        <a:lnTo>
                          <a:pt x="442" y="772"/>
                        </a:lnTo>
                        <a:lnTo>
                          <a:pt x="440" y="772"/>
                        </a:lnTo>
                        <a:lnTo>
                          <a:pt x="439" y="773"/>
                        </a:lnTo>
                        <a:lnTo>
                          <a:pt x="437" y="773"/>
                        </a:lnTo>
                        <a:lnTo>
                          <a:pt x="435" y="773"/>
                        </a:lnTo>
                        <a:lnTo>
                          <a:pt x="431" y="762"/>
                        </a:lnTo>
                        <a:lnTo>
                          <a:pt x="432" y="762"/>
                        </a:lnTo>
                        <a:lnTo>
                          <a:pt x="437" y="762"/>
                        </a:lnTo>
                        <a:lnTo>
                          <a:pt x="443" y="764"/>
                        </a:lnTo>
                        <a:lnTo>
                          <a:pt x="448" y="764"/>
                        </a:lnTo>
                        <a:lnTo>
                          <a:pt x="450" y="762"/>
                        </a:lnTo>
                        <a:lnTo>
                          <a:pt x="450" y="761"/>
                        </a:lnTo>
                        <a:lnTo>
                          <a:pt x="447" y="758"/>
                        </a:lnTo>
                        <a:lnTo>
                          <a:pt x="445" y="753"/>
                        </a:lnTo>
                        <a:lnTo>
                          <a:pt x="447" y="746"/>
                        </a:lnTo>
                        <a:lnTo>
                          <a:pt x="447" y="745"/>
                        </a:lnTo>
                        <a:lnTo>
                          <a:pt x="445" y="742"/>
                        </a:lnTo>
                        <a:lnTo>
                          <a:pt x="447" y="739"/>
                        </a:lnTo>
                        <a:lnTo>
                          <a:pt x="450" y="735"/>
                        </a:lnTo>
                        <a:lnTo>
                          <a:pt x="450" y="734"/>
                        </a:lnTo>
                        <a:lnTo>
                          <a:pt x="450" y="732"/>
                        </a:lnTo>
                        <a:lnTo>
                          <a:pt x="448" y="732"/>
                        </a:lnTo>
                        <a:lnTo>
                          <a:pt x="445" y="731"/>
                        </a:lnTo>
                        <a:lnTo>
                          <a:pt x="440" y="726"/>
                        </a:lnTo>
                        <a:lnTo>
                          <a:pt x="437" y="726"/>
                        </a:lnTo>
                        <a:lnTo>
                          <a:pt x="434" y="727"/>
                        </a:lnTo>
                        <a:lnTo>
                          <a:pt x="431" y="727"/>
                        </a:lnTo>
                        <a:lnTo>
                          <a:pt x="429" y="727"/>
                        </a:lnTo>
                        <a:lnTo>
                          <a:pt x="428" y="724"/>
                        </a:lnTo>
                        <a:lnTo>
                          <a:pt x="424" y="721"/>
                        </a:lnTo>
                        <a:lnTo>
                          <a:pt x="424" y="718"/>
                        </a:lnTo>
                        <a:lnTo>
                          <a:pt x="424" y="715"/>
                        </a:lnTo>
                        <a:lnTo>
                          <a:pt x="423" y="715"/>
                        </a:lnTo>
                        <a:lnTo>
                          <a:pt x="423" y="713"/>
                        </a:lnTo>
                        <a:lnTo>
                          <a:pt x="413" y="712"/>
                        </a:lnTo>
                        <a:lnTo>
                          <a:pt x="410" y="713"/>
                        </a:lnTo>
                        <a:lnTo>
                          <a:pt x="407" y="713"/>
                        </a:lnTo>
                        <a:lnTo>
                          <a:pt x="402" y="708"/>
                        </a:lnTo>
                        <a:lnTo>
                          <a:pt x="393" y="710"/>
                        </a:lnTo>
                        <a:lnTo>
                          <a:pt x="391" y="707"/>
                        </a:lnTo>
                        <a:lnTo>
                          <a:pt x="389" y="705"/>
                        </a:lnTo>
                        <a:lnTo>
                          <a:pt x="385" y="705"/>
                        </a:lnTo>
                        <a:lnTo>
                          <a:pt x="377" y="699"/>
                        </a:lnTo>
                        <a:lnTo>
                          <a:pt x="372" y="696"/>
                        </a:lnTo>
                        <a:lnTo>
                          <a:pt x="369" y="696"/>
                        </a:lnTo>
                        <a:lnTo>
                          <a:pt x="366" y="699"/>
                        </a:lnTo>
                        <a:lnTo>
                          <a:pt x="363" y="701"/>
                        </a:lnTo>
                        <a:lnTo>
                          <a:pt x="361" y="702"/>
                        </a:lnTo>
                        <a:lnTo>
                          <a:pt x="361" y="705"/>
                        </a:lnTo>
                        <a:lnTo>
                          <a:pt x="361" y="707"/>
                        </a:lnTo>
                        <a:lnTo>
                          <a:pt x="359" y="708"/>
                        </a:lnTo>
                        <a:lnTo>
                          <a:pt x="358" y="708"/>
                        </a:lnTo>
                        <a:lnTo>
                          <a:pt x="356" y="707"/>
                        </a:lnTo>
                        <a:lnTo>
                          <a:pt x="355" y="704"/>
                        </a:lnTo>
                        <a:lnTo>
                          <a:pt x="347" y="702"/>
                        </a:lnTo>
                        <a:lnTo>
                          <a:pt x="344" y="701"/>
                        </a:lnTo>
                        <a:lnTo>
                          <a:pt x="339" y="696"/>
                        </a:lnTo>
                        <a:lnTo>
                          <a:pt x="339" y="694"/>
                        </a:lnTo>
                        <a:lnTo>
                          <a:pt x="336" y="689"/>
                        </a:lnTo>
                        <a:lnTo>
                          <a:pt x="336" y="688"/>
                        </a:lnTo>
                        <a:lnTo>
                          <a:pt x="336" y="686"/>
                        </a:lnTo>
                        <a:lnTo>
                          <a:pt x="336" y="685"/>
                        </a:lnTo>
                        <a:lnTo>
                          <a:pt x="340" y="683"/>
                        </a:lnTo>
                        <a:lnTo>
                          <a:pt x="342" y="678"/>
                        </a:lnTo>
                        <a:lnTo>
                          <a:pt x="344" y="677"/>
                        </a:lnTo>
                        <a:lnTo>
                          <a:pt x="344" y="674"/>
                        </a:lnTo>
                        <a:lnTo>
                          <a:pt x="342" y="672"/>
                        </a:lnTo>
                        <a:lnTo>
                          <a:pt x="340" y="667"/>
                        </a:lnTo>
                        <a:lnTo>
                          <a:pt x="342" y="666"/>
                        </a:lnTo>
                        <a:lnTo>
                          <a:pt x="342" y="664"/>
                        </a:lnTo>
                        <a:lnTo>
                          <a:pt x="345" y="664"/>
                        </a:lnTo>
                        <a:lnTo>
                          <a:pt x="350" y="663"/>
                        </a:lnTo>
                        <a:lnTo>
                          <a:pt x="351" y="661"/>
                        </a:lnTo>
                        <a:lnTo>
                          <a:pt x="351" y="659"/>
                        </a:lnTo>
                        <a:lnTo>
                          <a:pt x="350" y="658"/>
                        </a:lnTo>
                        <a:lnTo>
                          <a:pt x="344" y="655"/>
                        </a:lnTo>
                        <a:lnTo>
                          <a:pt x="342" y="655"/>
                        </a:lnTo>
                        <a:lnTo>
                          <a:pt x="342" y="653"/>
                        </a:lnTo>
                        <a:lnTo>
                          <a:pt x="342" y="651"/>
                        </a:lnTo>
                        <a:lnTo>
                          <a:pt x="342" y="648"/>
                        </a:lnTo>
                        <a:lnTo>
                          <a:pt x="340" y="647"/>
                        </a:lnTo>
                        <a:lnTo>
                          <a:pt x="339" y="647"/>
                        </a:lnTo>
                        <a:lnTo>
                          <a:pt x="336" y="645"/>
                        </a:lnTo>
                        <a:lnTo>
                          <a:pt x="329" y="642"/>
                        </a:lnTo>
                        <a:lnTo>
                          <a:pt x="326" y="640"/>
                        </a:lnTo>
                        <a:lnTo>
                          <a:pt x="326" y="632"/>
                        </a:lnTo>
                        <a:lnTo>
                          <a:pt x="326" y="629"/>
                        </a:lnTo>
                        <a:lnTo>
                          <a:pt x="325" y="626"/>
                        </a:lnTo>
                        <a:lnTo>
                          <a:pt x="326" y="623"/>
                        </a:lnTo>
                        <a:lnTo>
                          <a:pt x="328" y="623"/>
                        </a:lnTo>
                        <a:lnTo>
                          <a:pt x="334" y="624"/>
                        </a:lnTo>
                        <a:lnTo>
                          <a:pt x="340" y="628"/>
                        </a:lnTo>
                        <a:lnTo>
                          <a:pt x="340" y="624"/>
                        </a:lnTo>
                        <a:lnTo>
                          <a:pt x="339" y="621"/>
                        </a:lnTo>
                        <a:lnTo>
                          <a:pt x="342" y="617"/>
                        </a:lnTo>
                        <a:lnTo>
                          <a:pt x="342" y="615"/>
                        </a:lnTo>
                        <a:lnTo>
                          <a:pt x="337" y="612"/>
                        </a:lnTo>
                        <a:lnTo>
                          <a:pt x="337" y="609"/>
                        </a:lnTo>
                        <a:lnTo>
                          <a:pt x="337" y="605"/>
                        </a:lnTo>
                        <a:lnTo>
                          <a:pt x="336" y="604"/>
                        </a:lnTo>
                        <a:lnTo>
                          <a:pt x="331" y="602"/>
                        </a:lnTo>
                        <a:lnTo>
                          <a:pt x="329" y="602"/>
                        </a:lnTo>
                        <a:lnTo>
                          <a:pt x="328" y="601"/>
                        </a:lnTo>
                        <a:lnTo>
                          <a:pt x="325" y="598"/>
                        </a:lnTo>
                        <a:lnTo>
                          <a:pt x="323" y="594"/>
                        </a:lnTo>
                        <a:lnTo>
                          <a:pt x="323" y="593"/>
                        </a:lnTo>
                        <a:lnTo>
                          <a:pt x="321" y="591"/>
                        </a:lnTo>
                        <a:lnTo>
                          <a:pt x="318" y="591"/>
                        </a:lnTo>
                        <a:lnTo>
                          <a:pt x="317" y="590"/>
                        </a:lnTo>
                        <a:lnTo>
                          <a:pt x="315" y="590"/>
                        </a:lnTo>
                        <a:lnTo>
                          <a:pt x="312" y="591"/>
                        </a:lnTo>
                        <a:lnTo>
                          <a:pt x="309" y="590"/>
                        </a:lnTo>
                        <a:lnTo>
                          <a:pt x="307" y="588"/>
                        </a:lnTo>
                        <a:lnTo>
                          <a:pt x="306" y="586"/>
                        </a:lnTo>
                        <a:lnTo>
                          <a:pt x="306" y="585"/>
                        </a:lnTo>
                        <a:lnTo>
                          <a:pt x="306" y="583"/>
                        </a:lnTo>
                        <a:lnTo>
                          <a:pt x="307" y="582"/>
                        </a:lnTo>
                        <a:lnTo>
                          <a:pt x="310" y="579"/>
                        </a:lnTo>
                        <a:lnTo>
                          <a:pt x="313" y="571"/>
                        </a:lnTo>
                        <a:lnTo>
                          <a:pt x="317" y="566"/>
                        </a:lnTo>
                        <a:lnTo>
                          <a:pt x="312" y="566"/>
                        </a:lnTo>
                        <a:lnTo>
                          <a:pt x="310" y="566"/>
                        </a:lnTo>
                        <a:lnTo>
                          <a:pt x="309" y="567"/>
                        </a:lnTo>
                        <a:lnTo>
                          <a:pt x="304" y="567"/>
                        </a:lnTo>
                        <a:lnTo>
                          <a:pt x="302" y="569"/>
                        </a:lnTo>
                        <a:lnTo>
                          <a:pt x="299" y="572"/>
                        </a:lnTo>
                        <a:lnTo>
                          <a:pt x="296" y="572"/>
                        </a:lnTo>
                        <a:lnTo>
                          <a:pt x="293" y="575"/>
                        </a:lnTo>
                        <a:lnTo>
                          <a:pt x="293" y="577"/>
                        </a:lnTo>
                        <a:lnTo>
                          <a:pt x="291" y="580"/>
                        </a:lnTo>
                        <a:lnTo>
                          <a:pt x="290" y="580"/>
                        </a:lnTo>
                        <a:lnTo>
                          <a:pt x="288" y="580"/>
                        </a:lnTo>
                        <a:lnTo>
                          <a:pt x="287" y="579"/>
                        </a:lnTo>
                        <a:lnTo>
                          <a:pt x="282" y="580"/>
                        </a:lnTo>
                        <a:lnTo>
                          <a:pt x="280" y="580"/>
                        </a:lnTo>
                        <a:lnTo>
                          <a:pt x="280" y="579"/>
                        </a:lnTo>
                        <a:lnTo>
                          <a:pt x="279" y="577"/>
                        </a:lnTo>
                        <a:lnTo>
                          <a:pt x="280" y="575"/>
                        </a:lnTo>
                        <a:lnTo>
                          <a:pt x="288" y="567"/>
                        </a:lnTo>
                        <a:lnTo>
                          <a:pt x="290" y="566"/>
                        </a:lnTo>
                        <a:lnTo>
                          <a:pt x="290" y="564"/>
                        </a:lnTo>
                        <a:lnTo>
                          <a:pt x="287" y="564"/>
                        </a:lnTo>
                        <a:lnTo>
                          <a:pt x="282" y="566"/>
                        </a:lnTo>
                        <a:lnTo>
                          <a:pt x="279" y="563"/>
                        </a:lnTo>
                        <a:lnTo>
                          <a:pt x="277" y="564"/>
                        </a:lnTo>
                        <a:lnTo>
                          <a:pt x="275" y="564"/>
                        </a:lnTo>
                        <a:lnTo>
                          <a:pt x="272" y="564"/>
                        </a:lnTo>
                        <a:lnTo>
                          <a:pt x="269" y="563"/>
                        </a:lnTo>
                        <a:lnTo>
                          <a:pt x="269" y="558"/>
                        </a:lnTo>
                        <a:lnTo>
                          <a:pt x="271" y="553"/>
                        </a:lnTo>
                        <a:lnTo>
                          <a:pt x="274" y="555"/>
                        </a:lnTo>
                        <a:lnTo>
                          <a:pt x="279" y="553"/>
                        </a:lnTo>
                        <a:lnTo>
                          <a:pt x="280" y="555"/>
                        </a:lnTo>
                        <a:lnTo>
                          <a:pt x="282" y="556"/>
                        </a:lnTo>
                        <a:lnTo>
                          <a:pt x="283" y="558"/>
                        </a:lnTo>
                        <a:lnTo>
                          <a:pt x="285" y="556"/>
                        </a:lnTo>
                        <a:lnTo>
                          <a:pt x="287" y="556"/>
                        </a:lnTo>
                        <a:lnTo>
                          <a:pt x="290" y="556"/>
                        </a:lnTo>
                        <a:lnTo>
                          <a:pt x="291" y="553"/>
                        </a:lnTo>
                        <a:lnTo>
                          <a:pt x="288" y="548"/>
                        </a:lnTo>
                        <a:lnTo>
                          <a:pt x="277" y="547"/>
                        </a:lnTo>
                        <a:lnTo>
                          <a:pt x="272" y="544"/>
                        </a:lnTo>
                        <a:lnTo>
                          <a:pt x="269" y="542"/>
                        </a:lnTo>
                        <a:lnTo>
                          <a:pt x="269" y="539"/>
                        </a:lnTo>
                        <a:lnTo>
                          <a:pt x="269" y="536"/>
                        </a:lnTo>
                        <a:lnTo>
                          <a:pt x="269" y="534"/>
                        </a:lnTo>
                        <a:lnTo>
                          <a:pt x="269" y="533"/>
                        </a:lnTo>
                        <a:lnTo>
                          <a:pt x="271" y="529"/>
                        </a:lnTo>
                        <a:lnTo>
                          <a:pt x="272" y="525"/>
                        </a:lnTo>
                        <a:lnTo>
                          <a:pt x="272" y="523"/>
                        </a:lnTo>
                        <a:lnTo>
                          <a:pt x="274" y="520"/>
                        </a:lnTo>
                        <a:lnTo>
                          <a:pt x="274" y="518"/>
                        </a:lnTo>
                        <a:lnTo>
                          <a:pt x="272" y="517"/>
                        </a:lnTo>
                        <a:lnTo>
                          <a:pt x="260" y="520"/>
                        </a:lnTo>
                        <a:lnTo>
                          <a:pt x="258" y="520"/>
                        </a:lnTo>
                        <a:lnTo>
                          <a:pt x="255" y="522"/>
                        </a:lnTo>
                        <a:lnTo>
                          <a:pt x="250" y="522"/>
                        </a:lnTo>
                        <a:lnTo>
                          <a:pt x="249" y="520"/>
                        </a:lnTo>
                        <a:lnTo>
                          <a:pt x="249" y="518"/>
                        </a:lnTo>
                        <a:lnTo>
                          <a:pt x="249" y="517"/>
                        </a:lnTo>
                        <a:lnTo>
                          <a:pt x="250" y="517"/>
                        </a:lnTo>
                        <a:lnTo>
                          <a:pt x="258" y="514"/>
                        </a:lnTo>
                        <a:lnTo>
                          <a:pt x="261" y="507"/>
                        </a:lnTo>
                        <a:lnTo>
                          <a:pt x="263" y="506"/>
                        </a:lnTo>
                        <a:lnTo>
                          <a:pt x="263" y="504"/>
                        </a:lnTo>
                        <a:lnTo>
                          <a:pt x="264" y="501"/>
                        </a:lnTo>
                        <a:lnTo>
                          <a:pt x="264" y="499"/>
                        </a:lnTo>
                        <a:lnTo>
                          <a:pt x="264" y="495"/>
                        </a:lnTo>
                        <a:lnTo>
                          <a:pt x="261" y="490"/>
                        </a:lnTo>
                        <a:lnTo>
                          <a:pt x="260" y="491"/>
                        </a:lnTo>
                        <a:lnTo>
                          <a:pt x="256" y="496"/>
                        </a:lnTo>
                        <a:lnTo>
                          <a:pt x="255" y="496"/>
                        </a:lnTo>
                        <a:lnTo>
                          <a:pt x="244" y="501"/>
                        </a:lnTo>
                        <a:lnTo>
                          <a:pt x="247" y="493"/>
                        </a:lnTo>
                        <a:lnTo>
                          <a:pt x="252" y="488"/>
                        </a:lnTo>
                        <a:lnTo>
                          <a:pt x="253" y="484"/>
                        </a:lnTo>
                        <a:lnTo>
                          <a:pt x="249" y="484"/>
                        </a:lnTo>
                        <a:lnTo>
                          <a:pt x="245" y="480"/>
                        </a:lnTo>
                        <a:lnTo>
                          <a:pt x="244" y="476"/>
                        </a:lnTo>
                        <a:lnTo>
                          <a:pt x="245" y="472"/>
                        </a:lnTo>
                        <a:lnTo>
                          <a:pt x="249" y="471"/>
                        </a:lnTo>
                        <a:lnTo>
                          <a:pt x="253" y="469"/>
                        </a:lnTo>
                        <a:lnTo>
                          <a:pt x="256" y="465"/>
                        </a:lnTo>
                        <a:lnTo>
                          <a:pt x="258" y="463"/>
                        </a:lnTo>
                        <a:lnTo>
                          <a:pt x="255" y="460"/>
                        </a:lnTo>
                        <a:lnTo>
                          <a:pt x="245" y="458"/>
                        </a:lnTo>
                        <a:lnTo>
                          <a:pt x="244" y="457"/>
                        </a:lnTo>
                        <a:lnTo>
                          <a:pt x="245" y="455"/>
                        </a:lnTo>
                        <a:lnTo>
                          <a:pt x="247" y="453"/>
                        </a:lnTo>
                        <a:lnTo>
                          <a:pt x="249" y="450"/>
                        </a:lnTo>
                        <a:lnTo>
                          <a:pt x="250" y="442"/>
                        </a:lnTo>
                        <a:lnTo>
                          <a:pt x="249" y="442"/>
                        </a:lnTo>
                        <a:lnTo>
                          <a:pt x="242" y="446"/>
                        </a:lnTo>
                        <a:lnTo>
                          <a:pt x="239" y="441"/>
                        </a:lnTo>
                        <a:lnTo>
                          <a:pt x="237" y="441"/>
                        </a:lnTo>
                        <a:lnTo>
                          <a:pt x="237" y="444"/>
                        </a:lnTo>
                        <a:lnTo>
                          <a:pt x="234" y="446"/>
                        </a:lnTo>
                        <a:lnTo>
                          <a:pt x="230" y="450"/>
                        </a:lnTo>
                        <a:lnTo>
                          <a:pt x="228" y="452"/>
                        </a:lnTo>
                        <a:lnTo>
                          <a:pt x="222" y="455"/>
                        </a:lnTo>
                        <a:lnTo>
                          <a:pt x="218" y="455"/>
                        </a:lnTo>
                        <a:lnTo>
                          <a:pt x="214" y="453"/>
                        </a:lnTo>
                        <a:lnTo>
                          <a:pt x="211" y="450"/>
                        </a:lnTo>
                        <a:lnTo>
                          <a:pt x="203" y="455"/>
                        </a:lnTo>
                        <a:lnTo>
                          <a:pt x="201" y="450"/>
                        </a:lnTo>
                        <a:lnTo>
                          <a:pt x="204" y="446"/>
                        </a:lnTo>
                        <a:lnTo>
                          <a:pt x="201" y="444"/>
                        </a:lnTo>
                        <a:lnTo>
                          <a:pt x="198" y="442"/>
                        </a:lnTo>
                        <a:lnTo>
                          <a:pt x="191" y="439"/>
                        </a:lnTo>
                        <a:lnTo>
                          <a:pt x="190" y="438"/>
                        </a:lnTo>
                        <a:lnTo>
                          <a:pt x="191" y="436"/>
                        </a:lnTo>
                        <a:lnTo>
                          <a:pt x="191" y="431"/>
                        </a:lnTo>
                        <a:lnTo>
                          <a:pt x="190" y="431"/>
                        </a:lnTo>
                        <a:lnTo>
                          <a:pt x="182" y="439"/>
                        </a:lnTo>
                        <a:lnTo>
                          <a:pt x="176" y="436"/>
                        </a:lnTo>
                        <a:lnTo>
                          <a:pt x="171" y="436"/>
                        </a:lnTo>
                        <a:lnTo>
                          <a:pt x="168" y="436"/>
                        </a:lnTo>
                        <a:lnTo>
                          <a:pt x="165" y="436"/>
                        </a:lnTo>
                        <a:lnTo>
                          <a:pt x="160" y="438"/>
                        </a:lnTo>
                        <a:lnTo>
                          <a:pt x="155" y="439"/>
                        </a:lnTo>
                        <a:lnTo>
                          <a:pt x="153" y="438"/>
                        </a:lnTo>
                        <a:lnTo>
                          <a:pt x="152" y="436"/>
                        </a:lnTo>
                        <a:lnTo>
                          <a:pt x="149" y="436"/>
                        </a:lnTo>
                        <a:lnTo>
                          <a:pt x="147" y="436"/>
                        </a:lnTo>
                        <a:lnTo>
                          <a:pt x="146" y="436"/>
                        </a:lnTo>
                        <a:lnTo>
                          <a:pt x="146" y="439"/>
                        </a:lnTo>
                        <a:lnTo>
                          <a:pt x="142" y="439"/>
                        </a:lnTo>
                        <a:lnTo>
                          <a:pt x="141" y="438"/>
                        </a:lnTo>
                        <a:lnTo>
                          <a:pt x="136" y="433"/>
                        </a:lnTo>
                        <a:lnTo>
                          <a:pt x="134" y="433"/>
                        </a:lnTo>
                        <a:lnTo>
                          <a:pt x="131" y="434"/>
                        </a:lnTo>
                        <a:lnTo>
                          <a:pt x="130" y="434"/>
                        </a:lnTo>
                        <a:lnTo>
                          <a:pt x="130" y="436"/>
                        </a:lnTo>
                        <a:lnTo>
                          <a:pt x="131" y="438"/>
                        </a:lnTo>
                        <a:lnTo>
                          <a:pt x="133" y="438"/>
                        </a:lnTo>
                        <a:lnTo>
                          <a:pt x="133" y="441"/>
                        </a:lnTo>
                        <a:lnTo>
                          <a:pt x="131" y="442"/>
                        </a:lnTo>
                        <a:lnTo>
                          <a:pt x="130" y="442"/>
                        </a:lnTo>
                        <a:lnTo>
                          <a:pt x="130" y="441"/>
                        </a:lnTo>
                        <a:lnTo>
                          <a:pt x="128" y="441"/>
                        </a:lnTo>
                        <a:lnTo>
                          <a:pt x="125" y="444"/>
                        </a:lnTo>
                        <a:lnTo>
                          <a:pt x="122" y="444"/>
                        </a:lnTo>
                        <a:lnTo>
                          <a:pt x="117" y="449"/>
                        </a:lnTo>
                        <a:lnTo>
                          <a:pt x="115" y="449"/>
                        </a:lnTo>
                        <a:lnTo>
                          <a:pt x="112" y="449"/>
                        </a:lnTo>
                        <a:lnTo>
                          <a:pt x="106" y="446"/>
                        </a:lnTo>
                        <a:lnTo>
                          <a:pt x="103" y="444"/>
                        </a:lnTo>
                        <a:lnTo>
                          <a:pt x="101" y="444"/>
                        </a:lnTo>
                        <a:lnTo>
                          <a:pt x="101" y="442"/>
                        </a:lnTo>
                        <a:lnTo>
                          <a:pt x="103" y="441"/>
                        </a:lnTo>
                        <a:lnTo>
                          <a:pt x="101" y="441"/>
                        </a:lnTo>
                        <a:lnTo>
                          <a:pt x="100" y="441"/>
                        </a:lnTo>
                        <a:lnTo>
                          <a:pt x="98" y="442"/>
                        </a:lnTo>
                        <a:lnTo>
                          <a:pt x="93" y="453"/>
                        </a:lnTo>
                        <a:lnTo>
                          <a:pt x="92" y="455"/>
                        </a:lnTo>
                        <a:lnTo>
                          <a:pt x="90" y="453"/>
                        </a:lnTo>
                        <a:lnTo>
                          <a:pt x="89" y="453"/>
                        </a:lnTo>
                        <a:lnTo>
                          <a:pt x="84" y="449"/>
                        </a:lnTo>
                        <a:lnTo>
                          <a:pt x="77" y="450"/>
                        </a:lnTo>
                        <a:lnTo>
                          <a:pt x="74" y="449"/>
                        </a:lnTo>
                        <a:lnTo>
                          <a:pt x="68" y="449"/>
                        </a:lnTo>
                        <a:lnTo>
                          <a:pt x="65" y="444"/>
                        </a:lnTo>
                        <a:lnTo>
                          <a:pt x="62" y="441"/>
                        </a:lnTo>
                        <a:lnTo>
                          <a:pt x="58" y="441"/>
                        </a:lnTo>
                        <a:lnTo>
                          <a:pt x="58" y="434"/>
                        </a:lnTo>
                        <a:lnTo>
                          <a:pt x="57" y="433"/>
                        </a:lnTo>
                        <a:lnTo>
                          <a:pt x="55" y="431"/>
                        </a:lnTo>
                        <a:lnTo>
                          <a:pt x="52" y="431"/>
                        </a:lnTo>
                        <a:lnTo>
                          <a:pt x="49" y="433"/>
                        </a:lnTo>
                        <a:lnTo>
                          <a:pt x="47" y="433"/>
                        </a:lnTo>
                        <a:lnTo>
                          <a:pt x="46" y="430"/>
                        </a:lnTo>
                        <a:lnTo>
                          <a:pt x="44" y="425"/>
                        </a:lnTo>
                        <a:lnTo>
                          <a:pt x="44" y="423"/>
                        </a:lnTo>
                        <a:lnTo>
                          <a:pt x="44" y="422"/>
                        </a:lnTo>
                        <a:lnTo>
                          <a:pt x="41" y="420"/>
                        </a:lnTo>
                        <a:lnTo>
                          <a:pt x="35" y="419"/>
                        </a:lnTo>
                        <a:lnTo>
                          <a:pt x="30" y="417"/>
                        </a:lnTo>
                        <a:lnTo>
                          <a:pt x="28" y="414"/>
                        </a:lnTo>
                        <a:lnTo>
                          <a:pt x="28" y="412"/>
                        </a:lnTo>
                        <a:lnTo>
                          <a:pt x="32" y="411"/>
                        </a:lnTo>
                        <a:lnTo>
                          <a:pt x="32" y="409"/>
                        </a:lnTo>
                        <a:lnTo>
                          <a:pt x="32" y="407"/>
                        </a:lnTo>
                        <a:lnTo>
                          <a:pt x="33" y="407"/>
                        </a:lnTo>
                        <a:lnTo>
                          <a:pt x="32" y="406"/>
                        </a:lnTo>
                        <a:lnTo>
                          <a:pt x="30" y="403"/>
                        </a:lnTo>
                        <a:lnTo>
                          <a:pt x="30" y="400"/>
                        </a:lnTo>
                        <a:lnTo>
                          <a:pt x="28" y="398"/>
                        </a:lnTo>
                        <a:lnTo>
                          <a:pt x="24" y="398"/>
                        </a:lnTo>
                        <a:lnTo>
                          <a:pt x="22" y="400"/>
                        </a:lnTo>
                        <a:lnTo>
                          <a:pt x="19" y="398"/>
                        </a:lnTo>
                        <a:lnTo>
                          <a:pt x="17" y="396"/>
                        </a:lnTo>
                        <a:lnTo>
                          <a:pt x="19" y="393"/>
                        </a:lnTo>
                        <a:lnTo>
                          <a:pt x="11" y="379"/>
                        </a:lnTo>
                        <a:lnTo>
                          <a:pt x="9" y="377"/>
                        </a:lnTo>
                        <a:lnTo>
                          <a:pt x="6" y="374"/>
                        </a:lnTo>
                        <a:lnTo>
                          <a:pt x="5" y="373"/>
                        </a:lnTo>
                        <a:lnTo>
                          <a:pt x="5" y="368"/>
                        </a:lnTo>
                        <a:lnTo>
                          <a:pt x="3" y="369"/>
                        </a:lnTo>
                        <a:lnTo>
                          <a:pt x="0" y="369"/>
                        </a:lnTo>
                        <a:lnTo>
                          <a:pt x="0" y="368"/>
                        </a:lnTo>
                        <a:lnTo>
                          <a:pt x="1" y="366"/>
                        </a:lnTo>
                        <a:lnTo>
                          <a:pt x="0" y="363"/>
                        </a:lnTo>
                        <a:lnTo>
                          <a:pt x="0" y="362"/>
                        </a:lnTo>
                        <a:lnTo>
                          <a:pt x="0" y="360"/>
                        </a:lnTo>
                        <a:lnTo>
                          <a:pt x="0" y="357"/>
                        </a:lnTo>
                        <a:lnTo>
                          <a:pt x="3" y="352"/>
                        </a:lnTo>
                        <a:lnTo>
                          <a:pt x="3" y="350"/>
                        </a:lnTo>
                        <a:lnTo>
                          <a:pt x="1" y="347"/>
                        </a:lnTo>
                        <a:lnTo>
                          <a:pt x="1" y="346"/>
                        </a:lnTo>
                        <a:lnTo>
                          <a:pt x="3" y="344"/>
                        </a:lnTo>
                        <a:lnTo>
                          <a:pt x="5" y="343"/>
                        </a:lnTo>
                        <a:lnTo>
                          <a:pt x="5" y="341"/>
                        </a:lnTo>
                        <a:lnTo>
                          <a:pt x="5" y="339"/>
                        </a:lnTo>
                        <a:lnTo>
                          <a:pt x="6" y="339"/>
                        </a:lnTo>
                        <a:lnTo>
                          <a:pt x="6" y="338"/>
                        </a:lnTo>
                        <a:lnTo>
                          <a:pt x="9" y="335"/>
                        </a:lnTo>
                        <a:lnTo>
                          <a:pt x="11" y="333"/>
                        </a:lnTo>
                        <a:lnTo>
                          <a:pt x="12" y="328"/>
                        </a:lnTo>
                        <a:lnTo>
                          <a:pt x="14" y="327"/>
                        </a:lnTo>
                        <a:lnTo>
                          <a:pt x="14" y="325"/>
                        </a:lnTo>
                        <a:lnTo>
                          <a:pt x="16" y="319"/>
                        </a:lnTo>
                        <a:lnTo>
                          <a:pt x="17" y="317"/>
                        </a:lnTo>
                        <a:lnTo>
                          <a:pt x="20" y="311"/>
                        </a:lnTo>
                        <a:lnTo>
                          <a:pt x="22" y="305"/>
                        </a:lnTo>
                        <a:lnTo>
                          <a:pt x="25" y="293"/>
                        </a:lnTo>
                        <a:lnTo>
                          <a:pt x="27" y="290"/>
                        </a:lnTo>
                        <a:lnTo>
                          <a:pt x="28" y="289"/>
                        </a:lnTo>
                        <a:lnTo>
                          <a:pt x="30" y="287"/>
                        </a:lnTo>
                        <a:lnTo>
                          <a:pt x="32" y="284"/>
                        </a:lnTo>
                        <a:lnTo>
                          <a:pt x="30" y="278"/>
                        </a:lnTo>
                        <a:lnTo>
                          <a:pt x="27" y="273"/>
                        </a:lnTo>
                        <a:lnTo>
                          <a:pt x="32" y="265"/>
                        </a:lnTo>
                        <a:lnTo>
                          <a:pt x="32" y="262"/>
                        </a:lnTo>
                        <a:lnTo>
                          <a:pt x="32" y="260"/>
                        </a:lnTo>
                        <a:lnTo>
                          <a:pt x="32" y="259"/>
                        </a:lnTo>
                        <a:lnTo>
                          <a:pt x="32" y="257"/>
                        </a:lnTo>
                        <a:lnTo>
                          <a:pt x="28" y="255"/>
                        </a:lnTo>
                        <a:lnTo>
                          <a:pt x="25" y="254"/>
                        </a:lnTo>
                        <a:lnTo>
                          <a:pt x="24" y="252"/>
                        </a:lnTo>
                        <a:lnTo>
                          <a:pt x="22" y="251"/>
                        </a:lnTo>
                        <a:lnTo>
                          <a:pt x="22" y="246"/>
                        </a:lnTo>
                        <a:lnTo>
                          <a:pt x="22" y="244"/>
                        </a:lnTo>
                        <a:lnTo>
                          <a:pt x="24" y="243"/>
                        </a:lnTo>
                        <a:lnTo>
                          <a:pt x="24" y="233"/>
                        </a:lnTo>
                        <a:lnTo>
                          <a:pt x="24" y="224"/>
                        </a:lnTo>
                        <a:lnTo>
                          <a:pt x="25" y="187"/>
                        </a:lnTo>
                        <a:lnTo>
                          <a:pt x="25" y="186"/>
                        </a:lnTo>
                        <a:lnTo>
                          <a:pt x="27" y="184"/>
                        </a:lnTo>
                        <a:lnTo>
                          <a:pt x="30" y="176"/>
                        </a:lnTo>
                        <a:lnTo>
                          <a:pt x="27" y="162"/>
                        </a:lnTo>
                        <a:lnTo>
                          <a:pt x="28" y="162"/>
                        </a:lnTo>
                        <a:lnTo>
                          <a:pt x="32" y="160"/>
                        </a:lnTo>
                        <a:lnTo>
                          <a:pt x="36" y="159"/>
                        </a:lnTo>
                        <a:lnTo>
                          <a:pt x="39" y="159"/>
                        </a:lnTo>
                        <a:lnTo>
                          <a:pt x="41" y="156"/>
                        </a:lnTo>
                        <a:lnTo>
                          <a:pt x="43" y="156"/>
                        </a:lnTo>
                        <a:lnTo>
                          <a:pt x="43" y="152"/>
                        </a:lnTo>
                        <a:lnTo>
                          <a:pt x="43" y="148"/>
                        </a:lnTo>
                        <a:lnTo>
                          <a:pt x="44" y="143"/>
                        </a:lnTo>
                        <a:lnTo>
                          <a:pt x="44" y="141"/>
                        </a:lnTo>
                        <a:lnTo>
                          <a:pt x="46" y="140"/>
                        </a:lnTo>
                        <a:lnTo>
                          <a:pt x="46" y="135"/>
                        </a:lnTo>
                        <a:lnTo>
                          <a:pt x="47" y="133"/>
                        </a:lnTo>
                        <a:lnTo>
                          <a:pt x="49" y="130"/>
                        </a:lnTo>
                        <a:lnTo>
                          <a:pt x="51" y="129"/>
                        </a:lnTo>
                        <a:lnTo>
                          <a:pt x="51" y="127"/>
                        </a:lnTo>
                        <a:lnTo>
                          <a:pt x="52" y="126"/>
                        </a:lnTo>
                        <a:lnTo>
                          <a:pt x="55" y="122"/>
                        </a:lnTo>
                        <a:lnTo>
                          <a:pt x="57" y="114"/>
                        </a:lnTo>
                        <a:lnTo>
                          <a:pt x="58" y="105"/>
                        </a:lnTo>
                        <a:lnTo>
                          <a:pt x="57" y="102"/>
                        </a:lnTo>
                        <a:lnTo>
                          <a:pt x="55" y="100"/>
                        </a:lnTo>
                        <a:lnTo>
                          <a:pt x="54" y="97"/>
                        </a:lnTo>
                        <a:lnTo>
                          <a:pt x="52" y="97"/>
                        </a:lnTo>
                        <a:lnTo>
                          <a:pt x="51" y="95"/>
                        </a:lnTo>
                        <a:lnTo>
                          <a:pt x="46" y="94"/>
                        </a:lnTo>
                        <a:lnTo>
                          <a:pt x="44" y="92"/>
                        </a:lnTo>
                        <a:lnTo>
                          <a:pt x="43" y="92"/>
                        </a:lnTo>
                        <a:lnTo>
                          <a:pt x="33" y="72"/>
                        </a:lnTo>
                        <a:lnTo>
                          <a:pt x="33" y="54"/>
                        </a:lnTo>
                        <a:lnTo>
                          <a:pt x="30" y="49"/>
                        </a:lnTo>
                        <a:lnTo>
                          <a:pt x="30" y="37"/>
                        </a:lnTo>
                        <a:lnTo>
                          <a:pt x="28" y="35"/>
                        </a:lnTo>
                        <a:lnTo>
                          <a:pt x="24" y="34"/>
                        </a:lnTo>
                        <a:lnTo>
                          <a:pt x="22" y="34"/>
                        </a:lnTo>
                        <a:lnTo>
                          <a:pt x="19" y="32"/>
                        </a:lnTo>
                        <a:lnTo>
                          <a:pt x="17" y="30"/>
                        </a:lnTo>
                        <a:lnTo>
                          <a:pt x="17" y="29"/>
                        </a:lnTo>
                        <a:lnTo>
                          <a:pt x="17" y="27"/>
                        </a:lnTo>
                        <a:lnTo>
                          <a:pt x="19" y="26"/>
                        </a:lnTo>
                        <a:lnTo>
                          <a:pt x="19" y="21"/>
                        </a:lnTo>
                        <a:lnTo>
                          <a:pt x="19" y="18"/>
                        </a:lnTo>
                        <a:lnTo>
                          <a:pt x="19" y="16"/>
                        </a:lnTo>
                        <a:lnTo>
                          <a:pt x="14" y="2"/>
                        </a:lnTo>
                        <a:lnTo>
                          <a:pt x="27" y="0"/>
                        </a:lnTo>
                        <a:lnTo>
                          <a:pt x="44" y="0"/>
                        </a:lnTo>
                        <a:lnTo>
                          <a:pt x="51" y="0"/>
                        </a:lnTo>
                        <a:lnTo>
                          <a:pt x="55" y="0"/>
                        </a:lnTo>
                        <a:lnTo>
                          <a:pt x="57" y="2"/>
                        </a:lnTo>
                        <a:lnTo>
                          <a:pt x="63" y="2"/>
                        </a:lnTo>
                        <a:lnTo>
                          <a:pt x="66" y="4"/>
                        </a:lnTo>
                        <a:lnTo>
                          <a:pt x="71" y="7"/>
                        </a:lnTo>
                        <a:lnTo>
                          <a:pt x="74" y="8"/>
                        </a:lnTo>
                        <a:lnTo>
                          <a:pt x="77" y="11"/>
                        </a:lnTo>
                        <a:lnTo>
                          <a:pt x="79" y="13"/>
                        </a:lnTo>
                        <a:lnTo>
                          <a:pt x="74" y="13"/>
                        </a:lnTo>
                        <a:lnTo>
                          <a:pt x="74" y="15"/>
                        </a:lnTo>
                        <a:lnTo>
                          <a:pt x="76" y="16"/>
                        </a:lnTo>
                        <a:lnTo>
                          <a:pt x="76" y="18"/>
                        </a:lnTo>
                        <a:lnTo>
                          <a:pt x="77" y="18"/>
                        </a:lnTo>
                        <a:lnTo>
                          <a:pt x="79" y="19"/>
                        </a:lnTo>
                        <a:lnTo>
                          <a:pt x="81" y="21"/>
                        </a:lnTo>
                        <a:lnTo>
                          <a:pt x="81" y="23"/>
                        </a:lnTo>
                        <a:lnTo>
                          <a:pt x="82" y="23"/>
                        </a:lnTo>
                        <a:lnTo>
                          <a:pt x="84" y="24"/>
                        </a:lnTo>
                        <a:lnTo>
                          <a:pt x="85" y="26"/>
                        </a:lnTo>
                        <a:lnTo>
                          <a:pt x="87" y="27"/>
                        </a:lnTo>
                        <a:lnTo>
                          <a:pt x="89" y="29"/>
                        </a:lnTo>
                        <a:lnTo>
                          <a:pt x="90" y="29"/>
                        </a:lnTo>
                        <a:lnTo>
                          <a:pt x="93" y="30"/>
                        </a:lnTo>
                        <a:lnTo>
                          <a:pt x="95" y="32"/>
                        </a:lnTo>
                        <a:lnTo>
                          <a:pt x="96" y="34"/>
                        </a:lnTo>
                        <a:lnTo>
                          <a:pt x="98" y="34"/>
                        </a:lnTo>
                        <a:lnTo>
                          <a:pt x="100" y="34"/>
                        </a:lnTo>
                        <a:lnTo>
                          <a:pt x="101" y="35"/>
                        </a:lnTo>
                        <a:lnTo>
                          <a:pt x="103" y="37"/>
                        </a:lnTo>
                        <a:lnTo>
                          <a:pt x="104" y="38"/>
                        </a:lnTo>
                        <a:lnTo>
                          <a:pt x="106" y="38"/>
                        </a:lnTo>
                        <a:lnTo>
                          <a:pt x="108" y="40"/>
                        </a:lnTo>
                        <a:lnTo>
                          <a:pt x="109" y="40"/>
                        </a:lnTo>
                        <a:lnTo>
                          <a:pt x="112" y="40"/>
                        </a:lnTo>
                        <a:lnTo>
                          <a:pt x="114" y="42"/>
                        </a:lnTo>
                        <a:lnTo>
                          <a:pt x="115" y="42"/>
                        </a:lnTo>
                        <a:lnTo>
                          <a:pt x="117" y="43"/>
                        </a:lnTo>
                        <a:lnTo>
                          <a:pt x="119" y="45"/>
                        </a:lnTo>
                        <a:lnTo>
                          <a:pt x="120" y="45"/>
                        </a:lnTo>
                        <a:lnTo>
                          <a:pt x="122" y="45"/>
                        </a:lnTo>
                        <a:lnTo>
                          <a:pt x="123" y="46"/>
                        </a:lnTo>
                        <a:lnTo>
                          <a:pt x="125" y="48"/>
                        </a:lnTo>
                        <a:lnTo>
                          <a:pt x="128" y="48"/>
                        </a:lnTo>
                        <a:lnTo>
                          <a:pt x="130" y="49"/>
                        </a:lnTo>
                        <a:lnTo>
                          <a:pt x="131" y="49"/>
                        </a:lnTo>
                        <a:lnTo>
                          <a:pt x="133" y="51"/>
                        </a:lnTo>
                        <a:lnTo>
                          <a:pt x="134" y="51"/>
                        </a:lnTo>
                        <a:lnTo>
                          <a:pt x="136" y="53"/>
                        </a:lnTo>
                        <a:lnTo>
                          <a:pt x="138" y="54"/>
                        </a:lnTo>
                        <a:lnTo>
                          <a:pt x="139" y="56"/>
                        </a:lnTo>
                        <a:lnTo>
                          <a:pt x="141" y="56"/>
                        </a:lnTo>
                        <a:lnTo>
                          <a:pt x="142" y="57"/>
                        </a:lnTo>
                        <a:lnTo>
                          <a:pt x="144" y="57"/>
                        </a:lnTo>
                        <a:lnTo>
                          <a:pt x="144" y="59"/>
                        </a:lnTo>
                        <a:lnTo>
                          <a:pt x="146" y="59"/>
                        </a:lnTo>
                        <a:lnTo>
                          <a:pt x="147" y="61"/>
                        </a:lnTo>
                        <a:lnTo>
                          <a:pt x="149" y="62"/>
                        </a:lnTo>
                        <a:lnTo>
                          <a:pt x="150" y="62"/>
                        </a:lnTo>
                        <a:lnTo>
                          <a:pt x="152" y="64"/>
                        </a:lnTo>
                        <a:lnTo>
                          <a:pt x="152" y="65"/>
                        </a:lnTo>
                        <a:lnTo>
                          <a:pt x="153" y="67"/>
                        </a:lnTo>
                        <a:lnTo>
                          <a:pt x="153" y="69"/>
                        </a:lnTo>
                        <a:lnTo>
                          <a:pt x="155" y="70"/>
                        </a:lnTo>
                        <a:lnTo>
                          <a:pt x="155" y="72"/>
                        </a:lnTo>
                        <a:lnTo>
                          <a:pt x="155" y="73"/>
                        </a:lnTo>
                        <a:lnTo>
                          <a:pt x="155" y="75"/>
                        </a:lnTo>
                        <a:lnTo>
                          <a:pt x="157" y="76"/>
                        </a:lnTo>
                        <a:lnTo>
                          <a:pt x="157" y="78"/>
                        </a:lnTo>
                        <a:lnTo>
                          <a:pt x="157" y="80"/>
                        </a:lnTo>
                        <a:lnTo>
                          <a:pt x="157" y="81"/>
                        </a:lnTo>
                        <a:lnTo>
                          <a:pt x="157" y="83"/>
                        </a:lnTo>
                        <a:lnTo>
                          <a:pt x="157" y="84"/>
                        </a:lnTo>
                        <a:lnTo>
                          <a:pt x="157" y="86"/>
                        </a:lnTo>
                        <a:lnTo>
                          <a:pt x="157" y="88"/>
                        </a:lnTo>
                        <a:lnTo>
                          <a:pt x="157" y="89"/>
                        </a:lnTo>
                        <a:lnTo>
                          <a:pt x="157" y="91"/>
                        </a:lnTo>
                        <a:lnTo>
                          <a:pt x="158" y="92"/>
                        </a:lnTo>
                        <a:lnTo>
                          <a:pt x="158" y="94"/>
                        </a:lnTo>
                        <a:lnTo>
                          <a:pt x="158" y="95"/>
                        </a:lnTo>
                        <a:lnTo>
                          <a:pt x="158" y="97"/>
                        </a:lnTo>
                        <a:lnTo>
                          <a:pt x="158" y="100"/>
                        </a:lnTo>
                        <a:lnTo>
                          <a:pt x="158" y="102"/>
                        </a:lnTo>
                        <a:lnTo>
                          <a:pt x="158" y="103"/>
                        </a:lnTo>
                        <a:close/>
                      </a:path>
                    </a:pathLst>
                  </a:custGeom>
                  <a:solidFill>
                    <a:srgbClr val="9DC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81" name="Freeform 80"/>
                  <p:cNvSpPr>
                    <a:spLocks/>
                  </p:cNvSpPr>
                  <p:nvPr/>
                </p:nvSpPr>
                <p:spPr bwMode="auto">
                  <a:xfrm>
                    <a:off x="1795" y="3218"/>
                    <a:ext cx="979" cy="195"/>
                  </a:xfrm>
                  <a:custGeom>
                    <a:avLst/>
                    <a:gdLst>
                      <a:gd name="T0" fmla="*/ 22 w 979"/>
                      <a:gd name="T1" fmla="*/ 19 h 195"/>
                      <a:gd name="T2" fmla="*/ 29 w 979"/>
                      <a:gd name="T3" fmla="*/ 43 h 195"/>
                      <a:gd name="T4" fmla="*/ 46 w 979"/>
                      <a:gd name="T5" fmla="*/ 62 h 195"/>
                      <a:gd name="T6" fmla="*/ 70 w 979"/>
                      <a:gd name="T7" fmla="*/ 51 h 195"/>
                      <a:gd name="T8" fmla="*/ 94 w 979"/>
                      <a:gd name="T9" fmla="*/ 41 h 195"/>
                      <a:gd name="T10" fmla="*/ 119 w 979"/>
                      <a:gd name="T11" fmla="*/ 41 h 195"/>
                      <a:gd name="T12" fmla="*/ 144 w 979"/>
                      <a:gd name="T13" fmla="*/ 33 h 195"/>
                      <a:gd name="T14" fmla="*/ 165 w 979"/>
                      <a:gd name="T15" fmla="*/ 27 h 195"/>
                      <a:gd name="T16" fmla="*/ 174 w 979"/>
                      <a:gd name="T17" fmla="*/ 8 h 195"/>
                      <a:gd name="T18" fmla="*/ 197 w 979"/>
                      <a:gd name="T19" fmla="*/ 3 h 195"/>
                      <a:gd name="T20" fmla="*/ 214 w 979"/>
                      <a:gd name="T21" fmla="*/ 8 h 195"/>
                      <a:gd name="T22" fmla="*/ 239 w 979"/>
                      <a:gd name="T23" fmla="*/ 7 h 195"/>
                      <a:gd name="T24" fmla="*/ 260 w 979"/>
                      <a:gd name="T25" fmla="*/ 7 h 195"/>
                      <a:gd name="T26" fmla="*/ 289 w 979"/>
                      <a:gd name="T27" fmla="*/ 8 h 195"/>
                      <a:gd name="T28" fmla="*/ 308 w 979"/>
                      <a:gd name="T29" fmla="*/ 16 h 195"/>
                      <a:gd name="T30" fmla="*/ 319 w 979"/>
                      <a:gd name="T31" fmla="*/ 37 h 195"/>
                      <a:gd name="T32" fmla="*/ 330 w 979"/>
                      <a:gd name="T33" fmla="*/ 56 h 195"/>
                      <a:gd name="T34" fmla="*/ 352 w 979"/>
                      <a:gd name="T35" fmla="*/ 68 h 195"/>
                      <a:gd name="T36" fmla="*/ 377 w 979"/>
                      <a:gd name="T37" fmla="*/ 67 h 195"/>
                      <a:gd name="T38" fmla="*/ 401 w 979"/>
                      <a:gd name="T39" fmla="*/ 46 h 195"/>
                      <a:gd name="T40" fmla="*/ 417 w 979"/>
                      <a:gd name="T41" fmla="*/ 29 h 195"/>
                      <a:gd name="T42" fmla="*/ 436 w 979"/>
                      <a:gd name="T43" fmla="*/ 19 h 195"/>
                      <a:gd name="T44" fmla="*/ 460 w 979"/>
                      <a:gd name="T45" fmla="*/ 16 h 195"/>
                      <a:gd name="T46" fmla="*/ 479 w 979"/>
                      <a:gd name="T47" fmla="*/ 14 h 195"/>
                      <a:gd name="T48" fmla="*/ 498 w 979"/>
                      <a:gd name="T49" fmla="*/ 11 h 195"/>
                      <a:gd name="T50" fmla="*/ 509 w 979"/>
                      <a:gd name="T51" fmla="*/ 32 h 195"/>
                      <a:gd name="T52" fmla="*/ 520 w 979"/>
                      <a:gd name="T53" fmla="*/ 52 h 195"/>
                      <a:gd name="T54" fmla="*/ 529 w 979"/>
                      <a:gd name="T55" fmla="*/ 75 h 195"/>
                      <a:gd name="T56" fmla="*/ 542 w 979"/>
                      <a:gd name="T57" fmla="*/ 97 h 195"/>
                      <a:gd name="T58" fmla="*/ 564 w 979"/>
                      <a:gd name="T59" fmla="*/ 90 h 195"/>
                      <a:gd name="T60" fmla="*/ 589 w 979"/>
                      <a:gd name="T61" fmla="*/ 94 h 195"/>
                      <a:gd name="T62" fmla="*/ 604 w 979"/>
                      <a:gd name="T63" fmla="*/ 106 h 195"/>
                      <a:gd name="T64" fmla="*/ 620 w 979"/>
                      <a:gd name="T65" fmla="*/ 117 h 195"/>
                      <a:gd name="T66" fmla="*/ 639 w 979"/>
                      <a:gd name="T67" fmla="*/ 109 h 195"/>
                      <a:gd name="T68" fmla="*/ 656 w 979"/>
                      <a:gd name="T69" fmla="*/ 89 h 195"/>
                      <a:gd name="T70" fmla="*/ 683 w 979"/>
                      <a:gd name="T71" fmla="*/ 84 h 195"/>
                      <a:gd name="T72" fmla="*/ 707 w 979"/>
                      <a:gd name="T73" fmla="*/ 75 h 195"/>
                      <a:gd name="T74" fmla="*/ 724 w 979"/>
                      <a:gd name="T75" fmla="*/ 59 h 195"/>
                      <a:gd name="T76" fmla="*/ 735 w 979"/>
                      <a:gd name="T77" fmla="*/ 75 h 195"/>
                      <a:gd name="T78" fmla="*/ 751 w 979"/>
                      <a:gd name="T79" fmla="*/ 92 h 195"/>
                      <a:gd name="T80" fmla="*/ 765 w 979"/>
                      <a:gd name="T81" fmla="*/ 92 h 195"/>
                      <a:gd name="T82" fmla="*/ 783 w 979"/>
                      <a:gd name="T83" fmla="*/ 105 h 195"/>
                      <a:gd name="T84" fmla="*/ 808 w 979"/>
                      <a:gd name="T85" fmla="*/ 109 h 195"/>
                      <a:gd name="T86" fmla="*/ 824 w 979"/>
                      <a:gd name="T87" fmla="*/ 132 h 195"/>
                      <a:gd name="T88" fmla="*/ 838 w 979"/>
                      <a:gd name="T89" fmla="*/ 124 h 195"/>
                      <a:gd name="T90" fmla="*/ 862 w 979"/>
                      <a:gd name="T91" fmla="*/ 119 h 195"/>
                      <a:gd name="T92" fmla="*/ 868 w 979"/>
                      <a:gd name="T93" fmla="*/ 100 h 195"/>
                      <a:gd name="T94" fmla="*/ 873 w 979"/>
                      <a:gd name="T95" fmla="*/ 90 h 195"/>
                      <a:gd name="T96" fmla="*/ 887 w 979"/>
                      <a:gd name="T97" fmla="*/ 71 h 195"/>
                      <a:gd name="T98" fmla="*/ 903 w 979"/>
                      <a:gd name="T99" fmla="*/ 41 h 195"/>
                      <a:gd name="T100" fmla="*/ 917 w 979"/>
                      <a:gd name="T101" fmla="*/ 27 h 195"/>
                      <a:gd name="T102" fmla="*/ 940 w 979"/>
                      <a:gd name="T103" fmla="*/ 37 h 195"/>
                      <a:gd name="T104" fmla="*/ 957 w 979"/>
                      <a:gd name="T105" fmla="*/ 43 h 195"/>
                      <a:gd name="T106" fmla="*/ 971 w 979"/>
                      <a:gd name="T107" fmla="*/ 59 h 195"/>
                      <a:gd name="T108" fmla="*/ 970 w 979"/>
                      <a:gd name="T109" fmla="*/ 81 h 195"/>
                      <a:gd name="T110" fmla="*/ 933 w 979"/>
                      <a:gd name="T111" fmla="*/ 87 h 195"/>
                      <a:gd name="T112" fmla="*/ 906 w 979"/>
                      <a:gd name="T113" fmla="*/ 103 h 195"/>
                      <a:gd name="T114" fmla="*/ 951 w 979"/>
                      <a:gd name="T115" fmla="*/ 122 h 195"/>
                      <a:gd name="T116" fmla="*/ 960 w 979"/>
                      <a:gd name="T117" fmla="*/ 155 h 195"/>
                      <a:gd name="T118" fmla="*/ 957 w 979"/>
                      <a:gd name="T119" fmla="*/ 189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79" h="195">
                        <a:moveTo>
                          <a:pt x="0" y="22"/>
                        </a:moveTo>
                        <a:lnTo>
                          <a:pt x="2" y="22"/>
                        </a:lnTo>
                        <a:lnTo>
                          <a:pt x="3" y="22"/>
                        </a:lnTo>
                        <a:lnTo>
                          <a:pt x="5" y="22"/>
                        </a:lnTo>
                        <a:lnTo>
                          <a:pt x="7" y="21"/>
                        </a:lnTo>
                        <a:lnTo>
                          <a:pt x="8" y="21"/>
                        </a:lnTo>
                        <a:lnTo>
                          <a:pt x="10" y="19"/>
                        </a:lnTo>
                        <a:lnTo>
                          <a:pt x="11" y="18"/>
                        </a:lnTo>
                        <a:lnTo>
                          <a:pt x="13" y="18"/>
                        </a:lnTo>
                        <a:lnTo>
                          <a:pt x="14" y="18"/>
                        </a:lnTo>
                        <a:lnTo>
                          <a:pt x="16" y="18"/>
                        </a:lnTo>
                        <a:lnTo>
                          <a:pt x="18" y="16"/>
                        </a:lnTo>
                        <a:lnTo>
                          <a:pt x="19" y="18"/>
                        </a:lnTo>
                        <a:lnTo>
                          <a:pt x="19" y="16"/>
                        </a:lnTo>
                        <a:lnTo>
                          <a:pt x="21" y="18"/>
                        </a:lnTo>
                        <a:lnTo>
                          <a:pt x="22" y="18"/>
                        </a:lnTo>
                        <a:lnTo>
                          <a:pt x="22" y="19"/>
                        </a:lnTo>
                        <a:lnTo>
                          <a:pt x="24" y="19"/>
                        </a:lnTo>
                        <a:lnTo>
                          <a:pt x="24" y="21"/>
                        </a:lnTo>
                        <a:lnTo>
                          <a:pt x="26" y="22"/>
                        </a:lnTo>
                        <a:lnTo>
                          <a:pt x="26" y="24"/>
                        </a:lnTo>
                        <a:lnTo>
                          <a:pt x="27" y="26"/>
                        </a:lnTo>
                        <a:lnTo>
                          <a:pt x="27" y="27"/>
                        </a:lnTo>
                        <a:lnTo>
                          <a:pt x="27" y="29"/>
                        </a:lnTo>
                        <a:lnTo>
                          <a:pt x="27" y="30"/>
                        </a:lnTo>
                        <a:lnTo>
                          <a:pt x="27" y="32"/>
                        </a:lnTo>
                        <a:lnTo>
                          <a:pt x="27" y="33"/>
                        </a:lnTo>
                        <a:lnTo>
                          <a:pt x="27" y="35"/>
                        </a:lnTo>
                        <a:lnTo>
                          <a:pt x="27" y="37"/>
                        </a:lnTo>
                        <a:lnTo>
                          <a:pt x="27" y="38"/>
                        </a:lnTo>
                        <a:lnTo>
                          <a:pt x="27" y="40"/>
                        </a:lnTo>
                        <a:lnTo>
                          <a:pt x="27" y="41"/>
                        </a:lnTo>
                        <a:lnTo>
                          <a:pt x="29" y="41"/>
                        </a:lnTo>
                        <a:lnTo>
                          <a:pt x="29" y="43"/>
                        </a:lnTo>
                        <a:lnTo>
                          <a:pt x="30" y="45"/>
                        </a:lnTo>
                        <a:lnTo>
                          <a:pt x="30" y="46"/>
                        </a:lnTo>
                        <a:lnTo>
                          <a:pt x="30" y="48"/>
                        </a:lnTo>
                        <a:lnTo>
                          <a:pt x="30" y="49"/>
                        </a:lnTo>
                        <a:lnTo>
                          <a:pt x="32" y="51"/>
                        </a:lnTo>
                        <a:lnTo>
                          <a:pt x="33" y="52"/>
                        </a:lnTo>
                        <a:lnTo>
                          <a:pt x="35" y="54"/>
                        </a:lnTo>
                        <a:lnTo>
                          <a:pt x="37" y="56"/>
                        </a:lnTo>
                        <a:lnTo>
                          <a:pt x="38" y="57"/>
                        </a:lnTo>
                        <a:lnTo>
                          <a:pt x="38" y="59"/>
                        </a:lnTo>
                        <a:lnTo>
                          <a:pt x="40" y="59"/>
                        </a:lnTo>
                        <a:lnTo>
                          <a:pt x="40" y="60"/>
                        </a:lnTo>
                        <a:lnTo>
                          <a:pt x="41" y="62"/>
                        </a:lnTo>
                        <a:lnTo>
                          <a:pt x="41" y="64"/>
                        </a:lnTo>
                        <a:lnTo>
                          <a:pt x="43" y="62"/>
                        </a:lnTo>
                        <a:lnTo>
                          <a:pt x="45" y="62"/>
                        </a:lnTo>
                        <a:lnTo>
                          <a:pt x="46" y="62"/>
                        </a:lnTo>
                        <a:lnTo>
                          <a:pt x="48" y="60"/>
                        </a:lnTo>
                        <a:lnTo>
                          <a:pt x="49" y="60"/>
                        </a:lnTo>
                        <a:lnTo>
                          <a:pt x="51" y="59"/>
                        </a:lnTo>
                        <a:lnTo>
                          <a:pt x="53" y="59"/>
                        </a:lnTo>
                        <a:lnTo>
                          <a:pt x="54" y="57"/>
                        </a:lnTo>
                        <a:lnTo>
                          <a:pt x="56" y="57"/>
                        </a:lnTo>
                        <a:lnTo>
                          <a:pt x="57" y="57"/>
                        </a:lnTo>
                        <a:lnTo>
                          <a:pt x="59" y="56"/>
                        </a:lnTo>
                        <a:lnTo>
                          <a:pt x="60" y="56"/>
                        </a:lnTo>
                        <a:lnTo>
                          <a:pt x="62" y="56"/>
                        </a:lnTo>
                        <a:lnTo>
                          <a:pt x="62" y="54"/>
                        </a:lnTo>
                        <a:lnTo>
                          <a:pt x="64" y="54"/>
                        </a:lnTo>
                        <a:lnTo>
                          <a:pt x="65" y="54"/>
                        </a:lnTo>
                        <a:lnTo>
                          <a:pt x="65" y="52"/>
                        </a:lnTo>
                        <a:lnTo>
                          <a:pt x="67" y="52"/>
                        </a:lnTo>
                        <a:lnTo>
                          <a:pt x="68" y="51"/>
                        </a:lnTo>
                        <a:lnTo>
                          <a:pt x="70" y="51"/>
                        </a:lnTo>
                        <a:lnTo>
                          <a:pt x="72" y="51"/>
                        </a:lnTo>
                        <a:lnTo>
                          <a:pt x="73" y="49"/>
                        </a:lnTo>
                        <a:lnTo>
                          <a:pt x="75" y="49"/>
                        </a:lnTo>
                        <a:lnTo>
                          <a:pt x="75" y="48"/>
                        </a:lnTo>
                        <a:lnTo>
                          <a:pt x="76" y="48"/>
                        </a:lnTo>
                        <a:lnTo>
                          <a:pt x="78" y="46"/>
                        </a:lnTo>
                        <a:lnTo>
                          <a:pt x="79" y="46"/>
                        </a:lnTo>
                        <a:lnTo>
                          <a:pt x="81" y="46"/>
                        </a:lnTo>
                        <a:lnTo>
                          <a:pt x="83" y="45"/>
                        </a:lnTo>
                        <a:lnTo>
                          <a:pt x="84" y="45"/>
                        </a:lnTo>
                        <a:lnTo>
                          <a:pt x="86" y="45"/>
                        </a:lnTo>
                        <a:lnTo>
                          <a:pt x="87" y="45"/>
                        </a:lnTo>
                        <a:lnTo>
                          <a:pt x="89" y="43"/>
                        </a:lnTo>
                        <a:lnTo>
                          <a:pt x="91" y="43"/>
                        </a:lnTo>
                        <a:lnTo>
                          <a:pt x="92" y="43"/>
                        </a:lnTo>
                        <a:lnTo>
                          <a:pt x="92" y="41"/>
                        </a:lnTo>
                        <a:lnTo>
                          <a:pt x="94" y="41"/>
                        </a:lnTo>
                        <a:lnTo>
                          <a:pt x="95" y="41"/>
                        </a:lnTo>
                        <a:lnTo>
                          <a:pt x="97" y="41"/>
                        </a:lnTo>
                        <a:lnTo>
                          <a:pt x="98" y="41"/>
                        </a:lnTo>
                        <a:lnTo>
                          <a:pt x="100" y="41"/>
                        </a:lnTo>
                        <a:lnTo>
                          <a:pt x="100" y="40"/>
                        </a:lnTo>
                        <a:lnTo>
                          <a:pt x="102" y="40"/>
                        </a:lnTo>
                        <a:lnTo>
                          <a:pt x="103" y="40"/>
                        </a:lnTo>
                        <a:lnTo>
                          <a:pt x="105" y="40"/>
                        </a:lnTo>
                        <a:lnTo>
                          <a:pt x="106" y="40"/>
                        </a:lnTo>
                        <a:lnTo>
                          <a:pt x="108" y="40"/>
                        </a:lnTo>
                        <a:lnTo>
                          <a:pt x="110" y="40"/>
                        </a:lnTo>
                        <a:lnTo>
                          <a:pt x="111" y="40"/>
                        </a:lnTo>
                        <a:lnTo>
                          <a:pt x="113" y="40"/>
                        </a:lnTo>
                        <a:lnTo>
                          <a:pt x="114" y="40"/>
                        </a:lnTo>
                        <a:lnTo>
                          <a:pt x="116" y="40"/>
                        </a:lnTo>
                        <a:lnTo>
                          <a:pt x="117" y="41"/>
                        </a:lnTo>
                        <a:lnTo>
                          <a:pt x="119" y="41"/>
                        </a:lnTo>
                        <a:lnTo>
                          <a:pt x="121" y="41"/>
                        </a:lnTo>
                        <a:lnTo>
                          <a:pt x="122" y="41"/>
                        </a:lnTo>
                        <a:lnTo>
                          <a:pt x="124" y="41"/>
                        </a:lnTo>
                        <a:lnTo>
                          <a:pt x="125" y="41"/>
                        </a:lnTo>
                        <a:lnTo>
                          <a:pt x="127" y="40"/>
                        </a:lnTo>
                        <a:lnTo>
                          <a:pt x="129" y="40"/>
                        </a:lnTo>
                        <a:lnTo>
                          <a:pt x="130" y="38"/>
                        </a:lnTo>
                        <a:lnTo>
                          <a:pt x="132" y="38"/>
                        </a:lnTo>
                        <a:lnTo>
                          <a:pt x="133" y="38"/>
                        </a:lnTo>
                        <a:lnTo>
                          <a:pt x="135" y="38"/>
                        </a:lnTo>
                        <a:lnTo>
                          <a:pt x="136" y="38"/>
                        </a:lnTo>
                        <a:lnTo>
                          <a:pt x="138" y="37"/>
                        </a:lnTo>
                        <a:lnTo>
                          <a:pt x="140" y="37"/>
                        </a:lnTo>
                        <a:lnTo>
                          <a:pt x="140" y="35"/>
                        </a:lnTo>
                        <a:lnTo>
                          <a:pt x="141" y="35"/>
                        </a:lnTo>
                        <a:lnTo>
                          <a:pt x="143" y="33"/>
                        </a:lnTo>
                        <a:lnTo>
                          <a:pt x="144" y="33"/>
                        </a:lnTo>
                        <a:lnTo>
                          <a:pt x="146" y="33"/>
                        </a:lnTo>
                        <a:lnTo>
                          <a:pt x="148" y="33"/>
                        </a:lnTo>
                        <a:lnTo>
                          <a:pt x="149" y="33"/>
                        </a:lnTo>
                        <a:lnTo>
                          <a:pt x="151" y="33"/>
                        </a:lnTo>
                        <a:lnTo>
                          <a:pt x="152" y="33"/>
                        </a:lnTo>
                        <a:lnTo>
                          <a:pt x="154" y="33"/>
                        </a:lnTo>
                        <a:lnTo>
                          <a:pt x="155" y="33"/>
                        </a:lnTo>
                        <a:lnTo>
                          <a:pt x="155" y="35"/>
                        </a:lnTo>
                        <a:lnTo>
                          <a:pt x="157" y="35"/>
                        </a:lnTo>
                        <a:lnTo>
                          <a:pt x="159" y="35"/>
                        </a:lnTo>
                        <a:lnTo>
                          <a:pt x="160" y="35"/>
                        </a:lnTo>
                        <a:lnTo>
                          <a:pt x="160" y="33"/>
                        </a:lnTo>
                        <a:lnTo>
                          <a:pt x="162" y="33"/>
                        </a:lnTo>
                        <a:lnTo>
                          <a:pt x="163" y="32"/>
                        </a:lnTo>
                        <a:lnTo>
                          <a:pt x="165" y="30"/>
                        </a:lnTo>
                        <a:lnTo>
                          <a:pt x="165" y="29"/>
                        </a:lnTo>
                        <a:lnTo>
                          <a:pt x="165" y="27"/>
                        </a:lnTo>
                        <a:lnTo>
                          <a:pt x="167" y="26"/>
                        </a:lnTo>
                        <a:lnTo>
                          <a:pt x="167" y="24"/>
                        </a:lnTo>
                        <a:lnTo>
                          <a:pt x="167" y="22"/>
                        </a:lnTo>
                        <a:lnTo>
                          <a:pt x="168" y="22"/>
                        </a:lnTo>
                        <a:lnTo>
                          <a:pt x="168" y="21"/>
                        </a:lnTo>
                        <a:lnTo>
                          <a:pt x="170" y="21"/>
                        </a:lnTo>
                        <a:lnTo>
                          <a:pt x="170" y="19"/>
                        </a:lnTo>
                        <a:lnTo>
                          <a:pt x="170" y="18"/>
                        </a:lnTo>
                        <a:lnTo>
                          <a:pt x="171" y="18"/>
                        </a:lnTo>
                        <a:lnTo>
                          <a:pt x="171" y="16"/>
                        </a:lnTo>
                        <a:lnTo>
                          <a:pt x="171" y="14"/>
                        </a:lnTo>
                        <a:lnTo>
                          <a:pt x="173" y="14"/>
                        </a:lnTo>
                        <a:lnTo>
                          <a:pt x="173" y="13"/>
                        </a:lnTo>
                        <a:lnTo>
                          <a:pt x="173" y="11"/>
                        </a:lnTo>
                        <a:lnTo>
                          <a:pt x="174" y="11"/>
                        </a:lnTo>
                        <a:lnTo>
                          <a:pt x="174" y="10"/>
                        </a:lnTo>
                        <a:lnTo>
                          <a:pt x="174" y="8"/>
                        </a:lnTo>
                        <a:lnTo>
                          <a:pt x="176" y="8"/>
                        </a:lnTo>
                        <a:lnTo>
                          <a:pt x="176" y="7"/>
                        </a:lnTo>
                        <a:lnTo>
                          <a:pt x="178" y="7"/>
                        </a:lnTo>
                        <a:lnTo>
                          <a:pt x="179" y="5"/>
                        </a:lnTo>
                        <a:lnTo>
                          <a:pt x="179" y="3"/>
                        </a:lnTo>
                        <a:lnTo>
                          <a:pt x="181" y="3"/>
                        </a:lnTo>
                        <a:lnTo>
                          <a:pt x="181" y="2"/>
                        </a:lnTo>
                        <a:lnTo>
                          <a:pt x="182" y="0"/>
                        </a:lnTo>
                        <a:lnTo>
                          <a:pt x="184" y="0"/>
                        </a:lnTo>
                        <a:lnTo>
                          <a:pt x="186" y="0"/>
                        </a:lnTo>
                        <a:lnTo>
                          <a:pt x="187" y="0"/>
                        </a:lnTo>
                        <a:lnTo>
                          <a:pt x="189" y="0"/>
                        </a:lnTo>
                        <a:lnTo>
                          <a:pt x="190" y="2"/>
                        </a:lnTo>
                        <a:lnTo>
                          <a:pt x="192" y="2"/>
                        </a:lnTo>
                        <a:lnTo>
                          <a:pt x="193" y="2"/>
                        </a:lnTo>
                        <a:lnTo>
                          <a:pt x="195" y="2"/>
                        </a:lnTo>
                        <a:lnTo>
                          <a:pt x="197" y="3"/>
                        </a:lnTo>
                        <a:lnTo>
                          <a:pt x="198" y="3"/>
                        </a:lnTo>
                        <a:lnTo>
                          <a:pt x="198" y="5"/>
                        </a:lnTo>
                        <a:lnTo>
                          <a:pt x="200" y="5"/>
                        </a:lnTo>
                        <a:lnTo>
                          <a:pt x="201" y="5"/>
                        </a:lnTo>
                        <a:lnTo>
                          <a:pt x="201" y="7"/>
                        </a:lnTo>
                        <a:lnTo>
                          <a:pt x="203" y="7"/>
                        </a:lnTo>
                        <a:lnTo>
                          <a:pt x="203" y="8"/>
                        </a:lnTo>
                        <a:lnTo>
                          <a:pt x="205" y="8"/>
                        </a:lnTo>
                        <a:lnTo>
                          <a:pt x="206" y="10"/>
                        </a:lnTo>
                        <a:lnTo>
                          <a:pt x="206" y="8"/>
                        </a:lnTo>
                        <a:lnTo>
                          <a:pt x="208" y="8"/>
                        </a:lnTo>
                        <a:lnTo>
                          <a:pt x="208" y="10"/>
                        </a:lnTo>
                        <a:lnTo>
                          <a:pt x="209" y="10"/>
                        </a:lnTo>
                        <a:lnTo>
                          <a:pt x="209" y="8"/>
                        </a:lnTo>
                        <a:lnTo>
                          <a:pt x="211" y="8"/>
                        </a:lnTo>
                        <a:lnTo>
                          <a:pt x="212" y="8"/>
                        </a:lnTo>
                        <a:lnTo>
                          <a:pt x="214" y="8"/>
                        </a:lnTo>
                        <a:lnTo>
                          <a:pt x="216" y="8"/>
                        </a:lnTo>
                        <a:lnTo>
                          <a:pt x="217" y="8"/>
                        </a:lnTo>
                        <a:lnTo>
                          <a:pt x="219" y="7"/>
                        </a:lnTo>
                        <a:lnTo>
                          <a:pt x="220" y="7"/>
                        </a:lnTo>
                        <a:lnTo>
                          <a:pt x="222" y="7"/>
                        </a:lnTo>
                        <a:lnTo>
                          <a:pt x="224" y="7"/>
                        </a:lnTo>
                        <a:lnTo>
                          <a:pt x="225" y="7"/>
                        </a:lnTo>
                        <a:lnTo>
                          <a:pt x="225" y="8"/>
                        </a:lnTo>
                        <a:lnTo>
                          <a:pt x="227" y="8"/>
                        </a:lnTo>
                        <a:lnTo>
                          <a:pt x="228" y="7"/>
                        </a:lnTo>
                        <a:lnTo>
                          <a:pt x="230" y="7"/>
                        </a:lnTo>
                        <a:lnTo>
                          <a:pt x="231" y="7"/>
                        </a:lnTo>
                        <a:lnTo>
                          <a:pt x="233" y="7"/>
                        </a:lnTo>
                        <a:lnTo>
                          <a:pt x="235" y="7"/>
                        </a:lnTo>
                        <a:lnTo>
                          <a:pt x="236" y="7"/>
                        </a:lnTo>
                        <a:lnTo>
                          <a:pt x="238" y="7"/>
                        </a:lnTo>
                        <a:lnTo>
                          <a:pt x="239" y="7"/>
                        </a:lnTo>
                        <a:lnTo>
                          <a:pt x="239" y="8"/>
                        </a:lnTo>
                        <a:lnTo>
                          <a:pt x="239" y="10"/>
                        </a:lnTo>
                        <a:lnTo>
                          <a:pt x="241" y="10"/>
                        </a:lnTo>
                        <a:lnTo>
                          <a:pt x="241" y="11"/>
                        </a:lnTo>
                        <a:lnTo>
                          <a:pt x="243" y="11"/>
                        </a:lnTo>
                        <a:lnTo>
                          <a:pt x="244" y="11"/>
                        </a:lnTo>
                        <a:lnTo>
                          <a:pt x="244" y="10"/>
                        </a:lnTo>
                        <a:lnTo>
                          <a:pt x="246" y="10"/>
                        </a:lnTo>
                        <a:lnTo>
                          <a:pt x="247" y="8"/>
                        </a:lnTo>
                        <a:lnTo>
                          <a:pt x="249" y="8"/>
                        </a:lnTo>
                        <a:lnTo>
                          <a:pt x="249" y="7"/>
                        </a:lnTo>
                        <a:lnTo>
                          <a:pt x="252" y="7"/>
                        </a:lnTo>
                        <a:lnTo>
                          <a:pt x="254" y="7"/>
                        </a:lnTo>
                        <a:lnTo>
                          <a:pt x="255" y="7"/>
                        </a:lnTo>
                        <a:lnTo>
                          <a:pt x="257" y="7"/>
                        </a:lnTo>
                        <a:lnTo>
                          <a:pt x="258" y="7"/>
                        </a:lnTo>
                        <a:lnTo>
                          <a:pt x="260" y="7"/>
                        </a:lnTo>
                        <a:lnTo>
                          <a:pt x="262" y="7"/>
                        </a:lnTo>
                        <a:lnTo>
                          <a:pt x="263" y="7"/>
                        </a:lnTo>
                        <a:lnTo>
                          <a:pt x="265" y="7"/>
                        </a:lnTo>
                        <a:lnTo>
                          <a:pt x="266" y="7"/>
                        </a:lnTo>
                        <a:lnTo>
                          <a:pt x="268" y="7"/>
                        </a:lnTo>
                        <a:lnTo>
                          <a:pt x="270" y="7"/>
                        </a:lnTo>
                        <a:lnTo>
                          <a:pt x="271" y="7"/>
                        </a:lnTo>
                        <a:lnTo>
                          <a:pt x="273" y="7"/>
                        </a:lnTo>
                        <a:lnTo>
                          <a:pt x="274" y="8"/>
                        </a:lnTo>
                        <a:lnTo>
                          <a:pt x="276" y="8"/>
                        </a:lnTo>
                        <a:lnTo>
                          <a:pt x="277" y="8"/>
                        </a:lnTo>
                        <a:lnTo>
                          <a:pt x="279" y="8"/>
                        </a:lnTo>
                        <a:lnTo>
                          <a:pt x="281" y="8"/>
                        </a:lnTo>
                        <a:lnTo>
                          <a:pt x="282" y="8"/>
                        </a:lnTo>
                        <a:lnTo>
                          <a:pt x="284" y="8"/>
                        </a:lnTo>
                        <a:lnTo>
                          <a:pt x="285" y="8"/>
                        </a:lnTo>
                        <a:lnTo>
                          <a:pt x="289" y="8"/>
                        </a:lnTo>
                        <a:lnTo>
                          <a:pt x="290" y="8"/>
                        </a:lnTo>
                        <a:lnTo>
                          <a:pt x="292" y="8"/>
                        </a:lnTo>
                        <a:lnTo>
                          <a:pt x="293" y="8"/>
                        </a:lnTo>
                        <a:lnTo>
                          <a:pt x="293" y="10"/>
                        </a:lnTo>
                        <a:lnTo>
                          <a:pt x="295" y="10"/>
                        </a:lnTo>
                        <a:lnTo>
                          <a:pt x="296" y="10"/>
                        </a:lnTo>
                        <a:lnTo>
                          <a:pt x="298" y="10"/>
                        </a:lnTo>
                        <a:lnTo>
                          <a:pt x="300" y="10"/>
                        </a:lnTo>
                        <a:lnTo>
                          <a:pt x="301" y="10"/>
                        </a:lnTo>
                        <a:lnTo>
                          <a:pt x="303" y="10"/>
                        </a:lnTo>
                        <a:lnTo>
                          <a:pt x="304" y="10"/>
                        </a:lnTo>
                        <a:lnTo>
                          <a:pt x="304" y="11"/>
                        </a:lnTo>
                        <a:lnTo>
                          <a:pt x="306" y="11"/>
                        </a:lnTo>
                        <a:lnTo>
                          <a:pt x="306" y="13"/>
                        </a:lnTo>
                        <a:lnTo>
                          <a:pt x="306" y="14"/>
                        </a:lnTo>
                        <a:lnTo>
                          <a:pt x="306" y="16"/>
                        </a:lnTo>
                        <a:lnTo>
                          <a:pt x="308" y="16"/>
                        </a:lnTo>
                        <a:lnTo>
                          <a:pt x="308" y="18"/>
                        </a:lnTo>
                        <a:lnTo>
                          <a:pt x="309" y="18"/>
                        </a:lnTo>
                        <a:lnTo>
                          <a:pt x="311" y="18"/>
                        </a:lnTo>
                        <a:lnTo>
                          <a:pt x="311" y="19"/>
                        </a:lnTo>
                        <a:lnTo>
                          <a:pt x="312" y="21"/>
                        </a:lnTo>
                        <a:lnTo>
                          <a:pt x="312" y="22"/>
                        </a:lnTo>
                        <a:lnTo>
                          <a:pt x="312" y="24"/>
                        </a:lnTo>
                        <a:lnTo>
                          <a:pt x="312" y="26"/>
                        </a:lnTo>
                        <a:lnTo>
                          <a:pt x="312" y="27"/>
                        </a:lnTo>
                        <a:lnTo>
                          <a:pt x="312" y="29"/>
                        </a:lnTo>
                        <a:lnTo>
                          <a:pt x="312" y="30"/>
                        </a:lnTo>
                        <a:lnTo>
                          <a:pt x="314" y="30"/>
                        </a:lnTo>
                        <a:lnTo>
                          <a:pt x="314" y="32"/>
                        </a:lnTo>
                        <a:lnTo>
                          <a:pt x="315" y="33"/>
                        </a:lnTo>
                        <a:lnTo>
                          <a:pt x="315" y="35"/>
                        </a:lnTo>
                        <a:lnTo>
                          <a:pt x="317" y="35"/>
                        </a:lnTo>
                        <a:lnTo>
                          <a:pt x="319" y="37"/>
                        </a:lnTo>
                        <a:lnTo>
                          <a:pt x="320" y="37"/>
                        </a:lnTo>
                        <a:lnTo>
                          <a:pt x="320" y="38"/>
                        </a:lnTo>
                        <a:lnTo>
                          <a:pt x="322" y="40"/>
                        </a:lnTo>
                        <a:lnTo>
                          <a:pt x="322" y="41"/>
                        </a:lnTo>
                        <a:lnTo>
                          <a:pt x="322" y="43"/>
                        </a:lnTo>
                        <a:lnTo>
                          <a:pt x="323" y="43"/>
                        </a:lnTo>
                        <a:lnTo>
                          <a:pt x="323" y="45"/>
                        </a:lnTo>
                        <a:lnTo>
                          <a:pt x="323" y="46"/>
                        </a:lnTo>
                        <a:lnTo>
                          <a:pt x="323" y="48"/>
                        </a:lnTo>
                        <a:lnTo>
                          <a:pt x="322" y="49"/>
                        </a:lnTo>
                        <a:lnTo>
                          <a:pt x="323" y="51"/>
                        </a:lnTo>
                        <a:lnTo>
                          <a:pt x="323" y="52"/>
                        </a:lnTo>
                        <a:lnTo>
                          <a:pt x="325" y="52"/>
                        </a:lnTo>
                        <a:lnTo>
                          <a:pt x="327" y="54"/>
                        </a:lnTo>
                        <a:lnTo>
                          <a:pt x="328" y="54"/>
                        </a:lnTo>
                        <a:lnTo>
                          <a:pt x="328" y="56"/>
                        </a:lnTo>
                        <a:lnTo>
                          <a:pt x="330" y="56"/>
                        </a:lnTo>
                        <a:lnTo>
                          <a:pt x="331" y="57"/>
                        </a:lnTo>
                        <a:lnTo>
                          <a:pt x="333" y="57"/>
                        </a:lnTo>
                        <a:lnTo>
                          <a:pt x="334" y="57"/>
                        </a:lnTo>
                        <a:lnTo>
                          <a:pt x="336" y="57"/>
                        </a:lnTo>
                        <a:lnTo>
                          <a:pt x="338" y="57"/>
                        </a:lnTo>
                        <a:lnTo>
                          <a:pt x="339" y="57"/>
                        </a:lnTo>
                        <a:lnTo>
                          <a:pt x="341" y="59"/>
                        </a:lnTo>
                        <a:lnTo>
                          <a:pt x="342" y="59"/>
                        </a:lnTo>
                        <a:lnTo>
                          <a:pt x="344" y="60"/>
                        </a:lnTo>
                        <a:lnTo>
                          <a:pt x="344" y="62"/>
                        </a:lnTo>
                        <a:lnTo>
                          <a:pt x="346" y="62"/>
                        </a:lnTo>
                        <a:lnTo>
                          <a:pt x="347" y="62"/>
                        </a:lnTo>
                        <a:lnTo>
                          <a:pt x="349" y="64"/>
                        </a:lnTo>
                        <a:lnTo>
                          <a:pt x="349" y="65"/>
                        </a:lnTo>
                        <a:lnTo>
                          <a:pt x="350" y="65"/>
                        </a:lnTo>
                        <a:lnTo>
                          <a:pt x="350" y="67"/>
                        </a:lnTo>
                        <a:lnTo>
                          <a:pt x="352" y="68"/>
                        </a:lnTo>
                        <a:lnTo>
                          <a:pt x="353" y="70"/>
                        </a:lnTo>
                        <a:lnTo>
                          <a:pt x="355" y="70"/>
                        </a:lnTo>
                        <a:lnTo>
                          <a:pt x="357" y="70"/>
                        </a:lnTo>
                        <a:lnTo>
                          <a:pt x="358" y="70"/>
                        </a:lnTo>
                        <a:lnTo>
                          <a:pt x="360" y="70"/>
                        </a:lnTo>
                        <a:lnTo>
                          <a:pt x="361" y="70"/>
                        </a:lnTo>
                        <a:lnTo>
                          <a:pt x="363" y="70"/>
                        </a:lnTo>
                        <a:lnTo>
                          <a:pt x="365" y="70"/>
                        </a:lnTo>
                        <a:lnTo>
                          <a:pt x="366" y="70"/>
                        </a:lnTo>
                        <a:lnTo>
                          <a:pt x="368" y="70"/>
                        </a:lnTo>
                        <a:lnTo>
                          <a:pt x="369" y="70"/>
                        </a:lnTo>
                        <a:lnTo>
                          <a:pt x="371" y="70"/>
                        </a:lnTo>
                        <a:lnTo>
                          <a:pt x="372" y="70"/>
                        </a:lnTo>
                        <a:lnTo>
                          <a:pt x="372" y="68"/>
                        </a:lnTo>
                        <a:lnTo>
                          <a:pt x="374" y="68"/>
                        </a:lnTo>
                        <a:lnTo>
                          <a:pt x="376" y="67"/>
                        </a:lnTo>
                        <a:lnTo>
                          <a:pt x="377" y="67"/>
                        </a:lnTo>
                        <a:lnTo>
                          <a:pt x="379" y="65"/>
                        </a:lnTo>
                        <a:lnTo>
                          <a:pt x="379" y="64"/>
                        </a:lnTo>
                        <a:lnTo>
                          <a:pt x="380" y="64"/>
                        </a:lnTo>
                        <a:lnTo>
                          <a:pt x="380" y="62"/>
                        </a:lnTo>
                        <a:lnTo>
                          <a:pt x="382" y="62"/>
                        </a:lnTo>
                        <a:lnTo>
                          <a:pt x="384" y="60"/>
                        </a:lnTo>
                        <a:lnTo>
                          <a:pt x="387" y="57"/>
                        </a:lnTo>
                        <a:lnTo>
                          <a:pt x="388" y="57"/>
                        </a:lnTo>
                        <a:lnTo>
                          <a:pt x="390" y="56"/>
                        </a:lnTo>
                        <a:lnTo>
                          <a:pt x="391" y="56"/>
                        </a:lnTo>
                        <a:lnTo>
                          <a:pt x="391" y="54"/>
                        </a:lnTo>
                        <a:lnTo>
                          <a:pt x="393" y="52"/>
                        </a:lnTo>
                        <a:lnTo>
                          <a:pt x="395" y="52"/>
                        </a:lnTo>
                        <a:lnTo>
                          <a:pt x="395" y="51"/>
                        </a:lnTo>
                        <a:lnTo>
                          <a:pt x="396" y="49"/>
                        </a:lnTo>
                        <a:lnTo>
                          <a:pt x="399" y="48"/>
                        </a:lnTo>
                        <a:lnTo>
                          <a:pt x="401" y="46"/>
                        </a:lnTo>
                        <a:lnTo>
                          <a:pt x="403" y="45"/>
                        </a:lnTo>
                        <a:lnTo>
                          <a:pt x="404" y="45"/>
                        </a:lnTo>
                        <a:lnTo>
                          <a:pt x="406" y="45"/>
                        </a:lnTo>
                        <a:lnTo>
                          <a:pt x="407" y="43"/>
                        </a:lnTo>
                        <a:lnTo>
                          <a:pt x="409" y="43"/>
                        </a:lnTo>
                        <a:lnTo>
                          <a:pt x="410" y="41"/>
                        </a:lnTo>
                        <a:lnTo>
                          <a:pt x="412" y="41"/>
                        </a:lnTo>
                        <a:lnTo>
                          <a:pt x="414" y="41"/>
                        </a:lnTo>
                        <a:lnTo>
                          <a:pt x="414" y="40"/>
                        </a:lnTo>
                        <a:lnTo>
                          <a:pt x="415" y="40"/>
                        </a:lnTo>
                        <a:lnTo>
                          <a:pt x="417" y="38"/>
                        </a:lnTo>
                        <a:lnTo>
                          <a:pt x="417" y="37"/>
                        </a:lnTo>
                        <a:lnTo>
                          <a:pt x="417" y="35"/>
                        </a:lnTo>
                        <a:lnTo>
                          <a:pt x="415" y="33"/>
                        </a:lnTo>
                        <a:lnTo>
                          <a:pt x="415" y="32"/>
                        </a:lnTo>
                        <a:lnTo>
                          <a:pt x="415" y="30"/>
                        </a:lnTo>
                        <a:lnTo>
                          <a:pt x="417" y="29"/>
                        </a:lnTo>
                        <a:lnTo>
                          <a:pt x="418" y="29"/>
                        </a:lnTo>
                        <a:lnTo>
                          <a:pt x="418" y="27"/>
                        </a:lnTo>
                        <a:lnTo>
                          <a:pt x="420" y="27"/>
                        </a:lnTo>
                        <a:lnTo>
                          <a:pt x="420" y="26"/>
                        </a:lnTo>
                        <a:lnTo>
                          <a:pt x="422" y="26"/>
                        </a:lnTo>
                        <a:lnTo>
                          <a:pt x="422" y="24"/>
                        </a:lnTo>
                        <a:lnTo>
                          <a:pt x="423" y="24"/>
                        </a:lnTo>
                        <a:lnTo>
                          <a:pt x="425" y="24"/>
                        </a:lnTo>
                        <a:lnTo>
                          <a:pt x="425" y="22"/>
                        </a:lnTo>
                        <a:lnTo>
                          <a:pt x="426" y="22"/>
                        </a:lnTo>
                        <a:lnTo>
                          <a:pt x="428" y="22"/>
                        </a:lnTo>
                        <a:lnTo>
                          <a:pt x="430" y="21"/>
                        </a:lnTo>
                        <a:lnTo>
                          <a:pt x="431" y="21"/>
                        </a:lnTo>
                        <a:lnTo>
                          <a:pt x="433" y="21"/>
                        </a:lnTo>
                        <a:lnTo>
                          <a:pt x="433" y="19"/>
                        </a:lnTo>
                        <a:lnTo>
                          <a:pt x="434" y="19"/>
                        </a:lnTo>
                        <a:lnTo>
                          <a:pt x="436" y="19"/>
                        </a:lnTo>
                        <a:lnTo>
                          <a:pt x="436" y="18"/>
                        </a:lnTo>
                        <a:lnTo>
                          <a:pt x="437" y="18"/>
                        </a:lnTo>
                        <a:lnTo>
                          <a:pt x="439" y="16"/>
                        </a:lnTo>
                        <a:lnTo>
                          <a:pt x="441" y="16"/>
                        </a:lnTo>
                        <a:lnTo>
                          <a:pt x="441" y="14"/>
                        </a:lnTo>
                        <a:lnTo>
                          <a:pt x="442" y="14"/>
                        </a:lnTo>
                        <a:lnTo>
                          <a:pt x="444" y="13"/>
                        </a:lnTo>
                        <a:lnTo>
                          <a:pt x="445" y="13"/>
                        </a:lnTo>
                        <a:lnTo>
                          <a:pt x="447" y="13"/>
                        </a:lnTo>
                        <a:lnTo>
                          <a:pt x="449" y="13"/>
                        </a:lnTo>
                        <a:lnTo>
                          <a:pt x="450" y="13"/>
                        </a:lnTo>
                        <a:lnTo>
                          <a:pt x="453" y="13"/>
                        </a:lnTo>
                        <a:lnTo>
                          <a:pt x="453" y="14"/>
                        </a:lnTo>
                        <a:lnTo>
                          <a:pt x="455" y="14"/>
                        </a:lnTo>
                        <a:lnTo>
                          <a:pt x="456" y="14"/>
                        </a:lnTo>
                        <a:lnTo>
                          <a:pt x="458" y="16"/>
                        </a:lnTo>
                        <a:lnTo>
                          <a:pt x="460" y="16"/>
                        </a:lnTo>
                        <a:lnTo>
                          <a:pt x="461" y="16"/>
                        </a:lnTo>
                        <a:lnTo>
                          <a:pt x="463" y="16"/>
                        </a:lnTo>
                        <a:lnTo>
                          <a:pt x="464" y="16"/>
                        </a:lnTo>
                        <a:lnTo>
                          <a:pt x="464" y="14"/>
                        </a:lnTo>
                        <a:lnTo>
                          <a:pt x="466" y="14"/>
                        </a:lnTo>
                        <a:lnTo>
                          <a:pt x="468" y="14"/>
                        </a:lnTo>
                        <a:lnTo>
                          <a:pt x="468" y="13"/>
                        </a:lnTo>
                        <a:lnTo>
                          <a:pt x="469" y="13"/>
                        </a:lnTo>
                        <a:lnTo>
                          <a:pt x="471" y="13"/>
                        </a:lnTo>
                        <a:lnTo>
                          <a:pt x="474" y="11"/>
                        </a:lnTo>
                        <a:lnTo>
                          <a:pt x="474" y="13"/>
                        </a:lnTo>
                        <a:lnTo>
                          <a:pt x="475" y="13"/>
                        </a:lnTo>
                        <a:lnTo>
                          <a:pt x="477" y="13"/>
                        </a:lnTo>
                        <a:lnTo>
                          <a:pt x="477" y="14"/>
                        </a:lnTo>
                        <a:lnTo>
                          <a:pt x="479" y="14"/>
                        </a:lnTo>
                        <a:lnTo>
                          <a:pt x="480" y="14"/>
                        </a:lnTo>
                        <a:lnTo>
                          <a:pt x="479" y="14"/>
                        </a:lnTo>
                        <a:lnTo>
                          <a:pt x="480" y="14"/>
                        </a:lnTo>
                        <a:lnTo>
                          <a:pt x="480" y="13"/>
                        </a:lnTo>
                        <a:lnTo>
                          <a:pt x="482" y="13"/>
                        </a:lnTo>
                        <a:lnTo>
                          <a:pt x="482" y="11"/>
                        </a:lnTo>
                        <a:lnTo>
                          <a:pt x="482" y="10"/>
                        </a:lnTo>
                        <a:lnTo>
                          <a:pt x="483" y="10"/>
                        </a:lnTo>
                        <a:lnTo>
                          <a:pt x="485" y="10"/>
                        </a:lnTo>
                        <a:lnTo>
                          <a:pt x="485" y="8"/>
                        </a:lnTo>
                        <a:lnTo>
                          <a:pt x="487" y="8"/>
                        </a:lnTo>
                        <a:lnTo>
                          <a:pt x="488" y="8"/>
                        </a:lnTo>
                        <a:lnTo>
                          <a:pt x="490" y="8"/>
                        </a:lnTo>
                        <a:lnTo>
                          <a:pt x="491" y="8"/>
                        </a:lnTo>
                        <a:lnTo>
                          <a:pt x="493" y="10"/>
                        </a:lnTo>
                        <a:lnTo>
                          <a:pt x="494" y="10"/>
                        </a:lnTo>
                        <a:lnTo>
                          <a:pt x="494" y="11"/>
                        </a:lnTo>
                        <a:lnTo>
                          <a:pt x="496" y="11"/>
                        </a:lnTo>
                        <a:lnTo>
                          <a:pt x="498" y="11"/>
                        </a:lnTo>
                        <a:lnTo>
                          <a:pt x="499" y="11"/>
                        </a:lnTo>
                        <a:lnTo>
                          <a:pt x="501" y="11"/>
                        </a:lnTo>
                        <a:lnTo>
                          <a:pt x="501" y="13"/>
                        </a:lnTo>
                        <a:lnTo>
                          <a:pt x="501" y="14"/>
                        </a:lnTo>
                        <a:lnTo>
                          <a:pt x="502" y="14"/>
                        </a:lnTo>
                        <a:lnTo>
                          <a:pt x="502" y="16"/>
                        </a:lnTo>
                        <a:lnTo>
                          <a:pt x="502" y="18"/>
                        </a:lnTo>
                        <a:lnTo>
                          <a:pt x="504" y="18"/>
                        </a:lnTo>
                        <a:lnTo>
                          <a:pt x="504" y="19"/>
                        </a:lnTo>
                        <a:lnTo>
                          <a:pt x="504" y="21"/>
                        </a:lnTo>
                        <a:lnTo>
                          <a:pt x="506" y="22"/>
                        </a:lnTo>
                        <a:lnTo>
                          <a:pt x="506" y="24"/>
                        </a:lnTo>
                        <a:lnTo>
                          <a:pt x="507" y="26"/>
                        </a:lnTo>
                        <a:lnTo>
                          <a:pt x="507" y="27"/>
                        </a:lnTo>
                        <a:lnTo>
                          <a:pt x="507" y="29"/>
                        </a:lnTo>
                        <a:lnTo>
                          <a:pt x="509" y="30"/>
                        </a:lnTo>
                        <a:lnTo>
                          <a:pt x="509" y="32"/>
                        </a:lnTo>
                        <a:lnTo>
                          <a:pt x="510" y="33"/>
                        </a:lnTo>
                        <a:lnTo>
                          <a:pt x="510" y="35"/>
                        </a:lnTo>
                        <a:lnTo>
                          <a:pt x="512" y="37"/>
                        </a:lnTo>
                        <a:lnTo>
                          <a:pt x="512" y="38"/>
                        </a:lnTo>
                        <a:lnTo>
                          <a:pt x="513" y="38"/>
                        </a:lnTo>
                        <a:lnTo>
                          <a:pt x="513" y="40"/>
                        </a:lnTo>
                        <a:lnTo>
                          <a:pt x="513" y="41"/>
                        </a:lnTo>
                        <a:lnTo>
                          <a:pt x="513" y="43"/>
                        </a:lnTo>
                        <a:lnTo>
                          <a:pt x="515" y="43"/>
                        </a:lnTo>
                        <a:lnTo>
                          <a:pt x="515" y="45"/>
                        </a:lnTo>
                        <a:lnTo>
                          <a:pt x="515" y="46"/>
                        </a:lnTo>
                        <a:lnTo>
                          <a:pt x="517" y="46"/>
                        </a:lnTo>
                        <a:lnTo>
                          <a:pt x="517" y="48"/>
                        </a:lnTo>
                        <a:lnTo>
                          <a:pt x="517" y="49"/>
                        </a:lnTo>
                        <a:lnTo>
                          <a:pt x="518" y="49"/>
                        </a:lnTo>
                        <a:lnTo>
                          <a:pt x="518" y="51"/>
                        </a:lnTo>
                        <a:lnTo>
                          <a:pt x="520" y="52"/>
                        </a:lnTo>
                        <a:lnTo>
                          <a:pt x="520" y="54"/>
                        </a:lnTo>
                        <a:lnTo>
                          <a:pt x="520" y="56"/>
                        </a:lnTo>
                        <a:lnTo>
                          <a:pt x="521" y="57"/>
                        </a:lnTo>
                        <a:lnTo>
                          <a:pt x="521" y="59"/>
                        </a:lnTo>
                        <a:lnTo>
                          <a:pt x="523" y="60"/>
                        </a:lnTo>
                        <a:lnTo>
                          <a:pt x="523" y="62"/>
                        </a:lnTo>
                        <a:lnTo>
                          <a:pt x="525" y="62"/>
                        </a:lnTo>
                        <a:lnTo>
                          <a:pt x="525" y="64"/>
                        </a:lnTo>
                        <a:lnTo>
                          <a:pt x="525" y="65"/>
                        </a:lnTo>
                        <a:lnTo>
                          <a:pt x="525" y="67"/>
                        </a:lnTo>
                        <a:lnTo>
                          <a:pt x="526" y="68"/>
                        </a:lnTo>
                        <a:lnTo>
                          <a:pt x="526" y="70"/>
                        </a:lnTo>
                        <a:lnTo>
                          <a:pt x="528" y="70"/>
                        </a:lnTo>
                        <a:lnTo>
                          <a:pt x="528" y="71"/>
                        </a:lnTo>
                        <a:lnTo>
                          <a:pt x="528" y="73"/>
                        </a:lnTo>
                        <a:lnTo>
                          <a:pt x="529" y="73"/>
                        </a:lnTo>
                        <a:lnTo>
                          <a:pt x="529" y="75"/>
                        </a:lnTo>
                        <a:lnTo>
                          <a:pt x="529" y="76"/>
                        </a:lnTo>
                        <a:lnTo>
                          <a:pt x="531" y="78"/>
                        </a:lnTo>
                        <a:lnTo>
                          <a:pt x="531" y="79"/>
                        </a:lnTo>
                        <a:lnTo>
                          <a:pt x="532" y="81"/>
                        </a:lnTo>
                        <a:lnTo>
                          <a:pt x="532" y="83"/>
                        </a:lnTo>
                        <a:lnTo>
                          <a:pt x="534" y="84"/>
                        </a:lnTo>
                        <a:lnTo>
                          <a:pt x="534" y="86"/>
                        </a:lnTo>
                        <a:lnTo>
                          <a:pt x="536" y="87"/>
                        </a:lnTo>
                        <a:lnTo>
                          <a:pt x="536" y="89"/>
                        </a:lnTo>
                        <a:lnTo>
                          <a:pt x="536" y="90"/>
                        </a:lnTo>
                        <a:lnTo>
                          <a:pt x="537" y="90"/>
                        </a:lnTo>
                        <a:lnTo>
                          <a:pt x="537" y="92"/>
                        </a:lnTo>
                        <a:lnTo>
                          <a:pt x="537" y="94"/>
                        </a:lnTo>
                        <a:lnTo>
                          <a:pt x="537" y="95"/>
                        </a:lnTo>
                        <a:lnTo>
                          <a:pt x="539" y="95"/>
                        </a:lnTo>
                        <a:lnTo>
                          <a:pt x="540" y="95"/>
                        </a:lnTo>
                        <a:lnTo>
                          <a:pt x="542" y="97"/>
                        </a:lnTo>
                        <a:lnTo>
                          <a:pt x="544" y="95"/>
                        </a:lnTo>
                        <a:lnTo>
                          <a:pt x="545" y="95"/>
                        </a:lnTo>
                        <a:lnTo>
                          <a:pt x="547" y="95"/>
                        </a:lnTo>
                        <a:lnTo>
                          <a:pt x="548" y="95"/>
                        </a:lnTo>
                        <a:lnTo>
                          <a:pt x="548" y="94"/>
                        </a:lnTo>
                        <a:lnTo>
                          <a:pt x="550" y="94"/>
                        </a:lnTo>
                        <a:lnTo>
                          <a:pt x="551" y="92"/>
                        </a:lnTo>
                        <a:lnTo>
                          <a:pt x="553" y="92"/>
                        </a:lnTo>
                        <a:lnTo>
                          <a:pt x="553" y="90"/>
                        </a:lnTo>
                        <a:lnTo>
                          <a:pt x="555" y="90"/>
                        </a:lnTo>
                        <a:lnTo>
                          <a:pt x="556" y="89"/>
                        </a:lnTo>
                        <a:lnTo>
                          <a:pt x="558" y="89"/>
                        </a:lnTo>
                        <a:lnTo>
                          <a:pt x="559" y="89"/>
                        </a:lnTo>
                        <a:lnTo>
                          <a:pt x="561" y="89"/>
                        </a:lnTo>
                        <a:lnTo>
                          <a:pt x="561" y="90"/>
                        </a:lnTo>
                        <a:lnTo>
                          <a:pt x="563" y="90"/>
                        </a:lnTo>
                        <a:lnTo>
                          <a:pt x="564" y="90"/>
                        </a:lnTo>
                        <a:lnTo>
                          <a:pt x="566" y="92"/>
                        </a:lnTo>
                        <a:lnTo>
                          <a:pt x="567" y="92"/>
                        </a:lnTo>
                        <a:lnTo>
                          <a:pt x="569" y="92"/>
                        </a:lnTo>
                        <a:lnTo>
                          <a:pt x="570" y="92"/>
                        </a:lnTo>
                        <a:lnTo>
                          <a:pt x="570" y="94"/>
                        </a:lnTo>
                        <a:lnTo>
                          <a:pt x="574" y="94"/>
                        </a:lnTo>
                        <a:lnTo>
                          <a:pt x="575" y="94"/>
                        </a:lnTo>
                        <a:lnTo>
                          <a:pt x="577" y="94"/>
                        </a:lnTo>
                        <a:lnTo>
                          <a:pt x="578" y="94"/>
                        </a:lnTo>
                        <a:lnTo>
                          <a:pt x="580" y="94"/>
                        </a:lnTo>
                        <a:lnTo>
                          <a:pt x="580" y="92"/>
                        </a:lnTo>
                        <a:lnTo>
                          <a:pt x="582" y="92"/>
                        </a:lnTo>
                        <a:lnTo>
                          <a:pt x="583" y="92"/>
                        </a:lnTo>
                        <a:lnTo>
                          <a:pt x="585" y="94"/>
                        </a:lnTo>
                        <a:lnTo>
                          <a:pt x="586" y="94"/>
                        </a:lnTo>
                        <a:lnTo>
                          <a:pt x="588" y="94"/>
                        </a:lnTo>
                        <a:lnTo>
                          <a:pt x="589" y="94"/>
                        </a:lnTo>
                        <a:lnTo>
                          <a:pt x="591" y="94"/>
                        </a:lnTo>
                        <a:lnTo>
                          <a:pt x="593" y="94"/>
                        </a:lnTo>
                        <a:lnTo>
                          <a:pt x="594" y="94"/>
                        </a:lnTo>
                        <a:lnTo>
                          <a:pt x="594" y="95"/>
                        </a:lnTo>
                        <a:lnTo>
                          <a:pt x="596" y="95"/>
                        </a:lnTo>
                        <a:lnTo>
                          <a:pt x="597" y="95"/>
                        </a:lnTo>
                        <a:lnTo>
                          <a:pt x="597" y="94"/>
                        </a:lnTo>
                        <a:lnTo>
                          <a:pt x="599" y="94"/>
                        </a:lnTo>
                        <a:lnTo>
                          <a:pt x="601" y="95"/>
                        </a:lnTo>
                        <a:lnTo>
                          <a:pt x="601" y="97"/>
                        </a:lnTo>
                        <a:lnTo>
                          <a:pt x="601" y="98"/>
                        </a:lnTo>
                        <a:lnTo>
                          <a:pt x="601" y="100"/>
                        </a:lnTo>
                        <a:lnTo>
                          <a:pt x="602" y="102"/>
                        </a:lnTo>
                        <a:lnTo>
                          <a:pt x="602" y="103"/>
                        </a:lnTo>
                        <a:lnTo>
                          <a:pt x="602" y="105"/>
                        </a:lnTo>
                        <a:lnTo>
                          <a:pt x="604" y="105"/>
                        </a:lnTo>
                        <a:lnTo>
                          <a:pt x="604" y="106"/>
                        </a:lnTo>
                        <a:lnTo>
                          <a:pt x="604" y="108"/>
                        </a:lnTo>
                        <a:lnTo>
                          <a:pt x="605" y="109"/>
                        </a:lnTo>
                        <a:lnTo>
                          <a:pt x="605" y="111"/>
                        </a:lnTo>
                        <a:lnTo>
                          <a:pt x="607" y="111"/>
                        </a:lnTo>
                        <a:lnTo>
                          <a:pt x="607" y="113"/>
                        </a:lnTo>
                        <a:lnTo>
                          <a:pt x="608" y="113"/>
                        </a:lnTo>
                        <a:lnTo>
                          <a:pt x="608" y="114"/>
                        </a:lnTo>
                        <a:lnTo>
                          <a:pt x="610" y="114"/>
                        </a:lnTo>
                        <a:lnTo>
                          <a:pt x="610" y="116"/>
                        </a:lnTo>
                        <a:lnTo>
                          <a:pt x="612" y="116"/>
                        </a:lnTo>
                        <a:lnTo>
                          <a:pt x="613" y="116"/>
                        </a:lnTo>
                        <a:lnTo>
                          <a:pt x="613" y="117"/>
                        </a:lnTo>
                        <a:lnTo>
                          <a:pt x="615" y="117"/>
                        </a:lnTo>
                        <a:lnTo>
                          <a:pt x="616" y="119"/>
                        </a:lnTo>
                        <a:lnTo>
                          <a:pt x="616" y="117"/>
                        </a:lnTo>
                        <a:lnTo>
                          <a:pt x="618" y="117"/>
                        </a:lnTo>
                        <a:lnTo>
                          <a:pt x="620" y="117"/>
                        </a:lnTo>
                        <a:lnTo>
                          <a:pt x="621" y="117"/>
                        </a:lnTo>
                        <a:lnTo>
                          <a:pt x="623" y="117"/>
                        </a:lnTo>
                        <a:lnTo>
                          <a:pt x="623" y="119"/>
                        </a:lnTo>
                        <a:lnTo>
                          <a:pt x="624" y="119"/>
                        </a:lnTo>
                        <a:lnTo>
                          <a:pt x="626" y="117"/>
                        </a:lnTo>
                        <a:lnTo>
                          <a:pt x="628" y="116"/>
                        </a:lnTo>
                        <a:lnTo>
                          <a:pt x="628" y="114"/>
                        </a:lnTo>
                        <a:lnTo>
                          <a:pt x="629" y="114"/>
                        </a:lnTo>
                        <a:lnTo>
                          <a:pt x="629" y="113"/>
                        </a:lnTo>
                        <a:lnTo>
                          <a:pt x="629" y="111"/>
                        </a:lnTo>
                        <a:lnTo>
                          <a:pt x="631" y="111"/>
                        </a:lnTo>
                        <a:lnTo>
                          <a:pt x="632" y="111"/>
                        </a:lnTo>
                        <a:lnTo>
                          <a:pt x="632" y="109"/>
                        </a:lnTo>
                        <a:lnTo>
                          <a:pt x="634" y="109"/>
                        </a:lnTo>
                        <a:lnTo>
                          <a:pt x="635" y="109"/>
                        </a:lnTo>
                        <a:lnTo>
                          <a:pt x="637" y="109"/>
                        </a:lnTo>
                        <a:lnTo>
                          <a:pt x="639" y="109"/>
                        </a:lnTo>
                        <a:lnTo>
                          <a:pt x="640" y="108"/>
                        </a:lnTo>
                        <a:lnTo>
                          <a:pt x="640" y="106"/>
                        </a:lnTo>
                        <a:lnTo>
                          <a:pt x="642" y="106"/>
                        </a:lnTo>
                        <a:lnTo>
                          <a:pt x="643" y="105"/>
                        </a:lnTo>
                        <a:lnTo>
                          <a:pt x="643" y="103"/>
                        </a:lnTo>
                        <a:lnTo>
                          <a:pt x="645" y="102"/>
                        </a:lnTo>
                        <a:lnTo>
                          <a:pt x="645" y="100"/>
                        </a:lnTo>
                        <a:lnTo>
                          <a:pt x="647" y="98"/>
                        </a:lnTo>
                        <a:lnTo>
                          <a:pt x="647" y="97"/>
                        </a:lnTo>
                        <a:lnTo>
                          <a:pt x="647" y="95"/>
                        </a:lnTo>
                        <a:lnTo>
                          <a:pt x="648" y="94"/>
                        </a:lnTo>
                        <a:lnTo>
                          <a:pt x="648" y="92"/>
                        </a:lnTo>
                        <a:lnTo>
                          <a:pt x="650" y="90"/>
                        </a:lnTo>
                        <a:lnTo>
                          <a:pt x="651" y="90"/>
                        </a:lnTo>
                        <a:lnTo>
                          <a:pt x="653" y="90"/>
                        </a:lnTo>
                        <a:lnTo>
                          <a:pt x="654" y="89"/>
                        </a:lnTo>
                        <a:lnTo>
                          <a:pt x="656" y="89"/>
                        </a:lnTo>
                        <a:lnTo>
                          <a:pt x="658" y="89"/>
                        </a:lnTo>
                        <a:lnTo>
                          <a:pt x="659" y="89"/>
                        </a:lnTo>
                        <a:lnTo>
                          <a:pt x="661" y="89"/>
                        </a:lnTo>
                        <a:lnTo>
                          <a:pt x="662" y="89"/>
                        </a:lnTo>
                        <a:lnTo>
                          <a:pt x="664" y="89"/>
                        </a:lnTo>
                        <a:lnTo>
                          <a:pt x="666" y="87"/>
                        </a:lnTo>
                        <a:lnTo>
                          <a:pt x="667" y="87"/>
                        </a:lnTo>
                        <a:lnTo>
                          <a:pt x="669" y="87"/>
                        </a:lnTo>
                        <a:lnTo>
                          <a:pt x="670" y="87"/>
                        </a:lnTo>
                        <a:lnTo>
                          <a:pt x="673" y="87"/>
                        </a:lnTo>
                        <a:lnTo>
                          <a:pt x="675" y="87"/>
                        </a:lnTo>
                        <a:lnTo>
                          <a:pt x="677" y="87"/>
                        </a:lnTo>
                        <a:lnTo>
                          <a:pt x="678" y="87"/>
                        </a:lnTo>
                        <a:lnTo>
                          <a:pt x="680" y="86"/>
                        </a:lnTo>
                        <a:lnTo>
                          <a:pt x="681" y="86"/>
                        </a:lnTo>
                        <a:lnTo>
                          <a:pt x="681" y="84"/>
                        </a:lnTo>
                        <a:lnTo>
                          <a:pt x="683" y="84"/>
                        </a:lnTo>
                        <a:lnTo>
                          <a:pt x="685" y="84"/>
                        </a:lnTo>
                        <a:lnTo>
                          <a:pt x="686" y="84"/>
                        </a:lnTo>
                        <a:lnTo>
                          <a:pt x="688" y="84"/>
                        </a:lnTo>
                        <a:lnTo>
                          <a:pt x="689" y="84"/>
                        </a:lnTo>
                        <a:lnTo>
                          <a:pt x="691" y="84"/>
                        </a:lnTo>
                        <a:lnTo>
                          <a:pt x="692" y="84"/>
                        </a:lnTo>
                        <a:lnTo>
                          <a:pt x="694" y="83"/>
                        </a:lnTo>
                        <a:lnTo>
                          <a:pt x="694" y="81"/>
                        </a:lnTo>
                        <a:lnTo>
                          <a:pt x="696" y="81"/>
                        </a:lnTo>
                        <a:lnTo>
                          <a:pt x="697" y="79"/>
                        </a:lnTo>
                        <a:lnTo>
                          <a:pt x="699" y="78"/>
                        </a:lnTo>
                        <a:lnTo>
                          <a:pt x="700" y="78"/>
                        </a:lnTo>
                        <a:lnTo>
                          <a:pt x="702" y="78"/>
                        </a:lnTo>
                        <a:lnTo>
                          <a:pt x="704" y="78"/>
                        </a:lnTo>
                        <a:lnTo>
                          <a:pt x="704" y="76"/>
                        </a:lnTo>
                        <a:lnTo>
                          <a:pt x="705" y="76"/>
                        </a:lnTo>
                        <a:lnTo>
                          <a:pt x="707" y="75"/>
                        </a:lnTo>
                        <a:lnTo>
                          <a:pt x="708" y="75"/>
                        </a:lnTo>
                        <a:lnTo>
                          <a:pt x="708" y="73"/>
                        </a:lnTo>
                        <a:lnTo>
                          <a:pt x="710" y="71"/>
                        </a:lnTo>
                        <a:lnTo>
                          <a:pt x="710" y="70"/>
                        </a:lnTo>
                        <a:lnTo>
                          <a:pt x="711" y="70"/>
                        </a:lnTo>
                        <a:lnTo>
                          <a:pt x="711" y="68"/>
                        </a:lnTo>
                        <a:lnTo>
                          <a:pt x="713" y="68"/>
                        </a:lnTo>
                        <a:lnTo>
                          <a:pt x="715" y="68"/>
                        </a:lnTo>
                        <a:lnTo>
                          <a:pt x="716" y="67"/>
                        </a:lnTo>
                        <a:lnTo>
                          <a:pt x="718" y="67"/>
                        </a:lnTo>
                        <a:lnTo>
                          <a:pt x="719" y="65"/>
                        </a:lnTo>
                        <a:lnTo>
                          <a:pt x="721" y="65"/>
                        </a:lnTo>
                        <a:lnTo>
                          <a:pt x="721" y="64"/>
                        </a:lnTo>
                        <a:lnTo>
                          <a:pt x="721" y="62"/>
                        </a:lnTo>
                        <a:lnTo>
                          <a:pt x="723" y="62"/>
                        </a:lnTo>
                        <a:lnTo>
                          <a:pt x="723" y="60"/>
                        </a:lnTo>
                        <a:lnTo>
                          <a:pt x="724" y="59"/>
                        </a:lnTo>
                        <a:lnTo>
                          <a:pt x="724" y="60"/>
                        </a:lnTo>
                        <a:lnTo>
                          <a:pt x="726" y="59"/>
                        </a:lnTo>
                        <a:lnTo>
                          <a:pt x="727" y="59"/>
                        </a:lnTo>
                        <a:lnTo>
                          <a:pt x="727" y="60"/>
                        </a:lnTo>
                        <a:lnTo>
                          <a:pt x="729" y="60"/>
                        </a:lnTo>
                        <a:lnTo>
                          <a:pt x="729" y="62"/>
                        </a:lnTo>
                        <a:lnTo>
                          <a:pt x="729" y="64"/>
                        </a:lnTo>
                        <a:lnTo>
                          <a:pt x="730" y="64"/>
                        </a:lnTo>
                        <a:lnTo>
                          <a:pt x="730" y="65"/>
                        </a:lnTo>
                        <a:lnTo>
                          <a:pt x="730" y="67"/>
                        </a:lnTo>
                        <a:lnTo>
                          <a:pt x="732" y="67"/>
                        </a:lnTo>
                        <a:lnTo>
                          <a:pt x="732" y="68"/>
                        </a:lnTo>
                        <a:lnTo>
                          <a:pt x="734" y="70"/>
                        </a:lnTo>
                        <a:lnTo>
                          <a:pt x="734" y="71"/>
                        </a:lnTo>
                        <a:lnTo>
                          <a:pt x="734" y="73"/>
                        </a:lnTo>
                        <a:lnTo>
                          <a:pt x="735" y="73"/>
                        </a:lnTo>
                        <a:lnTo>
                          <a:pt x="735" y="75"/>
                        </a:lnTo>
                        <a:lnTo>
                          <a:pt x="737" y="76"/>
                        </a:lnTo>
                        <a:lnTo>
                          <a:pt x="738" y="78"/>
                        </a:lnTo>
                        <a:lnTo>
                          <a:pt x="738" y="79"/>
                        </a:lnTo>
                        <a:lnTo>
                          <a:pt x="740" y="79"/>
                        </a:lnTo>
                        <a:lnTo>
                          <a:pt x="740" y="81"/>
                        </a:lnTo>
                        <a:lnTo>
                          <a:pt x="740" y="83"/>
                        </a:lnTo>
                        <a:lnTo>
                          <a:pt x="742" y="83"/>
                        </a:lnTo>
                        <a:lnTo>
                          <a:pt x="742" y="84"/>
                        </a:lnTo>
                        <a:lnTo>
                          <a:pt x="743" y="84"/>
                        </a:lnTo>
                        <a:lnTo>
                          <a:pt x="743" y="86"/>
                        </a:lnTo>
                        <a:lnTo>
                          <a:pt x="745" y="87"/>
                        </a:lnTo>
                        <a:lnTo>
                          <a:pt x="745" y="89"/>
                        </a:lnTo>
                        <a:lnTo>
                          <a:pt x="746" y="89"/>
                        </a:lnTo>
                        <a:lnTo>
                          <a:pt x="748" y="90"/>
                        </a:lnTo>
                        <a:lnTo>
                          <a:pt x="749" y="90"/>
                        </a:lnTo>
                        <a:lnTo>
                          <a:pt x="749" y="92"/>
                        </a:lnTo>
                        <a:lnTo>
                          <a:pt x="751" y="92"/>
                        </a:lnTo>
                        <a:lnTo>
                          <a:pt x="753" y="94"/>
                        </a:lnTo>
                        <a:lnTo>
                          <a:pt x="754" y="94"/>
                        </a:lnTo>
                        <a:lnTo>
                          <a:pt x="754" y="95"/>
                        </a:lnTo>
                        <a:lnTo>
                          <a:pt x="756" y="95"/>
                        </a:lnTo>
                        <a:lnTo>
                          <a:pt x="756" y="94"/>
                        </a:lnTo>
                        <a:lnTo>
                          <a:pt x="757" y="94"/>
                        </a:lnTo>
                        <a:lnTo>
                          <a:pt x="757" y="95"/>
                        </a:lnTo>
                        <a:lnTo>
                          <a:pt x="757" y="97"/>
                        </a:lnTo>
                        <a:lnTo>
                          <a:pt x="759" y="97"/>
                        </a:lnTo>
                        <a:lnTo>
                          <a:pt x="759" y="95"/>
                        </a:lnTo>
                        <a:lnTo>
                          <a:pt x="761" y="95"/>
                        </a:lnTo>
                        <a:lnTo>
                          <a:pt x="762" y="95"/>
                        </a:lnTo>
                        <a:lnTo>
                          <a:pt x="762" y="97"/>
                        </a:lnTo>
                        <a:lnTo>
                          <a:pt x="764" y="95"/>
                        </a:lnTo>
                        <a:lnTo>
                          <a:pt x="764" y="94"/>
                        </a:lnTo>
                        <a:lnTo>
                          <a:pt x="764" y="92"/>
                        </a:lnTo>
                        <a:lnTo>
                          <a:pt x="765" y="92"/>
                        </a:lnTo>
                        <a:lnTo>
                          <a:pt x="767" y="94"/>
                        </a:lnTo>
                        <a:lnTo>
                          <a:pt x="767" y="95"/>
                        </a:lnTo>
                        <a:lnTo>
                          <a:pt x="767" y="97"/>
                        </a:lnTo>
                        <a:lnTo>
                          <a:pt x="767" y="98"/>
                        </a:lnTo>
                        <a:lnTo>
                          <a:pt x="768" y="98"/>
                        </a:lnTo>
                        <a:lnTo>
                          <a:pt x="770" y="100"/>
                        </a:lnTo>
                        <a:lnTo>
                          <a:pt x="772" y="100"/>
                        </a:lnTo>
                        <a:lnTo>
                          <a:pt x="772" y="102"/>
                        </a:lnTo>
                        <a:lnTo>
                          <a:pt x="773" y="102"/>
                        </a:lnTo>
                        <a:lnTo>
                          <a:pt x="775" y="102"/>
                        </a:lnTo>
                        <a:lnTo>
                          <a:pt x="775" y="100"/>
                        </a:lnTo>
                        <a:lnTo>
                          <a:pt x="776" y="100"/>
                        </a:lnTo>
                        <a:lnTo>
                          <a:pt x="780" y="102"/>
                        </a:lnTo>
                        <a:lnTo>
                          <a:pt x="780" y="100"/>
                        </a:lnTo>
                        <a:lnTo>
                          <a:pt x="781" y="100"/>
                        </a:lnTo>
                        <a:lnTo>
                          <a:pt x="783" y="102"/>
                        </a:lnTo>
                        <a:lnTo>
                          <a:pt x="783" y="105"/>
                        </a:lnTo>
                        <a:lnTo>
                          <a:pt x="783" y="106"/>
                        </a:lnTo>
                        <a:lnTo>
                          <a:pt x="784" y="108"/>
                        </a:lnTo>
                        <a:lnTo>
                          <a:pt x="786" y="109"/>
                        </a:lnTo>
                        <a:lnTo>
                          <a:pt x="787" y="109"/>
                        </a:lnTo>
                        <a:lnTo>
                          <a:pt x="791" y="109"/>
                        </a:lnTo>
                        <a:lnTo>
                          <a:pt x="791" y="111"/>
                        </a:lnTo>
                        <a:lnTo>
                          <a:pt x="792" y="111"/>
                        </a:lnTo>
                        <a:lnTo>
                          <a:pt x="795" y="111"/>
                        </a:lnTo>
                        <a:lnTo>
                          <a:pt x="795" y="109"/>
                        </a:lnTo>
                        <a:lnTo>
                          <a:pt x="797" y="109"/>
                        </a:lnTo>
                        <a:lnTo>
                          <a:pt x="799" y="109"/>
                        </a:lnTo>
                        <a:lnTo>
                          <a:pt x="800" y="109"/>
                        </a:lnTo>
                        <a:lnTo>
                          <a:pt x="802" y="109"/>
                        </a:lnTo>
                        <a:lnTo>
                          <a:pt x="803" y="109"/>
                        </a:lnTo>
                        <a:lnTo>
                          <a:pt x="805" y="109"/>
                        </a:lnTo>
                        <a:lnTo>
                          <a:pt x="807" y="109"/>
                        </a:lnTo>
                        <a:lnTo>
                          <a:pt x="808" y="109"/>
                        </a:lnTo>
                        <a:lnTo>
                          <a:pt x="810" y="109"/>
                        </a:lnTo>
                        <a:lnTo>
                          <a:pt x="810" y="111"/>
                        </a:lnTo>
                        <a:lnTo>
                          <a:pt x="810" y="113"/>
                        </a:lnTo>
                        <a:lnTo>
                          <a:pt x="811" y="114"/>
                        </a:lnTo>
                        <a:lnTo>
                          <a:pt x="813" y="114"/>
                        </a:lnTo>
                        <a:lnTo>
                          <a:pt x="814" y="116"/>
                        </a:lnTo>
                        <a:lnTo>
                          <a:pt x="814" y="117"/>
                        </a:lnTo>
                        <a:lnTo>
                          <a:pt x="816" y="119"/>
                        </a:lnTo>
                        <a:lnTo>
                          <a:pt x="818" y="121"/>
                        </a:lnTo>
                        <a:lnTo>
                          <a:pt x="819" y="121"/>
                        </a:lnTo>
                        <a:lnTo>
                          <a:pt x="821" y="121"/>
                        </a:lnTo>
                        <a:lnTo>
                          <a:pt x="822" y="121"/>
                        </a:lnTo>
                        <a:lnTo>
                          <a:pt x="822" y="122"/>
                        </a:lnTo>
                        <a:lnTo>
                          <a:pt x="826" y="125"/>
                        </a:lnTo>
                        <a:lnTo>
                          <a:pt x="826" y="127"/>
                        </a:lnTo>
                        <a:lnTo>
                          <a:pt x="824" y="130"/>
                        </a:lnTo>
                        <a:lnTo>
                          <a:pt x="824" y="132"/>
                        </a:lnTo>
                        <a:lnTo>
                          <a:pt x="822" y="133"/>
                        </a:lnTo>
                        <a:lnTo>
                          <a:pt x="824" y="135"/>
                        </a:lnTo>
                        <a:lnTo>
                          <a:pt x="824" y="136"/>
                        </a:lnTo>
                        <a:lnTo>
                          <a:pt x="826" y="136"/>
                        </a:lnTo>
                        <a:lnTo>
                          <a:pt x="827" y="136"/>
                        </a:lnTo>
                        <a:lnTo>
                          <a:pt x="829" y="135"/>
                        </a:lnTo>
                        <a:lnTo>
                          <a:pt x="829" y="132"/>
                        </a:lnTo>
                        <a:lnTo>
                          <a:pt x="830" y="130"/>
                        </a:lnTo>
                        <a:lnTo>
                          <a:pt x="832" y="128"/>
                        </a:lnTo>
                        <a:lnTo>
                          <a:pt x="832" y="127"/>
                        </a:lnTo>
                        <a:lnTo>
                          <a:pt x="830" y="125"/>
                        </a:lnTo>
                        <a:lnTo>
                          <a:pt x="832" y="125"/>
                        </a:lnTo>
                        <a:lnTo>
                          <a:pt x="833" y="125"/>
                        </a:lnTo>
                        <a:lnTo>
                          <a:pt x="835" y="125"/>
                        </a:lnTo>
                        <a:lnTo>
                          <a:pt x="837" y="125"/>
                        </a:lnTo>
                        <a:lnTo>
                          <a:pt x="838" y="125"/>
                        </a:lnTo>
                        <a:lnTo>
                          <a:pt x="838" y="124"/>
                        </a:lnTo>
                        <a:lnTo>
                          <a:pt x="838" y="122"/>
                        </a:lnTo>
                        <a:lnTo>
                          <a:pt x="838" y="121"/>
                        </a:lnTo>
                        <a:lnTo>
                          <a:pt x="841" y="121"/>
                        </a:lnTo>
                        <a:lnTo>
                          <a:pt x="843" y="119"/>
                        </a:lnTo>
                        <a:lnTo>
                          <a:pt x="845" y="119"/>
                        </a:lnTo>
                        <a:lnTo>
                          <a:pt x="846" y="119"/>
                        </a:lnTo>
                        <a:lnTo>
                          <a:pt x="848" y="119"/>
                        </a:lnTo>
                        <a:lnTo>
                          <a:pt x="849" y="121"/>
                        </a:lnTo>
                        <a:lnTo>
                          <a:pt x="851" y="119"/>
                        </a:lnTo>
                        <a:lnTo>
                          <a:pt x="852" y="119"/>
                        </a:lnTo>
                        <a:lnTo>
                          <a:pt x="852" y="117"/>
                        </a:lnTo>
                        <a:lnTo>
                          <a:pt x="854" y="117"/>
                        </a:lnTo>
                        <a:lnTo>
                          <a:pt x="856" y="117"/>
                        </a:lnTo>
                        <a:lnTo>
                          <a:pt x="857" y="119"/>
                        </a:lnTo>
                        <a:lnTo>
                          <a:pt x="859" y="119"/>
                        </a:lnTo>
                        <a:lnTo>
                          <a:pt x="860" y="119"/>
                        </a:lnTo>
                        <a:lnTo>
                          <a:pt x="862" y="119"/>
                        </a:lnTo>
                        <a:lnTo>
                          <a:pt x="862" y="117"/>
                        </a:lnTo>
                        <a:lnTo>
                          <a:pt x="862" y="116"/>
                        </a:lnTo>
                        <a:lnTo>
                          <a:pt x="864" y="116"/>
                        </a:lnTo>
                        <a:lnTo>
                          <a:pt x="864" y="114"/>
                        </a:lnTo>
                        <a:lnTo>
                          <a:pt x="865" y="114"/>
                        </a:lnTo>
                        <a:lnTo>
                          <a:pt x="867" y="116"/>
                        </a:lnTo>
                        <a:lnTo>
                          <a:pt x="870" y="113"/>
                        </a:lnTo>
                        <a:lnTo>
                          <a:pt x="871" y="111"/>
                        </a:lnTo>
                        <a:lnTo>
                          <a:pt x="871" y="109"/>
                        </a:lnTo>
                        <a:lnTo>
                          <a:pt x="870" y="108"/>
                        </a:lnTo>
                        <a:lnTo>
                          <a:pt x="870" y="106"/>
                        </a:lnTo>
                        <a:lnTo>
                          <a:pt x="870" y="105"/>
                        </a:lnTo>
                        <a:lnTo>
                          <a:pt x="868" y="105"/>
                        </a:lnTo>
                        <a:lnTo>
                          <a:pt x="868" y="103"/>
                        </a:lnTo>
                        <a:lnTo>
                          <a:pt x="867" y="103"/>
                        </a:lnTo>
                        <a:lnTo>
                          <a:pt x="867" y="102"/>
                        </a:lnTo>
                        <a:lnTo>
                          <a:pt x="868" y="100"/>
                        </a:lnTo>
                        <a:lnTo>
                          <a:pt x="868" y="98"/>
                        </a:lnTo>
                        <a:lnTo>
                          <a:pt x="870" y="98"/>
                        </a:lnTo>
                        <a:lnTo>
                          <a:pt x="870" y="100"/>
                        </a:lnTo>
                        <a:lnTo>
                          <a:pt x="871" y="98"/>
                        </a:lnTo>
                        <a:lnTo>
                          <a:pt x="873" y="98"/>
                        </a:lnTo>
                        <a:lnTo>
                          <a:pt x="875" y="98"/>
                        </a:lnTo>
                        <a:lnTo>
                          <a:pt x="876" y="100"/>
                        </a:lnTo>
                        <a:lnTo>
                          <a:pt x="878" y="100"/>
                        </a:lnTo>
                        <a:lnTo>
                          <a:pt x="879" y="100"/>
                        </a:lnTo>
                        <a:lnTo>
                          <a:pt x="881" y="98"/>
                        </a:lnTo>
                        <a:lnTo>
                          <a:pt x="879" y="95"/>
                        </a:lnTo>
                        <a:lnTo>
                          <a:pt x="878" y="95"/>
                        </a:lnTo>
                        <a:lnTo>
                          <a:pt x="876" y="97"/>
                        </a:lnTo>
                        <a:lnTo>
                          <a:pt x="875" y="97"/>
                        </a:lnTo>
                        <a:lnTo>
                          <a:pt x="875" y="95"/>
                        </a:lnTo>
                        <a:lnTo>
                          <a:pt x="871" y="92"/>
                        </a:lnTo>
                        <a:lnTo>
                          <a:pt x="873" y="90"/>
                        </a:lnTo>
                        <a:lnTo>
                          <a:pt x="875" y="90"/>
                        </a:lnTo>
                        <a:lnTo>
                          <a:pt x="876" y="89"/>
                        </a:lnTo>
                        <a:lnTo>
                          <a:pt x="878" y="87"/>
                        </a:lnTo>
                        <a:lnTo>
                          <a:pt x="876" y="86"/>
                        </a:lnTo>
                        <a:lnTo>
                          <a:pt x="875" y="84"/>
                        </a:lnTo>
                        <a:lnTo>
                          <a:pt x="873" y="84"/>
                        </a:lnTo>
                        <a:lnTo>
                          <a:pt x="873" y="83"/>
                        </a:lnTo>
                        <a:lnTo>
                          <a:pt x="873" y="81"/>
                        </a:lnTo>
                        <a:lnTo>
                          <a:pt x="875" y="81"/>
                        </a:lnTo>
                        <a:lnTo>
                          <a:pt x="876" y="81"/>
                        </a:lnTo>
                        <a:lnTo>
                          <a:pt x="878" y="81"/>
                        </a:lnTo>
                        <a:lnTo>
                          <a:pt x="879" y="79"/>
                        </a:lnTo>
                        <a:lnTo>
                          <a:pt x="879" y="78"/>
                        </a:lnTo>
                        <a:lnTo>
                          <a:pt x="883" y="78"/>
                        </a:lnTo>
                        <a:lnTo>
                          <a:pt x="886" y="75"/>
                        </a:lnTo>
                        <a:lnTo>
                          <a:pt x="887" y="73"/>
                        </a:lnTo>
                        <a:lnTo>
                          <a:pt x="887" y="71"/>
                        </a:lnTo>
                        <a:lnTo>
                          <a:pt x="886" y="71"/>
                        </a:lnTo>
                        <a:lnTo>
                          <a:pt x="884" y="70"/>
                        </a:lnTo>
                        <a:lnTo>
                          <a:pt x="884" y="68"/>
                        </a:lnTo>
                        <a:lnTo>
                          <a:pt x="884" y="67"/>
                        </a:lnTo>
                        <a:lnTo>
                          <a:pt x="886" y="64"/>
                        </a:lnTo>
                        <a:lnTo>
                          <a:pt x="889" y="60"/>
                        </a:lnTo>
                        <a:lnTo>
                          <a:pt x="890" y="60"/>
                        </a:lnTo>
                        <a:lnTo>
                          <a:pt x="890" y="59"/>
                        </a:lnTo>
                        <a:lnTo>
                          <a:pt x="892" y="57"/>
                        </a:lnTo>
                        <a:lnTo>
                          <a:pt x="892" y="54"/>
                        </a:lnTo>
                        <a:lnTo>
                          <a:pt x="894" y="51"/>
                        </a:lnTo>
                        <a:lnTo>
                          <a:pt x="895" y="49"/>
                        </a:lnTo>
                        <a:lnTo>
                          <a:pt x="897" y="49"/>
                        </a:lnTo>
                        <a:lnTo>
                          <a:pt x="897" y="48"/>
                        </a:lnTo>
                        <a:lnTo>
                          <a:pt x="900" y="45"/>
                        </a:lnTo>
                        <a:lnTo>
                          <a:pt x="903" y="43"/>
                        </a:lnTo>
                        <a:lnTo>
                          <a:pt x="903" y="41"/>
                        </a:lnTo>
                        <a:lnTo>
                          <a:pt x="903" y="38"/>
                        </a:lnTo>
                        <a:lnTo>
                          <a:pt x="903" y="37"/>
                        </a:lnTo>
                        <a:lnTo>
                          <a:pt x="902" y="37"/>
                        </a:lnTo>
                        <a:lnTo>
                          <a:pt x="903" y="33"/>
                        </a:lnTo>
                        <a:lnTo>
                          <a:pt x="903" y="32"/>
                        </a:lnTo>
                        <a:lnTo>
                          <a:pt x="905" y="32"/>
                        </a:lnTo>
                        <a:lnTo>
                          <a:pt x="905" y="30"/>
                        </a:lnTo>
                        <a:lnTo>
                          <a:pt x="906" y="30"/>
                        </a:lnTo>
                        <a:lnTo>
                          <a:pt x="906" y="32"/>
                        </a:lnTo>
                        <a:lnTo>
                          <a:pt x="908" y="32"/>
                        </a:lnTo>
                        <a:lnTo>
                          <a:pt x="908" y="30"/>
                        </a:lnTo>
                        <a:lnTo>
                          <a:pt x="909" y="29"/>
                        </a:lnTo>
                        <a:lnTo>
                          <a:pt x="911" y="27"/>
                        </a:lnTo>
                        <a:lnTo>
                          <a:pt x="913" y="26"/>
                        </a:lnTo>
                        <a:lnTo>
                          <a:pt x="914" y="24"/>
                        </a:lnTo>
                        <a:lnTo>
                          <a:pt x="916" y="26"/>
                        </a:lnTo>
                        <a:lnTo>
                          <a:pt x="917" y="27"/>
                        </a:lnTo>
                        <a:lnTo>
                          <a:pt x="917" y="29"/>
                        </a:lnTo>
                        <a:lnTo>
                          <a:pt x="919" y="29"/>
                        </a:lnTo>
                        <a:lnTo>
                          <a:pt x="921" y="27"/>
                        </a:lnTo>
                        <a:lnTo>
                          <a:pt x="922" y="27"/>
                        </a:lnTo>
                        <a:lnTo>
                          <a:pt x="927" y="26"/>
                        </a:lnTo>
                        <a:lnTo>
                          <a:pt x="928" y="26"/>
                        </a:lnTo>
                        <a:lnTo>
                          <a:pt x="930" y="26"/>
                        </a:lnTo>
                        <a:lnTo>
                          <a:pt x="930" y="29"/>
                        </a:lnTo>
                        <a:lnTo>
                          <a:pt x="930" y="32"/>
                        </a:lnTo>
                        <a:lnTo>
                          <a:pt x="930" y="33"/>
                        </a:lnTo>
                        <a:lnTo>
                          <a:pt x="930" y="35"/>
                        </a:lnTo>
                        <a:lnTo>
                          <a:pt x="932" y="37"/>
                        </a:lnTo>
                        <a:lnTo>
                          <a:pt x="933" y="37"/>
                        </a:lnTo>
                        <a:lnTo>
                          <a:pt x="935" y="37"/>
                        </a:lnTo>
                        <a:lnTo>
                          <a:pt x="936" y="37"/>
                        </a:lnTo>
                        <a:lnTo>
                          <a:pt x="938" y="37"/>
                        </a:lnTo>
                        <a:lnTo>
                          <a:pt x="940" y="37"/>
                        </a:lnTo>
                        <a:lnTo>
                          <a:pt x="941" y="37"/>
                        </a:lnTo>
                        <a:lnTo>
                          <a:pt x="943" y="35"/>
                        </a:lnTo>
                        <a:lnTo>
                          <a:pt x="944" y="35"/>
                        </a:lnTo>
                        <a:lnTo>
                          <a:pt x="946" y="35"/>
                        </a:lnTo>
                        <a:lnTo>
                          <a:pt x="946" y="33"/>
                        </a:lnTo>
                        <a:lnTo>
                          <a:pt x="949" y="33"/>
                        </a:lnTo>
                        <a:lnTo>
                          <a:pt x="951" y="33"/>
                        </a:lnTo>
                        <a:lnTo>
                          <a:pt x="951" y="32"/>
                        </a:lnTo>
                        <a:lnTo>
                          <a:pt x="952" y="32"/>
                        </a:lnTo>
                        <a:lnTo>
                          <a:pt x="954" y="32"/>
                        </a:lnTo>
                        <a:lnTo>
                          <a:pt x="955" y="33"/>
                        </a:lnTo>
                        <a:lnTo>
                          <a:pt x="955" y="35"/>
                        </a:lnTo>
                        <a:lnTo>
                          <a:pt x="955" y="37"/>
                        </a:lnTo>
                        <a:lnTo>
                          <a:pt x="955" y="38"/>
                        </a:lnTo>
                        <a:lnTo>
                          <a:pt x="955" y="41"/>
                        </a:lnTo>
                        <a:lnTo>
                          <a:pt x="955" y="43"/>
                        </a:lnTo>
                        <a:lnTo>
                          <a:pt x="957" y="43"/>
                        </a:lnTo>
                        <a:lnTo>
                          <a:pt x="959" y="45"/>
                        </a:lnTo>
                        <a:lnTo>
                          <a:pt x="960" y="46"/>
                        </a:lnTo>
                        <a:lnTo>
                          <a:pt x="959" y="46"/>
                        </a:lnTo>
                        <a:lnTo>
                          <a:pt x="957" y="46"/>
                        </a:lnTo>
                        <a:lnTo>
                          <a:pt x="959" y="46"/>
                        </a:lnTo>
                        <a:lnTo>
                          <a:pt x="960" y="46"/>
                        </a:lnTo>
                        <a:lnTo>
                          <a:pt x="960" y="48"/>
                        </a:lnTo>
                        <a:lnTo>
                          <a:pt x="962" y="49"/>
                        </a:lnTo>
                        <a:lnTo>
                          <a:pt x="963" y="51"/>
                        </a:lnTo>
                        <a:lnTo>
                          <a:pt x="965" y="52"/>
                        </a:lnTo>
                        <a:lnTo>
                          <a:pt x="966" y="54"/>
                        </a:lnTo>
                        <a:lnTo>
                          <a:pt x="966" y="56"/>
                        </a:lnTo>
                        <a:lnTo>
                          <a:pt x="968" y="56"/>
                        </a:lnTo>
                        <a:lnTo>
                          <a:pt x="970" y="56"/>
                        </a:lnTo>
                        <a:lnTo>
                          <a:pt x="971" y="56"/>
                        </a:lnTo>
                        <a:lnTo>
                          <a:pt x="971" y="57"/>
                        </a:lnTo>
                        <a:lnTo>
                          <a:pt x="971" y="59"/>
                        </a:lnTo>
                        <a:lnTo>
                          <a:pt x="970" y="60"/>
                        </a:lnTo>
                        <a:lnTo>
                          <a:pt x="970" y="62"/>
                        </a:lnTo>
                        <a:lnTo>
                          <a:pt x="971" y="62"/>
                        </a:lnTo>
                        <a:lnTo>
                          <a:pt x="971" y="64"/>
                        </a:lnTo>
                        <a:lnTo>
                          <a:pt x="973" y="65"/>
                        </a:lnTo>
                        <a:lnTo>
                          <a:pt x="974" y="68"/>
                        </a:lnTo>
                        <a:lnTo>
                          <a:pt x="976" y="70"/>
                        </a:lnTo>
                        <a:lnTo>
                          <a:pt x="976" y="71"/>
                        </a:lnTo>
                        <a:lnTo>
                          <a:pt x="976" y="73"/>
                        </a:lnTo>
                        <a:lnTo>
                          <a:pt x="978" y="76"/>
                        </a:lnTo>
                        <a:lnTo>
                          <a:pt x="979" y="76"/>
                        </a:lnTo>
                        <a:lnTo>
                          <a:pt x="978" y="78"/>
                        </a:lnTo>
                        <a:lnTo>
                          <a:pt x="976" y="78"/>
                        </a:lnTo>
                        <a:lnTo>
                          <a:pt x="974" y="79"/>
                        </a:lnTo>
                        <a:lnTo>
                          <a:pt x="973" y="81"/>
                        </a:lnTo>
                        <a:lnTo>
                          <a:pt x="971" y="81"/>
                        </a:lnTo>
                        <a:lnTo>
                          <a:pt x="970" y="81"/>
                        </a:lnTo>
                        <a:lnTo>
                          <a:pt x="966" y="81"/>
                        </a:lnTo>
                        <a:lnTo>
                          <a:pt x="965" y="81"/>
                        </a:lnTo>
                        <a:lnTo>
                          <a:pt x="963" y="81"/>
                        </a:lnTo>
                        <a:lnTo>
                          <a:pt x="960" y="83"/>
                        </a:lnTo>
                        <a:lnTo>
                          <a:pt x="959" y="84"/>
                        </a:lnTo>
                        <a:lnTo>
                          <a:pt x="955" y="86"/>
                        </a:lnTo>
                        <a:lnTo>
                          <a:pt x="954" y="86"/>
                        </a:lnTo>
                        <a:lnTo>
                          <a:pt x="952" y="87"/>
                        </a:lnTo>
                        <a:lnTo>
                          <a:pt x="951" y="89"/>
                        </a:lnTo>
                        <a:lnTo>
                          <a:pt x="946" y="87"/>
                        </a:lnTo>
                        <a:lnTo>
                          <a:pt x="944" y="87"/>
                        </a:lnTo>
                        <a:lnTo>
                          <a:pt x="941" y="86"/>
                        </a:lnTo>
                        <a:lnTo>
                          <a:pt x="940" y="86"/>
                        </a:lnTo>
                        <a:lnTo>
                          <a:pt x="938" y="86"/>
                        </a:lnTo>
                        <a:lnTo>
                          <a:pt x="936" y="86"/>
                        </a:lnTo>
                        <a:lnTo>
                          <a:pt x="935" y="86"/>
                        </a:lnTo>
                        <a:lnTo>
                          <a:pt x="933" y="87"/>
                        </a:lnTo>
                        <a:lnTo>
                          <a:pt x="932" y="87"/>
                        </a:lnTo>
                        <a:lnTo>
                          <a:pt x="928" y="87"/>
                        </a:lnTo>
                        <a:lnTo>
                          <a:pt x="924" y="87"/>
                        </a:lnTo>
                        <a:lnTo>
                          <a:pt x="922" y="87"/>
                        </a:lnTo>
                        <a:lnTo>
                          <a:pt x="921" y="86"/>
                        </a:lnTo>
                        <a:lnTo>
                          <a:pt x="919" y="86"/>
                        </a:lnTo>
                        <a:lnTo>
                          <a:pt x="917" y="86"/>
                        </a:lnTo>
                        <a:lnTo>
                          <a:pt x="916" y="86"/>
                        </a:lnTo>
                        <a:lnTo>
                          <a:pt x="914" y="86"/>
                        </a:lnTo>
                        <a:lnTo>
                          <a:pt x="913" y="87"/>
                        </a:lnTo>
                        <a:lnTo>
                          <a:pt x="911" y="90"/>
                        </a:lnTo>
                        <a:lnTo>
                          <a:pt x="909" y="94"/>
                        </a:lnTo>
                        <a:lnTo>
                          <a:pt x="908" y="95"/>
                        </a:lnTo>
                        <a:lnTo>
                          <a:pt x="906" y="98"/>
                        </a:lnTo>
                        <a:lnTo>
                          <a:pt x="906" y="100"/>
                        </a:lnTo>
                        <a:lnTo>
                          <a:pt x="905" y="102"/>
                        </a:lnTo>
                        <a:lnTo>
                          <a:pt x="906" y="103"/>
                        </a:lnTo>
                        <a:lnTo>
                          <a:pt x="906" y="106"/>
                        </a:lnTo>
                        <a:lnTo>
                          <a:pt x="908" y="108"/>
                        </a:lnTo>
                        <a:lnTo>
                          <a:pt x="909" y="111"/>
                        </a:lnTo>
                        <a:lnTo>
                          <a:pt x="911" y="114"/>
                        </a:lnTo>
                        <a:lnTo>
                          <a:pt x="914" y="116"/>
                        </a:lnTo>
                        <a:lnTo>
                          <a:pt x="916" y="117"/>
                        </a:lnTo>
                        <a:lnTo>
                          <a:pt x="919" y="119"/>
                        </a:lnTo>
                        <a:lnTo>
                          <a:pt x="925" y="121"/>
                        </a:lnTo>
                        <a:lnTo>
                          <a:pt x="930" y="122"/>
                        </a:lnTo>
                        <a:lnTo>
                          <a:pt x="933" y="121"/>
                        </a:lnTo>
                        <a:lnTo>
                          <a:pt x="936" y="121"/>
                        </a:lnTo>
                        <a:lnTo>
                          <a:pt x="940" y="119"/>
                        </a:lnTo>
                        <a:lnTo>
                          <a:pt x="941" y="119"/>
                        </a:lnTo>
                        <a:lnTo>
                          <a:pt x="944" y="119"/>
                        </a:lnTo>
                        <a:lnTo>
                          <a:pt x="946" y="119"/>
                        </a:lnTo>
                        <a:lnTo>
                          <a:pt x="949" y="121"/>
                        </a:lnTo>
                        <a:lnTo>
                          <a:pt x="951" y="122"/>
                        </a:lnTo>
                        <a:lnTo>
                          <a:pt x="952" y="122"/>
                        </a:lnTo>
                        <a:lnTo>
                          <a:pt x="954" y="124"/>
                        </a:lnTo>
                        <a:lnTo>
                          <a:pt x="954" y="125"/>
                        </a:lnTo>
                        <a:lnTo>
                          <a:pt x="955" y="128"/>
                        </a:lnTo>
                        <a:lnTo>
                          <a:pt x="955" y="130"/>
                        </a:lnTo>
                        <a:lnTo>
                          <a:pt x="955" y="132"/>
                        </a:lnTo>
                        <a:lnTo>
                          <a:pt x="954" y="133"/>
                        </a:lnTo>
                        <a:lnTo>
                          <a:pt x="954" y="135"/>
                        </a:lnTo>
                        <a:lnTo>
                          <a:pt x="954" y="136"/>
                        </a:lnTo>
                        <a:lnTo>
                          <a:pt x="954" y="138"/>
                        </a:lnTo>
                        <a:lnTo>
                          <a:pt x="954" y="140"/>
                        </a:lnTo>
                        <a:lnTo>
                          <a:pt x="955" y="141"/>
                        </a:lnTo>
                        <a:lnTo>
                          <a:pt x="957" y="144"/>
                        </a:lnTo>
                        <a:lnTo>
                          <a:pt x="959" y="146"/>
                        </a:lnTo>
                        <a:lnTo>
                          <a:pt x="960" y="147"/>
                        </a:lnTo>
                        <a:lnTo>
                          <a:pt x="960" y="152"/>
                        </a:lnTo>
                        <a:lnTo>
                          <a:pt x="960" y="155"/>
                        </a:lnTo>
                        <a:lnTo>
                          <a:pt x="960" y="157"/>
                        </a:lnTo>
                        <a:lnTo>
                          <a:pt x="959" y="159"/>
                        </a:lnTo>
                        <a:lnTo>
                          <a:pt x="957" y="162"/>
                        </a:lnTo>
                        <a:lnTo>
                          <a:pt x="955" y="165"/>
                        </a:lnTo>
                        <a:lnTo>
                          <a:pt x="955" y="171"/>
                        </a:lnTo>
                        <a:lnTo>
                          <a:pt x="955" y="173"/>
                        </a:lnTo>
                        <a:lnTo>
                          <a:pt x="955" y="174"/>
                        </a:lnTo>
                        <a:lnTo>
                          <a:pt x="957" y="174"/>
                        </a:lnTo>
                        <a:lnTo>
                          <a:pt x="957" y="176"/>
                        </a:lnTo>
                        <a:lnTo>
                          <a:pt x="959" y="178"/>
                        </a:lnTo>
                        <a:lnTo>
                          <a:pt x="960" y="179"/>
                        </a:lnTo>
                        <a:lnTo>
                          <a:pt x="960" y="181"/>
                        </a:lnTo>
                        <a:lnTo>
                          <a:pt x="960" y="182"/>
                        </a:lnTo>
                        <a:lnTo>
                          <a:pt x="960" y="184"/>
                        </a:lnTo>
                        <a:lnTo>
                          <a:pt x="960" y="186"/>
                        </a:lnTo>
                        <a:lnTo>
                          <a:pt x="959" y="187"/>
                        </a:lnTo>
                        <a:lnTo>
                          <a:pt x="957" y="189"/>
                        </a:lnTo>
                        <a:lnTo>
                          <a:pt x="957" y="190"/>
                        </a:lnTo>
                        <a:lnTo>
                          <a:pt x="955" y="192"/>
                        </a:lnTo>
                        <a:lnTo>
                          <a:pt x="955" y="193"/>
                        </a:lnTo>
                        <a:lnTo>
                          <a:pt x="955" y="195"/>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82" name="Freeform 81"/>
                  <p:cNvSpPr>
                    <a:spLocks/>
                  </p:cNvSpPr>
                  <p:nvPr/>
                </p:nvSpPr>
                <p:spPr bwMode="auto">
                  <a:xfrm>
                    <a:off x="1637" y="3137"/>
                    <a:ext cx="1128" cy="880"/>
                  </a:xfrm>
                  <a:custGeom>
                    <a:avLst/>
                    <a:gdLst>
                      <a:gd name="T0" fmla="*/ 1117 w 1128"/>
                      <a:gd name="T1" fmla="*/ 301 h 880"/>
                      <a:gd name="T2" fmla="*/ 1124 w 1128"/>
                      <a:gd name="T3" fmla="*/ 327 h 880"/>
                      <a:gd name="T4" fmla="*/ 1112 w 1128"/>
                      <a:gd name="T5" fmla="*/ 376 h 880"/>
                      <a:gd name="T6" fmla="*/ 1072 w 1128"/>
                      <a:gd name="T7" fmla="*/ 420 h 880"/>
                      <a:gd name="T8" fmla="*/ 1086 w 1128"/>
                      <a:gd name="T9" fmla="*/ 450 h 880"/>
                      <a:gd name="T10" fmla="*/ 1098 w 1128"/>
                      <a:gd name="T11" fmla="*/ 477 h 880"/>
                      <a:gd name="T12" fmla="*/ 1082 w 1128"/>
                      <a:gd name="T13" fmla="*/ 503 h 880"/>
                      <a:gd name="T14" fmla="*/ 1058 w 1128"/>
                      <a:gd name="T15" fmla="*/ 550 h 880"/>
                      <a:gd name="T16" fmla="*/ 1012 w 1128"/>
                      <a:gd name="T17" fmla="*/ 566 h 880"/>
                      <a:gd name="T18" fmla="*/ 980 w 1128"/>
                      <a:gd name="T19" fmla="*/ 563 h 880"/>
                      <a:gd name="T20" fmla="*/ 950 w 1128"/>
                      <a:gd name="T21" fmla="*/ 564 h 880"/>
                      <a:gd name="T22" fmla="*/ 942 w 1128"/>
                      <a:gd name="T23" fmla="*/ 610 h 880"/>
                      <a:gd name="T24" fmla="*/ 963 w 1128"/>
                      <a:gd name="T25" fmla="*/ 637 h 880"/>
                      <a:gd name="T26" fmla="*/ 991 w 1128"/>
                      <a:gd name="T27" fmla="*/ 655 h 880"/>
                      <a:gd name="T28" fmla="*/ 999 w 1128"/>
                      <a:gd name="T29" fmla="*/ 675 h 880"/>
                      <a:gd name="T30" fmla="*/ 963 w 1128"/>
                      <a:gd name="T31" fmla="*/ 710 h 880"/>
                      <a:gd name="T32" fmla="*/ 947 w 1128"/>
                      <a:gd name="T33" fmla="*/ 732 h 880"/>
                      <a:gd name="T34" fmla="*/ 895 w 1128"/>
                      <a:gd name="T35" fmla="*/ 753 h 880"/>
                      <a:gd name="T36" fmla="*/ 831 w 1128"/>
                      <a:gd name="T37" fmla="*/ 754 h 880"/>
                      <a:gd name="T38" fmla="*/ 776 w 1128"/>
                      <a:gd name="T39" fmla="*/ 780 h 880"/>
                      <a:gd name="T40" fmla="*/ 765 w 1128"/>
                      <a:gd name="T41" fmla="*/ 810 h 880"/>
                      <a:gd name="T42" fmla="*/ 754 w 1128"/>
                      <a:gd name="T43" fmla="*/ 857 h 880"/>
                      <a:gd name="T44" fmla="*/ 706 w 1128"/>
                      <a:gd name="T45" fmla="*/ 873 h 880"/>
                      <a:gd name="T46" fmla="*/ 668 w 1128"/>
                      <a:gd name="T47" fmla="*/ 838 h 880"/>
                      <a:gd name="T48" fmla="*/ 614 w 1128"/>
                      <a:gd name="T49" fmla="*/ 834 h 880"/>
                      <a:gd name="T50" fmla="*/ 611 w 1128"/>
                      <a:gd name="T51" fmla="*/ 786 h 880"/>
                      <a:gd name="T52" fmla="*/ 576 w 1128"/>
                      <a:gd name="T53" fmla="*/ 821 h 880"/>
                      <a:gd name="T54" fmla="*/ 553 w 1128"/>
                      <a:gd name="T55" fmla="*/ 802 h 880"/>
                      <a:gd name="T56" fmla="*/ 524 w 1128"/>
                      <a:gd name="T57" fmla="*/ 823 h 880"/>
                      <a:gd name="T58" fmla="*/ 488 w 1128"/>
                      <a:gd name="T59" fmla="*/ 802 h 880"/>
                      <a:gd name="T60" fmla="*/ 451 w 1128"/>
                      <a:gd name="T61" fmla="*/ 789 h 880"/>
                      <a:gd name="T62" fmla="*/ 448 w 1128"/>
                      <a:gd name="T63" fmla="*/ 764 h 880"/>
                      <a:gd name="T64" fmla="*/ 434 w 1128"/>
                      <a:gd name="T65" fmla="*/ 727 h 880"/>
                      <a:gd name="T66" fmla="*/ 385 w 1128"/>
                      <a:gd name="T67" fmla="*/ 705 h 880"/>
                      <a:gd name="T68" fmla="*/ 339 w 1128"/>
                      <a:gd name="T69" fmla="*/ 694 h 880"/>
                      <a:gd name="T70" fmla="*/ 351 w 1128"/>
                      <a:gd name="T71" fmla="*/ 659 h 880"/>
                      <a:gd name="T72" fmla="*/ 328 w 1128"/>
                      <a:gd name="T73" fmla="*/ 623 h 880"/>
                      <a:gd name="T74" fmla="*/ 323 w 1128"/>
                      <a:gd name="T75" fmla="*/ 593 h 880"/>
                      <a:gd name="T76" fmla="*/ 310 w 1128"/>
                      <a:gd name="T77" fmla="*/ 566 h 880"/>
                      <a:gd name="T78" fmla="*/ 280 w 1128"/>
                      <a:gd name="T79" fmla="*/ 575 h 880"/>
                      <a:gd name="T80" fmla="*/ 282 w 1128"/>
                      <a:gd name="T81" fmla="*/ 556 h 880"/>
                      <a:gd name="T82" fmla="*/ 272 w 1128"/>
                      <a:gd name="T83" fmla="*/ 523 h 880"/>
                      <a:gd name="T84" fmla="*/ 264 w 1128"/>
                      <a:gd name="T85" fmla="*/ 501 h 880"/>
                      <a:gd name="T86" fmla="*/ 253 w 1128"/>
                      <a:gd name="T87" fmla="*/ 469 h 880"/>
                      <a:gd name="T88" fmla="*/ 230 w 1128"/>
                      <a:gd name="T89" fmla="*/ 450 h 880"/>
                      <a:gd name="T90" fmla="*/ 182 w 1128"/>
                      <a:gd name="T91" fmla="*/ 439 h 880"/>
                      <a:gd name="T92" fmla="*/ 134 w 1128"/>
                      <a:gd name="T93" fmla="*/ 433 h 880"/>
                      <a:gd name="T94" fmla="*/ 106 w 1128"/>
                      <a:gd name="T95" fmla="*/ 446 h 880"/>
                      <a:gd name="T96" fmla="*/ 65 w 1128"/>
                      <a:gd name="T97" fmla="*/ 444 h 880"/>
                      <a:gd name="T98" fmla="*/ 28 w 1128"/>
                      <a:gd name="T99" fmla="*/ 414 h 880"/>
                      <a:gd name="T100" fmla="*/ 9 w 1128"/>
                      <a:gd name="T101" fmla="*/ 377 h 880"/>
                      <a:gd name="T102" fmla="*/ 3 w 1128"/>
                      <a:gd name="T103" fmla="*/ 344 h 880"/>
                      <a:gd name="T104" fmla="*/ 27 w 1128"/>
                      <a:gd name="T105" fmla="*/ 290 h 880"/>
                      <a:gd name="T106" fmla="*/ 22 w 1128"/>
                      <a:gd name="T107" fmla="*/ 244 h 880"/>
                      <a:gd name="T108" fmla="*/ 43 w 1128"/>
                      <a:gd name="T109" fmla="*/ 148 h 880"/>
                      <a:gd name="T110" fmla="*/ 52 w 1128"/>
                      <a:gd name="T111" fmla="*/ 97 h 880"/>
                      <a:gd name="T112" fmla="*/ 19 w 1128"/>
                      <a:gd name="T113" fmla="*/ 26 h 880"/>
                      <a:gd name="T114" fmla="*/ 74 w 1128"/>
                      <a:gd name="T115" fmla="*/ 13 h 880"/>
                      <a:gd name="T116" fmla="*/ 96 w 1128"/>
                      <a:gd name="T117" fmla="*/ 34 h 880"/>
                      <a:gd name="T118" fmla="*/ 123 w 1128"/>
                      <a:gd name="T119" fmla="*/ 46 h 880"/>
                      <a:gd name="T120" fmla="*/ 149 w 1128"/>
                      <a:gd name="T121" fmla="*/ 62 h 880"/>
                      <a:gd name="T122" fmla="*/ 157 w 1128"/>
                      <a:gd name="T123" fmla="*/ 86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28" h="880">
                        <a:moveTo>
                          <a:pt x="1113" y="276"/>
                        </a:moveTo>
                        <a:lnTo>
                          <a:pt x="1115" y="278"/>
                        </a:lnTo>
                        <a:lnTo>
                          <a:pt x="1117" y="279"/>
                        </a:lnTo>
                        <a:lnTo>
                          <a:pt x="1118" y="282"/>
                        </a:lnTo>
                        <a:lnTo>
                          <a:pt x="1120" y="284"/>
                        </a:lnTo>
                        <a:lnTo>
                          <a:pt x="1120" y="287"/>
                        </a:lnTo>
                        <a:lnTo>
                          <a:pt x="1120" y="289"/>
                        </a:lnTo>
                        <a:lnTo>
                          <a:pt x="1118" y="290"/>
                        </a:lnTo>
                        <a:lnTo>
                          <a:pt x="1118" y="292"/>
                        </a:lnTo>
                        <a:lnTo>
                          <a:pt x="1118" y="293"/>
                        </a:lnTo>
                        <a:lnTo>
                          <a:pt x="1118" y="295"/>
                        </a:lnTo>
                        <a:lnTo>
                          <a:pt x="1118" y="297"/>
                        </a:lnTo>
                        <a:lnTo>
                          <a:pt x="1118" y="298"/>
                        </a:lnTo>
                        <a:lnTo>
                          <a:pt x="1118" y="300"/>
                        </a:lnTo>
                        <a:lnTo>
                          <a:pt x="1117" y="300"/>
                        </a:lnTo>
                        <a:lnTo>
                          <a:pt x="1117" y="301"/>
                        </a:lnTo>
                        <a:lnTo>
                          <a:pt x="1115" y="303"/>
                        </a:lnTo>
                        <a:lnTo>
                          <a:pt x="1115" y="305"/>
                        </a:lnTo>
                        <a:lnTo>
                          <a:pt x="1117" y="306"/>
                        </a:lnTo>
                        <a:lnTo>
                          <a:pt x="1120" y="308"/>
                        </a:lnTo>
                        <a:lnTo>
                          <a:pt x="1123" y="309"/>
                        </a:lnTo>
                        <a:lnTo>
                          <a:pt x="1124" y="311"/>
                        </a:lnTo>
                        <a:lnTo>
                          <a:pt x="1126" y="312"/>
                        </a:lnTo>
                        <a:lnTo>
                          <a:pt x="1126" y="314"/>
                        </a:lnTo>
                        <a:lnTo>
                          <a:pt x="1128" y="316"/>
                        </a:lnTo>
                        <a:lnTo>
                          <a:pt x="1126" y="317"/>
                        </a:lnTo>
                        <a:lnTo>
                          <a:pt x="1126" y="319"/>
                        </a:lnTo>
                        <a:lnTo>
                          <a:pt x="1124" y="320"/>
                        </a:lnTo>
                        <a:lnTo>
                          <a:pt x="1124" y="322"/>
                        </a:lnTo>
                        <a:lnTo>
                          <a:pt x="1123" y="324"/>
                        </a:lnTo>
                        <a:lnTo>
                          <a:pt x="1123" y="325"/>
                        </a:lnTo>
                        <a:lnTo>
                          <a:pt x="1124" y="327"/>
                        </a:lnTo>
                        <a:lnTo>
                          <a:pt x="1124" y="330"/>
                        </a:lnTo>
                        <a:lnTo>
                          <a:pt x="1124" y="333"/>
                        </a:lnTo>
                        <a:lnTo>
                          <a:pt x="1124" y="336"/>
                        </a:lnTo>
                        <a:lnTo>
                          <a:pt x="1124" y="338"/>
                        </a:lnTo>
                        <a:lnTo>
                          <a:pt x="1123" y="339"/>
                        </a:lnTo>
                        <a:lnTo>
                          <a:pt x="1118" y="344"/>
                        </a:lnTo>
                        <a:lnTo>
                          <a:pt x="1115" y="349"/>
                        </a:lnTo>
                        <a:lnTo>
                          <a:pt x="1113" y="352"/>
                        </a:lnTo>
                        <a:lnTo>
                          <a:pt x="1112" y="355"/>
                        </a:lnTo>
                        <a:lnTo>
                          <a:pt x="1112" y="358"/>
                        </a:lnTo>
                        <a:lnTo>
                          <a:pt x="1112" y="363"/>
                        </a:lnTo>
                        <a:lnTo>
                          <a:pt x="1112" y="365"/>
                        </a:lnTo>
                        <a:lnTo>
                          <a:pt x="1112" y="368"/>
                        </a:lnTo>
                        <a:lnTo>
                          <a:pt x="1112" y="369"/>
                        </a:lnTo>
                        <a:lnTo>
                          <a:pt x="1112" y="373"/>
                        </a:lnTo>
                        <a:lnTo>
                          <a:pt x="1112" y="376"/>
                        </a:lnTo>
                        <a:lnTo>
                          <a:pt x="1110" y="377"/>
                        </a:lnTo>
                        <a:lnTo>
                          <a:pt x="1109" y="381"/>
                        </a:lnTo>
                        <a:lnTo>
                          <a:pt x="1107" y="384"/>
                        </a:lnTo>
                        <a:lnTo>
                          <a:pt x="1105" y="385"/>
                        </a:lnTo>
                        <a:lnTo>
                          <a:pt x="1098" y="393"/>
                        </a:lnTo>
                        <a:lnTo>
                          <a:pt x="1090" y="400"/>
                        </a:lnTo>
                        <a:lnTo>
                          <a:pt x="1085" y="403"/>
                        </a:lnTo>
                        <a:lnTo>
                          <a:pt x="1079" y="409"/>
                        </a:lnTo>
                        <a:lnTo>
                          <a:pt x="1075" y="411"/>
                        </a:lnTo>
                        <a:lnTo>
                          <a:pt x="1072" y="412"/>
                        </a:lnTo>
                        <a:lnTo>
                          <a:pt x="1071" y="414"/>
                        </a:lnTo>
                        <a:lnTo>
                          <a:pt x="1071" y="415"/>
                        </a:lnTo>
                        <a:lnTo>
                          <a:pt x="1069" y="417"/>
                        </a:lnTo>
                        <a:lnTo>
                          <a:pt x="1071" y="419"/>
                        </a:lnTo>
                        <a:lnTo>
                          <a:pt x="1071" y="420"/>
                        </a:lnTo>
                        <a:lnTo>
                          <a:pt x="1072" y="420"/>
                        </a:lnTo>
                        <a:lnTo>
                          <a:pt x="1074" y="420"/>
                        </a:lnTo>
                        <a:lnTo>
                          <a:pt x="1074" y="422"/>
                        </a:lnTo>
                        <a:lnTo>
                          <a:pt x="1079" y="423"/>
                        </a:lnTo>
                        <a:lnTo>
                          <a:pt x="1080" y="423"/>
                        </a:lnTo>
                        <a:lnTo>
                          <a:pt x="1083" y="428"/>
                        </a:lnTo>
                        <a:lnTo>
                          <a:pt x="1086" y="430"/>
                        </a:lnTo>
                        <a:lnTo>
                          <a:pt x="1085" y="430"/>
                        </a:lnTo>
                        <a:lnTo>
                          <a:pt x="1085" y="431"/>
                        </a:lnTo>
                        <a:lnTo>
                          <a:pt x="1085" y="433"/>
                        </a:lnTo>
                        <a:lnTo>
                          <a:pt x="1083" y="439"/>
                        </a:lnTo>
                        <a:lnTo>
                          <a:pt x="1083" y="441"/>
                        </a:lnTo>
                        <a:lnTo>
                          <a:pt x="1083" y="442"/>
                        </a:lnTo>
                        <a:lnTo>
                          <a:pt x="1083" y="444"/>
                        </a:lnTo>
                        <a:lnTo>
                          <a:pt x="1086" y="446"/>
                        </a:lnTo>
                        <a:lnTo>
                          <a:pt x="1086" y="449"/>
                        </a:lnTo>
                        <a:lnTo>
                          <a:pt x="1086" y="450"/>
                        </a:lnTo>
                        <a:lnTo>
                          <a:pt x="1086" y="452"/>
                        </a:lnTo>
                        <a:lnTo>
                          <a:pt x="1088" y="452"/>
                        </a:lnTo>
                        <a:lnTo>
                          <a:pt x="1088" y="455"/>
                        </a:lnTo>
                        <a:lnTo>
                          <a:pt x="1090" y="457"/>
                        </a:lnTo>
                        <a:lnTo>
                          <a:pt x="1091" y="458"/>
                        </a:lnTo>
                        <a:lnTo>
                          <a:pt x="1093" y="460"/>
                        </a:lnTo>
                        <a:lnTo>
                          <a:pt x="1094" y="461"/>
                        </a:lnTo>
                        <a:lnTo>
                          <a:pt x="1094" y="463"/>
                        </a:lnTo>
                        <a:lnTo>
                          <a:pt x="1096" y="463"/>
                        </a:lnTo>
                        <a:lnTo>
                          <a:pt x="1096" y="469"/>
                        </a:lnTo>
                        <a:lnTo>
                          <a:pt x="1094" y="469"/>
                        </a:lnTo>
                        <a:lnTo>
                          <a:pt x="1094" y="471"/>
                        </a:lnTo>
                        <a:lnTo>
                          <a:pt x="1094" y="472"/>
                        </a:lnTo>
                        <a:lnTo>
                          <a:pt x="1094" y="474"/>
                        </a:lnTo>
                        <a:lnTo>
                          <a:pt x="1096" y="476"/>
                        </a:lnTo>
                        <a:lnTo>
                          <a:pt x="1098" y="477"/>
                        </a:lnTo>
                        <a:lnTo>
                          <a:pt x="1096" y="480"/>
                        </a:lnTo>
                        <a:lnTo>
                          <a:pt x="1098" y="482"/>
                        </a:lnTo>
                        <a:lnTo>
                          <a:pt x="1096" y="485"/>
                        </a:lnTo>
                        <a:lnTo>
                          <a:pt x="1094" y="487"/>
                        </a:lnTo>
                        <a:lnTo>
                          <a:pt x="1091" y="488"/>
                        </a:lnTo>
                        <a:lnTo>
                          <a:pt x="1090" y="488"/>
                        </a:lnTo>
                        <a:lnTo>
                          <a:pt x="1090" y="490"/>
                        </a:lnTo>
                        <a:lnTo>
                          <a:pt x="1088" y="490"/>
                        </a:lnTo>
                        <a:lnTo>
                          <a:pt x="1086" y="491"/>
                        </a:lnTo>
                        <a:lnTo>
                          <a:pt x="1085" y="491"/>
                        </a:lnTo>
                        <a:lnTo>
                          <a:pt x="1085" y="495"/>
                        </a:lnTo>
                        <a:lnTo>
                          <a:pt x="1083" y="495"/>
                        </a:lnTo>
                        <a:lnTo>
                          <a:pt x="1083" y="499"/>
                        </a:lnTo>
                        <a:lnTo>
                          <a:pt x="1083" y="501"/>
                        </a:lnTo>
                        <a:lnTo>
                          <a:pt x="1082" y="501"/>
                        </a:lnTo>
                        <a:lnTo>
                          <a:pt x="1082" y="503"/>
                        </a:lnTo>
                        <a:lnTo>
                          <a:pt x="1082" y="504"/>
                        </a:lnTo>
                        <a:lnTo>
                          <a:pt x="1080" y="507"/>
                        </a:lnTo>
                        <a:lnTo>
                          <a:pt x="1074" y="514"/>
                        </a:lnTo>
                        <a:lnTo>
                          <a:pt x="1071" y="517"/>
                        </a:lnTo>
                        <a:lnTo>
                          <a:pt x="1069" y="518"/>
                        </a:lnTo>
                        <a:lnTo>
                          <a:pt x="1069" y="520"/>
                        </a:lnTo>
                        <a:lnTo>
                          <a:pt x="1067" y="520"/>
                        </a:lnTo>
                        <a:lnTo>
                          <a:pt x="1064" y="523"/>
                        </a:lnTo>
                        <a:lnTo>
                          <a:pt x="1063" y="528"/>
                        </a:lnTo>
                        <a:lnTo>
                          <a:pt x="1061" y="531"/>
                        </a:lnTo>
                        <a:lnTo>
                          <a:pt x="1061" y="536"/>
                        </a:lnTo>
                        <a:lnTo>
                          <a:pt x="1061" y="541"/>
                        </a:lnTo>
                        <a:lnTo>
                          <a:pt x="1061" y="544"/>
                        </a:lnTo>
                        <a:lnTo>
                          <a:pt x="1060" y="547"/>
                        </a:lnTo>
                        <a:lnTo>
                          <a:pt x="1060" y="548"/>
                        </a:lnTo>
                        <a:lnTo>
                          <a:pt x="1058" y="550"/>
                        </a:lnTo>
                        <a:lnTo>
                          <a:pt x="1056" y="550"/>
                        </a:lnTo>
                        <a:lnTo>
                          <a:pt x="1055" y="550"/>
                        </a:lnTo>
                        <a:lnTo>
                          <a:pt x="1050" y="550"/>
                        </a:lnTo>
                        <a:lnTo>
                          <a:pt x="1047" y="548"/>
                        </a:lnTo>
                        <a:lnTo>
                          <a:pt x="1045" y="548"/>
                        </a:lnTo>
                        <a:lnTo>
                          <a:pt x="1044" y="548"/>
                        </a:lnTo>
                        <a:lnTo>
                          <a:pt x="1042" y="550"/>
                        </a:lnTo>
                        <a:lnTo>
                          <a:pt x="1034" y="555"/>
                        </a:lnTo>
                        <a:lnTo>
                          <a:pt x="1029" y="558"/>
                        </a:lnTo>
                        <a:lnTo>
                          <a:pt x="1026" y="560"/>
                        </a:lnTo>
                        <a:lnTo>
                          <a:pt x="1025" y="561"/>
                        </a:lnTo>
                        <a:lnTo>
                          <a:pt x="1023" y="561"/>
                        </a:lnTo>
                        <a:lnTo>
                          <a:pt x="1020" y="561"/>
                        </a:lnTo>
                        <a:lnTo>
                          <a:pt x="1015" y="566"/>
                        </a:lnTo>
                        <a:lnTo>
                          <a:pt x="1014" y="566"/>
                        </a:lnTo>
                        <a:lnTo>
                          <a:pt x="1012" y="566"/>
                        </a:lnTo>
                        <a:lnTo>
                          <a:pt x="1007" y="566"/>
                        </a:lnTo>
                        <a:lnTo>
                          <a:pt x="1006" y="566"/>
                        </a:lnTo>
                        <a:lnTo>
                          <a:pt x="1004" y="567"/>
                        </a:lnTo>
                        <a:lnTo>
                          <a:pt x="1003" y="567"/>
                        </a:lnTo>
                        <a:lnTo>
                          <a:pt x="1001" y="567"/>
                        </a:lnTo>
                        <a:lnTo>
                          <a:pt x="998" y="569"/>
                        </a:lnTo>
                        <a:lnTo>
                          <a:pt x="995" y="571"/>
                        </a:lnTo>
                        <a:lnTo>
                          <a:pt x="995" y="569"/>
                        </a:lnTo>
                        <a:lnTo>
                          <a:pt x="991" y="569"/>
                        </a:lnTo>
                        <a:lnTo>
                          <a:pt x="990" y="567"/>
                        </a:lnTo>
                        <a:lnTo>
                          <a:pt x="987" y="566"/>
                        </a:lnTo>
                        <a:lnTo>
                          <a:pt x="985" y="564"/>
                        </a:lnTo>
                        <a:lnTo>
                          <a:pt x="984" y="564"/>
                        </a:lnTo>
                        <a:lnTo>
                          <a:pt x="984" y="563"/>
                        </a:lnTo>
                        <a:lnTo>
                          <a:pt x="982" y="563"/>
                        </a:lnTo>
                        <a:lnTo>
                          <a:pt x="980" y="563"/>
                        </a:lnTo>
                        <a:lnTo>
                          <a:pt x="979" y="563"/>
                        </a:lnTo>
                        <a:lnTo>
                          <a:pt x="977" y="564"/>
                        </a:lnTo>
                        <a:lnTo>
                          <a:pt x="974" y="564"/>
                        </a:lnTo>
                        <a:lnTo>
                          <a:pt x="972" y="564"/>
                        </a:lnTo>
                        <a:lnTo>
                          <a:pt x="971" y="564"/>
                        </a:lnTo>
                        <a:lnTo>
                          <a:pt x="969" y="564"/>
                        </a:lnTo>
                        <a:lnTo>
                          <a:pt x="968" y="563"/>
                        </a:lnTo>
                        <a:lnTo>
                          <a:pt x="968" y="561"/>
                        </a:lnTo>
                        <a:lnTo>
                          <a:pt x="966" y="561"/>
                        </a:lnTo>
                        <a:lnTo>
                          <a:pt x="963" y="561"/>
                        </a:lnTo>
                        <a:lnTo>
                          <a:pt x="961" y="561"/>
                        </a:lnTo>
                        <a:lnTo>
                          <a:pt x="958" y="561"/>
                        </a:lnTo>
                        <a:lnTo>
                          <a:pt x="955" y="561"/>
                        </a:lnTo>
                        <a:lnTo>
                          <a:pt x="953" y="561"/>
                        </a:lnTo>
                        <a:lnTo>
                          <a:pt x="952" y="563"/>
                        </a:lnTo>
                        <a:lnTo>
                          <a:pt x="950" y="564"/>
                        </a:lnTo>
                        <a:lnTo>
                          <a:pt x="949" y="566"/>
                        </a:lnTo>
                        <a:lnTo>
                          <a:pt x="947" y="571"/>
                        </a:lnTo>
                        <a:lnTo>
                          <a:pt x="945" y="574"/>
                        </a:lnTo>
                        <a:lnTo>
                          <a:pt x="944" y="577"/>
                        </a:lnTo>
                        <a:lnTo>
                          <a:pt x="942" y="580"/>
                        </a:lnTo>
                        <a:lnTo>
                          <a:pt x="941" y="586"/>
                        </a:lnTo>
                        <a:lnTo>
                          <a:pt x="938" y="590"/>
                        </a:lnTo>
                        <a:lnTo>
                          <a:pt x="938" y="593"/>
                        </a:lnTo>
                        <a:lnTo>
                          <a:pt x="936" y="598"/>
                        </a:lnTo>
                        <a:lnTo>
                          <a:pt x="936" y="601"/>
                        </a:lnTo>
                        <a:lnTo>
                          <a:pt x="936" y="604"/>
                        </a:lnTo>
                        <a:lnTo>
                          <a:pt x="934" y="605"/>
                        </a:lnTo>
                        <a:lnTo>
                          <a:pt x="938" y="609"/>
                        </a:lnTo>
                        <a:lnTo>
                          <a:pt x="939" y="609"/>
                        </a:lnTo>
                        <a:lnTo>
                          <a:pt x="941" y="609"/>
                        </a:lnTo>
                        <a:lnTo>
                          <a:pt x="942" y="610"/>
                        </a:lnTo>
                        <a:lnTo>
                          <a:pt x="944" y="612"/>
                        </a:lnTo>
                        <a:lnTo>
                          <a:pt x="944" y="613"/>
                        </a:lnTo>
                        <a:lnTo>
                          <a:pt x="945" y="615"/>
                        </a:lnTo>
                        <a:lnTo>
                          <a:pt x="947" y="615"/>
                        </a:lnTo>
                        <a:lnTo>
                          <a:pt x="950" y="617"/>
                        </a:lnTo>
                        <a:lnTo>
                          <a:pt x="952" y="618"/>
                        </a:lnTo>
                        <a:lnTo>
                          <a:pt x="953" y="620"/>
                        </a:lnTo>
                        <a:lnTo>
                          <a:pt x="957" y="620"/>
                        </a:lnTo>
                        <a:lnTo>
                          <a:pt x="958" y="623"/>
                        </a:lnTo>
                        <a:lnTo>
                          <a:pt x="960" y="624"/>
                        </a:lnTo>
                        <a:lnTo>
                          <a:pt x="958" y="629"/>
                        </a:lnTo>
                        <a:lnTo>
                          <a:pt x="960" y="629"/>
                        </a:lnTo>
                        <a:lnTo>
                          <a:pt x="958" y="629"/>
                        </a:lnTo>
                        <a:lnTo>
                          <a:pt x="961" y="634"/>
                        </a:lnTo>
                        <a:lnTo>
                          <a:pt x="963" y="636"/>
                        </a:lnTo>
                        <a:lnTo>
                          <a:pt x="963" y="637"/>
                        </a:lnTo>
                        <a:lnTo>
                          <a:pt x="965" y="637"/>
                        </a:lnTo>
                        <a:lnTo>
                          <a:pt x="968" y="637"/>
                        </a:lnTo>
                        <a:lnTo>
                          <a:pt x="969" y="639"/>
                        </a:lnTo>
                        <a:lnTo>
                          <a:pt x="971" y="640"/>
                        </a:lnTo>
                        <a:lnTo>
                          <a:pt x="974" y="640"/>
                        </a:lnTo>
                        <a:lnTo>
                          <a:pt x="977" y="640"/>
                        </a:lnTo>
                        <a:lnTo>
                          <a:pt x="979" y="642"/>
                        </a:lnTo>
                        <a:lnTo>
                          <a:pt x="982" y="642"/>
                        </a:lnTo>
                        <a:lnTo>
                          <a:pt x="984" y="644"/>
                        </a:lnTo>
                        <a:lnTo>
                          <a:pt x="985" y="648"/>
                        </a:lnTo>
                        <a:lnTo>
                          <a:pt x="987" y="648"/>
                        </a:lnTo>
                        <a:lnTo>
                          <a:pt x="988" y="648"/>
                        </a:lnTo>
                        <a:lnTo>
                          <a:pt x="990" y="650"/>
                        </a:lnTo>
                        <a:lnTo>
                          <a:pt x="990" y="651"/>
                        </a:lnTo>
                        <a:lnTo>
                          <a:pt x="990" y="653"/>
                        </a:lnTo>
                        <a:lnTo>
                          <a:pt x="991" y="655"/>
                        </a:lnTo>
                        <a:lnTo>
                          <a:pt x="993" y="655"/>
                        </a:lnTo>
                        <a:lnTo>
                          <a:pt x="995" y="656"/>
                        </a:lnTo>
                        <a:lnTo>
                          <a:pt x="995" y="658"/>
                        </a:lnTo>
                        <a:lnTo>
                          <a:pt x="996" y="659"/>
                        </a:lnTo>
                        <a:lnTo>
                          <a:pt x="998" y="659"/>
                        </a:lnTo>
                        <a:lnTo>
                          <a:pt x="999" y="661"/>
                        </a:lnTo>
                        <a:lnTo>
                          <a:pt x="1001" y="663"/>
                        </a:lnTo>
                        <a:lnTo>
                          <a:pt x="1001" y="664"/>
                        </a:lnTo>
                        <a:lnTo>
                          <a:pt x="1004" y="664"/>
                        </a:lnTo>
                        <a:lnTo>
                          <a:pt x="1003" y="666"/>
                        </a:lnTo>
                        <a:lnTo>
                          <a:pt x="1003" y="667"/>
                        </a:lnTo>
                        <a:lnTo>
                          <a:pt x="1003" y="669"/>
                        </a:lnTo>
                        <a:lnTo>
                          <a:pt x="1003" y="670"/>
                        </a:lnTo>
                        <a:lnTo>
                          <a:pt x="1001" y="672"/>
                        </a:lnTo>
                        <a:lnTo>
                          <a:pt x="1001" y="674"/>
                        </a:lnTo>
                        <a:lnTo>
                          <a:pt x="999" y="675"/>
                        </a:lnTo>
                        <a:lnTo>
                          <a:pt x="999" y="680"/>
                        </a:lnTo>
                        <a:lnTo>
                          <a:pt x="999" y="682"/>
                        </a:lnTo>
                        <a:lnTo>
                          <a:pt x="999" y="683"/>
                        </a:lnTo>
                        <a:lnTo>
                          <a:pt x="999" y="686"/>
                        </a:lnTo>
                        <a:lnTo>
                          <a:pt x="999" y="688"/>
                        </a:lnTo>
                        <a:lnTo>
                          <a:pt x="999" y="689"/>
                        </a:lnTo>
                        <a:lnTo>
                          <a:pt x="996" y="691"/>
                        </a:lnTo>
                        <a:lnTo>
                          <a:pt x="993" y="696"/>
                        </a:lnTo>
                        <a:lnTo>
                          <a:pt x="987" y="704"/>
                        </a:lnTo>
                        <a:lnTo>
                          <a:pt x="985" y="705"/>
                        </a:lnTo>
                        <a:lnTo>
                          <a:pt x="980" y="704"/>
                        </a:lnTo>
                        <a:lnTo>
                          <a:pt x="979" y="704"/>
                        </a:lnTo>
                        <a:lnTo>
                          <a:pt x="974" y="710"/>
                        </a:lnTo>
                        <a:lnTo>
                          <a:pt x="969" y="708"/>
                        </a:lnTo>
                        <a:lnTo>
                          <a:pt x="965" y="710"/>
                        </a:lnTo>
                        <a:lnTo>
                          <a:pt x="963" y="710"/>
                        </a:lnTo>
                        <a:lnTo>
                          <a:pt x="961" y="710"/>
                        </a:lnTo>
                        <a:lnTo>
                          <a:pt x="958" y="708"/>
                        </a:lnTo>
                        <a:lnTo>
                          <a:pt x="957" y="708"/>
                        </a:lnTo>
                        <a:lnTo>
                          <a:pt x="953" y="710"/>
                        </a:lnTo>
                        <a:lnTo>
                          <a:pt x="952" y="710"/>
                        </a:lnTo>
                        <a:lnTo>
                          <a:pt x="950" y="712"/>
                        </a:lnTo>
                        <a:lnTo>
                          <a:pt x="950" y="713"/>
                        </a:lnTo>
                        <a:lnTo>
                          <a:pt x="952" y="715"/>
                        </a:lnTo>
                        <a:lnTo>
                          <a:pt x="950" y="715"/>
                        </a:lnTo>
                        <a:lnTo>
                          <a:pt x="949" y="721"/>
                        </a:lnTo>
                        <a:lnTo>
                          <a:pt x="949" y="723"/>
                        </a:lnTo>
                        <a:lnTo>
                          <a:pt x="952" y="726"/>
                        </a:lnTo>
                        <a:lnTo>
                          <a:pt x="950" y="727"/>
                        </a:lnTo>
                        <a:lnTo>
                          <a:pt x="950" y="729"/>
                        </a:lnTo>
                        <a:lnTo>
                          <a:pt x="949" y="732"/>
                        </a:lnTo>
                        <a:lnTo>
                          <a:pt x="947" y="732"/>
                        </a:lnTo>
                        <a:lnTo>
                          <a:pt x="942" y="735"/>
                        </a:lnTo>
                        <a:lnTo>
                          <a:pt x="939" y="735"/>
                        </a:lnTo>
                        <a:lnTo>
                          <a:pt x="936" y="734"/>
                        </a:lnTo>
                        <a:lnTo>
                          <a:pt x="934" y="734"/>
                        </a:lnTo>
                        <a:lnTo>
                          <a:pt x="930" y="731"/>
                        </a:lnTo>
                        <a:lnTo>
                          <a:pt x="926" y="732"/>
                        </a:lnTo>
                        <a:lnTo>
                          <a:pt x="925" y="732"/>
                        </a:lnTo>
                        <a:lnTo>
                          <a:pt x="915" y="732"/>
                        </a:lnTo>
                        <a:lnTo>
                          <a:pt x="915" y="734"/>
                        </a:lnTo>
                        <a:lnTo>
                          <a:pt x="914" y="734"/>
                        </a:lnTo>
                        <a:lnTo>
                          <a:pt x="907" y="742"/>
                        </a:lnTo>
                        <a:lnTo>
                          <a:pt x="909" y="753"/>
                        </a:lnTo>
                        <a:lnTo>
                          <a:pt x="904" y="753"/>
                        </a:lnTo>
                        <a:lnTo>
                          <a:pt x="901" y="753"/>
                        </a:lnTo>
                        <a:lnTo>
                          <a:pt x="896" y="754"/>
                        </a:lnTo>
                        <a:lnTo>
                          <a:pt x="895" y="753"/>
                        </a:lnTo>
                        <a:lnTo>
                          <a:pt x="887" y="751"/>
                        </a:lnTo>
                        <a:lnTo>
                          <a:pt x="884" y="748"/>
                        </a:lnTo>
                        <a:lnTo>
                          <a:pt x="879" y="745"/>
                        </a:lnTo>
                        <a:lnTo>
                          <a:pt x="869" y="742"/>
                        </a:lnTo>
                        <a:lnTo>
                          <a:pt x="868" y="740"/>
                        </a:lnTo>
                        <a:lnTo>
                          <a:pt x="858" y="734"/>
                        </a:lnTo>
                        <a:lnTo>
                          <a:pt x="855" y="734"/>
                        </a:lnTo>
                        <a:lnTo>
                          <a:pt x="854" y="734"/>
                        </a:lnTo>
                        <a:lnTo>
                          <a:pt x="852" y="735"/>
                        </a:lnTo>
                        <a:lnTo>
                          <a:pt x="849" y="737"/>
                        </a:lnTo>
                        <a:lnTo>
                          <a:pt x="849" y="739"/>
                        </a:lnTo>
                        <a:lnTo>
                          <a:pt x="846" y="746"/>
                        </a:lnTo>
                        <a:lnTo>
                          <a:pt x="839" y="750"/>
                        </a:lnTo>
                        <a:lnTo>
                          <a:pt x="836" y="753"/>
                        </a:lnTo>
                        <a:lnTo>
                          <a:pt x="833" y="754"/>
                        </a:lnTo>
                        <a:lnTo>
                          <a:pt x="831" y="754"/>
                        </a:lnTo>
                        <a:lnTo>
                          <a:pt x="831" y="758"/>
                        </a:lnTo>
                        <a:lnTo>
                          <a:pt x="830" y="761"/>
                        </a:lnTo>
                        <a:lnTo>
                          <a:pt x="828" y="764"/>
                        </a:lnTo>
                        <a:lnTo>
                          <a:pt x="825" y="767"/>
                        </a:lnTo>
                        <a:lnTo>
                          <a:pt x="824" y="769"/>
                        </a:lnTo>
                        <a:lnTo>
                          <a:pt x="820" y="770"/>
                        </a:lnTo>
                        <a:lnTo>
                          <a:pt x="806" y="777"/>
                        </a:lnTo>
                        <a:lnTo>
                          <a:pt x="800" y="777"/>
                        </a:lnTo>
                        <a:lnTo>
                          <a:pt x="795" y="777"/>
                        </a:lnTo>
                        <a:lnTo>
                          <a:pt x="792" y="778"/>
                        </a:lnTo>
                        <a:lnTo>
                          <a:pt x="790" y="781"/>
                        </a:lnTo>
                        <a:lnTo>
                          <a:pt x="784" y="781"/>
                        </a:lnTo>
                        <a:lnTo>
                          <a:pt x="782" y="781"/>
                        </a:lnTo>
                        <a:lnTo>
                          <a:pt x="779" y="781"/>
                        </a:lnTo>
                        <a:lnTo>
                          <a:pt x="778" y="781"/>
                        </a:lnTo>
                        <a:lnTo>
                          <a:pt x="776" y="780"/>
                        </a:lnTo>
                        <a:lnTo>
                          <a:pt x="773" y="781"/>
                        </a:lnTo>
                        <a:lnTo>
                          <a:pt x="771" y="781"/>
                        </a:lnTo>
                        <a:lnTo>
                          <a:pt x="770" y="780"/>
                        </a:lnTo>
                        <a:lnTo>
                          <a:pt x="768" y="780"/>
                        </a:lnTo>
                        <a:lnTo>
                          <a:pt x="765" y="788"/>
                        </a:lnTo>
                        <a:lnTo>
                          <a:pt x="763" y="791"/>
                        </a:lnTo>
                        <a:lnTo>
                          <a:pt x="765" y="792"/>
                        </a:lnTo>
                        <a:lnTo>
                          <a:pt x="770" y="792"/>
                        </a:lnTo>
                        <a:lnTo>
                          <a:pt x="771" y="792"/>
                        </a:lnTo>
                        <a:lnTo>
                          <a:pt x="771" y="794"/>
                        </a:lnTo>
                        <a:lnTo>
                          <a:pt x="770" y="796"/>
                        </a:lnTo>
                        <a:lnTo>
                          <a:pt x="768" y="799"/>
                        </a:lnTo>
                        <a:lnTo>
                          <a:pt x="768" y="802"/>
                        </a:lnTo>
                        <a:lnTo>
                          <a:pt x="768" y="807"/>
                        </a:lnTo>
                        <a:lnTo>
                          <a:pt x="766" y="808"/>
                        </a:lnTo>
                        <a:lnTo>
                          <a:pt x="765" y="810"/>
                        </a:lnTo>
                        <a:lnTo>
                          <a:pt x="765" y="813"/>
                        </a:lnTo>
                        <a:lnTo>
                          <a:pt x="765" y="815"/>
                        </a:lnTo>
                        <a:lnTo>
                          <a:pt x="763" y="816"/>
                        </a:lnTo>
                        <a:lnTo>
                          <a:pt x="760" y="819"/>
                        </a:lnTo>
                        <a:lnTo>
                          <a:pt x="760" y="821"/>
                        </a:lnTo>
                        <a:lnTo>
                          <a:pt x="762" y="824"/>
                        </a:lnTo>
                        <a:lnTo>
                          <a:pt x="760" y="830"/>
                        </a:lnTo>
                        <a:lnTo>
                          <a:pt x="759" y="832"/>
                        </a:lnTo>
                        <a:lnTo>
                          <a:pt x="757" y="834"/>
                        </a:lnTo>
                        <a:lnTo>
                          <a:pt x="757" y="837"/>
                        </a:lnTo>
                        <a:lnTo>
                          <a:pt x="759" y="838"/>
                        </a:lnTo>
                        <a:lnTo>
                          <a:pt x="757" y="843"/>
                        </a:lnTo>
                        <a:lnTo>
                          <a:pt x="757" y="846"/>
                        </a:lnTo>
                        <a:lnTo>
                          <a:pt x="757" y="848"/>
                        </a:lnTo>
                        <a:lnTo>
                          <a:pt x="755" y="853"/>
                        </a:lnTo>
                        <a:lnTo>
                          <a:pt x="754" y="857"/>
                        </a:lnTo>
                        <a:lnTo>
                          <a:pt x="751" y="862"/>
                        </a:lnTo>
                        <a:lnTo>
                          <a:pt x="747" y="865"/>
                        </a:lnTo>
                        <a:lnTo>
                          <a:pt x="747" y="867"/>
                        </a:lnTo>
                        <a:lnTo>
                          <a:pt x="743" y="872"/>
                        </a:lnTo>
                        <a:lnTo>
                          <a:pt x="738" y="876"/>
                        </a:lnTo>
                        <a:lnTo>
                          <a:pt x="727" y="868"/>
                        </a:lnTo>
                        <a:lnTo>
                          <a:pt x="721" y="862"/>
                        </a:lnTo>
                        <a:lnTo>
                          <a:pt x="719" y="861"/>
                        </a:lnTo>
                        <a:lnTo>
                          <a:pt x="713" y="861"/>
                        </a:lnTo>
                        <a:lnTo>
                          <a:pt x="711" y="861"/>
                        </a:lnTo>
                        <a:lnTo>
                          <a:pt x="708" y="862"/>
                        </a:lnTo>
                        <a:lnTo>
                          <a:pt x="706" y="864"/>
                        </a:lnTo>
                        <a:lnTo>
                          <a:pt x="706" y="865"/>
                        </a:lnTo>
                        <a:lnTo>
                          <a:pt x="705" y="868"/>
                        </a:lnTo>
                        <a:lnTo>
                          <a:pt x="705" y="870"/>
                        </a:lnTo>
                        <a:lnTo>
                          <a:pt x="706" y="873"/>
                        </a:lnTo>
                        <a:lnTo>
                          <a:pt x="706" y="875"/>
                        </a:lnTo>
                        <a:lnTo>
                          <a:pt x="705" y="878"/>
                        </a:lnTo>
                        <a:lnTo>
                          <a:pt x="703" y="880"/>
                        </a:lnTo>
                        <a:lnTo>
                          <a:pt x="700" y="880"/>
                        </a:lnTo>
                        <a:lnTo>
                          <a:pt x="695" y="880"/>
                        </a:lnTo>
                        <a:lnTo>
                          <a:pt x="694" y="880"/>
                        </a:lnTo>
                        <a:lnTo>
                          <a:pt x="692" y="878"/>
                        </a:lnTo>
                        <a:lnTo>
                          <a:pt x="686" y="873"/>
                        </a:lnTo>
                        <a:lnTo>
                          <a:pt x="684" y="868"/>
                        </a:lnTo>
                        <a:lnTo>
                          <a:pt x="683" y="864"/>
                        </a:lnTo>
                        <a:lnTo>
                          <a:pt x="678" y="848"/>
                        </a:lnTo>
                        <a:lnTo>
                          <a:pt x="676" y="845"/>
                        </a:lnTo>
                        <a:lnTo>
                          <a:pt x="675" y="843"/>
                        </a:lnTo>
                        <a:lnTo>
                          <a:pt x="673" y="842"/>
                        </a:lnTo>
                        <a:lnTo>
                          <a:pt x="671" y="840"/>
                        </a:lnTo>
                        <a:lnTo>
                          <a:pt x="668" y="838"/>
                        </a:lnTo>
                        <a:lnTo>
                          <a:pt x="667" y="838"/>
                        </a:lnTo>
                        <a:lnTo>
                          <a:pt x="665" y="838"/>
                        </a:lnTo>
                        <a:lnTo>
                          <a:pt x="664" y="838"/>
                        </a:lnTo>
                        <a:lnTo>
                          <a:pt x="657" y="842"/>
                        </a:lnTo>
                        <a:lnTo>
                          <a:pt x="652" y="843"/>
                        </a:lnTo>
                        <a:lnTo>
                          <a:pt x="648" y="843"/>
                        </a:lnTo>
                        <a:lnTo>
                          <a:pt x="643" y="845"/>
                        </a:lnTo>
                        <a:lnTo>
                          <a:pt x="641" y="845"/>
                        </a:lnTo>
                        <a:lnTo>
                          <a:pt x="630" y="845"/>
                        </a:lnTo>
                        <a:lnTo>
                          <a:pt x="627" y="846"/>
                        </a:lnTo>
                        <a:lnTo>
                          <a:pt x="626" y="848"/>
                        </a:lnTo>
                        <a:lnTo>
                          <a:pt x="622" y="848"/>
                        </a:lnTo>
                        <a:lnTo>
                          <a:pt x="621" y="846"/>
                        </a:lnTo>
                        <a:lnTo>
                          <a:pt x="618" y="842"/>
                        </a:lnTo>
                        <a:lnTo>
                          <a:pt x="616" y="840"/>
                        </a:lnTo>
                        <a:lnTo>
                          <a:pt x="614" y="834"/>
                        </a:lnTo>
                        <a:lnTo>
                          <a:pt x="614" y="832"/>
                        </a:lnTo>
                        <a:lnTo>
                          <a:pt x="613" y="830"/>
                        </a:lnTo>
                        <a:lnTo>
                          <a:pt x="614" y="827"/>
                        </a:lnTo>
                        <a:lnTo>
                          <a:pt x="613" y="824"/>
                        </a:lnTo>
                        <a:lnTo>
                          <a:pt x="613" y="823"/>
                        </a:lnTo>
                        <a:lnTo>
                          <a:pt x="613" y="816"/>
                        </a:lnTo>
                        <a:lnTo>
                          <a:pt x="613" y="811"/>
                        </a:lnTo>
                        <a:lnTo>
                          <a:pt x="621" y="805"/>
                        </a:lnTo>
                        <a:lnTo>
                          <a:pt x="622" y="802"/>
                        </a:lnTo>
                        <a:lnTo>
                          <a:pt x="622" y="799"/>
                        </a:lnTo>
                        <a:lnTo>
                          <a:pt x="624" y="794"/>
                        </a:lnTo>
                        <a:lnTo>
                          <a:pt x="622" y="791"/>
                        </a:lnTo>
                        <a:lnTo>
                          <a:pt x="621" y="789"/>
                        </a:lnTo>
                        <a:lnTo>
                          <a:pt x="614" y="786"/>
                        </a:lnTo>
                        <a:lnTo>
                          <a:pt x="613" y="786"/>
                        </a:lnTo>
                        <a:lnTo>
                          <a:pt x="611" y="786"/>
                        </a:lnTo>
                        <a:lnTo>
                          <a:pt x="594" y="786"/>
                        </a:lnTo>
                        <a:lnTo>
                          <a:pt x="591" y="789"/>
                        </a:lnTo>
                        <a:lnTo>
                          <a:pt x="589" y="791"/>
                        </a:lnTo>
                        <a:lnTo>
                          <a:pt x="589" y="792"/>
                        </a:lnTo>
                        <a:lnTo>
                          <a:pt x="591" y="794"/>
                        </a:lnTo>
                        <a:lnTo>
                          <a:pt x="594" y="799"/>
                        </a:lnTo>
                        <a:lnTo>
                          <a:pt x="599" y="800"/>
                        </a:lnTo>
                        <a:lnTo>
                          <a:pt x="599" y="802"/>
                        </a:lnTo>
                        <a:lnTo>
                          <a:pt x="599" y="803"/>
                        </a:lnTo>
                        <a:lnTo>
                          <a:pt x="599" y="805"/>
                        </a:lnTo>
                        <a:lnTo>
                          <a:pt x="597" y="807"/>
                        </a:lnTo>
                        <a:lnTo>
                          <a:pt x="592" y="815"/>
                        </a:lnTo>
                        <a:lnTo>
                          <a:pt x="588" y="821"/>
                        </a:lnTo>
                        <a:lnTo>
                          <a:pt x="583" y="823"/>
                        </a:lnTo>
                        <a:lnTo>
                          <a:pt x="578" y="823"/>
                        </a:lnTo>
                        <a:lnTo>
                          <a:pt x="576" y="821"/>
                        </a:lnTo>
                        <a:lnTo>
                          <a:pt x="575" y="821"/>
                        </a:lnTo>
                        <a:lnTo>
                          <a:pt x="572" y="819"/>
                        </a:lnTo>
                        <a:lnTo>
                          <a:pt x="572" y="818"/>
                        </a:lnTo>
                        <a:lnTo>
                          <a:pt x="572" y="816"/>
                        </a:lnTo>
                        <a:lnTo>
                          <a:pt x="570" y="815"/>
                        </a:lnTo>
                        <a:lnTo>
                          <a:pt x="570" y="813"/>
                        </a:lnTo>
                        <a:lnTo>
                          <a:pt x="568" y="811"/>
                        </a:lnTo>
                        <a:lnTo>
                          <a:pt x="567" y="810"/>
                        </a:lnTo>
                        <a:lnTo>
                          <a:pt x="565" y="810"/>
                        </a:lnTo>
                        <a:lnTo>
                          <a:pt x="565" y="808"/>
                        </a:lnTo>
                        <a:lnTo>
                          <a:pt x="564" y="805"/>
                        </a:lnTo>
                        <a:lnTo>
                          <a:pt x="559" y="805"/>
                        </a:lnTo>
                        <a:lnTo>
                          <a:pt x="557" y="803"/>
                        </a:lnTo>
                        <a:lnTo>
                          <a:pt x="556" y="802"/>
                        </a:lnTo>
                        <a:lnTo>
                          <a:pt x="554" y="800"/>
                        </a:lnTo>
                        <a:lnTo>
                          <a:pt x="553" y="802"/>
                        </a:lnTo>
                        <a:lnTo>
                          <a:pt x="554" y="807"/>
                        </a:lnTo>
                        <a:lnTo>
                          <a:pt x="551" y="808"/>
                        </a:lnTo>
                        <a:lnTo>
                          <a:pt x="549" y="813"/>
                        </a:lnTo>
                        <a:lnTo>
                          <a:pt x="548" y="813"/>
                        </a:lnTo>
                        <a:lnTo>
                          <a:pt x="548" y="815"/>
                        </a:lnTo>
                        <a:lnTo>
                          <a:pt x="546" y="813"/>
                        </a:lnTo>
                        <a:lnTo>
                          <a:pt x="543" y="811"/>
                        </a:lnTo>
                        <a:lnTo>
                          <a:pt x="538" y="810"/>
                        </a:lnTo>
                        <a:lnTo>
                          <a:pt x="535" y="807"/>
                        </a:lnTo>
                        <a:lnTo>
                          <a:pt x="532" y="807"/>
                        </a:lnTo>
                        <a:lnTo>
                          <a:pt x="530" y="808"/>
                        </a:lnTo>
                        <a:lnTo>
                          <a:pt x="529" y="810"/>
                        </a:lnTo>
                        <a:lnTo>
                          <a:pt x="529" y="811"/>
                        </a:lnTo>
                        <a:lnTo>
                          <a:pt x="529" y="815"/>
                        </a:lnTo>
                        <a:lnTo>
                          <a:pt x="529" y="816"/>
                        </a:lnTo>
                        <a:lnTo>
                          <a:pt x="524" y="823"/>
                        </a:lnTo>
                        <a:lnTo>
                          <a:pt x="523" y="823"/>
                        </a:lnTo>
                        <a:lnTo>
                          <a:pt x="519" y="821"/>
                        </a:lnTo>
                        <a:lnTo>
                          <a:pt x="518" y="823"/>
                        </a:lnTo>
                        <a:lnTo>
                          <a:pt x="518" y="826"/>
                        </a:lnTo>
                        <a:lnTo>
                          <a:pt x="515" y="827"/>
                        </a:lnTo>
                        <a:lnTo>
                          <a:pt x="513" y="829"/>
                        </a:lnTo>
                        <a:lnTo>
                          <a:pt x="508" y="829"/>
                        </a:lnTo>
                        <a:lnTo>
                          <a:pt x="507" y="829"/>
                        </a:lnTo>
                        <a:lnTo>
                          <a:pt x="507" y="827"/>
                        </a:lnTo>
                        <a:lnTo>
                          <a:pt x="507" y="823"/>
                        </a:lnTo>
                        <a:lnTo>
                          <a:pt x="504" y="823"/>
                        </a:lnTo>
                        <a:lnTo>
                          <a:pt x="502" y="823"/>
                        </a:lnTo>
                        <a:lnTo>
                          <a:pt x="499" y="823"/>
                        </a:lnTo>
                        <a:lnTo>
                          <a:pt x="496" y="818"/>
                        </a:lnTo>
                        <a:lnTo>
                          <a:pt x="491" y="805"/>
                        </a:lnTo>
                        <a:lnTo>
                          <a:pt x="488" y="802"/>
                        </a:lnTo>
                        <a:lnTo>
                          <a:pt x="486" y="797"/>
                        </a:lnTo>
                        <a:lnTo>
                          <a:pt x="481" y="794"/>
                        </a:lnTo>
                        <a:lnTo>
                          <a:pt x="481" y="792"/>
                        </a:lnTo>
                        <a:lnTo>
                          <a:pt x="480" y="789"/>
                        </a:lnTo>
                        <a:lnTo>
                          <a:pt x="480" y="786"/>
                        </a:lnTo>
                        <a:lnTo>
                          <a:pt x="478" y="784"/>
                        </a:lnTo>
                        <a:lnTo>
                          <a:pt x="475" y="783"/>
                        </a:lnTo>
                        <a:lnTo>
                          <a:pt x="473" y="783"/>
                        </a:lnTo>
                        <a:lnTo>
                          <a:pt x="467" y="781"/>
                        </a:lnTo>
                        <a:lnTo>
                          <a:pt x="459" y="781"/>
                        </a:lnTo>
                        <a:lnTo>
                          <a:pt x="459" y="784"/>
                        </a:lnTo>
                        <a:lnTo>
                          <a:pt x="459" y="789"/>
                        </a:lnTo>
                        <a:lnTo>
                          <a:pt x="459" y="792"/>
                        </a:lnTo>
                        <a:lnTo>
                          <a:pt x="456" y="792"/>
                        </a:lnTo>
                        <a:lnTo>
                          <a:pt x="453" y="791"/>
                        </a:lnTo>
                        <a:lnTo>
                          <a:pt x="451" y="789"/>
                        </a:lnTo>
                        <a:lnTo>
                          <a:pt x="451" y="781"/>
                        </a:lnTo>
                        <a:lnTo>
                          <a:pt x="448" y="780"/>
                        </a:lnTo>
                        <a:lnTo>
                          <a:pt x="445" y="780"/>
                        </a:lnTo>
                        <a:lnTo>
                          <a:pt x="442" y="781"/>
                        </a:lnTo>
                        <a:lnTo>
                          <a:pt x="442" y="780"/>
                        </a:lnTo>
                        <a:lnTo>
                          <a:pt x="443" y="775"/>
                        </a:lnTo>
                        <a:lnTo>
                          <a:pt x="442" y="772"/>
                        </a:lnTo>
                        <a:lnTo>
                          <a:pt x="440" y="772"/>
                        </a:lnTo>
                        <a:lnTo>
                          <a:pt x="439" y="773"/>
                        </a:lnTo>
                        <a:lnTo>
                          <a:pt x="437" y="773"/>
                        </a:lnTo>
                        <a:lnTo>
                          <a:pt x="435" y="773"/>
                        </a:lnTo>
                        <a:lnTo>
                          <a:pt x="431" y="762"/>
                        </a:lnTo>
                        <a:lnTo>
                          <a:pt x="432" y="762"/>
                        </a:lnTo>
                        <a:lnTo>
                          <a:pt x="437" y="762"/>
                        </a:lnTo>
                        <a:lnTo>
                          <a:pt x="443" y="764"/>
                        </a:lnTo>
                        <a:lnTo>
                          <a:pt x="448" y="764"/>
                        </a:lnTo>
                        <a:lnTo>
                          <a:pt x="450" y="762"/>
                        </a:lnTo>
                        <a:lnTo>
                          <a:pt x="450" y="761"/>
                        </a:lnTo>
                        <a:lnTo>
                          <a:pt x="447" y="758"/>
                        </a:lnTo>
                        <a:lnTo>
                          <a:pt x="445" y="753"/>
                        </a:lnTo>
                        <a:lnTo>
                          <a:pt x="447" y="746"/>
                        </a:lnTo>
                        <a:lnTo>
                          <a:pt x="447" y="745"/>
                        </a:lnTo>
                        <a:lnTo>
                          <a:pt x="445" y="742"/>
                        </a:lnTo>
                        <a:lnTo>
                          <a:pt x="447" y="739"/>
                        </a:lnTo>
                        <a:lnTo>
                          <a:pt x="450" y="735"/>
                        </a:lnTo>
                        <a:lnTo>
                          <a:pt x="450" y="734"/>
                        </a:lnTo>
                        <a:lnTo>
                          <a:pt x="450" y="732"/>
                        </a:lnTo>
                        <a:lnTo>
                          <a:pt x="448" y="732"/>
                        </a:lnTo>
                        <a:lnTo>
                          <a:pt x="445" y="731"/>
                        </a:lnTo>
                        <a:lnTo>
                          <a:pt x="440" y="726"/>
                        </a:lnTo>
                        <a:lnTo>
                          <a:pt x="437" y="726"/>
                        </a:lnTo>
                        <a:lnTo>
                          <a:pt x="434" y="727"/>
                        </a:lnTo>
                        <a:lnTo>
                          <a:pt x="431" y="727"/>
                        </a:lnTo>
                        <a:lnTo>
                          <a:pt x="429" y="727"/>
                        </a:lnTo>
                        <a:lnTo>
                          <a:pt x="428" y="724"/>
                        </a:lnTo>
                        <a:lnTo>
                          <a:pt x="424" y="721"/>
                        </a:lnTo>
                        <a:lnTo>
                          <a:pt x="424" y="718"/>
                        </a:lnTo>
                        <a:lnTo>
                          <a:pt x="424" y="715"/>
                        </a:lnTo>
                        <a:lnTo>
                          <a:pt x="423" y="715"/>
                        </a:lnTo>
                        <a:lnTo>
                          <a:pt x="423" y="713"/>
                        </a:lnTo>
                        <a:lnTo>
                          <a:pt x="413" y="712"/>
                        </a:lnTo>
                        <a:lnTo>
                          <a:pt x="410" y="713"/>
                        </a:lnTo>
                        <a:lnTo>
                          <a:pt x="407" y="713"/>
                        </a:lnTo>
                        <a:lnTo>
                          <a:pt x="402" y="708"/>
                        </a:lnTo>
                        <a:lnTo>
                          <a:pt x="393" y="710"/>
                        </a:lnTo>
                        <a:lnTo>
                          <a:pt x="391" y="707"/>
                        </a:lnTo>
                        <a:lnTo>
                          <a:pt x="389" y="705"/>
                        </a:lnTo>
                        <a:lnTo>
                          <a:pt x="385" y="705"/>
                        </a:lnTo>
                        <a:lnTo>
                          <a:pt x="377" y="699"/>
                        </a:lnTo>
                        <a:lnTo>
                          <a:pt x="372" y="696"/>
                        </a:lnTo>
                        <a:lnTo>
                          <a:pt x="369" y="696"/>
                        </a:lnTo>
                        <a:lnTo>
                          <a:pt x="366" y="699"/>
                        </a:lnTo>
                        <a:lnTo>
                          <a:pt x="363" y="701"/>
                        </a:lnTo>
                        <a:lnTo>
                          <a:pt x="361" y="702"/>
                        </a:lnTo>
                        <a:lnTo>
                          <a:pt x="361" y="705"/>
                        </a:lnTo>
                        <a:lnTo>
                          <a:pt x="361" y="707"/>
                        </a:lnTo>
                        <a:lnTo>
                          <a:pt x="359" y="708"/>
                        </a:lnTo>
                        <a:lnTo>
                          <a:pt x="358" y="708"/>
                        </a:lnTo>
                        <a:lnTo>
                          <a:pt x="356" y="707"/>
                        </a:lnTo>
                        <a:lnTo>
                          <a:pt x="355" y="704"/>
                        </a:lnTo>
                        <a:lnTo>
                          <a:pt x="347" y="702"/>
                        </a:lnTo>
                        <a:lnTo>
                          <a:pt x="344" y="701"/>
                        </a:lnTo>
                        <a:lnTo>
                          <a:pt x="339" y="696"/>
                        </a:lnTo>
                        <a:lnTo>
                          <a:pt x="339" y="694"/>
                        </a:lnTo>
                        <a:lnTo>
                          <a:pt x="336" y="689"/>
                        </a:lnTo>
                        <a:lnTo>
                          <a:pt x="336" y="688"/>
                        </a:lnTo>
                        <a:lnTo>
                          <a:pt x="336" y="686"/>
                        </a:lnTo>
                        <a:lnTo>
                          <a:pt x="336" y="685"/>
                        </a:lnTo>
                        <a:lnTo>
                          <a:pt x="340" y="683"/>
                        </a:lnTo>
                        <a:lnTo>
                          <a:pt x="342" y="678"/>
                        </a:lnTo>
                        <a:lnTo>
                          <a:pt x="344" y="677"/>
                        </a:lnTo>
                        <a:lnTo>
                          <a:pt x="344" y="674"/>
                        </a:lnTo>
                        <a:lnTo>
                          <a:pt x="342" y="672"/>
                        </a:lnTo>
                        <a:lnTo>
                          <a:pt x="340" y="667"/>
                        </a:lnTo>
                        <a:lnTo>
                          <a:pt x="342" y="666"/>
                        </a:lnTo>
                        <a:lnTo>
                          <a:pt x="342" y="664"/>
                        </a:lnTo>
                        <a:lnTo>
                          <a:pt x="345" y="664"/>
                        </a:lnTo>
                        <a:lnTo>
                          <a:pt x="350" y="663"/>
                        </a:lnTo>
                        <a:lnTo>
                          <a:pt x="351" y="661"/>
                        </a:lnTo>
                        <a:lnTo>
                          <a:pt x="351" y="659"/>
                        </a:lnTo>
                        <a:lnTo>
                          <a:pt x="350" y="658"/>
                        </a:lnTo>
                        <a:lnTo>
                          <a:pt x="344" y="655"/>
                        </a:lnTo>
                        <a:lnTo>
                          <a:pt x="342" y="655"/>
                        </a:lnTo>
                        <a:lnTo>
                          <a:pt x="342" y="653"/>
                        </a:lnTo>
                        <a:lnTo>
                          <a:pt x="342" y="651"/>
                        </a:lnTo>
                        <a:lnTo>
                          <a:pt x="342" y="648"/>
                        </a:lnTo>
                        <a:lnTo>
                          <a:pt x="340" y="647"/>
                        </a:lnTo>
                        <a:lnTo>
                          <a:pt x="339" y="647"/>
                        </a:lnTo>
                        <a:lnTo>
                          <a:pt x="336" y="645"/>
                        </a:lnTo>
                        <a:lnTo>
                          <a:pt x="329" y="642"/>
                        </a:lnTo>
                        <a:lnTo>
                          <a:pt x="326" y="640"/>
                        </a:lnTo>
                        <a:lnTo>
                          <a:pt x="326" y="632"/>
                        </a:lnTo>
                        <a:lnTo>
                          <a:pt x="326" y="629"/>
                        </a:lnTo>
                        <a:lnTo>
                          <a:pt x="325" y="626"/>
                        </a:lnTo>
                        <a:lnTo>
                          <a:pt x="326" y="623"/>
                        </a:lnTo>
                        <a:lnTo>
                          <a:pt x="328" y="623"/>
                        </a:lnTo>
                        <a:lnTo>
                          <a:pt x="334" y="624"/>
                        </a:lnTo>
                        <a:lnTo>
                          <a:pt x="340" y="628"/>
                        </a:lnTo>
                        <a:lnTo>
                          <a:pt x="340" y="624"/>
                        </a:lnTo>
                        <a:lnTo>
                          <a:pt x="339" y="621"/>
                        </a:lnTo>
                        <a:lnTo>
                          <a:pt x="342" y="617"/>
                        </a:lnTo>
                        <a:lnTo>
                          <a:pt x="342" y="615"/>
                        </a:lnTo>
                        <a:lnTo>
                          <a:pt x="337" y="612"/>
                        </a:lnTo>
                        <a:lnTo>
                          <a:pt x="337" y="609"/>
                        </a:lnTo>
                        <a:lnTo>
                          <a:pt x="337" y="605"/>
                        </a:lnTo>
                        <a:lnTo>
                          <a:pt x="336" y="604"/>
                        </a:lnTo>
                        <a:lnTo>
                          <a:pt x="331" y="602"/>
                        </a:lnTo>
                        <a:lnTo>
                          <a:pt x="329" y="602"/>
                        </a:lnTo>
                        <a:lnTo>
                          <a:pt x="328" y="601"/>
                        </a:lnTo>
                        <a:lnTo>
                          <a:pt x="325" y="598"/>
                        </a:lnTo>
                        <a:lnTo>
                          <a:pt x="323" y="594"/>
                        </a:lnTo>
                        <a:lnTo>
                          <a:pt x="323" y="593"/>
                        </a:lnTo>
                        <a:lnTo>
                          <a:pt x="321" y="591"/>
                        </a:lnTo>
                        <a:lnTo>
                          <a:pt x="318" y="591"/>
                        </a:lnTo>
                        <a:lnTo>
                          <a:pt x="317" y="590"/>
                        </a:lnTo>
                        <a:lnTo>
                          <a:pt x="315" y="590"/>
                        </a:lnTo>
                        <a:lnTo>
                          <a:pt x="312" y="591"/>
                        </a:lnTo>
                        <a:lnTo>
                          <a:pt x="309" y="590"/>
                        </a:lnTo>
                        <a:lnTo>
                          <a:pt x="307" y="588"/>
                        </a:lnTo>
                        <a:lnTo>
                          <a:pt x="306" y="586"/>
                        </a:lnTo>
                        <a:lnTo>
                          <a:pt x="306" y="585"/>
                        </a:lnTo>
                        <a:lnTo>
                          <a:pt x="306" y="583"/>
                        </a:lnTo>
                        <a:lnTo>
                          <a:pt x="307" y="582"/>
                        </a:lnTo>
                        <a:lnTo>
                          <a:pt x="310" y="579"/>
                        </a:lnTo>
                        <a:lnTo>
                          <a:pt x="313" y="571"/>
                        </a:lnTo>
                        <a:lnTo>
                          <a:pt x="317" y="566"/>
                        </a:lnTo>
                        <a:lnTo>
                          <a:pt x="312" y="566"/>
                        </a:lnTo>
                        <a:lnTo>
                          <a:pt x="310" y="566"/>
                        </a:lnTo>
                        <a:lnTo>
                          <a:pt x="309" y="567"/>
                        </a:lnTo>
                        <a:lnTo>
                          <a:pt x="304" y="567"/>
                        </a:lnTo>
                        <a:lnTo>
                          <a:pt x="302" y="569"/>
                        </a:lnTo>
                        <a:lnTo>
                          <a:pt x="299" y="572"/>
                        </a:lnTo>
                        <a:lnTo>
                          <a:pt x="296" y="572"/>
                        </a:lnTo>
                        <a:lnTo>
                          <a:pt x="293" y="575"/>
                        </a:lnTo>
                        <a:lnTo>
                          <a:pt x="293" y="577"/>
                        </a:lnTo>
                        <a:lnTo>
                          <a:pt x="291" y="580"/>
                        </a:lnTo>
                        <a:lnTo>
                          <a:pt x="290" y="580"/>
                        </a:lnTo>
                        <a:lnTo>
                          <a:pt x="288" y="580"/>
                        </a:lnTo>
                        <a:lnTo>
                          <a:pt x="287" y="579"/>
                        </a:lnTo>
                        <a:lnTo>
                          <a:pt x="282" y="580"/>
                        </a:lnTo>
                        <a:lnTo>
                          <a:pt x="280" y="580"/>
                        </a:lnTo>
                        <a:lnTo>
                          <a:pt x="280" y="579"/>
                        </a:lnTo>
                        <a:lnTo>
                          <a:pt x="279" y="577"/>
                        </a:lnTo>
                        <a:lnTo>
                          <a:pt x="280" y="575"/>
                        </a:lnTo>
                        <a:lnTo>
                          <a:pt x="288" y="567"/>
                        </a:lnTo>
                        <a:lnTo>
                          <a:pt x="290" y="566"/>
                        </a:lnTo>
                        <a:lnTo>
                          <a:pt x="290" y="564"/>
                        </a:lnTo>
                        <a:lnTo>
                          <a:pt x="287" y="564"/>
                        </a:lnTo>
                        <a:lnTo>
                          <a:pt x="282" y="566"/>
                        </a:lnTo>
                        <a:lnTo>
                          <a:pt x="279" y="563"/>
                        </a:lnTo>
                        <a:lnTo>
                          <a:pt x="277" y="564"/>
                        </a:lnTo>
                        <a:lnTo>
                          <a:pt x="275" y="564"/>
                        </a:lnTo>
                        <a:lnTo>
                          <a:pt x="272" y="564"/>
                        </a:lnTo>
                        <a:lnTo>
                          <a:pt x="269" y="563"/>
                        </a:lnTo>
                        <a:lnTo>
                          <a:pt x="269" y="558"/>
                        </a:lnTo>
                        <a:lnTo>
                          <a:pt x="271" y="553"/>
                        </a:lnTo>
                        <a:lnTo>
                          <a:pt x="274" y="555"/>
                        </a:lnTo>
                        <a:lnTo>
                          <a:pt x="279" y="553"/>
                        </a:lnTo>
                        <a:lnTo>
                          <a:pt x="280" y="555"/>
                        </a:lnTo>
                        <a:lnTo>
                          <a:pt x="282" y="556"/>
                        </a:lnTo>
                        <a:lnTo>
                          <a:pt x="283" y="558"/>
                        </a:lnTo>
                        <a:lnTo>
                          <a:pt x="285" y="556"/>
                        </a:lnTo>
                        <a:lnTo>
                          <a:pt x="287" y="556"/>
                        </a:lnTo>
                        <a:lnTo>
                          <a:pt x="290" y="556"/>
                        </a:lnTo>
                        <a:lnTo>
                          <a:pt x="291" y="553"/>
                        </a:lnTo>
                        <a:lnTo>
                          <a:pt x="288" y="548"/>
                        </a:lnTo>
                        <a:lnTo>
                          <a:pt x="277" y="547"/>
                        </a:lnTo>
                        <a:lnTo>
                          <a:pt x="272" y="544"/>
                        </a:lnTo>
                        <a:lnTo>
                          <a:pt x="269" y="542"/>
                        </a:lnTo>
                        <a:lnTo>
                          <a:pt x="269" y="539"/>
                        </a:lnTo>
                        <a:lnTo>
                          <a:pt x="269" y="536"/>
                        </a:lnTo>
                        <a:lnTo>
                          <a:pt x="269" y="534"/>
                        </a:lnTo>
                        <a:lnTo>
                          <a:pt x="269" y="533"/>
                        </a:lnTo>
                        <a:lnTo>
                          <a:pt x="271" y="529"/>
                        </a:lnTo>
                        <a:lnTo>
                          <a:pt x="272" y="525"/>
                        </a:lnTo>
                        <a:lnTo>
                          <a:pt x="272" y="523"/>
                        </a:lnTo>
                        <a:lnTo>
                          <a:pt x="274" y="520"/>
                        </a:lnTo>
                        <a:lnTo>
                          <a:pt x="274" y="518"/>
                        </a:lnTo>
                        <a:lnTo>
                          <a:pt x="272" y="517"/>
                        </a:lnTo>
                        <a:lnTo>
                          <a:pt x="260" y="520"/>
                        </a:lnTo>
                        <a:lnTo>
                          <a:pt x="258" y="520"/>
                        </a:lnTo>
                        <a:lnTo>
                          <a:pt x="255" y="522"/>
                        </a:lnTo>
                        <a:lnTo>
                          <a:pt x="250" y="522"/>
                        </a:lnTo>
                        <a:lnTo>
                          <a:pt x="249" y="520"/>
                        </a:lnTo>
                        <a:lnTo>
                          <a:pt x="249" y="518"/>
                        </a:lnTo>
                        <a:lnTo>
                          <a:pt x="249" y="517"/>
                        </a:lnTo>
                        <a:lnTo>
                          <a:pt x="250" y="517"/>
                        </a:lnTo>
                        <a:lnTo>
                          <a:pt x="258" y="514"/>
                        </a:lnTo>
                        <a:lnTo>
                          <a:pt x="261" y="507"/>
                        </a:lnTo>
                        <a:lnTo>
                          <a:pt x="263" y="506"/>
                        </a:lnTo>
                        <a:lnTo>
                          <a:pt x="263" y="504"/>
                        </a:lnTo>
                        <a:lnTo>
                          <a:pt x="264" y="501"/>
                        </a:lnTo>
                        <a:lnTo>
                          <a:pt x="264" y="499"/>
                        </a:lnTo>
                        <a:lnTo>
                          <a:pt x="264" y="495"/>
                        </a:lnTo>
                        <a:lnTo>
                          <a:pt x="261" y="490"/>
                        </a:lnTo>
                        <a:lnTo>
                          <a:pt x="260" y="491"/>
                        </a:lnTo>
                        <a:lnTo>
                          <a:pt x="256" y="496"/>
                        </a:lnTo>
                        <a:lnTo>
                          <a:pt x="255" y="496"/>
                        </a:lnTo>
                        <a:lnTo>
                          <a:pt x="244" y="501"/>
                        </a:lnTo>
                        <a:lnTo>
                          <a:pt x="247" y="493"/>
                        </a:lnTo>
                        <a:lnTo>
                          <a:pt x="252" y="488"/>
                        </a:lnTo>
                        <a:lnTo>
                          <a:pt x="253" y="484"/>
                        </a:lnTo>
                        <a:lnTo>
                          <a:pt x="249" y="484"/>
                        </a:lnTo>
                        <a:lnTo>
                          <a:pt x="245" y="480"/>
                        </a:lnTo>
                        <a:lnTo>
                          <a:pt x="244" y="476"/>
                        </a:lnTo>
                        <a:lnTo>
                          <a:pt x="245" y="472"/>
                        </a:lnTo>
                        <a:lnTo>
                          <a:pt x="249" y="471"/>
                        </a:lnTo>
                        <a:lnTo>
                          <a:pt x="253" y="469"/>
                        </a:lnTo>
                        <a:lnTo>
                          <a:pt x="256" y="465"/>
                        </a:lnTo>
                        <a:lnTo>
                          <a:pt x="258" y="463"/>
                        </a:lnTo>
                        <a:lnTo>
                          <a:pt x="255" y="460"/>
                        </a:lnTo>
                        <a:lnTo>
                          <a:pt x="245" y="458"/>
                        </a:lnTo>
                        <a:lnTo>
                          <a:pt x="244" y="457"/>
                        </a:lnTo>
                        <a:lnTo>
                          <a:pt x="245" y="455"/>
                        </a:lnTo>
                        <a:lnTo>
                          <a:pt x="247" y="453"/>
                        </a:lnTo>
                        <a:lnTo>
                          <a:pt x="249" y="450"/>
                        </a:lnTo>
                        <a:lnTo>
                          <a:pt x="250" y="442"/>
                        </a:lnTo>
                        <a:lnTo>
                          <a:pt x="249" y="442"/>
                        </a:lnTo>
                        <a:lnTo>
                          <a:pt x="242" y="446"/>
                        </a:lnTo>
                        <a:lnTo>
                          <a:pt x="239" y="441"/>
                        </a:lnTo>
                        <a:lnTo>
                          <a:pt x="237" y="441"/>
                        </a:lnTo>
                        <a:lnTo>
                          <a:pt x="237" y="444"/>
                        </a:lnTo>
                        <a:lnTo>
                          <a:pt x="234" y="446"/>
                        </a:lnTo>
                        <a:lnTo>
                          <a:pt x="230" y="450"/>
                        </a:lnTo>
                        <a:lnTo>
                          <a:pt x="228" y="452"/>
                        </a:lnTo>
                        <a:lnTo>
                          <a:pt x="222" y="455"/>
                        </a:lnTo>
                        <a:lnTo>
                          <a:pt x="218" y="455"/>
                        </a:lnTo>
                        <a:lnTo>
                          <a:pt x="214" y="453"/>
                        </a:lnTo>
                        <a:lnTo>
                          <a:pt x="211" y="450"/>
                        </a:lnTo>
                        <a:lnTo>
                          <a:pt x="203" y="455"/>
                        </a:lnTo>
                        <a:lnTo>
                          <a:pt x="201" y="450"/>
                        </a:lnTo>
                        <a:lnTo>
                          <a:pt x="204" y="446"/>
                        </a:lnTo>
                        <a:lnTo>
                          <a:pt x="201" y="444"/>
                        </a:lnTo>
                        <a:lnTo>
                          <a:pt x="198" y="442"/>
                        </a:lnTo>
                        <a:lnTo>
                          <a:pt x="191" y="439"/>
                        </a:lnTo>
                        <a:lnTo>
                          <a:pt x="190" y="438"/>
                        </a:lnTo>
                        <a:lnTo>
                          <a:pt x="191" y="436"/>
                        </a:lnTo>
                        <a:lnTo>
                          <a:pt x="191" y="431"/>
                        </a:lnTo>
                        <a:lnTo>
                          <a:pt x="190" y="431"/>
                        </a:lnTo>
                        <a:lnTo>
                          <a:pt x="182" y="439"/>
                        </a:lnTo>
                        <a:lnTo>
                          <a:pt x="176" y="436"/>
                        </a:lnTo>
                        <a:lnTo>
                          <a:pt x="171" y="436"/>
                        </a:lnTo>
                        <a:lnTo>
                          <a:pt x="168" y="436"/>
                        </a:lnTo>
                        <a:lnTo>
                          <a:pt x="165" y="436"/>
                        </a:lnTo>
                        <a:lnTo>
                          <a:pt x="160" y="438"/>
                        </a:lnTo>
                        <a:lnTo>
                          <a:pt x="155" y="439"/>
                        </a:lnTo>
                        <a:lnTo>
                          <a:pt x="153" y="438"/>
                        </a:lnTo>
                        <a:lnTo>
                          <a:pt x="152" y="436"/>
                        </a:lnTo>
                        <a:lnTo>
                          <a:pt x="149" y="436"/>
                        </a:lnTo>
                        <a:lnTo>
                          <a:pt x="147" y="436"/>
                        </a:lnTo>
                        <a:lnTo>
                          <a:pt x="146" y="436"/>
                        </a:lnTo>
                        <a:lnTo>
                          <a:pt x="146" y="439"/>
                        </a:lnTo>
                        <a:lnTo>
                          <a:pt x="142" y="439"/>
                        </a:lnTo>
                        <a:lnTo>
                          <a:pt x="141" y="438"/>
                        </a:lnTo>
                        <a:lnTo>
                          <a:pt x="136" y="433"/>
                        </a:lnTo>
                        <a:lnTo>
                          <a:pt x="134" y="433"/>
                        </a:lnTo>
                        <a:lnTo>
                          <a:pt x="131" y="434"/>
                        </a:lnTo>
                        <a:lnTo>
                          <a:pt x="130" y="434"/>
                        </a:lnTo>
                        <a:lnTo>
                          <a:pt x="130" y="436"/>
                        </a:lnTo>
                        <a:lnTo>
                          <a:pt x="131" y="438"/>
                        </a:lnTo>
                        <a:lnTo>
                          <a:pt x="133" y="438"/>
                        </a:lnTo>
                        <a:lnTo>
                          <a:pt x="133" y="441"/>
                        </a:lnTo>
                        <a:lnTo>
                          <a:pt x="131" y="442"/>
                        </a:lnTo>
                        <a:lnTo>
                          <a:pt x="130" y="442"/>
                        </a:lnTo>
                        <a:lnTo>
                          <a:pt x="130" y="441"/>
                        </a:lnTo>
                        <a:lnTo>
                          <a:pt x="128" y="441"/>
                        </a:lnTo>
                        <a:lnTo>
                          <a:pt x="125" y="444"/>
                        </a:lnTo>
                        <a:lnTo>
                          <a:pt x="122" y="444"/>
                        </a:lnTo>
                        <a:lnTo>
                          <a:pt x="117" y="449"/>
                        </a:lnTo>
                        <a:lnTo>
                          <a:pt x="115" y="449"/>
                        </a:lnTo>
                        <a:lnTo>
                          <a:pt x="112" y="449"/>
                        </a:lnTo>
                        <a:lnTo>
                          <a:pt x="106" y="446"/>
                        </a:lnTo>
                        <a:lnTo>
                          <a:pt x="103" y="444"/>
                        </a:lnTo>
                        <a:lnTo>
                          <a:pt x="101" y="444"/>
                        </a:lnTo>
                        <a:lnTo>
                          <a:pt x="101" y="442"/>
                        </a:lnTo>
                        <a:lnTo>
                          <a:pt x="103" y="441"/>
                        </a:lnTo>
                        <a:lnTo>
                          <a:pt x="101" y="441"/>
                        </a:lnTo>
                        <a:lnTo>
                          <a:pt x="100" y="441"/>
                        </a:lnTo>
                        <a:lnTo>
                          <a:pt x="98" y="442"/>
                        </a:lnTo>
                        <a:lnTo>
                          <a:pt x="93" y="453"/>
                        </a:lnTo>
                        <a:lnTo>
                          <a:pt x="92" y="455"/>
                        </a:lnTo>
                        <a:lnTo>
                          <a:pt x="90" y="453"/>
                        </a:lnTo>
                        <a:lnTo>
                          <a:pt x="89" y="453"/>
                        </a:lnTo>
                        <a:lnTo>
                          <a:pt x="84" y="449"/>
                        </a:lnTo>
                        <a:lnTo>
                          <a:pt x="77" y="450"/>
                        </a:lnTo>
                        <a:lnTo>
                          <a:pt x="74" y="449"/>
                        </a:lnTo>
                        <a:lnTo>
                          <a:pt x="68" y="449"/>
                        </a:lnTo>
                        <a:lnTo>
                          <a:pt x="65" y="444"/>
                        </a:lnTo>
                        <a:lnTo>
                          <a:pt x="62" y="441"/>
                        </a:lnTo>
                        <a:lnTo>
                          <a:pt x="58" y="441"/>
                        </a:lnTo>
                        <a:lnTo>
                          <a:pt x="58" y="434"/>
                        </a:lnTo>
                        <a:lnTo>
                          <a:pt x="57" y="433"/>
                        </a:lnTo>
                        <a:lnTo>
                          <a:pt x="55" y="431"/>
                        </a:lnTo>
                        <a:lnTo>
                          <a:pt x="52" y="431"/>
                        </a:lnTo>
                        <a:lnTo>
                          <a:pt x="49" y="433"/>
                        </a:lnTo>
                        <a:lnTo>
                          <a:pt x="47" y="433"/>
                        </a:lnTo>
                        <a:lnTo>
                          <a:pt x="46" y="430"/>
                        </a:lnTo>
                        <a:lnTo>
                          <a:pt x="44" y="425"/>
                        </a:lnTo>
                        <a:lnTo>
                          <a:pt x="44" y="423"/>
                        </a:lnTo>
                        <a:lnTo>
                          <a:pt x="44" y="422"/>
                        </a:lnTo>
                        <a:lnTo>
                          <a:pt x="41" y="420"/>
                        </a:lnTo>
                        <a:lnTo>
                          <a:pt x="35" y="419"/>
                        </a:lnTo>
                        <a:lnTo>
                          <a:pt x="30" y="417"/>
                        </a:lnTo>
                        <a:lnTo>
                          <a:pt x="28" y="414"/>
                        </a:lnTo>
                        <a:lnTo>
                          <a:pt x="28" y="412"/>
                        </a:lnTo>
                        <a:lnTo>
                          <a:pt x="32" y="411"/>
                        </a:lnTo>
                        <a:lnTo>
                          <a:pt x="32" y="409"/>
                        </a:lnTo>
                        <a:lnTo>
                          <a:pt x="32" y="407"/>
                        </a:lnTo>
                        <a:lnTo>
                          <a:pt x="33" y="407"/>
                        </a:lnTo>
                        <a:lnTo>
                          <a:pt x="32" y="406"/>
                        </a:lnTo>
                        <a:lnTo>
                          <a:pt x="30" y="403"/>
                        </a:lnTo>
                        <a:lnTo>
                          <a:pt x="30" y="400"/>
                        </a:lnTo>
                        <a:lnTo>
                          <a:pt x="28" y="398"/>
                        </a:lnTo>
                        <a:lnTo>
                          <a:pt x="24" y="398"/>
                        </a:lnTo>
                        <a:lnTo>
                          <a:pt x="22" y="400"/>
                        </a:lnTo>
                        <a:lnTo>
                          <a:pt x="19" y="398"/>
                        </a:lnTo>
                        <a:lnTo>
                          <a:pt x="17" y="396"/>
                        </a:lnTo>
                        <a:lnTo>
                          <a:pt x="19" y="393"/>
                        </a:lnTo>
                        <a:lnTo>
                          <a:pt x="11" y="379"/>
                        </a:lnTo>
                        <a:lnTo>
                          <a:pt x="9" y="377"/>
                        </a:lnTo>
                        <a:lnTo>
                          <a:pt x="6" y="374"/>
                        </a:lnTo>
                        <a:lnTo>
                          <a:pt x="5" y="373"/>
                        </a:lnTo>
                        <a:lnTo>
                          <a:pt x="5" y="368"/>
                        </a:lnTo>
                        <a:lnTo>
                          <a:pt x="3" y="369"/>
                        </a:lnTo>
                        <a:lnTo>
                          <a:pt x="0" y="369"/>
                        </a:lnTo>
                        <a:lnTo>
                          <a:pt x="0" y="368"/>
                        </a:lnTo>
                        <a:lnTo>
                          <a:pt x="1" y="366"/>
                        </a:lnTo>
                        <a:lnTo>
                          <a:pt x="0" y="363"/>
                        </a:lnTo>
                        <a:lnTo>
                          <a:pt x="0" y="362"/>
                        </a:lnTo>
                        <a:lnTo>
                          <a:pt x="0" y="360"/>
                        </a:lnTo>
                        <a:lnTo>
                          <a:pt x="0" y="357"/>
                        </a:lnTo>
                        <a:lnTo>
                          <a:pt x="3" y="352"/>
                        </a:lnTo>
                        <a:lnTo>
                          <a:pt x="3" y="350"/>
                        </a:lnTo>
                        <a:lnTo>
                          <a:pt x="1" y="347"/>
                        </a:lnTo>
                        <a:lnTo>
                          <a:pt x="1" y="346"/>
                        </a:lnTo>
                        <a:lnTo>
                          <a:pt x="3" y="344"/>
                        </a:lnTo>
                        <a:lnTo>
                          <a:pt x="5" y="343"/>
                        </a:lnTo>
                        <a:lnTo>
                          <a:pt x="5" y="341"/>
                        </a:lnTo>
                        <a:lnTo>
                          <a:pt x="5" y="339"/>
                        </a:lnTo>
                        <a:lnTo>
                          <a:pt x="6" y="339"/>
                        </a:lnTo>
                        <a:lnTo>
                          <a:pt x="6" y="338"/>
                        </a:lnTo>
                        <a:lnTo>
                          <a:pt x="9" y="335"/>
                        </a:lnTo>
                        <a:lnTo>
                          <a:pt x="11" y="333"/>
                        </a:lnTo>
                        <a:lnTo>
                          <a:pt x="12" y="328"/>
                        </a:lnTo>
                        <a:lnTo>
                          <a:pt x="14" y="327"/>
                        </a:lnTo>
                        <a:lnTo>
                          <a:pt x="14" y="325"/>
                        </a:lnTo>
                        <a:lnTo>
                          <a:pt x="16" y="319"/>
                        </a:lnTo>
                        <a:lnTo>
                          <a:pt x="17" y="317"/>
                        </a:lnTo>
                        <a:lnTo>
                          <a:pt x="20" y="311"/>
                        </a:lnTo>
                        <a:lnTo>
                          <a:pt x="22" y="305"/>
                        </a:lnTo>
                        <a:lnTo>
                          <a:pt x="25" y="293"/>
                        </a:lnTo>
                        <a:lnTo>
                          <a:pt x="27" y="290"/>
                        </a:lnTo>
                        <a:lnTo>
                          <a:pt x="28" y="289"/>
                        </a:lnTo>
                        <a:lnTo>
                          <a:pt x="30" y="287"/>
                        </a:lnTo>
                        <a:lnTo>
                          <a:pt x="32" y="284"/>
                        </a:lnTo>
                        <a:lnTo>
                          <a:pt x="30" y="278"/>
                        </a:lnTo>
                        <a:lnTo>
                          <a:pt x="27" y="273"/>
                        </a:lnTo>
                        <a:lnTo>
                          <a:pt x="32" y="265"/>
                        </a:lnTo>
                        <a:lnTo>
                          <a:pt x="32" y="262"/>
                        </a:lnTo>
                        <a:lnTo>
                          <a:pt x="32" y="260"/>
                        </a:lnTo>
                        <a:lnTo>
                          <a:pt x="32" y="259"/>
                        </a:lnTo>
                        <a:lnTo>
                          <a:pt x="32" y="257"/>
                        </a:lnTo>
                        <a:lnTo>
                          <a:pt x="28" y="255"/>
                        </a:lnTo>
                        <a:lnTo>
                          <a:pt x="25" y="254"/>
                        </a:lnTo>
                        <a:lnTo>
                          <a:pt x="24" y="252"/>
                        </a:lnTo>
                        <a:lnTo>
                          <a:pt x="22" y="251"/>
                        </a:lnTo>
                        <a:lnTo>
                          <a:pt x="22" y="246"/>
                        </a:lnTo>
                        <a:lnTo>
                          <a:pt x="22" y="244"/>
                        </a:lnTo>
                        <a:lnTo>
                          <a:pt x="24" y="243"/>
                        </a:lnTo>
                        <a:lnTo>
                          <a:pt x="24" y="233"/>
                        </a:lnTo>
                        <a:lnTo>
                          <a:pt x="24" y="224"/>
                        </a:lnTo>
                        <a:lnTo>
                          <a:pt x="25" y="187"/>
                        </a:lnTo>
                        <a:lnTo>
                          <a:pt x="25" y="186"/>
                        </a:lnTo>
                        <a:lnTo>
                          <a:pt x="27" y="184"/>
                        </a:lnTo>
                        <a:lnTo>
                          <a:pt x="30" y="176"/>
                        </a:lnTo>
                        <a:lnTo>
                          <a:pt x="27" y="162"/>
                        </a:lnTo>
                        <a:lnTo>
                          <a:pt x="28" y="162"/>
                        </a:lnTo>
                        <a:lnTo>
                          <a:pt x="32" y="160"/>
                        </a:lnTo>
                        <a:lnTo>
                          <a:pt x="36" y="159"/>
                        </a:lnTo>
                        <a:lnTo>
                          <a:pt x="39" y="159"/>
                        </a:lnTo>
                        <a:lnTo>
                          <a:pt x="41" y="156"/>
                        </a:lnTo>
                        <a:lnTo>
                          <a:pt x="43" y="156"/>
                        </a:lnTo>
                        <a:lnTo>
                          <a:pt x="43" y="152"/>
                        </a:lnTo>
                        <a:lnTo>
                          <a:pt x="43" y="148"/>
                        </a:lnTo>
                        <a:lnTo>
                          <a:pt x="44" y="143"/>
                        </a:lnTo>
                        <a:lnTo>
                          <a:pt x="44" y="141"/>
                        </a:lnTo>
                        <a:lnTo>
                          <a:pt x="46" y="140"/>
                        </a:lnTo>
                        <a:lnTo>
                          <a:pt x="46" y="135"/>
                        </a:lnTo>
                        <a:lnTo>
                          <a:pt x="47" y="133"/>
                        </a:lnTo>
                        <a:lnTo>
                          <a:pt x="49" y="130"/>
                        </a:lnTo>
                        <a:lnTo>
                          <a:pt x="51" y="129"/>
                        </a:lnTo>
                        <a:lnTo>
                          <a:pt x="51" y="127"/>
                        </a:lnTo>
                        <a:lnTo>
                          <a:pt x="52" y="126"/>
                        </a:lnTo>
                        <a:lnTo>
                          <a:pt x="55" y="122"/>
                        </a:lnTo>
                        <a:lnTo>
                          <a:pt x="57" y="114"/>
                        </a:lnTo>
                        <a:lnTo>
                          <a:pt x="58" y="105"/>
                        </a:lnTo>
                        <a:lnTo>
                          <a:pt x="57" y="102"/>
                        </a:lnTo>
                        <a:lnTo>
                          <a:pt x="55" y="100"/>
                        </a:lnTo>
                        <a:lnTo>
                          <a:pt x="54" y="97"/>
                        </a:lnTo>
                        <a:lnTo>
                          <a:pt x="52" y="97"/>
                        </a:lnTo>
                        <a:lnTo>
                          <a:pt x="51" y="95"/>
                        </a:lnTo>
                        <a:lnTo>
                          <a:pt x="46" y="94"/>
                        </a:lnTo>
                        <a:lnTo>
                          <a:pt x="44" y="92"/>
                        </a:lnTo>
                        <a:lnTo>
                          <a:pt x="43" y="92"/>
                        </a:lnTo>
                        <a:lnTo>
                          <a:pt x="33" y="72"/>
                        </a:lnTo>
                        <a:lnTo>
                          <a:pt x="33" y="54"/>
                        </a:lnTo>
                        <a:lnTo>
                          <a:pt x="30" y="49"/>
                        </a:lnTo>
                        <a:lnTo>
                          <a:pt x="30" y="37"/>
                        </a:lnTo>
                        <a:lnTo>
                          <a:pt x="28" y="35"/>
                        </a:lnTo>
                        <a:lnTo>
                          <a:pt x="24" y="34"/>
                        </a:lnTo>
                        <a:lnTo>
                          <a:pt x="22" y="34"/>
                        </a:lnTo>
                        <a:lnTo>
                          <a:pt x="19" y="32"/>
                        </a:lnTo>
                        <a:lnTo>
                          <a:pt x="17" y="30"/>
                        </a:lnTo>
                        <a:lnTo>
                          <a:pt x="17" y="29"/>
                        </a:lnTo>
                        <a:lnTo>
                          <a:pt x="17" y="27"/>
                        </a:lnTo>
                        <a:lnTo>
                          <a:pt x="19" y="26"/>
                        </a:lnTo>
                        <a:lnTo>
                          <a:pt x="19" y="21"/>
                        </a:lnTo>
                        <a:lnTo>
                          <a:pt x="19" y="18"/>
                        </a:lnTo>
                        <a:lnTo>
                          <a:pt x="19" y="16"/>
                        </a:lnTo>
                        <a:lnTo>
                          <a:pt x="14" y="2"/>
                        </a:lnTo>
                        <a:lnTo>
                          <a:pt x="27" y="0"/>
                        </a:lnTo>
                        <a:lnTo>
                          <a:pt x="44" y="0"/>
                        </a:lnTo>
                        <a:lnTo>
                          <a:pt x="51" y="0"/>
                        </a:lnTo>
                        <a:lnTo>
                          <a:pt x="55" y="0"/>
                        </a:lnTo>
                        <a:lnTo>
                          <a:pt x="57" y="2"/>
                        </a:lnTo>
                        <a:lnTo>
                          <a:pt x="63" y="2"/>
                        </a:lnTo>
                        <a:lnTo>
                          <a:pt x="66" y="4"/>
                        </a:lnTo>
                        <a:lnTo>
                          <a:pt x="71" y="7"/>
                        </a:lnTo>
                        <a:lnTo>
                          <a:pt x="74" y="8"/>
                        </a:lnTo>
                        <a:lnTo>
                          <a:pt x="77" y="11"/>
                        </a:lnTo>
                        <a:lnTo>
                          <a:pt x="79" y="13"/>
                        </a:lnTo>
                        <a:lnTo>
                          <a:pt x="74" y="13"/>
                        </a:lnTo>
                        <a:lnTo>
                          <a:pt x="74" y="15"/>
                        </a:lnTo>
                        <a:lnTo>
                          <a:pt x="76" y="16"/>
                        </a:lnTo>
                        <a:lnTo>
                          <a:pt x="76" y="18"/>
                        </a:lnTo>
                        <a:lnTo>
                          <a:pt x="77" y="18"/>
                        </a:lnTo>
                        <a:lnTo>
                          <a:pt x="79" y="19"/>
                        </a:lnTo>
                        <a:lnTo>
                          <a:pt x="81" y="21"/>
                        </a:lnTo>
                        <a:lnTo>
                          <a:pt x="81" y="23"/>
                        </a:lnTo>
                        <a:lnTo>
                          <a:pt x="82" y="23"/>
                        </a:lnTo>
                        <a:lnTo>
                          <a:pt x="84" y="24"/>
                        </a:lnTo>
                        <a:lnTo>
                          <a:pt x="85" y="26"/>
                        </a:lnTo>
                        <a:lnTo>
                          <a:pt x="87" y="27"/>
                        </a:lnTo>
                        <a:lnTo>
                          <a:pt x="89" y="29"/>
                        </a:lnTo>
                        <a:lnTo>
                          <a:pt x="90" y="29"/>
                        </a:lnTo>
                        <a:lnTo>
                          <a:pt x="93" y="30"/>
                        </a:lnTo>
                        <a:lnTo>
                          <a:pt x="95" y="32"/>
                        </a:lnTo>
                        <a:lnTo>
                          <a:pt x="96" y="34"/>
                        </a:lnTo>
                        <a:lnTo>
                          <a:pt x="98" y="34"/>
                        </a:lnTo>
                        <a:lnTo>
                          <a:pt x="100" y="34"/>
                        </a:lnTo>
                        <a:lnTo>
                          <a:pt x="101" y="35"/>
                        </a:lnTo>
                        <a:lnTo>
                          <a:pt x="103" y="37"/>
                        </a:lnTo>
                        <a:lnTo>
                          <a:pt x="104" y="38"/>
                        </a:lnTo>
                        <a:lnTo>
                          <a:pt x="106" y="38"/>
                        </a:lnTo>
                        <a:lnTo>
                          <a:pt x="108" y="40"/>
                        </a:lnTo>
                        <a:lnTo>
                          <a:pt x="109" y="40"/>
                        </a:lnTo>
                        <a:lnTo>
                          <a:pt x="112" y="40"/>
                        </a:lnTo>
                        <a:lnTo>
                          <a:pt x="114" y="42"/>
                        </a:lnTo>
                        <a:lnTo>
                          <a:pt x="115" y="42"/>
                        </a:lnTo>
                        <a:lnTo>
                          <a:pt x="117" y="43"/>
                        </a:lnTo>
                        <a:lnTo>
                          <a:pt x="119" y="45"/>
                        </a:lnTo>
                        <a:lnTo>
                          <a:pt x="120" y="45"/>
                        </a:lnTo>
                        <a:lnTo>
                          <a:pt x="122" y="45"/>
                        </a:lnTo>
                        <a:lnTo>
                          <a:pt x="123" y="46"/>
                        </a:lnTo>
                        <a:lnTo>
                          <a:pt x="125" y="48"/>
                        </a:lnTo>
                        <a:lnTo>
                          <a:pt x="128" y="48"/>
                        </a:lnTo>
                        <a:lnTo>
                          <a:pt x="130" y="49"/>
                        </a:lnTo>
                        <a:lnTo>
                          <a:pt x="131" y="49"/>
                        </a:lnTo>
                        <a:lnTo>
                          <a:pt x="133" y="51"/>
                        </a:lnTo>
                        <a:lnTo>
                          <a:pt x="134" y="51"/>
                        </a:lnTo>
                        <a:lnTo>
                          <a:pt x="136" y="53"/>
                        </a:lnTo>
                        <a:lnTo>
                          <a:pt x="138" y="54"/>
                        </a:lnTo>
                        <a:lnTo>
                          <a:pt x="139" y="56"/>
                        </a:lnTo>
                        <a:lnTo>
                          <a:pt x="141" y="56"/>
                        </a:lnTo>
                        <a:lnTo>
                          <a:pt x="142" y="57"/>
                        </a:lnTo>
                        <a:lnTo>
                          <a:pt x="144" y="57"/>
                        </a:lnTo>
                        <a:lnTo>
                          <a:pt x="144" y="59"/>
                        </a:lnTo>
                        <a:lnTo>
                          <a:pt x="146" y="59"/>
                        </a:lnTo>
                        <a:lnTo>
                          <a:pt x="147" y="61"/>
                        </a:lnTo>
                        <a:lnTo>
                          <a:pt x="149" y="62"/>
                        </a:lnTo>
                        <a:lnTo>
                          <a:pt x="150" y="62"/>
                        </a:lnTo>
                        <a:lnTo>
                          <a:pt x="152" y="64"/>
                        </a:lnTo>
                        <a:lnTo>
                          <a:pt x="152" y="65"/>
                        </a:lnTo>
                        <a:lnTo>
                          <a:pt x="153" y="67"/>
                        </a:lnTo>
                        <a:lnTo>
                          <a:pt x="153" y="69"/>
                        </a:lnTo>
                        <a:lnTo>
                          <a:pt x="155" y="70"/>
                        </a:lnTo>
                        <a:lnTo>
                          <a:pt x="155" y="72"/>
                        </a:lnTo>
                        <a:lnTo>
                          <a:pt x="155" y="73"/>
                        </a:lnTo>
                        <a:lnTo>
                          <a:pt x="155" y="75"/>
                        </a:lnTo>
                        <a:lnTo>
                          <a:pt x="157" y="76"/>
                        </a:lnTo>
                        <a:lnTo>
                          <a:pt x="157" y="78"/>
                        </a:lnTo>
                        <a:lnTo>
                          <a:pt x="157" y="80"/>
                        </a:lnTo>
                        <a:lnTo>
                          <a:pt x="157" y="81"/>
                        </a:lnTo>
                        <a:lnTo>
                          <a:pt x="157" y="83"/>
                        </a:lnTo>
                        <a:lnTo>
                          <a:pt x="157" y="84"/>
                        </a:lnTo>
                        <a:lnTo>
                          <a:pt x="157" y="86"/>
                        </a:lnTo>
                        <a:lnTo>
                          <a:pt x="157" y="88"/>
                        </a:lnTo>
                        <a:lnTo>
                          <a:pt x="157" y="89"/>
                        </a:lnTo>
                        <a:lnTo>
                          <a:pt x="157" y="91"/>
                        </a:lnTo>
                        <a:lnTo>
                          <a:pt x="158" y="92"/>
                        </a:lnTo>
                        <a:lnTo>
                          <a:pt x="158" y="94"/>
                        </a:lnTo>
                        <a:lnTo>
                          <a:pt x="158" y="95"/>
                        </a:lnTo>
                        <a:lnTo>
                          <a:pt x="158" y="97"/>
                        </a:lnTo>
                        <a:lnTo>
                          <a:pt x="158" y="100"/>
                        </a:lnTo>
                        <a:lnTo>
                          <a:pt x="158" y="102"/>
                        </a:lnTo>
                        <a:lnTo>
                          <a:pt x="158" y="103"/>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83" name="Freeform 82"/>
                  <p:cNvSpPr>
                    <a:spLocks/>
                  </p:cNvSpPr>
                  <p:nvPr/>
                </p:nvSpPr>
                <p:spPr bwMode="auto">
                  <a:xfrm>
                    <a:off x="4480" y="2189"/>
                    <a:ext cx="919" cy="1023"/>
                  </a:xfrm>
                  <a:custGeom>
                    <a:avLst/>
                    <a:gdLst>
                      <a:gd name="T0" fmla="*/ 399 w 919"/>
                      <a:gd name="T1" fmla="*/ 36 h 1023"/>
                      <a:gd name="T2" fmla="*/ 409 w 919"/>
                      <a:gd name="T3" fmla="*/ 79 h 1023"/>
                      <a:gd name="T4" fmla="*/ 467 w 919"/>
                      <a:gd name="T5" fmla="*/ 101 h 1023"/>
                      <a:gd name="T6" fmla="*/ 444 w 919"/>
                      <a:gd name="T7" fmla="*/ 125 h 1023"/>
                      <a:gd name="T8" fmla="*/ 429 w 919"/>
                      <a:gd name="T9" fmla="*/ 161 h 1023"/>
                      <a:gd name="T10" fmla="*/ 486 w 919"/>
                      <a:gd name="T11" fmla="*/ 190 h 1023"/>
                      <a:gd name="T12" fmla="*/ 528 w 919"/>
                      <a:gd name="T13" fmla="*/ 247 h 1023"/>
                      <a:gd name="T14" fmla="*/ 542 w 919"/>
                      <a:gd name="T15" fmla="*/ 283 h 1023"/>
                      <a:gd name="T16" fmla="*/ 505 w 919"/>
                      <a:gd name="T17" fmla="*/ 294 h 1023"/>
                      <a:gd name="T18" fmla="*/ 482 w 919"/>
                      <a:gd name="T19" fmla="*/ 320 h 1023"/>
                      <a:gd name="T20" fmla="*/ 467 w 919"/>
                      <a:gd name="T21" fmla="*/ 380 h 1023"/>
                      <a:gd name="T22" fmla="*/ 505 w 919"/>
                      <a:gd name="T23" fmla="*/ 424 h 1023"/>
                      <a:gd name="T24" fmla="*/ 562 w 919"/>
                      <a:gd name="T25" fmla="*/ 475 h 1023"/>
                      <a:gd name="T26" fmla="*/ 627 w 919"/>
                      <a:gd name="T27" fmla="*/ 476 h 1023"/>
                      <a:gd name="T28" fmla="*/ 669 w 919"/>
                      <a:gd name="T29" fmla="*/ 481 h 1023"/>
                      <a:gd name="T30" fmla="*/ 805 w 919"/>
                      <a:gd name="T31" fmla="*/ 537 h 1023"/>
                      <a:gd name="T32" fmla="*/ 870 w 919"/>
                      <a:gd name="T33" fmla="*/ 535 h 1023"/>
                      <a:gd name="T34" fmla="*/ 881 w 919"/>
                      <a:gd name="T35" fmla="*/ 616 h 1023"/>
                      <a:gd name="T36" fmla="*/ 916 w 919"/>
                      <a:gd name="T37" fmla="*/ 728 h 1023"/>
                      <a:gd name="T38" fmla="*/ 890 w 919"/>
                      <a:gd name="T39" fmla="*/ 755 h 1023"/>
                      <a:gd name="T40" fmla="*/ 901 w 919"/>
                      <a:gd name="T41" fmla="*/ 803 h 1023"/>
                      <a:gd name="T42" fmla="*/ 900 w 919"/>
                      <a:gd name="T43" fmla="*/ 842 h 1023"/>
                      <a:gd name="T44" fmla="*/ 860 w 919"/>
                      <a:gd name="T45" fmla="*/ 906 h 1023"/>
                      <a:gd name="T46" fmla="*/ 821 w 919"/>
                      <a:gd name="T47" fmla="*/ 937 h 1023"/>
                      <a:gd name="T48" fmla="*/ 578 w 919"/>
                      <a:gd name="T49" fmla="*/ 899 h 1023"/>
                      <a:gd name="T50" fmla="*/ 385 w 919"/>
                      <a:gd name="T51" fmla="*/ 858 h 1023"/>
                      <a:gd name="T52" fmla="*/ 336 w 919"/>
                      <a:gd name="T53" fmla="*/ 917 h 1023"/>
                      <a:gd name="T54" fmla="*/ 247 w 919"/>
                      <a:gd name="T55" fmla="*/ 958 h 1023"/>
                      <a:gd name="T56" fmla="*/ 162 w 919"/>
                      <a:gd name="T57" fmla="*/ 997 h 1023"/>
                      <a:gd name="T58" fmla="*/ 132 w 919"/>
                      <a:gd name="T59" fmla="*/ 972 h 1023"/>
                      <a:gd name="T60" fmla="*/ 127 w 919"/>
                      <a:gd name="T61" fmla="*/ 945 h 1023"/>
                      <a:gd name="T62" fmla="*/ 130 w 919"/>
                      <a:gd name="T63" fmla="*/ 909 h 1023"/>
                      <a:gd name="T64" fmla="*/ 105 w 919"/>
                      <a:gd name="T65" fmla="*/ 883 h 1023"/>
                      <a:gd name="T66" fmla="*/ 89 w 919"/>
                      <a:gd name="T67" fmla="*/ 858 h 1023"/>
                      <a:gd name="T68" fmla="*/ 108 w 919"/>
                      <a:gd name="T69" fmla="*/ 811 h 1023"/>
                      <a:gd name="T70" fmla="*/ 132 w 919"/>
                      <a:gd name="T71" fmla="*/ 761 h 1023"/>
                      <a:gd name="T72" fmla="*/ 171 w 919"/>
                      <a:gd name="T73" fmla="*/ 706 h 1023"/>
                      <a:gd name="T74" fmla="*/ 205 w 919"/>
                      <a:gd name="T75" fmla="*/ 716 h 1023"/>
                      <a:gd name="T76" fmla="*/ 209 w 919"/>
                      <a:gd name="T77" fmla="*/ 671 h 1023"/>
                      <a:gd name="T78" fmla="*/ 173 w 919"/>
                      <a:gd name="T79" fmla="*/ 644 h 1023"/>
                      <a:gd name="T80" fmla="*/ 125 w 919"/>
                      <a:gd name="T81" fmla="*/ 608 h 1023"/>
                      <a:gd name="T82" fmla="*/ 83 w 919"/>
                      <a:gd name="T83" fmla="*/ 609 h 1023"/>
                      <a:gd name="T84" fmla="*/ 30 w 919"/>
                      <a:gd name="T85" fmla="*/ 567 h 1023"/>
                      <a:gd name="T86" fmla="*/ 24 w 919"/>
                      <a:gd name="T87" fmla="*/ 478 h 1023"/>
                      <a:gd name="T88" fmla="*/ 46 w 919"/>
                      <a:gd name="T89" fmla="*/ 432 h 1023"/>
                      <a:gd name="T90" fmla="*/ 125 w 919"/>
                      <a:gd name="T91" fmla="*/ 415 h 1023"/>
                      <a:gd name="T92" fmla="*/ 152 w 919"/>
                      <a:gd name="T93" fmla="*/ 389 h 1023"/>
                      <a:gd name="T94" fmla="*/ 212 w 919"/>
                      <a:gd name="T95" fmla="*/ 334 h 1023"/>
                      <a:gd name="T96" fmla="*/ 274 w 919"/>
                      <a:gd name="T97" fmla="*/ 335 h 1023"/>
                      <a:gd name="T98" fmla="*/ 296 w 919"/>
                      <a:gd name="T99" fmla="*/ 305 h 1023"/>
                      <a:gd name="T100" fmla="*/ 293 w 919"/>
                      <a:gd name="T101" fmla="*/ 270 h 1023"/>
                      <a:gd name="T102" fmla="*/ 290 w 919"/>
                      <a:gd name="T103" fmla="*/ 236 h 1023"/>
                      <a:gd name="T104" fmla="*/ 254 w 919"/>
                      <a:gd name="T105" fmla="*/ 190 h 1023"/>
                      <a:gd name="T106" fmla="*/ 225 w 919"/>
                      <a:gd name="T107" fmla="*/ 137 h 1023"/>
                      <a:gd name="T108" fmla="*/ 222 w 919"/>
                      <a:gd name="T109" fmla="*/ 95 h 1023"/>
                      <a:gd name="T110" fmla="*/ 178 w 919"/>
                      <a:gd name="T111" fmla="*/ 57 h 1023"/>
                      <a:gd name="T112" fmla="*/ 182 w 919"/>
                      <a:gd name="T113" fmla="*/ 14 h 1023"/>
                      <a:gd name="T114" fmla="*/ 222 w 919"/>
                      <a:gd name="T115" fmla="*/ 31 h 1023"/>
                      <a:gd name="T116" fmla="*/ 262 w 919"/>
                      <a:gd name="T117" fmla="*/ 42 h 1023"/>
                      <a:gd name="T118" fmla="*/ 300 w 919"/>
                      <a:gd name="T119" fmla="*/ 44 h 1023"/>
                      <a:gd name="T120" fmla="*/ 333 w 919"/>
                      <a:gd name="T121" fmla="*/ 20 h 1023"/>
                      <a:gd name="T122" fmla="*/ 368 w 919"/>
                      <a:gd name="T123" fmla="*/ 7 h 1023"/>
                      <a:gd name="T124" fmla="*/ 396 w 919"/>
                      <a:gd name="T125" fmla="*/ 6 h 1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19" h="1023">
                        <a:moveTo>
                          <a:pt x="401" y="3"/>
                        </a:moveTo>
                        <a:lnTo>
                          <a:pt x="403" y="3"/>
                        </a:lnTo>
                        <a:lnTo>
                          <a:pt x="404" y="1"/>
                        </a:lnTo>
                        <a:lnTo>
                          <a:pt x="406" y="1"/>
                        </a:lnTo>
                        <a:lnTo>
                          <a:pt x="407" y="1"/>
                        </a:lnTo>
                        <a:lnTo>
                          <a:pt x="409" y="1"/>
                        </a:lnTo>
                        <a:lnTo>
                          <a:pt x="407" y="3"/>
                        </a:lnTo>
                        <a:lnTo>
                          <a:pt x="406" y="4"/>
                        </a:lnTo>
                        <a:lnTo>
                          <a:pt x="406" y="6"/>
                        </a:lnTo>
                        <a:lnTo>
                          <a:pt x="404" y="7"/>
                        </a:lnTo>
                        <a:lnTo>
                          <a:pt x="403" y="9"/>
                        </a:lnTo>
                        <a:lnTo>
                          <a:pt x="403" y="11"/>
                        </a:lnTo>
                        <a:lnTo>
                          <a:pt x="403" y="12"/>
                        </a:lnTo>
                        <a:lnTo>
                          <a:pt x="403" y="14"/>
                        </a:lnTo>
                        <a:lnTo>
                          <a:pt x="403" y="15"/>
                        </a:lnTo>
                        <a:lnTo>
                          <a:pt x="403" y="17"/>
                        </a:lnTo>
                        <a:lnTo>
                          <a:pt x="403" y="19"/>
                        </a:lnTo>
                        <a:lnTo>
                          <a:pt x="403" y="20"/>
                        </a:lnTo>
                        <a:lnTo>
                          <a:pt x="404" y="22"/>
                        </a:lnTo>
                        <a:lnTo>
                          <a:pt x="404" y="23"/>
                        </a:lnTo>
                        <a:lnTo>
                          <a:pt x="404" y="25"/>
                        </a:lnTo>
                        <a:lnTo>
                          <a:pt x="403" y="25"/>
                        </a:lnTo>
                        <a:lnTo>
                          <a:pt x="403" y="26"/>
                        </a:lnTo>
                        <a:lnTo>
                          <a:pt x="401" y="26"/>
                        </a:lnTo>
                        <a:lnTo>
                          <a:pt x="401" y="28"/>
                        </a:lnTo>
                        <a:lnTo>
                          <a:pt x="399" y="30"/>
                        </a:lnTo>
                        <a:lnTo>
                          <a:pt x="399" y="31"/>
                        </a:lnTo>
                        <a:lnTo>
                          <a:pt x="398" y="33"/>
                        </a:lnTo>
                        <a:lnTo>
                          <a:pt x="398" y="34"/>
                        </a:lnTo>
                        <a:lnTo>
                          <a:pt x="399" y="34"/>
                        </a:lnTo>
                        <a:lnTo>
                          <a:pt x="399" y="36"/>
                        </a:lnTo>
                        <a:lnTo>
                          <a:pt x="399" y="38"/>
                        </a:lnTo>
                        <a:lnTo>
                          <a:pt x="398" y="38"/>
                        </a:lnTo>
                        <a:lnTo>
                          <a:pt x="398" y="39"/>
                        </a:lnTo>
                        <a:lnTo>
                          <a:pt x="398" y="41"/>
                        </a:lnTo>
                        <a:lnTo>
                          <a:pt x="396" y="42"/>
                        </a:lnTo>
                        <a:lnTo>
                          <a:pt x="396" y="44"/>
                        </a:lnTo>
                        <a:lnTo>
                          <a:pt x="396" y="45"/>
                        </a:lnTo>
                        <a:lnTo>
                          <a:pt x="398" y="47"/>
                        </a:lnTo>
                        <a:lnTo>
                          <a:pt x="398" y="49"/>
                        </a:lnTo>
                        <a:lnTo>
                          <a:pt x="398" y="50"/>
                        </a:lnTo>
                        <a:lnTo>
                          <a:pt x="396" y="50"/>
                        </a:lnTo>
                        <a:lnTo>
                          <a:pt x="396" y="52"/>
                        </a:lnTo>
                        <a:lnTo>
                          <a:pt x="395" y="53"/>
                        </a:lnTo>
                        <a:lnTo>
                          <a:pt x="395" y="55"/>
                        </a:lnTo>
                        <a:lnTo>
                          <a:pt x="395" y="57"/>
                        </a:lnTo>
                        <a:lnTo>
                          <a:pt x="395" y="58"/>
                        </a:lnTo>
                        <a:lnTo>
                          <a:pt x="395" y="60"/>
                        </a:lnTo>
                        <a:lnTo>
                          <a:pt x="393" y="61"/>
                        </a:lnTo>
                        <a:lnTo>
                          <a:pt x="393" y="63"/>
                        </a:lnTo>
                        <a:lnTo>
                          <a:pt x="393" y="64"/>
                        </a:lnTo>
                        <a:lnTo>
                          <a:pt x="395" y="64"/>
                        </a:lnTo>
                        <a:lnTo>
                          <a:pt x="395" y="66"/>
                        </a:lnTo>
                        <a:lnTo>
                          <a:pt x="395" y="68"/>
                        </a:lnTo>
                        <a:lnTo>
                          <a:pt x="396" y="68"/>
                        </a:lnTo>
                        <a:lnTo>
                          <a:pt x="396" y="69"/>
                        </a:lnTo>
                        <a:lnTo>
                          <a:pt x="398" y="71"/>
                        </a:lnTo>
                        <a:lnTo>
                          <a:pt x="399" y="74"/>
                        </a:lnTo>
                        <a:lnTo>
                          <a:pt x="401" y="76"/>
                        </a:lnTo>
                        <a:lnTo>
                          <a:pt x="404" y="77"/>
                        </a:lnTo>
                        <a:lnTo>
                          <a:pt x="406" y="79"/>
                        </a:lnTo>
                        <a:lnTo>
                          <a:pt x="409" y="79"/>
                        </a:lnTo>
                        <a:lnTo>
                          <a:pt x="412" y="79"/>
                        </a:lnTo>
                        <a:lnTo>
                          <a:pt x="415" y="79"/>
                        </a:lnTo>
                        <a:lnTo>
                          <a:pt x="418" y="79"/>
                        </a:lnTo>
                        <a:lnTo>
                          <a:pt x="422" y="79"/>
                        </a:lnTo>
                        <a:lnTo>
                          <a:pt x="425" y="77"/>
                        </a:lnTo>
                        <a:lnTo>
                          <a:pt x="428" y="77"/>
                        </a:lnTo>
                        <a:lnTo>
                          <a:pt x="431" y="77"/>
                        </a:lnTo>
                        <a:lnTo>
                          <a:pt x="434" y="77"/>
                        </a:lnTo>
                        <a:lnTo>
                          <a:pt x="437" y="77"/>
                        </a:lnTo>
                        <a:lnTo>
                          <a:pt x="441" y="77"/>
                        </a:lnTo>
                        <a:lnTo>
                          <a:pt x="442" y="79"/>
                        </a:lnTo>
                        <a:lnTo>
                          <a:pt x="444" y="80"/>
                        </a:lnTo>
                        <a:lnTo>
                          <a:pt x="445" y="82"/>
                        </a:lnTo>
                        <a:lnTo>
                          <a:pt x="447" y="82"/>
                        </a:lnTo>
                        <a:lnTo>
                          <a:pt x="448" y="84"/>
                        </a:lnTo>
                        <a:lnTo>
                          <a:pt x="450" y="84"/>
                        </a:lnTo>
                        <a:lnTo>
                          <a:pt x="452" y="85"/>
                        </a:lnTo>
                        <a:lnTo>
                          <a:pt x="453" y="85"/>
                        </a:lnTo>
                        <a:lnTo>
                          <a:pt x="453" y="88"/>
                        </a:lnTo>
                        <a:lnTo>
                          <a:pt x="455" y="88"/>
                        </a:lnTo>
                        <a:lnTo>
                          <a:pt x="455" y="90"/>
                        </a:lnTo>
                        <a:lnTo>
                          <a:pt x="456" y="91"/>
                        </a:lnTo>
                        <a:lnTo>
                          <a:pt x="458" y="91"/>
                        </a:lnTo>
                        <a:lnTo>
                          <a:pt x="460" y="93"/>
                        </a:lnTo>
                        <a:lnTo>
                          <a:pt x="461" y="95"/>
                        </a:lnTo>
                        <a:lnTo>
                          <a:pt x="463" y="96"/>
                        </a:lnTo>
                        <a:lnTo>
                          <a:pt x="464" y="96"/>
                        </a:lnTo>
                        <a:lnTo>
                          <a:pt x="464" y="98"/>
                        </a:lnTo>
                        <a:lnTo>
                          <a:pt x="466" y="99"/>
                        </a:lnTo>
                        <a:lnTo>
                          <a:pt x="467" y="99"/>
                        </a:lnTo>
                        <a:lnTo>
                          <a:pt x="467" y="101"/>
                        </a:lnTo>
                        <a:lnTo>
                          <a:pt x="467" y="103"/>
                        </a:lnTo>
                        <a:lnTo>
                          <a:pt x="466" y="103"/>
                        </a:lnTo>
                        <a:lnTo>
                          <a:pt x="466" y="104"/>
                        </a:lnTo>
                        <a:lnTo>
                          <a:pt x="466" y="106"/>
                        </a:lnTo>
                        <a:lnTo>
                          <a:pt x="464" y="106"/>
                        </a:lnTo>
                        <a:lnTo>
                          <a:pt x="464" y="107"/>
                        </a:lnTo>
                        <a:lnTo>
                          <a:pt x="463" y="107"/>
                        </a:lnTo>
                        <a:lnTo>
                          <a:pt x="461" y="107"/>
                        </a:lnTo>
                        <a:lnTo>
                          <a:pt x="461" y="109"/>
                        </a:lnTo>
                        <a:lnTo>
                          <a:pt x="461" y="110"/>
                        </a:lnTo>
                        <a:lnTo>
                          <a:pt x="461" y="112"/>
                        </a:lnTo>
                        <a:lnTo>
                          <a:pt x="460" y="112"/>
                        </a:lnTo>
                        <a:lnTo>
                          <a:pt x="460" y="114"/>
                        </a:lnTo>
                        <a:lnTo>
                          <a:pt x="458" y="114"/>
                        </a:lnTo>
                        <a:lnTo>
                          <a:pt x="458" y="115"/>
                        </a:lnTo>
                        <a:lnTo>
                          <a:pt x="458" y="117"/>
                        </a:lnTo>
                        <a:lnTo>
                          <a:pt x="456" y="117"/>
                        </a:lnTo>
                        <a:lnTo>
                          <a:pt x="456" y="118"/>
                        </a:lnTo>
                        <a:lnTo>
                          <a:pt x="455" y="117"/>
                        </a:lnTo>
                        <a:lnTo>
                          <a:pt x="453" y="117"/>
                        </a:lnTo>
                        <a:lnTo>
                          <a:pt x="453" y="118"/>
                        </a:lnTo>
                        <a:lnTo>
                          <a:pt x="452" y="118"/>
                        </a:lnTo>
                        <a:lnTo>
                          <a:pt x="452" y="120"/>
                        </a:lnTo>
                        <a:lnTo>
                          <a:pt x="452" y="122"/>
                        </a:lnTo>
                        <a:lnTo>
                          <a:pt x="452" y="123"/>
                        </a:lnTo>
                        <a:lnTo>
                          <a:pt x="450" y="123"/>
                        </a:lnTo>
                        <a:lnTo>
                          <a:pt x="450" y="125"/>
                        </a:lnTo>
                        <a:lnTo>
                          <a:pt x="448" y="125"/>
                        </a:lnTo>
                        <a:lnTo>
                          <a:pt x="448" y="126"/>
                        </a:lnTo>
                        <a:lnTo>
                          <a:pt x="447" y="126"/>
                        </a:lnTo>
                        <a:lnTo>
                          <a:pt x="444" y="125"/>
                        </a:lnTo>
                        <a:lnTo>
                          <a:pt x="444" y="126"/>
                        </a:lnTo>
                        <a:lnTo>
                          <a:pt x="444" y="128"/>
                        </a:lnTo>
                        <a:lnTo>
                          <a:pt x="444" y="129"/>
                        </a:lnTo>
                        <a:lnTo>
                          <a:pt x="444" y="131"/>
                        </a:lnTo>
                        <a:lnTo>
                          <a:pt x="442" y="131"/>
                        </a:lnTo>
                        <a:lnTo>
                          <a:pt x="441" y="131"/>
                        </a:lnTo>
                        <a:lnTo>
                          <a:pt x="439" y="134"/>
                        </a:lnTo>
                        <a:lnTo>
                          <a:pt x="439" y="136"/>
                        </a:lnTo>
                        <a:lnTo>
                          <a:pt x="439" y="137"/>
                        </a:lnTo>
                        <a:lnTo>
                          <a:pt x="439" y="139"/>
                        </a:lnTo>
                        <a:lnTo>
                          <a:pt x="439" y="141"/>
                        </a:lnTo>
                        <a:lnTo>
                          <a:pt x="439" y="142"/>
                        </a:lnTo>
                        <a:lnTo>
                          <a:pt x="437" y="142"/>
                        </a:lnTo>
                        <a:lnTo>
                          <a:pt x="437" y="144"/>
                        </a:lnTo>
                        <a:lnTo>
                          <a:pt x="437" y="145"/>
                        </a:lnTo>
                        <a:lnTo>
                          <a:pt x="436" y="147"/>
                        </a:lnTo>
                        <a:lnTo>
                          <a:pt x="434" y="147"/>
                        </a:lnTo>
                        <a:lnTo>
                          <a:pt x="433" y="147"/>
                        </a:lnTo>
                        <a:lnTo>
                          <a:pt x="431" y="147"/>
                        </a:lnTo>
                        <a:lnTo>
                          <a:pt x="431" y="148"/>
                        </a:lnTo>
                        <a:lnTo>
                          <a:pt x="429" y="150"/>
                        </a:lnTo>
                        <a:lnTo>
                          <a:pt x="431" y="152"/>
                        </a:lnTo>
                        <a:lnTo>
                          <a:pt x="429" y="153"/>
                        </a:lnTo>
                        <a:lnTo>
                          <a:pt x="429" y="155"/>
                        </a:lnTo>
                        <a:lnTo>
                          <a:pt x="431" y="155"/>
                        </a:lnTo>
                        <a:lnTo>
                          <a:pt x="429" y="156"/>
                        </a:lnTo>
                        <a:lnTo>
                          <a:pt x="429" y="158"/>
                        </a:lnTo>
                        <a:lnTo>
                          <a:pt x="428" y="158"/>
                        </a:lnTo>
                        <a:lnTo>
                          <a:pt x="428" y="160"/>
                        </a:lnTo>
                        <a:lnTo>
                          <a:pt x="429" y="160"/>
                        </a:lnTo>
                        <a:lnTo>
                          <a:pt x="429" y="161"/>
                        </a:lnTo>
                        <a:lnTo>
                          <a:pt x="431" y="161"/>
                        </a:lnTo>
                        <a:lnTo>
                          <a:pt x="431" y="163"/>
                        </a:lnTo>
                        <a:lnTo>
                          <a:pt x="429" y="164"/>
                        </a:lnTo>
                        <a:lnTo>
                          <a:pt x="429" y="166"/>
                        </a:lnTo>
                        <a:lnTo>
                          <a:pt x="429" y="167"/>
                        </a:lnTo>
                        <a:lnTo>
                          <a:pt x="428" y="169"/>
                        </a:lnTo>
                        <a:lnTo>
                          <a:pt x="429" y="171"/>
                        </a:lnTo>
                        <a:lnTo>
                          <a:pt x="431" y="171"/>
                        </a:lnTo>
                        <a:lnTo>
                          <a:pt x="433" y="171"/>
                        </a:lnTo>
                        <a:lnTo>
                          <a:pt x="433" y="172"/>
                        </a:lnTo>
                        <a:lnTo>
                          <a:pt x="434" y="172"/>
                        </a:lnTo>
                        <a:lnTo>
                          <a:pt x="436" y="172"/>
                        </a:lnTo>
                        <a:lnTo>
                          <a:pt x="437" y="174"/>
                        </a:lnTo>
                        <a:lnTo>
                          <a:pt x="437" y="175"/>
                        </a:lnTo>
                        <a:lnTo>
                          <a:pt x="439" y="175"/>
                        </a:lnTo>
                        <a:lnTo>
                          <a:pt x="441" y="175"/>
                        </a:lnTo>
                        <a:lnTo>
                          <a:pt x="447" y="177"/>
                        </a:lnTo>
                        <a:lnTo>
                          <a:pt x="453" y="179"/>
                        </a:lnTo>
                        <a:lnTo>
                          <a:pt x="456" y="179"/>
                        </a:lnTo>
                        <a:lnTo>
                          <a:pt x="458" y="179"/>
                        </a:lnTo>
                        <a:lnTo>
                          <a:pt x="460" y="180"/>
                        </a:lnTo>
                        <a:lnTo>
                          <a:pt x="463" y="182"/>
                        </a:lnTo>
                        <a:lnTo>
                          <a:pt x="466" y="182"/>
                        </a:lnTo>
                        <a:lnTo>
                          <a:pt x="467" y="183"/>
                        </a:lnTo>
                        <a:lnTo>
                          <a:pt x="471" y="185"/>
                        </a:lnTo>
                        <a:lnTo>
                          <a:pt x="474" y="185"/>
                        </a:lnTo>
                        <a:lnTo>
                          <a:pt x="479" y="186"/>
                        </a:lnTo>
                        <a:lnTo>
                          <a:pt x="480" y="186"/>
                        </a:lnTo>
                        <a:lnTo>
                          <a:pt x="483" y="188"/>
                        </a:lnTo>
                        <a:lnTo>
                          <a:pt x="485" y="188"/>
                        </a:lnTo>
                        <a:lnTo>
                          <a:pt x="486" y="190"/>
                        </a:lnTo>
                        <a:lnTo>
                          <a:pt x="488" y="190"/>
                        </a:lnTo>
                        <a:lnTo>
                          <a:pt x="490" y="191"/>
                        </a:lnTo>
                        <a:lnTo>
                          <a:pt x="491" y="191"/>
                        </a:lnTo>
                        <a:lnTo>
                          <a:pt x="493" y="193"/>
                        </a:lnTo>
                        <a:lnTo>
                          <a:pt x="494" y="196"/>
                        </a:lnTo>
                        <a:lnTo>
                          <a:pt x="496" y="196"/>
                        </a:lnTo>
                        <a:lnTo>
                          <a:pt x="498" y="199"/>
                        </a:lnTo>
                        <a:lnTo>
                          <a:pt x="498" y="201"/>
                        </a:lnTo>
                        <a:lnTo>
                          <a:pt x="499" y="202"/>
                        </a:lnTo>
                        <a:lnTo>
                          <a:pt x="499" y="204"/>
                        </a:lnTo>
                        <a:lnTo>
                          <a:pt x="501" y="207"/>
                        </a:lnTo>
                        <a:lnTo>
                          <a:pt x="502" y="210"/>
                        </a:lnTo>
                        <a:lnTo>
                          <a:pt x="504" y="213"/>
                        </a:lnTo>
                        <a:lnTo>
                          <a:pt x="507" y="215"/>
                        </a:lnTo>
                        <a:lnTo>
                          <a:pt x="509" y="217"/>
                        </a:lnTo>
                        <a:lnTo>
                          <a:pt x="512" y="218"/>
                        </a:lnTo>
                        <a:lnTo>
                          <a:pt x="515" y="218"/>
                        </a:lnTo>
                        <a:lnTo>
                          <a:pt x="517" y="218"/>
                        </a:lnTo>
                        <a:lnTo>
                          <a:pt x="520" y="218"/>
                        </a:lnTo>
                        <a:lnTo>
                          <a:pt x="521" y="220"/>
                        </a:lnTo>
                        <a:lnTo>
                          <a:pt x="523" y="223"/>
                        </a:lnTo>
                        <a:lnTo>
                          <a:pt x="524" y="224"/>
                        </a:lnTo>
                        <a:lnTo>
                          <a:pt x="524" y="228"/>
                        </a:lnTo>
                        <a:lnTo>
                          <a:pt x="524" y="229"/>
                        </a:lnTo>
                        <a:lnTo>
                          <a:pt x="524" y="232"/>
                        </a:lnTo>
                        <a:lnTo>
                          <a:pt x="524" y="234"/>
                        </a:lnTo>
                        <a:lnTo>
                          <a:pt x="526" y="236"/>
                        </a:lnTo>
                        <a:lnTo>
                          <a:pt x="526" y="237"/>
                        </a:lnTo>
                        <a:lnTo>
                          <a:pt x="528" y="242"/>
                        </a:lnTo>
                        <a:lnTo>
                          <a:pt x="528" y="243"/>
                        </a:lnTo>
                        <a:lnTo>
                          <a:pt x="528" y="247"/>
                        </a:lnTo>
                        <a:lnTo>
                          <a:pt x="529" y="250"/>
                        </a:lnTo>
                        <a:lnTo>
                          <a:pt x="532" y="250"/>
                        </a:lnTo>
                        <a:lnTo>
                          <a:pt x="536" y="250"/>
                        </a:lnTo>
                        <a:lnTo>
                          <a:pt x="537" y="250"/>
                        </a:lnTo>
                        <a:lnTo>
                          <a:pt x="540" y="251"/>
                        </a:lnTo>
                        <a:lnTo>
                          <a:pt x="542" y="251"/>
                        </a:lnTo>
                        <a:lnTo>
                          <a:pt x="543" y="255"/>
                        </a:lnTo>
                        <a:lnTo>
                          <a:pt x="545" y="256"/>
                        </a:lnTo>
                        <a:lnTo>
                          <a:pt x="545" y="258"/>
                        </a:lnTo>
                        <a:lnTo>
                          <a:pt x="547" y="259"/>
                        </a:lnTo>
                        <a:lnTo>
                          <a:pt x="548" y="263"/>
                        </a:lnTo>
                        <a:lnTo>
                          <a:pt x="548" y="264"/>
                        </a:lnTo>
                        <a:lnTo>
                          <a:pt x="550" y="266"/>
                        </a:lnTo>
                        <a:lnTo>
                          <a:pt x="551" y="269"/>
                        </a:lnTo>
                        <a:lnTo>
                          <a:pt x="551" y="270"/>
                        </a:lnTo>
                        <a:lnTo>
                          <a:pt x="553" y="274"/>
                        </a:lnTo>
                        <a:lnTo>
                          <a:pt x="555" y="274"/>
                        </a:lnTo>
                        <a:lnTo>
                          <a:pt x="555" y="275"/>
                        </a:lnTo>
                        <a:lnTo>
                          <a:pt x="553" y="275"/>
                        </a:lnTo>
                        <a:lnTo>
                          <a:pt x="553" y="277"/>
                        </a:lnTo>
                        <a:lnTo>
                          <a:pt x="551" y="277"/>
                        </a:lnTo>
                        <a:lnTo>
                          <a:pt x="551" y="278"/>
                        </a:lnTo>
                        <a:lnTo>
                          <a:pt x="550" y="278"/>
                        </a:lnTo>
                        <a:lnTo>
                          <a:pt x="550" y="280"/>
                        </a:lnTo>
                        <a:lnTo>
                          <a:pt x="548" y="280"/>
                        </a:lnTo>
                        <a:lnTo>
                          <a:pt x="548" y="282"/>
                        </a:lnTo>
                        <a:lnTo>
                          <a:pt x="547" y="282"/>
                        </a:lnTo>
                        <a:lnTo>
                          <a:pt x="545" y="282"/>
                        </a:lnTo>
                        <a:lnTo>
                          <a:pt x="543" y="282"/>
                        </a:lnTo>
                        <a:lnTo>
                          <a:pt x="543" y="283"/>
                        </a:lnTo>
                        <a:lnTo>
                          <a:pt x="542" y="283"/>
                        </a:lnTo>
                        <a:lnTo>
                          <a:pt x="540" y="283"/>
                        </a:lnTo>
                        <a:lnTo>
                          <a:pt x="539" y="285"/>
                        </a:lnTo>
                        <a:lnTo>
                          <a:pt x="537" y="285"/>
                        </a:lnTo>
                        <a:lnTo>
                          <a:pt x="536" y="285"/>
                        </a:lnTo>
                        <a:lnTo>
                          <a:pt x="534" y="285"/>
                        </a:lnTo>
                        <a:lnTo>
                          <a:pt x="532" y="285"/>
                        </a:lnTo>
                        <a:lnTo>
                          <a:pt x="531" y="285"/>
                        </a:lnTo>
                        <a:lnTo>
                          <a:pt x="529" y="285"/>
                        </a:lnTo>
                        <a:lnTo>
                          <a:pt x="528" y="285"/>
                        </a:lnTo>
                        <a:lnTo>
                          <a:pt x="526" y="283"/>
                        </a:lnTo>
                        <a:lnTo>
                          <a:pt x="524" y="285"/>
                        </a:lnTo>
                        <a:lnTo>
                          <a:pt x="523" y="286"/>
                        </a:lnTo>
                        <a:lnTo>
                          <a:pt x="523" y="288"/>
                        </a:lnTo>
                        <a:lnTo>
                          <a:pt x="523" y="289"/>
                        </a:lnTo>
                        <a:lnTo>
                          <a:pt x="521" y="291"/>
                        </a:lnTo>
                        <a:lnTo>
                          <a:pt x="521" y="293"/>
                        </a:lnTo>
                        <a:lnTo>
                          <a:pt x="521" y="294"/>
                        </a:lnTo>
                        <a:lnTo>
                          <a:pt x="521" y="296"/>
                        </a:lnTo>
                        <a:lnTo>
                          <a:pt x="521" y="297"/>
                        </a:lnTo>
                        <a:lnTo>
                          <a:pt x="520" y="297"/>
                        </a:lnTo>
                        <a:lnTo>
                          <a:pt x="520" y="299"/>
                        </a:lnTo>
                        <a:lnTo>
                          <a:pt x="520" y="301"/>
                        </a:lnTo>
                        <a:lnTo>
                          <a:pt x="517" y="299"/>
                        </a:lnTo>
                        <a:lnTo>
                          <a:pt x="515" y="299"/>
                        </a:lnTo>
                        <a:lnTo>
                          <a:pt x="513" y="297"/>
                        </a:lnTo>
                        <a:lnTo>
                          <a:pt x="512" y="297"/>
                        </a:lnTo>
                        <a:lnTo>
                          <a:pt x="510" y="297"/>
                        </a:lnTo>
                        <a:lnTo>
                          <a:pt x="509" y="297"/>
                        </a:lnTo>
                        <a:lnTo>
                          <a:pt x="509" y="296"/>
                        </a:lnTo>
                        <a:lnTo>
                          <a:pt x="507" y="296"/>
                        </a:lnTo>
                        <a:lnTo>
                          <a:pt x="505" y="294"/>
                        </a:lnTo>
                        <a:lnTo>
                          <a:pt x="504" y="294"/>
                        </a:lnTo>
                        <a:lnTo>
                          <a:pt x="502" y="294"/>
                        </a:lnTo>
                        <a:lnTo>
                          <a:pt x="501" y="294"/>
                        </a:lnTo>
                        <a:lnTo>
                          <a:pt x="499" y="293"/>
                        </a:lnTo>
                        <a:lnTo>
                          <a:pt x="498" y="293"/>
                        </a:lnTo>
                        <a:lnTo>
                          <a:pt x="496" y="293"/>
                        </a:lnTo>
                        <a:lnTo>
                          <a:pt x="494" y="293"/>
                        </a:lnTo>
                        <a:lnTo>
                          <a:pt x="493" y="293"/>
                        </a:lnTo>
                        <a:lnTo>
                          <a:pt x="493" y="294"/>
                        </a:lnTo>
                        <a:lnTo>
                          <a:pt x="491" y="294"/>
                        </a:lnTo>
                        <a:lnTo>
                          <a:pt x="491" y="293"/>
                        </a:lnTo>
                        <a:lnTo>
                          <a:pt x="490" y="294"/>
                        </a:lnTo>
                        <a:lnTo>
                          <a:pt x="488" y="294"/>
                        </a:lnTo>
                        <a:lnTo>
                          <a:pt x="486" y="296"/>
                        </a:lnTo>
                        <a:lnTo>
                          <a:pt x="485" y="297"/>
                        </a:lnTo>
                        <a:lnTo>
                          <a:pt x="483" y="299"/>
                        </a:lnTo>
                        <a:lnTo>
                          <a:pt x="482" y="301"/>
                        </a:lnTo>
                        <a:lnTo>
                          <a:pt x="480" y="301"/>
                        </a:lnTo>
                        <a:lnTo>
                          <a:pt x="480" y="302"/>
                        </a:lnTo>
                        <a:lnTo>
                          <a:pt x="479" y="302"/>
                        </a:lnTo>
                        <a:lnTo>
                          <a:pt x="479" y="304"/>
                        </a:lnTo>
                        <a:lnTo>
                          <a:pt x="480" y="305"/>
                        </a:lnTo>
                        <a:lnTo>
                          <a:pt x="480" y="307"/>
                        </a:lnTo>
                        <a:lnTo>
                          <a:pt x="480" y="308"/>
                        </a:lnTo>
                        <a:lnTo>
                          <a:pt x="482" y="310"/>
                        </a:lnTo>
                        <a:lnTo>
                          <a:pt x="483" y="312"/>
                        </a:lnTo>
                        <a:lnTo>
                          <a:pt x="483" y="313"/>
                        </a:lnTo>
                        <a:lnTo>
                          <a:pt x="483" y="315"/>
                        </a:lnTo>
                        <a:lnTo>
                          <a:pt x="483" y="316"/>
                        </a:lnTo>
                        <a:lnTo>
                          <a:pt x="482" y="318"/>
                        </a:lnTo>
                        <a:lnTo>
                          <a:pt x="482" y="320"/>
                        </a:lnTo>
                        <a:lnTo>
                          <a:pt x="480" y="321"/>
                        </a:lnTo>
                        <a:lnTo>
                          <a:pt x="479" y="323"/>
                        </a:lnTo>
                        <a:lnTo>
                          <a:pt x="479" y="324"/>
                        </a:lnTo>
                        <a:lnTo>
                          <a:pt x="477" y="327"/>
                        </a:lnTo>
                        <a:lnTo>
                          <a:pt x="477" y="329"/>
                        </a:lnTo>
                        <a:lnTo>
                          <a:pt x="477" y="332"/>
                        </a:lnTo>
                        <a:lnTo>
                          <a:pt x="477" y="334"/>
                        </a:lnTo>
                        <a:lnTo>
                          <a:pt x="477" y="337"/>
                        </a:lnTo>
                        <a:lnTo>
                          <a:pt x="477" y="340"/>
                        </a:lnTo>
                        <a:lnTo>
                          <a:pt x="477" y="342"/>
                        </a:lnTo>
                        <a:lnTo>
                          <a:pt x="477" y="345"/>
                        </a:lnTo>
                        <a:lnTo>
                          <a:pt x="475" y="345"/>
                        </a:lnTo>
                        <a:lnTo>
                          <a:pt x="475" y="346"/>
                        </a:lnTo>
                        <a:lnTo>
                          <a:pt x="477" y="348"/>
                        </a:lnTo>
                        <a:lnTo>
                          <a:pt x="477" y="351"/>
                        </a:lnTo>
                        <a:lnTo>
                          <a:pt x="477" y="353"/>
                        </a:lnTo>
                        <a:lnTo>
                          <a:pt x="475" y="354"/>
                        </a:lnTo>
                        <a:lnTo>
                          <a:pt x="474" y="358"/>
                        </a:lnTo>
                        <a:lnTo>
                          <a:pt x="472" y="359"/>
                        </a:lnTo>
                        <a:lnTo>
                          <a:pt x="472" y="361"/>
                        </a:lnTo>
                        <a:lnTo>
                          <a:pt x="471" y="364"/>
                        </a:lnTo>
                        <a:lnTo>
                          <a:pt x="471" y="365"/>
                        </a:lnTo>
                        <a:lnTo>
                          <a:pt x="471" y="367"/>
                        </a:lnTo>
                        <a:lnTo>
                          <a:pt x="471" y="369"/>
                        </a:lnTo>
                        <a:lnTo>
                          <a:pt x="472" y="370"/>
                        </a:lnTo>
                        <a:lnTo>
                          <a:pt x="472" y="372"/>
                        </a:lnTo>
                        <a:lnTo>
                          <a:pt x="472" y="373"/>
                        </a:lnTo>
                        <a:lnTo>
                          <a:pt x="471" y="375"/>
                        </a:lnTo>
                        <a:lnTo>
                          <a:pt x="471" y="377"/>
                        </a:lnTo>
                        <a:lnTo>
                          <a:pt x="469" y="378"/>
                        </a:lnTo>
                        <a:lnTo>
                          <a:pt x="467" y="380"/>
                        </a:lnTo>
                        <a:lnTo>
                          <a:pt x="466" y="381"/>
                        </a:lnTo>
                        <a:lnTo>
                          <a:pt x="467" y="383"/>
                        </a:lnTo>
                        <a:lnTo>
                          <a:pt x="467" y="384"/>
                        </a:lnTo>
                        <a:lnTo>
                          <a:pt x="469" y="386"/>
                        </a:lnTo>
                        <a:lnTo>
                          <a:pt x="469" y="388"/>
                        </a:lnTo>
                        <a:lnTo>
                          <a:pt x="471" y="389"/>
                        </a:lnTo>
                        <a:lnTo>
                          <a:pt x="475" y="389"/>
                        </a:lnTo>
                        <a:lnTo>
                          <a:pt x="479" y="391"/>
                        </a:lnTo>
                        <a:lnTo>
                          <a:pt x="480" y="391"/>
                        </a:lnTo>
                        <a:lnTo>
                          <a:pt x="482" y="391"/>
                        </a:lnTo>
                        <a:lnTo>
                          <a:pt x="483" y="391"/>
                        </a:lnTo>
                        <a:lnTo>
                          <a:pt x="485" y="392"/>
                        </a:lnTo>
                        <a:lnTo>
                          <a:pt x="486" y="396"/>
                        </a:lnTo>
                        <a:lnTo>
                          <a:pt x="488" y="397"/>
                        </a:lnTo>
                        <a:lnTo>
                          <a:pt x="488" y="399"/>
                        </a:lnTo>
                        <a:lnTo>
                          <a:pt x="488" y="400"/>
                        </a:lnTo>
                        <a:lnTo>
                          <a:pt x="488" y="402"/>
                        </a:lnTo>
                        <a:lnTo>
                          <a:pt x="488" y="403"/>
                        </a:lnTo>
                        <a:lnTo>
                          <a:pt x="488" y="405"/>
                        </a:lnTo>
                        <a:lnTo>
                          <a:pt x="488" y="408"/>
                        </a:lnTo>
                        <a:lnTo>
                          <a:pt x="490" y="410"/>
                        </a:lnTo>
                        <a:lnTo>
                          <a:pt x="490" y="411"/>
                        </a:lnTo>
                        <a:lnTo>
                          <a:pt x="490" y="413"/>
                        </a:lnTo>
                        <a:lnTo>
                          <a:pt x="490" y="416"/>
                        </a:lnTo>
                        <a:lnTo>
                          <a:pt x="490" y="418"/>
                        </a:lnTo>
                        <a:lnTo>
                          <a:pt x="491" y="419"/>
                        </a:lnTo>
                        <a:lnTo>
                          <a:pt x="496" y="419"/>
                        </a:lnTo>
                        <a:lnTo>
                          <a:pt x="498" y="421"/>
                        </a:lnTo>
                        <a:lnTo>
                          <a:pt x="501" y="421"/>
                        </a:lnTo>
                        <a:lnTo>
                          <a:pt x="502" y="422"/>
                        </a:lnTo>
                        <a:lnTo>
                          <a:pt x="505" y="424"/>
                        </a:lnTo>
                        <a:lnTo>
                          <a:pt x="507" y="424"/>
                        </a:lnTo>
                        <a:lnTo>
                          <a:pt x="509" y="424"/>
                        </a:lnTo>
                        <a:lnTo>
                          <a:pt x="510" y="424"/>
                        </a:lnTo>
                        <a:lnTo>
                          <a:pt x="512" y="424"/>
                        </a:lnTo>
                        <a:lnTo>
                          <a:pt x="515" y="422"/>
                        </a:lnTo>
                        <a:lnTo>
                          <a:pt x="518" y="421"/>
                        </a:lnTo>
                        <a:lnTo>
                          <a:pt x="523" y="419"/>
                        </a:lnTo>
                        <a:lnTo>
                          <a:pt x="529" y="418"/>
                        </a:lnTo>
                        <a:lnTo>
                          <a:pt x="531" y="418"/>
                        </a:lnTo>
                        <a:lnTo>
                          <a:pt x="534" y="418"/>
                        </a:lnTo>
                        <a:lnTo>
                          <a:pt x="539" y="419"/>
                        </a:lnTo>
                        <a:lnTo>
                          <a:pt x="540" y="419"/>
                        </a:lnTo>
                        <a:lnTo>
                          <a:pt x="543" y="421"/>
                        </a:lnTo>
                        <a:lnTo>
                          <a:pt x="545" y="422"/>
                        </a:lnTo>
                        <a:lnTo>
                          <a:pt x="547" y="426"/>
                        </a:lnTo>
                        <a:lnTo>
                          <a:pt x="550" y="429"/>
                        </a:lnTo>
                        <a:lnTo>
                          <a:pt x="551" y="430"/>
                        </a:lnTo>
                        <a:lnTo>
                          <a:pt x="551" y="432"/>
                        </a:lnTo>
                        <a:lnTo>
                          <a:pt x="553" y="432"/>
                        </a:lnTo>
                        <a:lnTo>
                          <a:pt x="553" y="434"/>
                        </a:lnTo>
                        <a:lnTo>
                          <a:pt x="555" y="435"/>
                        </a:lnTo>
                        <a:lnTo>
                          <a:pt x="556" y="435"/>
                        </a:lnTo>
                        <a:lnTo>
                          <a:pt x="556" y="440"/>
                        </a:lnTo>
                        <a:lnTo>
                          <a:pt x="558" y="445"/>
                        </a:lnTo>
                        <a:lnTo>
                          <a:pt x="558" y="448"/>
                        </a:lnTo>
                        <a:lnTo>
                          <a:pt x="558" y="453"/>
                        </a:lnTo>
                        <a:lnTo>
                          <a:pt x="559" y="457"/>
                        </a:lnTo>
                        <a:lnTo>
                          <a:pt x="561" y="464"/>
                        </a:lnTo>
                        <a:lnTo>
                          <a:pt x="561" y="467"/>
                        </a:lnTo>
                        <a:lnTo>
                          <a:pt x="562" y="472"/>
                        </a:lnTo>
                        <a:lnTo>
                          <a:pt x="562" y="475"/>
                        </a:lnTo>
                        <a:lnTo>
                          <a:pt x="564" y="480"/>
                        </a:lnTo>
                        <a:lnTo>
                          <a:pt x="564" y="483"/>
                        </a:lnTo>
                        <a:lnTo>
                          <a:pt x="566" y="489"/>
                        </a:lnTo>
                        <a:lnTo>
                          <a:pt x="566" y="492"/>
                        </a:lnTo>
                        <a:lnTo>
                          <a:pt x="567" y="500"/>
                        </a:lnTo>
                        <a:lnTo>
                          <a:pt x="569" y="500"/>
                        </a:lnTo>
                        <a:lnTo>
                          <a:pt x="574" y="499"/>
                        </a:lnTo>
                        <a:lnTo>
                          <a:pt x="578" y="497"/>
                        </a:lnTo>
                        <a:lnTo>
                          <a:pt x="583" y="495"/>
                        </a:lnTo>
                        <a:lnTo>
                          <a:pt x="585" y="492"/>
                        </a:lnTo>
                        <a:lnTo>
                          <a:pt x="586" y="489"/>
                        </a:lnTo>
                        <a:lnTo>
                          <a:pt x="586" y="486"/>
                        </a:lnTo>
                        <a:lnTo>
                          <a:pt x="585" y="483"/>
                        </a:lnTo>
                        <a:lnTo>
                          <a:pt x="585" y="478"/>
                        </a:lnTo>
                        <a:lnTo>
                          <a:pt x="585" y="476"/>
                        </a:lnTo>
                        <a:lnTo>
                          <a:pt x="586" y="473"/>
                        </a:lnTo>
                        <a:lnTo>
                          <a:pt x="588" y="472"/>
                        </a:lnTo>
                        <a:lnTo>
                          <a:pt x="589" y="468"/>
                        </a:lnTo>
                        <a:lnTo>
                          <a:pt x="594" y="465"/>
                        </a:lnTo>
                        <a:lnTo>
                          <a:pt x="596" y="465"/>
                        </a:lnTo>
                        <a:lnTo>
                          <a:pt x="597" y="467"/>
                        </a:lnTo>
                        <a:lnTo>
                          <a:pt x="599" y="468"/>
                        </a:lnTo>
                        <a:lnTo>
                          <a:pt x="601" y="470"/>
                        </a:lnTo>
                        <a:lnTo>
                          <a:pt x="602" y="472"/>
                        </a:lnTo>
                        <a:lnTo>
                          <a:pt x="605" y="473"/>
                        </a:lnTo>
                        <a:lnTo>
                          <a:pt x="610" y="473"/>
                        </a:lnTo>
                        <a:lnTo>
                          <a:pt x="615" y="475"/>
                        </a:lnTo>
                        <a:lnTo>
                          <a:pt x="620" y="475"/>
                        </a:lnTo>
                        <a:lnTo>
                          <a:pt x="623" y="476"/>
                        </a:lnTo>
                        <a:lnTo>
                          <a:pt x="624" y="476"/>
                        </a:lnTo>
                        <a:lnTo>
                          <a:pt x="627" y="476"/>
                        </a:lnTo>
                        <a:lnTo>
                          <a:pt x="629" y="478"/>
                        </a:lnTo>
                        <a:lnTo>
                          <a:pt x="631" y="478"/>
                        </a:lnTo>
                        <a:lnTo>
                          <a:pt x="632" y="476"/>
                        </a:lnTo>
                        <a:lnTo>
                          <a:pt x="634" y="476"/>
                        </a:lnTo>
                        <a:lnTo>
                          <a:pt x="635" y="476"/>
                        </a:lnTo>
                        <a:lnTo>
                          <a:pt x="637" y="475"/>
                        </a:lnTo>
                        <a:lnTo>
                          <a:pt x="639" y="475"/>
                        </a:lnTo>
                        <a:lnTo>
                          <a:pt x="640" y="475"/>
                        </a:lnTo>
                        <a:lnTo>
                          <a:pt x="642" y="473"/>
                        </a:lnTo>
                        <a:lnTo>
                          <a:pt x="643" y="473"/>
                        </a:lnTo>
                        <a:lnTo>
                          <a:pt x="646" y="472"/>
                        </a:lnTo>
                        <a:lnTo>
                          <a:pt x="650" y="472"/>
                        </a:lnTo>
                        <a:lnTo>
                          <a:pt x="651" y="472"/>
                        </a:lnTo>
                        <a:lnTo>
                          <a:pt x="651" y="473"/>
                        </a:lnTo>
                        <a:lnTo>
                          <a:pt x="653" y="473"/>
                        </a:lnTo>
                        <a:lnTo>
                          <a:pt x="653" y="475"/>
                        </a:lnTo>
                        <a:lnTo>
                          <a:pt x="656" y="475"/>
                        </a:lnTo>
                        <a:lnTo>
                          <a:pt x="656" y="476"/>
                        </a:lnTo>
                        <a:lnTo>
                          <a:pt x="656" y="475"/>
                        </a:lnTo>
                        <a:lnTo>
                          <a:pt x="658" y="473"/>
                        </a:lnTo>
                        <a:lnTo>
                          <a:pt x="659" y="473"/>
                        </a:lnTo>
                        <a:lnTo>
                          <a:pt x="662" y="473"/>
                        </a:lnTo>
                        <a:lnTo>
                          <a:pt x="662" y="475"/>
                        </a:lnTo>
                        <a:lnTo>
                          <a:pt x="664" y="475"/>
                        </a:lnTo>
                        <a:lnTo>
                          <a:pt x="665" y="475"/>
                        </a:lnTo>
                        <a:lnTo>
                          <a:pt x="667" y="476"/>
                        </a:lnTo>
                        <a:lnTo>
                          <a:pt x="667" y="478"/>
                        </a:lnTo>
                        <a:lnTo>
                          <a:pt x="669" y="478"/>
                        </a:lnTo>
                        <a:lnTo>
                          <a:pt x="667" y="478"/>
                        </a:lnTo>
                        <a:lnTo>
                          <a:pt x="667" y="480"/>
                        </a:lnTo>
                        <a:lnTo>
                          <a:pt x="669" y="481"/>
                        </a:lnTo>
                        <a:lnTo>
                          <a:pt x="672" y="484"/>
                        </a:lnTo>
                        <a:lnTo>
                          <a:pt x="673" y="487"/>
                        </a:lnTo>
                        <a:lnTo>
                          <a:pt x="675" y="487"/>
                        </a:lnTo>
                        <a:lnTo>
                          <a:pt x="675" y="489"/>
                        </a:lnTo>
                        <a:lnTo>
                          <a:pt x="677" y="489"/>
                        </a:lnTo>
                        <a:lnTo>
                          <a:pt x="678" y="489"/>
                        </a:lnTo>
                        <a:lnTo>
                          <a:pt x="683" y="489"/>
                        </a:lnTo>
                        <a:lnTo>
                          <a:pt x="689" y="489"/>
                        </a:lnTo>
                        <a:lnTo>
                          <a:pt x="696" y="489"/>
                        </a:lnTo>
                        <a:lnTo>
                          <a:pt x="702" y="489"/>
                        </a:lnTo>
                        <a:lnTo>
                          <a:pt x="708" y="489"/>
                        </a:lnTo>
                        <a:lnTo>
                          <a:pt x="718" y="489"/>
                        </a:lnTo>
                        <a:lnTo>
                          <a:pt x="722" y="489"/>
                        </a:lnTo>
                        <a:lnTo>
                          <a:pt x="724" y="489"/>
                        </a:lnTo>
                        <a:lnTo>
                          <a:pt x="727" y="489"/>
                        </a:lnTo>
                        <a:lnTo>
                          <a:pt x="727" y="491"/>
                        </a:lnTo>
                        <a:lnTo>
                          <a:pt x="730" y="492"/>
                        </a:lnTo>
                        <a:lnTo>
                          <a:pt x="732" y="494"/>
                        </a:lnTo>
                        <a:lnTo>
                          <a:pt x="735" y="495"/>
                        </a:lnTo>
                        <a:lnTo>
                          <a:pt x="741" y="502"/>
                        </a:lnTo>
                        <a:lnTo>
                          <a:pt x="746" y="505"/>
                        </a:lnTo>
                        <a:lnTo>
                          <a:pt x="751" y="508"/>
                        </a:lnTo>
                        <a:lnTo>
                          <a:pt x="757" y="511"/>
                        </a:lnTo>
                        <a:lnTo>
                          <a:pt x="764" y="514"/>
                        </a:lnTo>
                        <a:lnTo>
                          <a:pt x="770" y="518"/>
                        </a:lnTo>
                        <a:lnTo>
                          <a:pt x="775" y="521"/>
                        </a:lnTo>
                        <a:lnTo>
                          <a:pt x="780" y="524"/>
                        </a:lnTo>
                        <a:lnTo>
                          <a:pt x="784" y="527"/>
                        </a:lnTo>
                        <a:lnTo>
                          <a:pt x="791" y="530"/>
                        </a:lnTo>
                        <a:lnTo>
                          <a:pt x="797" y="533"/>
                        </a:lnTo>
                        <a:lnTo>
                          <a:pt x="805" y="537"/>
                        </a:lnTo>
                        <a:lnTo>
                          <a:pt x="811" y="540"/>
                        </a:lnTo>
                        <a:lnTo>
                          <a:pt x="814" y="541"/>
                        </a:lnTo>
                        <a:lnTo>
                          <a:pt x="818" y="543"/>
                        </a:lnTo>
                        <a:lnTo>
                          <a:pt x="822" y="544"/>
                        </a:lnTo>
                        <a:lnTo>
                          <a:pt x="825" y="544"/>
                        </a:lnTo>
                        <a:lnTo>
                          <a:pt x="827" y="544"/>
                        </a:lnTo>
                        <a:lnTo>
                          <a:pt x="829" y="544"/>
                        </a:lnTo>
                        <a:lnTo>
                          <a:pt x="830" y="544"/>
                        </a:lnTo>
                        <a:lnTo>
                          <a:pt x="832" y="544"/>
                        </a:lnTo>
                        <a:lnTo>
                          <a:pt x="833" y="544"/>
                        </a:lnTo>
                        <a:lnTo>
                          <a:pt x="837" y="544"/>
                        </a:lnTo>
                        <a:lnTo>
                          <a:pt x="838" y="544"/>
                        </a:lnTo>
                        <a:lnTo>
                          <a:pt x="840" y="543"/>
                        </a:lnTo>
                        <a:lnTo>
                          <a:pt x="844" y="543"/>
                        </a:lnTo>
                        <a:lnTo>
                          <a:pt x="848" y="543"/>
                        </a:lnTo>
                        <a:lnTo>
                          <a:pt x="849" y="543"/>
                        </a:lnTo>
                        <a:lnTo>
                          <a:pt x="851" y="543"/>
                        </a:lnTo>
                        <a:lnTo>
                          <a:pt x="852" y="541"/>
                        </a:lnTo>
                        <a:lnTo>
                          <a:pt x="854" y="541"/>
                        </a:lnTo>
                        <a:lnTo>
                          <a:pt x="856" y="541"/>
                        </a:lnTo>
                        <a:lnTo>
                          <a:pt x="857" y="541"/>
                        </a:lnTo>
                        <a:lnTo>
                          <a:pt x="857" y="540"/>
                        </a:lnTo>
                        <a:lnTo>
                          <a:pt x="859" y="540"/>
                        </a:lnTo>
                        <a:lnTo>
                          <a:pt x="860" y="540"/>
                        </a:lnTo>
                        <a:lnTo>
                          <a:pt x="862" y="540"/>
                        </a:lnTo>
                        <a:lnTo>
                          <a:pt x="863" y="538"/>
                        </a:lnTo>
                        <a:lnTo>
                          <a:pt x="865" y="537"/>
                        </a:lnTo>
                        <a:lnTo>
                          <a:pt x="865" y="535"/>
                        </a:lnTo>
                        <a:lnTo>
                          <a:pt x="867" y="535"/>
                        </a:lnTo>
                        <a:lnTo>
                          <a:pt x="868" y="533"/>
                        </a:lnTo>
                        <a:lnTo>
                          <a:pt x="870" y="535"/>
                        </a:lnTo>
                        <a:lnTo>
                          <a:pt x="871" y="537"/>
                        </a:lnTo>
                        <a:lnTo>
                          <a:pt x="871" y="538"/>
                        </a:lnTo>
                        <a:lnTo>
                          <a:pt x="873" y="543"/>
                        </a:lnTo>
                        <a:lnTo>
                          <a:pt x="873" y="546"/>
                        </a:lnTo>
                        <a:lnTo>
                          <a:pt x="873" y="549"/>
                        </a:lnTo>
                        <a:lnTo>
                          <a:pt x="875" y="551"/>
                        </a:lnTo>
                        <a:lnTo>
                          <a:pt x="875" y="552"/>
                        </a:lnTo>
                        <a:lnTo>
                          <a:pt x="875" y="554"/>
                        </a:lnTo>
                        <a:lnTo>
                          <a:pt x="873" y="557"/>
                        </a:lnTo>
                        <a:lnTo>
                          <a:pt x="873" y="559"/>
                        </a:lnTo>
                        <a:lnTo>
                          <a:pt x="873" y="560"/>
                        </a:lnTo>
                        <a:lnTo>
                          <a:pt x="873" y="562"/>
                        </a:lnTo>
                        <a:lnTo>
                          <a:pt x="875" y="565"/>
                        </a:lnTo>
                        <a:lnTo>
                          <a:pt x="875" y="567"/>
                        </a:lnTo>
                        <a:lnTo>
                          <a:pt x="875" y="568"/>
                        </a:lnTo>
                        <a:lnTo>
                          <a:pt x="875" y="570"/>
                        </a:lnTo>
                        <a:lnTo>
                          <a:pt x="875" y="571"/>
                        </a:lnTo>
                        <a:lnTo>
                          <a:pt x="875" y="573"/>
                        </a:lnTo>
                        <a:lnTo>
                          <a:pt x="873" y="576"/>
                        </a:lnTo>
                        <a:lnTo>
                          <a:pt x="873" y="579"/>
                        </a:lnTo>
                        <a:lnTo>
                          <a:pt x="873" y="581"/>
                        </a:lnTo>
                        <a:lnTo>
                          <a:pt x="875" y="582"/>
                        </a:lnTo>
                        <a:lnTo>
                          <a:pt x="875" y="586"/>
                        </a:lnTo>
                        <a:lnTo>
                          <a:pt x="875" y="587"/>
                        </a:lnTo>
                        <a:lnTo>
                          <a:pt x="876" y="590"/>
                        </a:lnTo>
                        <a:lnTo>
                          <a:pt x="876" y="595"/>
                        </a:lnTo>
                        <a:lnTo>
                          <a:pt x="878" y="601"/>
                        </a:lnTo>
                        <a:lnTo>
                          <a:pt x="879" y="605"/>
                        </a:lnTo>
                        <a:lnTo>
                          <a:pt x="879" y="609"/>
                        </a:lnTo>
                        <a:lnTo>
                          <a:pt x="881" y="613"/>
                        </a:lnTo>
                        <a:lnTo>
                          <a:pt x="881" y="616"/>
                        </a:lnTo>
                        <a:lnTo>
                          <a:pt x="882" y="620"/>
                        </a:lnTo>
                        <a:lnTo>
                          <a:pt x="882" y="625"/>
                        </a:lnTo>
                        <a:lnTo>
                          <a:pt x="884" y="630"/>
                        </a:lnTo>
                        <a:lnTo>
                          <a:pt x="884" y="632"/>
                        </a:lnTo>
                        <a:lnTo>
                          <a:pt x="884" y="635"/>
                        </a:lnTo>
                        <a:lnTo>
                          <a:pt x="884" y="636"/>
                        </a:lnTo>
                        <a:lnTo>
                          <a:pt x="884" y="640"/>
                        </a:lnTo>
                        <a:lnTo>
                          <a:pt x="884" y="643"/>
                        </a:lnTo>
                        <a:lnTo>
                          <a:pt x="884" y="644"/>
                        </a:lnTo>
                        <a:lnTo>
                          <a:pt x="884" y="646"/>
                        </a:lnTo>
                        <a:lnTo>
                          <a:pt x="884" y="649"/>
                        </a:lnTo>
                        <a:lnTo>
                          <a:pt x="884" y="651"/>
                        </a:lnTo>
                        <a:lnTo>
                          <a:pt x="884" y="652"/>
                        </a:lnTo>
                        <a:lnTo>
                          <a:pt x="886" y="654"/>
                        </a:lnTo>
                        <a:lnTo>
                          <a:pt x="886" y="655"/>
                        </a:lnTo>
                        <a:lnTo>
                          <a:pt x="887" y="657"/>
                        </a:lnTo>
                        <a:lnTo>
                          <a:pt x="887" y="659"/>
                        </a:lnTo>
                        <a:lnTo>
                          <a:pt x="889" y="662"/>
                        </a:lnTo>
                        <a:lnTo>
                          <a:pt x="890" y="663"/>
                        </a:lnTo>
                        <a:lnTo>
                          <a:pt x="892" y="666"/>
                        </a:lnTo>
                        <a:lnTo>
                          <a:pt x="894" y="668"/>
                        </a:lnTo>
                        <a:lnTo>
                          <a:pt x="895" y="670"/>
                        </a:lnTo>
                        <a:lnTo>
                          <a:pt x="897" y="674"/>
                        </a:lnTo>
                        <a:lnTo>
                          <a:pt x="900" y="684"/>
                        </a:lnTo>
                        <a:lnTo>
                          <a:pt x="901" y="689"/>
                        </a:lnTo>
                        <a:lnTo>
                          <a:pt x="905" y="695"/>
                        </a:lnTo>
                        <a:lnTo>
                          <a:pt x="908" y="704"/>
                        </a:lnTo>
                        <a:lnTo>
                          <a:pt x="911" y="712"/>
                        </a:lnTo>
                        <a:lnTo>
                          <a:pt x="914" y="720"/>
                        </a:lnTo>
                        <a:lnTo>
                          <a:pt x="916" y="725"/>
                        </a:lnTo>
                        <a:lnTo>
                          <a:pt x="916" y="728"/>
                        </a:lnTo>
                        <a:lnTo>
                          <a:pt x="917" y="731"/>
                        </a:lnTo>
                        <a:lnTo>
                          <a:pt x="917" y="733"/>
                        </a:lnTo>
                        <a:lnTo>
                          <a:pt x="919" y="735"/>
                        </a:lnTo>
                        <a:lnTo>
                          <a:pt x="919" y="736"/>
                        </a:lnTo>
                        <a:lnTo>
                          <a:pt x="917" y="738"/>
                        </a:lnTo>
                        <a:lnTo>
                          <a:pt x="916" y="739"/>
                        </a:lnTo>
                        <a:lnTo>
                          <a:pt x="914" y="739"/>
                        </a:lnTo>
                        <a:lnTo>
                          <a:pt x="911" y="741"/>
                        </a:lnTo>
                        <a:lnTo>
                          <a:pt x="909" y="741"/>
                        </a:lnTo>
                        <a:lnTo>
                          <a:pt x="908" y="741"/>
                        </a:lnTo>
                        <a:lnTo>
                          <a:pt x="906" y="741"/>
                        </a:lnTo>
                        <a:lnTo>
                          <a:pt x="905" y="741"/>
                        </a:lnTo>
                        <a:lnTo>
                          <a:pt x="903" y="741"/>
                        </a:lnTo>
                        <a:lnTo>
                          <a:pt x="901" y="742"/>
                        </a:lnTo>
                        <a:lnTo>
                          <a:pt x="900" y="742"/>
                        </a:lnTo>
                        <a:lnTo>
                          <a:pt x="898" y="742"/>
                        </a:lnTo>
                        <a:lnTo>
                          <a:pt x="898" y="744"/>
                        </a:lnTo>
                        <a:lnTo>
                          <a:pt x="897" y="744"/>
                        </a:lnTo>
                        <a:lnTo>
                          <a:pt x="895" y="744"/>
                        </a:lnTo>
                        <a:lnTo>
                          <a:pt x="894" y="746"/>
                        </a:lnTo>
                        <a:lnTo>
                          <a:pt x="894" y="747"/>
                        </a:lnTo>
                        <a:lnTo>
                          <a:pt x="894" y="749"/>
                        </a:lnTo>
                        <a:lnTo>
                          <a:pt x="892" y="749"/>
                        </a:lnTo>
                        <a:lnTo>
                          <a:pt x="890" y="749"/>
                        </a:lnTo>
                        <a:lnTo>
                          <a:pt x="889" y="749"/>
                        </a:lnTo>
                        <a:lnTo>
                          <a:pt x="887" y="750"/>
                        </a:lnTo>
                        <a:lnTo>
                          <a:pt x="886" y="752"/>
                        </a:lnTo>
                        <a:lnTo>
                          <a:pt x="887" y="754"/>
                        </a:lnTo>
                        <a:lnTo>
                          <a:pt x="889" y="754"/>
                        </a:lnTo>
                        <a:lnTo>
                          <a:pt x="889" y="755"/>
                        </a:lnTo>
                        <a:lnTo>
                          <a:pt x="890" y="755"/>
                        </a:lnTo>
                        <a:lnTo>
                          <a:pt x="890" y="757"/>
                        </a:lnTo>
                        <a:lnTo>
                          <a:pt x="890" y="758"/>
                        </a:lnTo>
                        <a:lnTo>
                          <a:pt x="892" y="760"/>
                        </a:lnTo>
                        <a:lnTo>
                          <a:pt x="890" y="761"/>
                        </a:lnTo>
                        <a:lnTo>
                          <a:pt x="890" y="763"/>
                        </a:lnTo>
                        <a:lnTo>
                          <a:pt x="892" y="765"/>
                        </a:lnTo>
                        <a:lnTo>
                          <a:pt x="894" y="766"/>
                        </a:lnTo>
                        <a:lnTo>
                          <a:pt x="894" y="768"/>
                        </a:lnTo>
                        <a:lnTo>
                          <a:pt x="895" y="769"/>
                        </a:lnTo>
                        <a:lnTo>
                          <a:pt x="895" y="771"/>
                        </a:lnTo>
                        <a:lnTo>
                          <a:pt x="894" y="773"/>
                        </a:lnTo>
                        <a:lnTo>
                          <a:pt x="894" y="774"/>
                        </a:lnTo>
                        <a:lnTo>
                          <a:pt x="895" y="777"/>
                        </a:lnTo>
                        <a:lnTo>
                          <a:pt x="895" y="779"/>
                        </a:lnTo>
                        <a:lnTo>
                          <a:pt x="894" y="780"/>
                        </a:lnTo>
                        <a:lnTo>
                          <a:pt x="894" y="782"/>
                        </a:lnTo>
                        <a:lnTo>
                          <a:pt x="894" y="784"/>
                        </a:lnTo>
                        <a:lnTo>
                          <a:pt x="894" y="785"/>
                        </a:lnTo>
                        <a:lnTo>
                          <a:pt x="894" y="787"/>
                        </a:lnTo>
                        <a:lnTo>
                          <a:pt x="895" y="788"/>
                        </a:lnTo>
                        <a:lnTo>
                          <a:pt x="897" y="790"/>
                        </a:lnTo>
                        <a:lnTo>
                          <a:pt x="898" y="790"/>
                        </a:lnTo>
                        <a:lnTo>
                          <a:pt x="898" y="792"/>
                        </a:lnTo>
                        <a:lnTo>
                          <a:pt x="898" y="793"/>
                        </a:lnTo>
                        <a:lnTo>
                          <a:pt x="900" y="793"/>
                        </a:lnTo>
                        <a:lnTo>
                          <a:pt x="900" y="795"/>
                        </a:lnTo>
                        <a:lnTo>
                          <a:pt x="900" y="796"/>
                        </a:lnTo>
                        <a:lnTo>
                          <a:pt x="900" y="798"/>
                        </a:lnTo>
                        <a:lnTo>
                          <a:pt x="900" y="801"/>
                        </a:lnTo>
                        <a:lnTo>
                          <a:pt x="901" y="801"/>
                        </a:lnTo>
                        <a:lnTo>
                          <a:pt x="901" y="803"/>
                        </a:lnTo>
                        <a:lnTo>
                          <a:pt x="903" y="803"/>
                        </a:lnTo>
                        <a:lnTo>
                          <a:pt x="905" y="803"/>
                        </a:lnTo>
                        <a:lnTo>
                          <a:pt x="906" y="803"/>
                        </a:lnTo>
                        <a:lnTo>
                          <a:pt x="906" y="804"/>
                        </a:lnTo>
                        <a:lnTo>
                          <a:pt x="906" y="806"/>
                        </a:lnTo>
                        <a:lnTo>
                          <a:pt x="908" y="806"/>
                        </a:lnTo>
                        <a:lnTo>
                          <a:pt x="908" y="807"/>
                        </a:lnTo>
                        <a:lnTo>
                          <a:pt x="908" y="809"/>
                        </a:lnTo>
                        <a:lnTo>
                          <a:pt x="908" y="811"/>
                        </a:lnTo>
                        <a:lnTo>
                          <a:pt x="906" y="812"/>
                        </a:lnTo>
                        <a:lnTo>
                          <a:pt x="906" y="814"/>
                        </a:lnTo>
                        <a:lnTo>
                          <a:pt x="905" y="814"/>
                        </a:lnTo>
                        <a:lnTo>
                          <a:pt x="905" y="815"/>
                        </a:lnTo>
                        <a:lnTo>
                          <a:pt x="903" y="817"/>
                        </a:lnTo>
                        <a:lnTo>
                          <a:pt x="903" y="818"/>
                        </a:lnTo>
                        <a:lnTo>
                          <a:pt x="903" y="820"/>
                        </a:lnTo>
                        <a:lnTo>
                          <a:pt x="905" y="822"/>
                        </a:lnTo>
                        <a:lnTo>
                          <a:pt x="906" y="823"/>
                        </a:lnTo>
                        <a:lnTo>
                          <a:pt x="908" y="825"/>
                        </a:lnTo>
                        <a:lnTo>
                          <a:pt x="908" y="826"/>
                        </a:lnTo>
                        <a:lnTo>
                          <a:pt x="909" y="826"/>
                        </a:lnTo>
                        <a:lnTo>
                          <a:pt x="909" y="828"/>
                        </a:lnTo>
                        <a:lnTo>
                          <a:pt x="909" y="830"/>
                        </a:lnTo>
                        <a:lnTo>
                          <a:pt x="908" y="831"/>
                        </a:lnTo>
                        <a:lnTo>
                          <a:pt x="906" y="831"/>
                        </a:lnTo>
                        <a:lnTo>
                          <a:pt x="903" y="831"/>
                        </a:lnTo>
                        <a:lnTo>
                          <a:pt x="901" y="834"/>
                        </a:lnTo>
                        <a:lnTo>
                          <a:pt x="901" y="836"/>
                        </a:lnTo>
                        <a:lnTo>
                          <a:pt x="901" y="838"/>
                        </a:lnTo>
                        <a:lnTo>
                          <a:pt x="901" y="839"/>
                        </a:lnTo>
                        <a:lnTo>
                          <a:pt x="900" y="842"/>
                        </a:lnTo>
                        <a:lnTo>
                          <a:pt x="894" y="852"/>
                        </a:lnTo>
                        <a:lnTo>
                          <a:pt x="890" y="857"/>
                        </a:lnTo>
                        <a:lnTo>
                          <a:pt x="886" y="864"/>
                        </a:lnTo>
                        <a:lnTo>
                          <a:pt x="881" y="872"/>
                        </a:lnTo>
                        <a:lnTo>
                          <a:pt x="879" y="876"/>
                        </a:lnTo>
                        <a:lnTo>
                          <a:pt x="878" y="879"/>
                        </a:lnTo>
                        <a:lnTo>
                          <a:pt x="878" y="880"/>
                        </a:lnTo>
                        <a:lnTo>
                          <a:pt x="878" y="883"/>
                        </a:lnTo>
                        <a:lnTo>
                          <a:pt x="878" y="887"/>
                        </a:lnTo>
                        <a:lnTo>
                          <a:pt x="878" y="890"/>
                        </a:lnTo>
                        <a:lnTo>
                          <a:pt x="878" y="895"/>
                        </a:lnTo>
                        <a:lnTo>
                          <a:pt x="878" y="896"/>
                        </a:lnTo>
                        <a:lnTo>
                          <a:pt x="879" y="898"/>
                        </a:lnTo>
                        <a:lnTo>
                          <a:pt x="879" y="902"/>
                        </a:lnTo>
                        <a:lnTo>
                          <a:pt x="879" y="904"/>
                        </a:lnTo>
                        <a:lnTo>
                          <a:pt x="879" y="906"/>
                        </a:lnTo>
                        <a:lnTo>
                          <a:pt x="881" y="910"/>
                        </a:lnTo>
                        <a:lnTo>
                          <a:pt x="881" y="914"/>
                        </a:lnTo>
                        <a:lnTo>
                          <a:pt x="881" y="915"/>
                        </a:lnTo>
                        <a:lnTo>
                          <a:pt x="879" y="917"/>
                        </a:lnTo>
                        <a:lnTo>
                          <a:pt x="878" y="917"/>
                        </a:lnTo>
                        <a:lnTo>
                          <a:pt x="876" y="918"/>
                        </a:lnTo>
                        <a:lnTo>
                          <a:pt x="875" y="918"/>
                        </a:lnTo>
                        <a:lnTo>
                          <a:pt x="871" y="918"/>
                        </a:lnTo>
                        <a:lnTo>
                          <a:pt x="870" y="918"/>
                        </a:lnTo>
                        <a:lnTo>
                          <a:pt x="868" y="917"/>
                        </a:lnTo>
                        <a:lnTo>
                          <a:pt x="867" y="915"/>
                        </a:lnTo>
                        <a:lnTo>
                          <a:pt x="865" y="914"/>
                        </a:lnTo>
                        <a:lnTo>
                          <a:pt x="863" y="910"/>
                        </a:lnTo>
                        <a:lnTo>
                          <a:pt x="862" y="907"/>
                        </a:lnTo>
                        <a:lnTo>
                          <a:pt x="860" y="906"/>
                        </a:lnTo>
                        <a:lnTo>
                          <a:pt x="859" y="904"/>
                        </a:lnTo>
                        <a:lnTo>
                          <a:pt x="859" y="902"/>
                        </a:lnTo>
                        <a:lnTo>
                          <a:pt x="859" y="899"/>
                        </a:lnTo>
                        <a:lnTo>
                          <a:pt x="857" y="898"/>
                        </a:lnTo>
                        <a:lnTo>
                          <a:pt x="854" y="898"/>
                        </a:lnTo>
                        <a:lnTo>
                          <a:pt x="854" y="899"/>
                        </a:lnTo>
                        <a:lnTo>
                          <a:pt x="852" y="899"/>
                        </a:lnTo>
                        <a:lnTo>
                          <a:pt x="851" y="899"/>
                        </a:lnTo>
                        <a:lnTo>
                          <a:pt x="849" y="898"/>
                        </a:lnTo>
                        <a:lnTo>
                          <a:pt x="849" y="896"/>
                        </a:lnTo>
                        <a:lnTo>
                          <a:pt x="848" y="895"/>
                        </a:lnTo>
                        <a:lnTo>
                          <a:pt x="846" y="893"/>
                        </a:lnTo>
                        <a:lnTo>
                          <a:pt x="844" y="893"/>
                        </a:lnTo>
                        <a:lnTo>
                          <a:pt x="843" y="893"/>
                        </a:lnTo>
                        <a:lnTo>
                          <a:pt x="841" y="895"/>
                        </a:lnTo>
                        <a:lnTo>
                          <a:pt x="840" y="895"/>
                        </a:lnTo>
                        <a:lnTo>
                          <a:pt x="838" y="895"/>
                        </a:lnTo>
                        <a:lnTo>
                          <a:pt x="837" y="895"/>
                        </a:lnTo>
                        <a:lnTo>
                          <a:pt x="835" y="898"/>
                        </a:lnTo>
                        <a:lnTo>
                          <a:pt x="833" y="899"/>
                        </a:lnTo>
                        <a:lnTo>
                          <a:pt x="833" y="901"/>
                        </a:lnTo>
                        <a:lnTo>
                          <a:pt x="835" y="902"/>
                        </a:lnTo>
                        <a:lnTo>
                          <a:pt x="833" y="906"/>
                        </a:lnTo>
                        <a:lnTo>
                          <a:pt x="832" y="909"/>
                        </a:lnTo>
                        <a:lnTo>
                          <a:pt x="830" y="914"/>
                        </a:lnTo>
                        <a:lnTo>
                          <a:pt x="827" y="921"/>
                        </a:lnTo>
                        <a:lnTo>
                          <a:pt x="825" y="926"/>
                        </a:lnTo>
                        <a:lnTo>
                          <a:pt x="825" y="931"/>
                        </a:lnTo>
                        <a:lnTo>
                          <a:pt x="824" y="933"/>
                        </a:lnTo>
                        <a:lnTo>
                          <a:pt x="822" y="934"/>
                        </a:lnTo>
                        <a:lnTo>
                          <a:pt x="821" y="937"/>
                        </a:lnTo>
                        <a:lnTo>
                          <a:pt x="821" y="939"/>
                        </a:lnTo>
                        <a:lnTo>
                          <a:pt x="819" y="940"/>
                        </a:lnTo>
                        <a:lnTo>
                          <a:pt x="818" y="947"/>
                        </a:lnTo>
                        <a:lnTo>
                          <a:pt x="816" y="947"/>
                        </a:lnTo>
                        <a:lnTo>
                          <a:pt x="806" y="944"/>
                        </a:lnTo>
                        <a:lnTo>
                          <a:pt x="792" y="942"/>
                        </a:lnTo>
                        <a:lnTo>
                          <a:pt x="789" y="940"/>
                        </a:lnTo>
                        <a:lnTo>
                          <a:pt x="776" y="939"/>
                        </a:lnTo>
                        <a:lnTo>
                          <a:pt x="775" y="937"/>
                        </a:lnTo>
                        <a:lnTo>
                          <a:pt x="745" y="931"/>
                        </a:lnTo>
                        <a:lnTo>
                          <a:pt x="740" y="931"/>
                        </a:lnTo>
                        <a:lnTo>
                          <a:pt x="732" y="929"/>
                        </a:lnTo>
                        <a:lnTo>
                          <a:pt x="719" y="926"/>
                        </a:lnTo>
                        <a:lnTo>
                          <a:pt x="718" y="926"/>
                        </a:lnTo>
                        <a:lnTo>
                          <a:pt x="716" y="926"/>
                        </a:lnTo>
                        <a:lnTo>
                          <a:pt x="708" y="925"/>
                        </a:lnTo>
                        <a:lnTo>
                          <a:pt x="703" y="923"/>
                        </a:lnTo>
                        <a:lnTo>
                          <a:pt x="702" y="923"/>
                        </a:lnTo>
                        <a:lnTo>
                          <a:pt x="700" y="923"/>
                        </a:lnTo>
                        <a:lnTo>
                          <a:pt x="673" y="918"/>
                        </a:lnTo>
                        <a:lnTo>
                          <a:pt x="637" y="910"/>
                        </a:lnTo>
                        <a:lnTo>
                          <a:pt x="635" y="910"/>
                        </a:lnTo>
                        <a:lnTo>
                          <a:pt x="627" y="909"/>
                        </a:lnTo>
                        <a:lnTo>
                          <a:pt x="616" y="906"/>
                        </a:lnTo>
                        <a:lnTo>
                          <a:pt x="613" y="906"/>
                        </a:lnTo>
                        <a:lnTo>
                          <a:pt x="608" y="906"/>
                        </a:lnTo>
                        <a:lnTo>
                          <a:pt x="607" y="904"/>
                        </a:lnTo>
                        <a:lnTo>
                          <a:pt x="593" y="901"/>
                        </a:lnTo>
                        <a:lnTo>
                          <a:pt x="588" y="901"/>
                        </a:lnTo>
                        <a:lnTo>
                          <a:pt x="583" y="899"/>
                        </a:lnTo>
                        <a:lnTo>
                          <a:pt x="578" y="899"/>
                        </a:lnTo>
                        <a:lnTo>
                          <a:pt x="577" y="899"/>
                        </a:lnTo>
                        <a:lnTo>
                          <a:pt x="556" y="895"/>
                        </a:lnTo>
                        <a:lnTo>
                          <a:pt x="555" y="893"/>
                        </a:lnTo>
                        <a:lnTo>
                          <a:pt x="545" y="891"/>
                        </a:lnTo>
                        <a:lnTo>
                          <a:pt x="539" y="891"/>
                        </a:lnTo>
                        <a:lnTo>
                          <a:pt x="534" y="890"/>
                        </a:lnTo>
                        <a:lnTo>
                          <a:pt x="528" y="888"/>
                        </a:lnTo>
                        <a:lnTo>
                          <a:pt x="521" y="888"/>
                        </a:lnTo>
                        <a:lnTo>
                          <a:pt x="513" y="885"/>
                        </a:lnTo>
                        <a:lnTo>
                          <a:pt x="512" y="885"/>
                        </a:lnTo>
                        <a:lnTo>
                          <a:pt x="498" y="883"/>
                        </a:lnTo>
                        <a:lnTo>
                          <a:pt x="494" y="882"/>
                        </a:lnTo>
                        <a:lnTo>
                          <a:pt x="493" y="882"/>
                        </a:lnTo>
                        <a:lnTo>
                          <a:pt x="490" y="880"/>
                        </a:lnTo>
                        <a:lnTo>
                          <a:pt x="488" y="880"/>
                        </a:lnTo>
                        <a:lnTo>
                          <a:pt x="486" y="880"/>
                        </a:lnTo>
                        <a:lnTo>
                          <a:pt x="475" y="879"/>
                        </a:lnTo>
                        <a:lnTo>
                          <a:pt x="471" y="877"/>
                        </a:lnTo>
                        <a:lnTo>
                          <a:pt x="469" y="876"/>
                        </a:lnTo>
                        <a:lnTo>
                          <a:pt x="458" y="874"/>
                        </a:lnTo>
                        <a:lnTo>
                          <a:pt x="445" y="869"/>
                        </a:lnTo>
                        <a:lnTo>
                          <a:pt x="441" y="868"/>
                        </a:lnTo>
                        <a:lnTo>
                          <a:pt x="437" y="868"/>
                        </a:lnTo>
                        <a:lnTo>
                          <a:pt x="436" y="868"/>
                        </a:lnTo>
                        <a:lnTo>
                          <a:pt x="434" y="866"/>
                        </a:lnTo>
                        <a:lnTo>
                          <a:pt x="431" y="866"/>
                        </a:lnTo>
                        <a:lnTo>
                          <a:pt x="425" y="864"/>
                        </a:lnTo>
                        <a:lnTo>
                          <a:pt x="415" y="863"/>
                        </a:lnTo>
                        <a:lnTo>
                          <a:pt x="393" y="857"/>
                        </a:lnTo>
                        <a:lnTo>
                          <a:pt x="388" y="855"/>
                        </a:lnTo>
                        <a:lnTo>
                          <a:pt x="385" y="858"/>
                        </a:lnTo>
                        <a:lnTo>
                          <a:pt x="382" y="866"/>
                        </a:lnTo>
                        <a:lnTo>
                          <a:pt x="382" y="868"/>
                        </a:lnTo>
                        <a:lnTo>
                          <a:pt x="382" y="869"/>
                        </a:lnTo>
                        <a:lnTo>
                          <a:pt x="380" y="869"/>
                        </a:lnTo>
                        <a:lnTo>
                          <a:pt x="379" y="869"/>
                        </a:lnTo>
                        <a:lnTo>
                          <a:pt x="377" y="869"/>
                        </a:lnTo>
                        <a:lnTo>
                          <a:pt x="377" y="872"/>
                        </a:lnTo>
                        <a:lnTo>
                          <a:pt x="377" y="874"/>
                        </a:lnTo>
                        <a:lnTo>
                          <a:pt x="379" y="876"/>
                        </a:lnTo>
                        <a:lnTo>
                          <a:pt x="382" y="877"/>
                        </a:lnTo>
                        <a:lnTo>
                          <a:pt x="384" y="877"/>
                        </a:lnTo>
                        <a:lnTo>
                          <a:pt x="387" y="880"/>
                        </a:lnTo>
                        <a:lnTo>
                          <a:pt x="387" y="883"/>
                        </a:lnTo>
                        <a:lnTo>
                          <a:pt x="388" y="887"/>
                        </a:lnTo>
                        <a:lnTo>
                          <a:pt x="380" y="890"/>
                        </a:lnTo>
                        <a:lnTo>
                          <a:pt x="379" y="891"/>
                        </a:lnTo>
                        <a:lnTo>
                          <a:pt x="376" y="891"/>
                        </a:lnTo>
                        <a:lnTo>
                          <a:pt x="369" y="893"/>
                        </a:lnTo>
                        <a:lnTo>
                          <a:pt x="368" y="893"/>
                        </a:lnTo>
                        <a:lnTo>
                          <a:pt x="364" y="893"/>
                        </a:lnTo>
                        <a:lnTo>
                          <a:pt x="364" y="895"/>
                        </a:lnTo>
                        <a:lnTo>
                          <a:pt x="361" y="895"/>
                        </a:lnTo>
                        <a:lnTo>
                          <a:pt x="353" y="896"/>
                        </a:lnTo>
                        <a:lnTo>
                          <a:pt x="349" y="898"/>
                        </a:lnTo>
                        <a:lnTo>
                          <a:pt x="347" y="899"/>
                        </a:lnTo>
                        <a:lnTo>
                          <a:pt x="345" y="902"/>
                        </a:lnTo>
                        <a:lnTo>
                          <a:pt x="344" y="910"/>
                        </a:lnTo>
                        <a:lnTo>
                          <a:pt x="342" y="912"/>
                        </a:lnTo>
                        <a:lnTo>
                          <a:pt x="338" y="914"/>
                        </a:lnTo>
                        <a:lnTo>
                          <a:pt x="336" y="915"/>
                        </a:lnTo>
                        <a:lnTo>
                          <a:pt x="336" y="917"/>
                        </a:lnTo>
                        <a:lnTo>
                          <a:pt x="336" y="918"/>
                        </a:lnTo>
                        <a:lnTo>
                          <a:pt x="334" y="920"/>
                        </a:lnTo>
                        <a:lnTo>
                          <a:pt x="334" y="918"/>
                        </a:lnTo>
                        <a:lnTo>
                          <a:pt x="326" y="910"/>
                        </a:lnTo>
                        <a:lnTo>
                          <a:pt x="326" y="909"/>
                        </a:lnTo>
                        <a:lnTo>
                          <a:pt x="326" y="904"/>
                        </a:lnTo>
                        <a:lnTo>
                          <a:pt x="323" y="899"/>
                        </a:lnTo>
                        <a:lnTo>
                          <a:pt x="323" y="895"/>
                        </a:lnTo>
                        <a:lnTo>
                          <a:pt x="325" y="891"/>
                        </a:lnTo>
                        <a:lnTo>
                          <a:pt x="325" y="890"/>
                        </a:lnTo>
                        <a:lnTo>
                          <a:pt x="323" y="890"/>
                        </a:lnTo>
                        <a:lnTo>
                          <a:pt x="322" y="890"/>
                        </a:lnTo>
                        <a:lnTo>
                          <a:pt x="315" y="888"/>
                        </a:lnTo>
                        <a:lnTo>
                          <a:pt x="311" y="888"/>
                        </a:lnTo>
                        <a:lnTo>
                          <a:pt x="290" y="901"/>
                        </a:lnTo>
                        <a:lnTo>
                          <a:pt x="288" y="909"/>
                        </a:lnTo>
                        <a:lnTo>
                          <a:pt x="285" y="920"/>
                        </a:lnTo>
                        <a:lnTo>
                          <a:pt x="284" y="926"/>
                        </a:lnTo>
                        <a:lnTo>
                          <a:pt x="284" y="928"/>
                        </a:lnTo>
                        <a:lnTo>
                          <a:pt x="285" y="937"/>
                        </a:lnTo>
                        <a:lnTo>
                          <a:pt x="287" y="942"/>
                        </a:lnTo>
                        <a:lnTo>
                          <a:pt x="287" y="944"/>
                        </a:lnTo>
                        <a:lnTo>
                          <a:pt x="285" y="944"/>
                        </a:lnTo>
                        <a:lnTo>
                          <a:pt x="279" y="948"/>
                        </a:lnTo>
                        <a:lnTo>
                          <a:pt x="276" y="950"/>
                        </a:lnTo>
                        <a:lnTo>
                          <a:pt x="263" y="947"/>
                        </a:lnTo>
                        <a:lnTo>
                          <a:pt x="262" y="947"/>
                        </a:lnTo>
                        <a:lnTo>
                          <a:pt x="260" y="947"/>
                        </a:lnTo>
                        <a:lnTo>
                          <a:pt x="254" y="953"/>
                        </a:lnTo>
                        <a:lnTo>
                          <a:pt x="247" y="956"/>
                        </a:lnTo>
                        <a:lnTo>
                          <a:pt x="247" y="958"/>
                        </a:lnTo>
                        <a:lnTo>
                          <a:pt x="244" y="966"/>
                        </a:lnTo>
                        <a:lnTo>
                          <a:pt x="243" y="967"/>
                        </a:lnTo>
                        <a:lnTo>
                          <a:pt x="239" y="971"/>
                        </a:lnTo>
                        <a:lnTo>
                          <a:pt x="236" y="972"/>
                        </a:lnTo>
                        <a:lnTo>
                          <a:pt x="235" y="971"/>
                        </a:lnTo>
                        <a:lnTo>
                          <a:pt x="231" y="971"/>
                        </a:lnTo>
                        <a:lnTo>
                          <a:pt x="228" y="967"/>
                        </a:lnTo>
                        <a:lnTo>
                          <a:pt x="227" y="967"/>
                        </a:lnTo>
                        <a:lnTo>
                          <a:pt x="225" y="969"/>
                        </a:lnTo>
                        <a:lnTo>
                          <a:pt x="217" y="977"/>
                        </a:lnTo>
                        <a:lnTo>
                          <a:pt x="217" y="978"/>
                        </a:lnTo>
                        <a:lnTo>
                          <a:pt x="216" y="978"/>
                        </a:lnTo>
                        <a:lnTo>
                          <a:pt x="212" y="974"/>
                        </a:lnTo>
                        <a:lnTo>
                          <a:pt x="206" y="974"/>
                        </a:lnTo>
                        <a:lnTo>
                          <a:pt x="203" y="975"/>
                        </a:lnTo>
                        <a:lnTo>
                          <a:pt x="200" y="978"/>
                        </a:lnTo>
                        <a:lnTo>
                          <a:pt x="197" y="985"/>
                        </a:lnTo>
                        <a:lnTo>
                          <a:pt x="195" y="986"/>
                        </a:lnTo>
                        <a:lnTo>
                          <a:pt x="190" y="996"/>
                        </a:lnTo>
                        <a:lnTo>
                          <a:pt x="190" y="1002"/>
                        </a:lnTo>
                        <a:lnTo>
                          <a:pt x="189" y="1004"/>
                        </a:lnTo>
                        <a:lnTo>
                          <a:pt x="189" y="1010"/>
                        </a:lnTo>
                        <a:lnTo>
                          <a:pt x="190" y="1017"/>
                        </a:lnTo>
                        <a:lnTo>
                          <a:pt x="181" y="1021"/>
                        </a:lnTo>
                        <a:lnTo>
                          <a:pt x="179" y="1021"/>
                        </a:lnTo>
                        <a:lnTo>
                          <a:pt x="174" y="1023"/>
                        </a:lnTo>
                        <a:lnTo>
                          <a:pt x="170" y="1005"/>
                        </a:lnTo>
                        <a:lnTo>
                          <a:pt x="166" y="1001"/>
                        </a:lnTo>
                        <a:lnTo>
                          <a:pt x="166" y="999"/>
                        </a:lnTo>
                        <a:lnTo>
                          <a:pt x="165" y="999"/>
                        </a:lnTo>
                        <a:lnTo>
                          <a:pt x="162" y="997"/>
                        </a:lnTo>
                        <a:lnTo>
                          <a:pt x="157" y="997"/>
                        </a:lnTo>
                        <a:lnTo>
                          <a:pt x="155" y="997"/>
                        </a:lnTo>
                        <a:lnTo>
                          <a:pt x="155" y="996"/>
                        </a:lnTo>
                        <a:lnTo>
                          <a:pt x="155" y="994"/>
                        </a:lnTo>
                        <a:lnTo>
                          <a:pt x="155" y="991"/>
                        </a:lnTo>
                        <a:lnTo>
                          <a:pt x="155" y="990"/>
                        </a:lnTo>
                        <a:lnTo>
                          <a:pt x="152" y="988"/>
                        </a:lnTo>
                        <a:lnTo>
                          <a:pt x="151" y="988"/>
                        </a:lnTo>
                        <a:lnTo>
                          <a:pt x="151" y="990"/>
                        </a:lnTo>
                        <a:lnTo>
                          <a:pt x="149" y="991"/>
                        </a:lnTo>
                        <a:lnTo>
                          <a:pt x="149" y="993"/>
                        </a:lnTo>
                        <a:lnTo>
                          <a:pt x="147" y="994"/>
                        </a:lnTo>
                        <a:lnTo>
                          <a:pt x="146" y="993"/>
                        </a:lnTo>
                        <a:lnTo>
                          <a:pt x="141" y="990"/>
                        </a:lnTo>
                        <a:lnTo>
                          <a:pt x="141" y="988"/>
                        </a:lnTo>
                        <a:lnTo>
                          <a:pt x="143" y="985"/>
                        </a:lnTo>
                        <a:lnTo>
                          <a:pt x="146" y="982"/>
                        </a:lnTo>
                        <a:lnTo>
                          <a:pt x="151" y="980"/>
                        </a:lnTo>
                        <a:lnTo>
                          <a:pt x="151" y="978"/>
                        </a:lnTo>
                        <a:lnTo>
                          <a:pt x="152" y="977"/>
                        </a:lnTo>
                        <a:lnTo>
                          <a:pt x="152" y="974"/>
                        </a:lnTo>
                        <a:lnTo>
                          <a:pt x="147" y="974"/>
                        </a:lnTo>
                        <a:lnTo>
                          <a:pt x="146" y="974"/>
                        </a:lnTo>
                        <a:lnTo>
                          <a:pt x="143" y="972"/>
                        </a:lnTo>
                        <a:lnTo>
                          <a:pt x="141" y="972"/>
                        </a:lnTo>
                        <a:lnTo>
                          <a:pt x="138" y="977"/>
                        </a:lnTo>
                        <a:lnTo>
                          <a:pt x="136" y="977"/>
                        </a:lnTo>
                        <a:lnTo>
                          <a:pt x="135" y="975"/>
                        </a:lnTo>
                        <a:lnTo>
                          <a:pt x="133" y="975"/>
                        </a:lnTo>
                        <a:lnTo>
                          <a:pt x="132" y="974"/>
                        </a:lnTo>
                        <a:lnTo>
                          <a:pt x="132" y="972"/>
                        </a:lnTo>
                        <a:lnTo>
                          <a:pt x="132" y="971"/>
                        </a:lnTo>
                        <a:lnTo>
                          <a:pt x="133" y="969"/>
                        </a:lnTo>
                        <a:lnTo>
                          <a:pt x="133" y="967"/>
                        </a:lnTo>
                        <a:lnTo>
                          <a:pt x="135" y="966"/>
                        </a:lnTo>
                        <a:lnTo>
                          <a:pt x="136" y="964"/>
                        </a:lnTo>
                        <a:lnTo>
                          <a:pt x="136" y="961"/>
                        </a:lnTo>
                        <a:lnTo>
                          <a:pt x="138" y="961"/>
                        </a:lnTo>
                        <a:lnTo>
                          <a:pt x="138" y="959"/>
                        </a:lnTo>
                        <a:lnTo>
                          <a:pt x="136" y="958"/>
                        </a:lnTo>
                        <a:lnTo>
                          <a:pt x="136" y="956"/>
                        </a:lnTo>
                        <a:lnTo>
                          <a:pt x="135" y="956"/>
                        </a:lnTo>
                        <a:lnTo>
                          <a:pt x="135" y="955"/>
                        </a:lnTo>
                        <a:lnTo>
                          <a:pt x="133" y="955"/>
                        </a:lnTo>
                        <a:lnTo>
                          <a:pt x="132" y="955"/>
                        </a:lnTo>
                        <a:lnTo>
                          <a:pt x="130" y="956"/>
                        </a:lnTo>
                        <a:lnTo>
                          <a:pt x="130" y="959"/>
                        </a:lnTo>
                        <a:lnTo>
                          <a:pt x="128" y="959"/>
                        </a:lnTo>
                        <a:lnTo>
                          <a:pt x="127" y="961"/>
                        </a:lnTo>
                        <a:lnTo>
                          <a:pt x="125" y="961"/>
                        </a:lnTo>
                        <a:lnTo>
                          <a:pt x="124" y="959"/>
                        </a:lnTo>
                        <a:lnTo>
                          <a:pt x="122" y="958"/>
                        </a:lnTo>
                        <a:lnTo>
                          <a:pt x="122" y="956"/>
                        </a:lnTo>
                        <a:lnTo>
                          <a:pt x="122" y="955"/>
                        </a:lnTo>
                        <a:lnTo>
                          <a:pt x="122" y="953"/>
                        </a:lnTo>
                        <a:lnTo>
                          <a:pt x="122" y="952"/>
                        </a:lnTo>
                        <a:lnTo>
                          <a:pt x="124" y="952"/>
                        </a:lnTo>
                        <a:lnTo>
                          <a:pt x="124" y="950"/>
                        </a:lnTo>
                        <a:lnTo>
                          <a:pt x="125" y="948"/>
                        </a:lnTo>
                        <a:lnTo>
                          <a:pt x="125" y="947"/>
                        </a:lnTo>
                        <a:lnTo>
                          <a:pt x="125" y="945"/>
                        </a:lnTo>
                        <a:lnTo>
                          <a:pt x="127" y="945"/>
                        </a:lnTo>
                        <a:lnTo>
                          <a:pt x="125" y="945"/>
                        </a:lnTo>
                        <a:lnTo>
                          <a:pt x="125" y="944"/>
                        </a:lnTo>
                        <a:lnTo>
                          <a:pt x="127" y="942"/>
                        </a:lnTo>
                        <a:lnTo>
                          <a:pt x="127" y="939"/>
                        </a:lnTo>
                        <a:lnTo>
                          <a:pt x="128" y="936"/>
                        </a:lnTo>
                        <a:lnTo>
                          <a:pt x="128" y="934"/>
                        </a:lnTo>
                        <a:lnTo>
                          <a:pt x="130" y="934"/>
                        </a:lnTo>
                        <a:lnTo>
                          <a:pt x="132" y="933"/>
                        </a:lnTo>
                        <a:lnTo>
                          <a:pt x="132" y="934"/>
                        </a:lnTo>
                        <a:lnTo>
                          <a:pt x="133" y="934"/>
                        </a:lnTo>
                        <a:lnTo>
                          <a:pt x="133" y="936"/>
                        </a:lnTo>
                        <a:lnTo>
                          <a:pt x="135" y="936"/>
                        </a:lnTo>
                        <a:lnTo>
                          <a:pt x="135" y="934"/>
                        </a:lnTo>
                        <a:lnTo>
                          <a:pt x="136" y="934"/>
                        </a:lnTo>
                        <a:lnTo>
                          <a:pt x="136" y="933"/>
                        </a:lnTo>
                        <a:lnTo>
                          <a:pt x="138" y="933"/>
                        </a:lnTo>
                        <a:lnTo>
                          <a:pt x="138" y="931"/>
                        </a:lnTo>
                        <a:lnTo>
                          <a:pt x="136" y="929"/>
                        </a:lnTo>
                        <a:lnTo>
                          <a:pt x="136" y="928"/>
                        </a:lnTo>
                        <a:lnTo>
                          <a:pt x="136" y="926"/>
                        </a:lnTo>
                        <a:lnTo>
                          <a:pt x="136" y="925"/>
                        </a:lnTo>
                        <a:lnTo>
                          <a:pt x="136" y="923"/>
                        </a:lnTo>
                        <a:lnTo>
                          <a:pt x="135" y="923"/>
                        </a:lnTo>
                        <a:lnTo>
                          <a:pt x="133" y="921"/>
                        </a:lnTo>
                        <a:lnTo>
                          <a:pt x="132" y="920"/>
                        </a:lnTo>
                        <a:lnTo>
                          <a:pt x="132" y="918"/>
                        </a:lnTo>
                        <a:lnTo>
                          <a:pt x="130" y="915"/>
                        </a:lnTo>
                        <a:lnTo>
                          <a:pt x="130" y="914"/>
                        </a:lnTo>
                        <a:lnTo>
                          <a:pt x="130" y="912"/>
                        </a:lnTo>
                        <a:lnTo>
                          <a:pt x="130" y="910"/>
                        </a:lnTo>
                        <a:lnTo>
                          <a:pt x="130" y="909"/>
                        </a:lnTo>
                        <a:lnTo>
                          <a:pt x="130" y="906"/>
                        </a:lnTo>
                        <a:lnTo>
                          <a:pt x="128" y="906"/>
                        </a:lnTo>
                        <a:lnTo>
                          <a:pt x="128" y="904"/>
                        </a:lnTo>
                        <a:lnTo>
                          <a:pt x="127" y="904"/>
                        </a:lnTo>
                        <a:lnTo>
                          <a:pt x="125" y="904"/>
                        </a:lnTo>
                        <a:lnTo>
                          <a:pt x="125" y="902"/>
                        </a:lnTo>
                        <a:lnTo>
                          <a:pt x="124" y="902"/>
                        </a:lnTo>
                        <a:lnTo>
                          <a:pt x="122" y="901"/>
                        </a:lnTo>
                        <a:lnTo>
                          <a:pt x="121" y="899"/>
                        </a:lnTo>
                        <a:lnTo>
                          <a:pt x="119" y="898"/>
                        </a:lnTo>
                        <a:lnTo>
                          <a:pt x="119" y="896"/>
                        </a:lnTo>
                        <a:lnTo>
                          <a:pt x="117" y="896"/>
                        </a:lnTo>
                        <a:lnTo>
                          <a:pt x="116" y="898"/>
                        </a:lnTo>
                        <a:lnTo>
                          <a:pt x="114" y="898"/>
                        </a:lnTo>
                        <a:lnTo>
                          <a:pt x="113" y="896"/>
                        </a:lnTo>
                        <a:lnTo>
                          <a:pt x="111" y="896"/>
                        </a:lnTo>
                        <a:lnTo>
                          <a:pt x="109" y="896"/>
                        </a:lnTo>
                        <a:lnTo>
                          <a:pt x="109" y="898"/>
                        </a:lnTo>
                        <a:lnTo>
                          <a:pt x="108" y="898"/>
                        </a:lnTo>
                        <a:lnTo>
                          <a:pt x="106" y="898"/>
                        </a:lnTo>
                        <a:lnTo>
                          <a:pt x="105" y="896"/>
                        </a:lnTo>
                        <a:lnTo>
                          <a:pt x="103" y="896"/>
                        </a:lnTo>
                        <a:lnTo>
                          <a:pt x="103" y="893"/>
                        </a:lnTo>
                        <a:lnTo>
                          <a:pt x="102" y="891"/>
                        </a:lnTo>
                        <a:lnTo>
                          <a:pt x="100" y="891"/>
                        </a:lnTo>
                        <a:lnTo>
                          <a:pt x="100" y="890"/>
                        </a:lnTo>
                        <a:lnTo>
                          <a:pt x="100" y="888"/>
                        </a:lnTo>
                        <a:lnTo>
                          <a:pt x="102" y="888"/>
                        </a:lnTo>
                        <a:lnTo>
                          <a:pt x="103" y="887"/>
                        </a:lnTo>
                        <a:lnTo>
                          <a:pt x="105" y="885"/>
                        </a:lnTo>
                        <a:lnTo>
                          <a:pt x="105" y="883"/>
                        </a:lnTo>
                        <a:lnTo>
                          <a:pt x="105" y="882"/>
                        </a:lnTo>
                        <a:lnTo>
                          <a:pt x="106" y="880"/>
                        </a:lnTo>
                        <a:lnTo>
                          <a:pt x="108" y="880"/>
                        </a:lnTo>
                        <a:lnTo>
                          <a:pt x="108" y="879"/>
                        </a:lnTo>
                        <a:lnTo>
                          <a:pt x="108" y="877"/>
                        </a:lnTo>
                        <a:lnTo>
                          <a:pt x="108" y="876"/>
                        </a:lnTo>
                        <a:lnTo>
                          <a:pt x="109" y="876"/>
                        </a:lnTo>
                        <a:lnTo>
                          <a:pt x="109" y="874"/>
                        </a:lnTo>
                        <a:lnTo>
                          <a:pt x="109" y="872"/>
                        </a:lnTo>
                        <a:lnTo>
                          <a:pt x="111" y="872"/>
                        </a:lnTo>
                        <a:lnTo>
                          <a:pt x="113" y="871"/>
                        </a:lnTo>
                        <a:lnTo>
                          <a:pt x="111" y="869"/>
                        </a:lnTo>
                        <a:lnTo>
                          <a:pt x="109" y="869"/>
                        </a:lnTo>
                        <a:lnTo>
                          <a:pt x="108" y="869"/>
                        </a:lnTo>
                        <a:lnTo>
                          <a:pt x="108" y="868"/>
                        </a:lnTo>
                        <a:lnTo>
                          <a:pt x="109" y="868"/>
                        </a:lnTo>
                        <a:lnTo>
                          <a:pt x="109" y="866"/>
                        </a:lnTo>
                        <a:lnTo>
                          <a:pt x="109" y="864"/>
                        </a:lnTo>
                        <a:lnTo>
                          <a:pt x="108" y="864"/>
                        </a:lnTo>
                        <a:lnTo>
                          <a:pt x="106" y="864"/>
                        </a:lnTo>
                        <a:lnTo>
                          <a:pt x="106" y="863"/>
                        </a:lnTo>
                        <a:lnTo>
                          <a:pt x="105" y="863"/>
                        </a:lnTo>
                        <a:lnTo>
                          <a:pt x="103" y="863"/>
                        </a:lnTo>
                        <a:lnTo>
                          <a:pt x="102" y="863"/>
                        </a:lnTo>
                        <a:lnTo>
                          <a:pt x="98" y="864"/>
                        </a:lnTo>
                        <a:lnTo>
                          <a:pt x="95" y="864"/>
                        </a:lnTo>
                        <a:lnTo>
                          <a:pt x="94" y="864"/>
                        </a:lnTo>
                        <a:lnTo>
                          <a:pt x="92" y="864"/>
                        </a:lnTo>
                        <a:lnTo>
                          <a:pt x="90" y="861"/>
                        </a:lnTo>
                        <a:lnTo>
                          <a:pt x="90" y="860"/>
                        </a:lnTo>
                        <a:lnTo>
                          <a:pt x="89" y="858"/>
                        </a:lnTo>
                        <a:lnTo>
                          <a:pt x="89" y="857"/>
                        </a:lnTo>
                        <a:lnTo>
                          <a:pt x="89" y="855"/>
                        </a:lnTo>
                        <a:lnTo>
                          <a:pt x="90" y="853"/>
                        </a:lnTo>
                        <a:lnTo>
                          <a:pt x="90" y="852"/>
                        </a:lnTo>
                        <a:lnTo>
                          <a:pt x="90" y="850"/>
                        </a:lnTo>
                        <a:lnTo>
                          <a:pt x="90" y="849"/>
                        </a:lnTo>
                        <a:lnTo>
                          <a:pt x="90" y="847"/>
                        </a:lnTo>
                        <a:lnTo>
                          <a:pt x="89" y="847"/>
                        </a:lnTo>
                        <a:lnTo>
                          <a:pt x="89" y="845"/>
                        </a:lnTo>
                        <a:lnTo>
                          <a:pt x="87" y="844"/>
                        </a:lnTo>
                        <a:lnTo>
                          <a:pt x="87" y="842"/>
                        </a:lnTo>
                        <a:lnTo>
                          <a:pt x="86" y="842"/>
                        </a:lnTo>
                        <a:lnTo>
                          <a:pt x="86" y="839"/>
                        </a:lnTo>
                        <a:lnTo>
                          <a:pt x="87" y="838"/>
                        </a:lnTo>
                        <a:lnTo>
                          <a:pt x="87" y="836"/>
                        </a:lnTo>
                        <a:lnTo>
                          <a:pt x="87" y="834"/>
                        </a:lnTo>
                        <a:lnTo>
                          <a:pt x="86" y="834"/>
                        </a:lnTo>
                        <a:lnTo>
                          <a:pt x="89" y="830"/>
                        </a:lnTo>
                        <a:lnTo>
                          <a:pt x="89" y="828"/>
                        </a:lnTo>
                        <a:lnTo>
                          <a:pt x="90" y="826"/>
                        </a:lnTo>
                        <a:lnTo>
                          <a:pt x="92" y="826"/>
                        </a:lnTo>
                        <a:lnTo>
                          <a:pt x="94" y="825"/>
                        </a:lnTo>
                        <a:lnTo>
                          <a:pt x="95" y="825"/>
                        </a:lnTo>
                        <a:lnTo>
                          <a:pt x="97" y="825"/>
                        </a:lnTo>
                        <a:lnTo>
                          <a:pt x="100" y="823"/>
                        </a:lnTo>
                        <a:lnTo>
                          <a:pt x="102" y="822"/>
                        </a:lnTo>
                        <a:lnTo>
                          <a:pt x="103" y="818"/>
                        </a:lnTo>
                        <a:lnTo>
                          <a:pt x="103" y="817"/>
                        </a:lnTo>
                        <a:lnTo>
                          <a:pt x="105" y="814"/>
                        </a:lnTo>
                        <a:lnTo>
                          <a:pt x="106" y="812"/>
                        </a:lnTo>
                        <a:lnTo>
                          <a:pt x="108" y="811"/>
                        </a:lnTo>
                        <a:lnTo>
                          <a:pt x="109" y="809"/>
                        </a:lnTo>
                        <a:lnTo>
                          <a:pt x="109" y="807"/>
                        </a:lnTo>
                        <a:lnTo>
                          <a:pt x="109" y="804"/>
                        </a:lnTo>
                        <a:lnTo>
                          <a:pt x="108" y="801"/>
                        </a:lnTo>
                        <a:lnTo>
                          <a:pt x="106" y="796"/>
                        </a:lnTo>
                        <a:lnTo>
                          <a:pt x="105" y="793"/>
                        </a:lnTo>
                        <a:lnTo>
                          <a:pt x="102" y="792"/>
                        </a:lnTo>
                        <a:lnTo>
                          <a:pt x="98" y="788"/>
                        </a:lnTo>
                        <a:lnTo>
                          <a:pt x="97" y="785"/>
                        </a:lnTo>
                        <a:lnTo>
                          <a:pt x="97" y="784"/>
                        </a:lnTo>
                        <a:lnTo>
                          <a:pt x="97" y="782"/>
                        </a:lnTo>
                        <a:lnTo>
                          <a:pt x="98" y="780"/>
                        </a:lnTo>
                        <a:lnTo>
                          <a:pt x="100" y="777"/>
                        </a:lnTo>
                        <a:lnTo>
                          <a:pt x="102" y="777"/>
                        </a:lnTo>
                        <a:lnTo>
                          <a:pt x="103" y="776"/>
                        </a:lnTo>
                        <a:lnTo>
                          <a:pt x="105" y="774"/>
                        </a:lnTo>
                        <a:lnTo>
                          <a:pt x="105" y="773"/>
                        </a:lnTo>
                        <a:lnTo>
                          <a:pt x="106" y="771"/>
                        </a:lnTo>
                        <a:lnTo>
                          <a:pt x="108" y="771"/>
                        </a:lnTo>
                        <a:lnTo>
                          <a:pt x="109" y="771"/>
                        </a:lnTo>
                        <a:lnTo>
                          <a:pt x="109" y="769"/>
                        </a:lnTo>
                        <a:lnTo>
                          <a:pt x="111" y="769"/>
                        </a:lnTo>
                        <a:lnTo>
                          <a:pt x="114" y="769"/>
                        </a:lnTo>
                        <a:lnTo>
                          <a:pt x="116" y="769"/>
                        </a:lnTo>
                        <a:lnTo>
                          <a:pt x="117" y="769"/>
                        </a:lnTo>
                        <a:lnTo>
                          <a:pt x="122" y="769"/>
                        </a:lnTo>
                        <a:lnTo>
                          <a:pt x="124" y="769"/>
                        </a:lnTo>
                        <a:lnTo>
                          <a:pt x="125" y="769"/>
                        </a:lnTo>
                        <a:lnTo>
                          <a:pt x="128" y="766"/>
                        </a:lnTo>
                        <a:lnTo>
                          <a:pt x="130" y="765"/>
                        </a:lnTo>
                        <a:lnTo>
                          <a:pt x="132" y="761"/>
                        </a:lnTo>
                        <a:lnTo>
                          <a:pt x="133" y="757"/>
                        </a:lnTo>
                        <a:lnTo>
                          <a:pt x="133" y="754"/>
                        </a:lnTo>
                        <a:lnTo>
                          <a:pt x="133" y="750"/>
                        </a:lnTo>
                        <a:lnTo>
                          <a:pt x="133" y="749"/>
                        </a:lnTo>
                        <a:lnTo>
                          <a:pt x="133" y="746"/>
                        </a:lnTo>
                        <a:lnTo>
                          <a:pt x="133" y="744"/>
                        </a:lnTo>
                        <a:lnTo>
                          <a:pt x="136" y="741"/>
                        </a:lnTo>
                        <a:lnTo>
                          <a:pt x="138" y="739"/>
                        </a:lnTo>
                        <a:lnTo>
                          <a:pt x="141" y="736"/>
                        </a:lnTo>
                        <a:lnTo>
                          <a:pt x="143" y="735"/>
                        </a:lnTo>
                        <a:lnTo>
                          <a:pt x="146" y="735"/>
                        </a:lnTo>
                        <a:lnTo>
                          <a:pt x="149" y="733"/>
                        </a:lnTo>
                        <a:lnTo>
                          <a:pt x="152" y="733"/>
                        </a:lnTo>
                        <a:lnTo>
                          <a:pt x="154" y="733"/>
                        </a:lnTo>
                        <a:lnTo>
                          <a:pt x="157" y="730"/>
                        </a:lnTo>
                        <a:lnTo>
                          <a:pt x="159" y="728"/>
                        </a:lnTo>
                        <a:lnTo>
                          <a:pt x="160" y="728"/>
                        </a:lnTo>
                        <a:lnTo>
                          <a:pt x="162" y="728"/>
                        </a:lnTo>
                        <a:lnTo>
                          <a:pt x="163" y="727"/>
                        </a:lnTo>
                        <a:lnTo>
                          <a:pt x="165" y="723"/>
                        </a:lnTo>
                        <a:lnTo>
                          <a:pt x="165" y="722"/>
                        </a:lnTo>
                        <a:lnTo>
                          <a:pt x="165" y="719"/>
                        </a:lnTo>
                        <a:lnTo>
                          <a:pt x="163" y="717"/>
                        </a:lnTo>
                        <a:lnTo>
                          <a:pt x="163" y="716"/>
                        </a:lnTo>
                        <a:lnTo>
                          <a:pt x="163" y="714"/>
                        </a:lnTo>
                        <a:lnTo>
                          <a:pt x="163" y="712"/>
                        </a:lnTo>
                        <a:lnTo>
                          <a:pt x="165" y="709"/>
                        </a:lnTo>
                        <a:lnTo>
                          <a:pt x="165" y="708"/>
                        </a:lnTo>
                        <a:lnTo>
                          <a:pt x="166" y="706"/>
                        </a:lnTo>
                        <a:lnTo>
                          <a:pt x="170" y="706"/>
                        </a:lnTo>
                        <a:lnTo>
                          <a:pt x="171" y="706"/>
                        </a:lnTo>
                        <a:lnTo>
                          <a:pt x="173" y="706"/>
                        </a:lnTo>
                        <a:lnTo>
                          <a:pt x="176" y="708"/>
                        </a:lnTo>
                        <a:lnTo>
                          <a:pt x="178" y="708"/>
                        </a:lnTo>
                        <a:lnTo>
                          <a:pt x="179" y="708"/>
                        </a:lnTo>
                        <a:lnTo>
                          <a:pt x="179" y="709"/>
                        </a:lnTo>
                        <a:lnTo>
                          <a:pt x="181" y="711"/>
                        </a:lnTo>
                        <a:lnTo>
                          <a:pt x="182" y="711"/>
                        </a:lnTo>
                        <a:lnTo>
                          <a:pt x="182" y="712"/>
                        </a:lnTo>
                        <a:lnTo>
                          <a:pt x="184" y="714"/>
                        </a:lnTo>
                        <a:lnTo>
                          <a:pt x="184" y="716"/>
                        </a:lnTo>
                        <a:lnTo>
                          <a:pt x="185" y="717"/>
                        </a:lnTo>
                        <a:lnTo>
                          <a:pt x="189" y="717"/>
                        </a:lnTo>
                        <a:lnTo>
                          <a:pt x="189" y="719"/>
                        </a:lnTo>
                        <a:lnTo>
                          <a:pt x="190" y="720"/>
                        </a:lnTo>
                        <a:lnTo>
                          <a:pt x="192" y="720"/>
                        </a:lnTo>
                        <a:lnTo>
                          <a:pt x="195" y="722"/>
                        </a:lnTo>
                        <a:lnTo>
                          <a:pt x="197" y="722"/>
                        </a:lnTo>
                        <a:lnTo>
                          <a:pt x="200" y="723"/>
                        </a:lnTo>
                        <a:lnTo>
                          <a:pt x="201" y="723"/>
                        </a:lnTo>
                        <a:lnTo>
                          <a:pt x="203" y="723"/>
                        </a:lnTo>
                        <a:lnTo>
                          <a:pt x="205" y="723"/>
                        </a:lnTo>
                        <a:lnTo>
                          <a:pt x="206" y="722"/>
                        </a:lnTo>
                        <a:lnTo>
                          <a:pt x="209" y="720"/>
                        </a:lnTo>
                        <a:lnTo>
                          <a:pt x="209" y="719"/>
                        </a:lnTo>
                        <a:lnTo>
                          <a:pt x="211" y="717"/>
                        </a:lnTo>
                        <a:lnTo>
                          <a:pt x="211" y="716"/>
                        </a:lnTo>
                        <a:lnTo>
                          <a:pt x="211" y="714"/>
                        </a:lnTo>
                        <a:lnTo>
                          <a:pt x="209" y="714"/>
                        </a:lnTo>
                        <a:lnTo>
                          <a:pt x="208" y="714"/>
                        </a:lnTo>
                        <a:lnTo>
                          <a:pt x="206" y="716"/>
                        </a:lnTo>
                        <a:lnTo>
                          <a:pt x="205" y="716"/>
                        </a:lnTo>
                        <a:lnTo>
                          <a:pt x="203" y="716"/>
                        </a:lnTo>
                        <a:lnTo>
                          <a:pt x="201" y="716"/>
                        </a:lnTo>
                        <a:lnTo>
                          <a:pt x="200" y="716"/>
                        </a:lnTo>
                        <a:lnTo>
                          <a:pt x="200" y="714"/>
                        </a:lnTo>
                        <a:lnTo>
                          <a:pt x="200" y="712"/>
                        </a:lnTo>
                        <a:lnTo>
                          <a:pt x="200" y="711"/>
                        </a:lnTo>
                        <a:lnTo>
                          <a:pt x="200" y="709"/>
                        </a:lnTo>
                        <a:lnTo>
                          <a:pt x="200" y="708"/>
                        </a:lnTo>
                        <a:lnTo>
                          <a:pt x="200" y="706"/>
                        </a:lnTo>
                        <a:lnTo>
                          <a:pt x="198" y="704"/>
                        </a:lnTo>
                        <a:lnTo>
                          <a:pt x="197" y="701"/>
                        </a:lnTo>
                        <a:lnTo>
                          <a:pt x="195" y="698"/>
                        </a:lnTo>
                        <a:lnTo>
                          <a:pt x="193" y="697"/>
                        </a:lnTo>
                        <a:lnTo>
                          <a:pt x="192" y="695"/>
                        </a:lnTo>
                        <a:lnTo>
                          <a:pt x="190" y="693"/>
                        </a:lnTo>
                        <a:lnTo>
                          <a:pt x="190" y="692"/>
                        </a:lnTo>
                        <a:lnTo>
                          <a:pt x="190" y="690"/>
                        </a:lnTo>
                        <a:lnTo>
                          <a:pt x="190" y="689"/>
                        </a:lnTo>
                        <a:lnTo>
                          <a:pt x="192" y="687"/>
                        </a:lnTo>
                        <a:lnTo>
                          <a:pt x="193" y="685"/>
                        </a:lnTo>
                        <a:lnTo>
                          <a:pt x="195" y="684"/>
                        </a:lnTo>
                        <a:lnTo>
                          <a:pt x="198" y="681"/>
                        </a:lnTo>
                        <a:lnTo>
                          <a:pt x="198" y="679"/>
                        </a:lnTo>
                        <a:lnTo>
                          <a:pt x="200" y="679"/>
                        </a:lnTo>
                        <a:lnTo>
                          <a:pt x="203" y="678"/>
                        </a:lnTo>
                        <a:lnTo>
                          <a:pt x="205" y="678"/>
                        </a:lnTo>
                        <a:lnTo>
                          <a:pt x="206" y="678"/>
                        </a:lnTo>
                        <a:lnTo>
                          <a:pt x="208" y="676"/>
                        </a:lnTo>
                        <a:lnTo>
                          <a:pt x="209" y="674"/>
                        </a:lnTo>
                        <a:lnTo>
                          <a:pt x="209" y="673"/>
                        </a:lnTo>
                        <a:lnTo>
                          <a:pt x="209" y="671"/>
                        </a:lnTo>
                        <a:lnTo>
                          <a:pt x="211" y="670"/>
                        </a:lnTo>
                        <a:lnTo>
                          <a:pt x="212" y="668"/>
                        </a:lnTo>
                        <a:lnTo>
                          <a:pt x="212" y="666"/>
                        </a:lnTo>
                        <a:lnTo>
                          <a:pt x="212" y="665"/>
                        </a:lnTo>
                        <a:lnTo>
                          <a:pt x="212" y="663"/>
                        </a:lnTo>
                        <a:lnTo>
                          <a:pt x="211" y="663"/>
                        </a:lnTo>
                        <a:lnTo>
                          <a:pt x="209" y="663"/>
                        </a:lnTo>
                        <a:lnTo>
                          <a:pt x="208" y="665"/>
                        </a:lnTo>
                        <a:lnTo>
                          <a:pt x="205" y="663"/>
                        </a:lnTo>
                        <a:lnTo>
                          <a:pt x="203" y="662"/>
                        </a:lnTo>
                        <a:lnTo>
                          <a:pt x="201" y="662"/>
                        </a:lnTo>
                        <a:lnTo>
                          <a:pt x="200" y="660"/>
                        </a:lnTo>
                        <a:lnTo>
                          <a:pt x="198" y="660"/>
                        </a:lnTo>
                        <a:lnTo>
                          <a:pt x="197" y="659"/>
                        </a:lnTo>
                        <a:lnTo>
                          <a:pt x="195" y="659"/>
                        </a:lnTo>
                        <a:lnTo>
                          <a:pt x="193" y="657"/>
                        </a:lnTo>
                        <a:lnTo>
                          <a:pt x="192" y="657"/>
                        </a:lnTo>
                        <a:lnTo>
                          <a:pt x="192" y="655"/>
                        </a:lnTo>
                        <a:lnTo>
                          <a:pt x="190" y="654"/>
                        </a:lnTo>
                        <a:lnTo>
                          <a:pt x="189" y="652"/>
                        </a:lnTo>
                        <a:lnTo>
                          <a:pt x="187" y="652"/>
                        </a:lnTo>
                        <a:lnTo>
                          <a:pt x="185" y="652"/>
                        </a:lnTo>
                        <a:lnTo>
                          <a:pt x="185" y="651"/>
                        </a:lnTo>
                        <a:lnTo>
                          <a:pt x="184" y="651"/>
                        </a:lnTo>
                        <a:lnTo>
                          <a:pt x="182" y="651"/>
                        </a:lnTo>
                        <a:lnTo>
                          <a:pt x="181" y="651"/>
                        </a:lnTo>
                        <a:lnTo>
                          <a:pt x="179" y="649"/>
                        </a:lnTo>
                        <a:lnTo>
                          <a:pt x="178" y="649"/>
                        </a:lnTo>
                        <a:lnTo>
                          <a:pt x="176" y="647"/>
                        </a:lnTo>
                        <a:lnTo>
                          <a:pt x="173" y="646"/>
                        </a:lnTo>
                        <a:lnTo>
                          <a:pt x="173" y="644"/>
                        </a:lnTo>
                        <a:lnTo>
                          <a:pt x="171" y="643"/>
                        </a:lnTo>
                        <a:lnTo>
                          <a:pt x="170" y="643"/>
                        </a:lnTo>
                        <a:lnTo>
                          <a:pt x="168" y="641"/>
                        </a:lnTo>
                        <a:lnTo>
                          <a:pt x="166" y="641"/>
                        </a:lnTo>
                        <a:lnTo>
                          <a:pt x="165" y="641"/>
                        </a:lnTo>
                        <a:lnTo>
                          <a:pt x="163" y="641"/>
                        </a:lnTo>
                        <a:lnTo>
                          <a:pt x="160" y="638"/>
                        </a:lnTo>
                        <a:lnTo>
                          <a:pt x="159" y="638"/>
                        </a:lnTo>
                        <a:lnTo>
                          <a:pt x="157" y="638"/>
                        </a:lnTo>
                        <a:lnTo>
                          <a:pt x="157" y="636"/>
                        </a:lnTo>
                        <a:lnTo>
                          <a:pt x="155" y="636"/>
                        </a:lnTo>
                        <a:lnTo>
                          <a:pt x="155" y="635"/>
                        </a:lnTo>
                        <a:lnTo>
                          <a:pt x="155" y="633"/>
                        </a:lnTo>
                        <a:lnTo>
                          <a:pt x="154" y="632"/>
                        </a:lnTo>
                        <a:lnTo>
                          <a:pt x="154" y="630"/>
                        </a:lnTo>
                        <a:lnTo>
                          <a:pt x="154" y="628"/>
                        </a:lnTo>
                        <a:lnTo>
                          <a:pt x="152" y="627"/>
                        </a:lnTo>
                        <a:lnTo>
                          <a:pt x="151" y="625"/>
                        </a:lnTo>
                        <a:lnTo>
                          <a:pt x="149" y="624"/>
                        </a:lnTo>
                        <a:lnTo>
                          <a:pt x="147" y="620"/>
                        </a:lnTo>
                        <a:lnTo>
                          <a:pt x="146" y="619"/>
                        </a:lnTo>
                        <a:lnTo>
                          <a:pt x="143" y="617"/>
                        </a:lnTo>
                        <a:lnTo>
                          <a:pt x="140" y="614"/>
                        </a:lnTo>
                        <a:lnTo>
                          <a:pt x="138" y="613"/>
                        </a:lnTo>
                        <a:lnTo>
                          <a:pt x="136" y="611"/>
                        </a:lnTo>
                        <a:lnTo>
                          <a:pt x="132" y="608"/>
                        </a:lnTo>
                        <a:lnTo>
                          <a:pt x="130" y="606"/>
                        </a:lnTo>
                        <a:lnTo>
                          <a:pt x="128" y="606"/>
                        </a:lnTo>
                        <a:lnTo>
                          <a:pt x="127" y="606"/>
                        </a:lnTo>
                        <a:lnTo>
                          <a:pt x="125" y="606"/>
                        </a:lnTo>
                        <a:lnTo>
                          <a:pt x="125" y="608"/>
                        </a:lnTo>
                        <a:lnTo>
                          <a:pt x="124" y="609"/>
                        </a:lnTo>
                        <a:lnTo>
                          <a:pt x="124" y="611"/>
                        </a:lnTo>
                        <a:lnTo>
                          <a:pt x="122" y="613"/>
                        </a:lnTo>
                        <a:lnTo>
                          <a:pt x="121" y="614"/>
                        </a:lnTo>
                        <a:lnTo>
                          <a:pt x="119" y="617"/>
                        </a:lnTo>
                        <a:lnTo>
                          <a:pt x="119" y="619"/>
                        </a:lnTo>
                        <a:lnTo>
                          <a:pt x="117" y="620"/>
                        </a:lnTo>
                        <a:lnTo>
                          <a:pt x="117" y="622"/>
                        </a:lnTo>
                        <a:lnTo>
                          <a:pt x="116" y="624"/>
                        </a:lnTo>
                        <a:lnTo>
                          <a:pt x="116" y="625"/>
                        </a:lnTo>
                        <a:lnTo>
                          <a:pt x="114" y="625"/>
                        </a:lnTo>
                        <a:lnTo>
                          <a:pt x="113" y="628"/>
                        </a:lnTo>
                        <a:lnTo>
                          <a:pt x="113" y="627"/>
                        </a:lnTo>
                        <a:lnTo>
                          <a:pt x="111" y="625"/>
                        </a:lnTo>
                        <a:lnTo>
                          <a:pt x="109" y="625"/>
                        </a:lnTo>
                        <a:lnTo>
                          <a:pt x="108" y="625"/>
                        </a:lnTo>
                        <a:lnTo>
                          <a:pt x="106" y="627"/>
                        </a:lnTo>
                        <a:lnTo>
                          <a:pt x="105" y="627"/>
                        </a:lnTo>
                        <a:lnTo>
                          <a:pt x="105" y="625"/>
                        </a:lnTo>
                        <a:lnTo>
                          <a:pt x="103" y="625"/>
                        </a:lnTo>
                        <a:lnTo>
                          <a:pt x="102" y="625"/>
                        </a:lnTo>
                        <a:lnTo>
                          <a:pt x="102" y="624"/>
                        </a:lnTo>
                        <a:lnTo>
                          <a:pt x="100" y="622"/>
                        </a:lnTo>
                        <a:lnTo>
                          <a:pt x="98" y="620"/>
                        </a:lnTo>
                        <a:lnTo>
                          <a:pt x="97" y="617"/>
                        </a:lnTo>
                        <a:lnTo>
                          <a:pt x="95" y="617"/>
                        </a:lnTo>
                        <a:lnTo>
                          <a:pt x="94" y="616"/>
                        </a:lnTo>
                        <a:lnTo>
                          <a:pt x="89" y="613"/>
                        </a:lnTo>
                        <a:lnTo>
                          <a:pt x="86" y="611"/>
                        </a:lnTo>
                        <a:lnTo>
                          <a:pt x="84" y="609"/>
                        </a:lnTo>
                        <a:lnTo>
                          <a:pt x="83" y="609"/>
                        </a:lnTo>
                        <a:lnTo>
                          <a:pt x="81" y="606"/>
                        </a:lnTo>
                        <a:lnTo>
                          <a:pt x="81" y="605"/>
                        </a:lnTo>
                        <a:lnTo>
                          <a:pt x="81" y="603"/>
                        </a:lnTo>
                        <a:lnTo>
                          <a:pt x="81" y="601"/>
                        </a:lnTo>
                        <a:lnTo>
                          <a:pt x="79" y="598"/>
                        </a:lnTo>
                        <a:lnTo>
                          <a:pt x="75" y="598"/>
                        </a:lnTo>
                        <a:lnTo>
                          <a:pt x="73" y="597"/>
                        </a:lnTo>
                        <a:lnTo>
                          <a:pt x="73" y="595"/>
                        </a:lnTo>
                        <a:lnTo>
                          <a:pt x="71" y="597"/>
                        </a:lnTo>
                        <a:lnTo>
                          <a:pt x="71" y="595"/>
                        </a:lnTo>
                        <a:lnTo>
                          <a:pt x="70" y="594"/>
                        </a:lnTo>
                        <a:lnTo>
                          <a:pt x="68" y="595"/>
                        </a:lnTo>
                        <a:lnTo>
                          <a:pt x="67" y="595"/>
                        </a:lnTo>
                        <a:lnTo>
                          <a:pt x="65" y="595"/>
                        </a:lnTo>
                        <a:lnTo>
                          <a:pt x="64" y="595"/>
                        </a:lnTo>
                        <a:lnTo>
                          <a:pt x="62" y="595"/>
                        </a:lnTo>
                        <a:lnTo>
                          <a:pt x="62" y="594"/>
                        </a:lnTo>
                        <a:lnTo>
                          <a:pt x="60" y="594"/>
                        </a:lnTo>
                        <a:lnTo>
                          <a:pt x="60" y="592"/>
                        </a:lnTo>
                        <a:lnTo>
                          <a:pt x="59" y="590"/>
                        </a:lnTo>
                        <a:lnTo>
                          <a:pt x="57" y="590"/>
                        </a:lnTo>
                        <a:lnTo>
                          <a:pt x="56" y="589"/>
                        </a:lnTo>
                        <a:lnTo>
                          <a:pt x="54" y="590"/>
                        </a:lnTo>
                        <a:lnTo>
                          <a:pt x="54" y="589"/>
                        </a:lnTo>
                        <a:lnTo>
                          <a:pt x="51" y="586"/>
                        </a:lnTo>
                        <a:lnTo>
                          <a:pt x="48" y="582"/>
                        </a:lnTo>
                        <a:lnTo>
                          <a:pt x="45" y="579"/>
                        </a:lnTo>
                        <a:lnTo>
                          <a:pt x="40" y="576"/>
                        </a:lnTo>
                        <a:lnTo>
                          <a:pt x="37" y="573"/>
                        </a:lnTo>
                        <a:lnTo>
                          <a:pt x="33" y="568"/>
                        </a:lnTo>
                        <a:lnTo>
                          <a:pt x="30" y="567"/>
                        </a:lnTo>
                        <a:lnTo>
                          <a:pt x="24" y="560"/>
                        </a:lnTo>
                        <a:lnTo>
                          <a:pt x="18" y="556"/>
                        </a:lnTo>
                        <a:lnTo>
                          <a:pt x="13" y="551"/>
                        </a:lnTo>
                        <a:lnTo>
                          <a:pt x="11" y="548"/>
                        </a:lnTo>
                        <a:lnTo>
                          <a:pt x="8" y="544"/>
                        </a:lnTo>
                        <a:lnTo>
                          <a:pt x="3" y="540"/>
                        </a:lnTo>
                        <a:lnTo>
                          <a:pt x="0" y="537"/>
                        </a:lnTo>
                        <a:lnTo>
                          <a:pt x="0" y="535"/>
                        </a:lnTo>
                        <a:lnTo>
                          <a:pt x="2" y="535"/>
                        </a:lnTo>
                        <a:lnTo>
                          <a:pt x="2" y="532"/>
                        </a:lnTo>
                        <a:lnTo>
                          <a:pt x="2" y="525"/>
                        </a:lnTo>
                        <a:lnTo>
                          <a:pt x="2" y="519"/>
                        </a:lnTo>
                        <a:lnTo>
                          <a:pt x="2" y="513"/>
                        </a:lnTo>
                        <a:lnTo>
                          <a:pt x="3" y="503"/>
                        </a:lnTo>
                        <a:lnTo>
                          <a:pt x="3" y="497"/>
                        </a:lnTo>
                        <a:lnTo>
                          <a:pt x="3" y="492"/>
                        </a:lnTo>
                        <a:lnTo>
                          <a:pt x="3" y="487"/>
                        </a:lnTo>
                        <a:lnTo>
                          <a:pt x="3" y="484"/>
                        </a:lnTo>
                        <a:lnTo>
                          <a:pt x="3" y="483"/>
                        </a:lnTo>
                        <a:lnTo>
                          <a:pt x="3" y="481"/>
                        </a:lnTo>
                        <a:lnTo>
                          <a:pt x="5" y="481"/>
                        </a:lnTo>
                        <a:lnTo>
                          <a:pt x="7" y="481"/>
                        </a:lnTo>
                        <a:lnTo>
                          <a:pt x="8" y="480"/>
                        </a:lnTo>
                        <a:lnTo>
                          <a:pt x="10" y="480"/>
                        </a:lnTo>
                        <a:lnTo>
                          <a:pt x="13" y="481"/>
                        </a:lnTo>
                        <a:lnTo>
                          <a:pt x="14" y="481"/>
                        </a:lnTo>
                        <a:lnTo>
                          <a:pt x="18" y="481"/>
                        </a:lnTo>
                        <a:lnTo>
                          <a:pt x="18" y="480"/>
                        </a:lnTo>
                        <a:lnTo>
                          <a:pt x="19" y="480"/>
                        </a:lnTo>
                        <a:lnTo>
                          <a:pt x="21" y="478"/>
                        </a:lnTo>
                        <a:lnTo>
                          <a:pt x="24" y="478"/>
                        </a:lnTo>
                        <a:lnTo>
                          <a:pt x="26" y="478"/>
                        </a:lnTo>
                        <a:lnTo>
                          <a:pt x="29" y="478"/>
                        </a:lnTo>
                        <a:lnTo>
                          <a:pt x="30" y="476"/>
                        </a:lnTo>
                        <a:lnTo>
                          <a:pt x="32" y="475"/>
                        </a:lnTo>
                        <a:lnTo>
                          <a:pt x="33" y="475"/>
                        </a:lnTo>
                        <a:lnTo>
                          <a:pt x="37" y="470"/>
                        </a:lnTo>
                        <a:lnTo>
                          <a:pt x="38" y="468"/>
                        </a:lnTo>
                        <a:lnTo>
                          <a:pt x="40" y="467"/>
                        </a:lnTo>
                        <a:lnTo>
                          <a:pt x="41" y="464"/>
                        </a:lnTo>
                        <a:lnTo>
                          <a:pt x="43" y="459"/>
                        </a:lnTo>
                        <a:lnTo>
                          <a:pt x="46" y="457"/>
                        </a:lnTo>
                        <a:lnTo>
                          <a:pt x="48" y="454"/>
                        </a:lnTo>
                        <a:lnTo>
                          <a:pt x="48" y="451"/>
                        </a:lnTo>
                        <a:lnTo>
                          <a:pt x="49" y="449"/>
                        </a:lnTo>
                        <a:lnTo>
                          <a:pt x="49" y="448"/>
                        </a:lnTo>
                        <a:lnTo>
                          <a:pt x="49" y="446"/>
                        </a:lnTo>
                        <a:lnTo>
                          <a:pt x="51" y="445"/>
                        </a:lnTo>
                        <a:lnTo>
                          <a:pt x="51" y="443"/>
                        </a:lnTo>
                        <a:lnTo>
                          <a:pt x="51" y="441"/>
                        </a:lnTo>
                        <a:lnTo>
                          <a:pt x="51" y="440"/>
                        </a:lnTo>
                        <a:lnTo>
                          <a:pt x="52" y="440"/>
                        </a:lnTo>
                        <a:lnTo>
                          <a:pt x="51" y="440"/>
                        </a:lnTo>
                        <a:lnTo>
                          <a:pt x="49" y="440"/>
                        </a:lnTo>
                        <a:lnTo>
                          <a:pt x="49" y="438"/>
                        </a:lnTo>
                        <a:lnTo>
                          <a:pt x="48" y="438"/>
                        </a:lnTo>
                        <a:lnTo>
                          <a:pt x="46" y="437"/>
                        </a:lnTo>
                        <a:lnTo>
                          <a:pt x="45" y="437"/>
                        </a:lnTo>
                        <a:lnTo>
                          <a:pt x="43" y="435"/>
                        </a:lnTo>
                        <a:lnTo>
                          <a:pt x="43" y="434"/>
                        </a:lnTo>
                        <a:lnTo>
                          <a:pt x="45" y="432"/>
                        </a:lnTo>
                        <a:lnTo>
                          <a:pt x="46" y="432"/>
                        </a:lnTo>
                        <a:lnTo>
                          <a:pt x="46" y="430"/>
                        </a:lnTo>
                        <a:lnTo>
                          <a:pt x="46" y="429"/>
                        </a:lnTo>
                        <a:lnTo>
                          <a:pt x="48" y="427"/>
                        </a:lnTo>
                        <a:lnTo>
                          <a:pt x="48" y="426"/>
                        </a:lnTo>
                        <a:lnTo>
                          <a:pt x="48" y="424"/>
                        </a:lnTo>
                        <a:lnTo>
                          <a:pt x="48" y="422"/>
                        </a:lnTo>
                        <a:lnTo>
                          <a:pt x="51" y="422"/>
                        </a:lnTo>
                        <a:lnTo>
                          <a:pt x="56" y="422"/>
                        </a:lnTo>
                        <a:lnTo>
                          <a:pt x="57" y="422"/>
                        </a:lnTo>
                        <a:lnTo>
                          <a:pt x="59" y="422"/>
                        </a:lnTo>
                        <a:lnTo>
                          <a:pt x="65" y="422"/>
                        </a:lnTo>
                        <a:lnTo>
                          <a:pt x="78" y="422"/>
                        </a:lnTo>
                        <a:lnTo>
                          <a:pt x="90" y="422"/>
                        </a:lnTo>
                        <a:lnTo>
                          <a:pt x="97" y="422"/>
                        </a:lnTo>
                        <a:lnTo>
                          <a:pt x="102" y="422"/>
                        </a:lnTo>
                        <a:lnTo>
                          <a:pt x="105" y="422"/>
                        </a:lnTo>
                        <a:lnTo>
                          <a:pt x="106" y="422"/>
                        </a:lnTo>
                        <a:lnTo>
                          <a:pt x="108" y="421"/>
                        </a:lnTo>
                        <a:lnTo>
                          <a:pt x="109" y="421"/>
                        </a:lnTo>
                        <a:lnTo>
                          <a:pt x="113" y="419"/>
                        </a:lnTo>
                        <a:lnTo>
                          <a:pt x="113" y="418"/>
                        </a:lnTo>
                        <a:lnTo>
                          <a:pt x="113" y="416"/>
                        </a:lnTo>
                        <a:lnTo>
                          <a:pt x="114" y="416"/>
                        </a:lnTo>
                        <a:lnTo>
                          <a:pt x="114" y="415"/>
                        </a:lnTo>
                        <a:lnTo>
                          <a:pt x="116" y="413"/>
                        </a:lnTo>
                        <a:lnTo>
                          <a:pt x="117" y="413"/>
                        </a:lnTo>
                        <a:lnTo>
                          <a:pt x="119" y="413"/>
                        </a:lnTo>
                        <a:lnTo>
                          <a:pt x="121" y="413"/>
                        </a:lnTo>
                        <a:lnTo>
                          <a:pt x="122" y="415"/>
                        </a:lnTo>
                        <a:lnTo>
                          <a:pt x="124" y="415"/>
                        </a:lnTo>
                        <a:lnTo>
                          <a:pt x="125" y="415"/>
                        </a:lnTo>
                        <a:lnTo>
                          <a:pt x="127" y="415"/>
                        </a:lnTo>
                        <a:lnTo>
                          <a:pt x="127" y="413"/>
                        </a:lnTo>
                        <a:lnTo>
                          <a:pt x="128" y="413"/>
                        </a:lnTo>
                        <a:lnTo>
                          <a:pt x="128" y="411"/>
                        </a:lnTo>
                        <a:lnTo>
                          <a:pt x="130" y="411"/>
                        </a:lnTo>
                        <a:lnTo>
                          <a:pt x="132" y="411"/>
                        </a:lnTo>
                        <a:lnTo>
                          <a:pt x="132" y="410"/>
                        </a:lnTo>
                        <a:lnTo>
                          <a:pt x="132" y="408"/>
                        </a:lnTo>
                        <a:lnTo>
                          <a:pt x="133" y="408"/>
                        </a:lnTo>
                        <a:lnTo>
                          <a:pt x="133" y="407"/>
                        </a:lnTo>
                        <a:lnTo>
                          <a:pt x="135" y="407"/>
                        </a:lnTo>
                        <a:lnTo>
                          <a:pt x="138" y="405"/>
                        </a:lnTo>
                        <a:lnTo>
                          <a:pt x="138" y="403"/>
                        </a:lnTo>
                        <a:lnTo>
                          <a:pt x="140" y="403"/>
                        </a:lnTo>
                        <a:lnTo>
                          <a:pt x="140" y="402"/>
                        </a:lnTo>
                        <a:lnTo>
                          <a:pt x="141" y="399"/>
                        </a:lnTo>
                        <a:lnTo>
                          <a:pt x="143" y="399"/>
                        </a:lnTo>
                        <a:lnTo>
                          <a:pt x="144" y="397"/>
                        </a:lnTo>
                        <a:lnTo>
                          <a:pt x="146" y="397"/>
                        </a:lnTo>
                        <a:lnTo>
                          <a:pt x="146" y="399"/>
                        </a:lnTo>
                        <a:lnTo>
                          <a:pt x="147" y="399"/>
                        </a:lnTo>
                        <a:lnTo>
                          <a:pt x="147" y="397"/>
                        </a:lnTo>
                        <a:lnTo>
                          <a:pt x="147" y="396"/>
                        </a:lnTo>
                        <a:lnTo>
                          <a:pt x="149" y="396"/>
                        </a:lnTo>
                        <a:lnTo>
                          <a:pt x="149" y="397"/>
                        </a:lnTo>
                        <a:lnTo>
                          <a:pt x="149" y="396"/>
                        </a:lnTo>
                        <a:lnTo>
                          <a:pt x="149" y="394"/>
                        </a:lnTo>
                        <a:lnTo>
                          <a:pt x="151" y="394"/>
                        </a:lnTo>
                        <a:lnTo>
                          <a:pt x="151" y="392"/>
                        </a:lnTo>
                        <a:lnTo>
                          <a:pt x="151" y="391"/>
                        </a:lnTo>
                        <a:lnTo>
                          <a:pt x="152" y="389"/>
                        </a:lnTo>
                        <a:lnTo>
                          <a:pt x="152" y="388"/>
                        </a:lnTo>
                        <a:lnTo>
                          <a:pt x="152" y="386"/>
                        </a:lnTo>
                        <a:lnTo>
                          <a:pt x="152" y="384"/>
                        </a:lnTo>
                        <a:lnTo>
                          <a:pt x="154" y="384"/>
                        </a:lnTo>
                        <a:lnTo>
                          <a:pt x="154" y="383"/>
                        </a:lnTo>
                        <a:lnTo>
                          <a:pt x="154" y="381"/>
                        </a:lnTo>
                        <a:lnTo>
                          <a:pt x="155" y="377"/>
                        </a:lnTo>
                        <a:lnTo>
                          <a:pt x="157" y="373"/>
                        </a:lnTo>
                        <a:lnTo>
                          <a:pt x="160" y="372"/>
                        </a:lnTo>
                        <a:lnTo>
                          <a:pt x="162" y="370"/>
                        </a:lnTo>
                        <a:lnTo>
                          <a:pt x="165" y="365"/>
                        </a:lnTo>
                        <a:lnTo>
                          <a:pt x="166" y="362"/>
                        </a:lnTo>
                        <a:lnTo>
                          <a:pt x="168" y="359"/>
                        </a:lnTo>
                        <a:lnTo>
                          <a:pt x="171" y="358"/>
                        </a:lnTo>
                        <a:lnTo>
                          <a:pt x="173" y="354"/>
                        </a:lnTo>
                        <a:lnTo>
                          <a:pt x="176" y="351"/>
                        </a:lnTo>
                        <a:lnTo>
                          <a:pt x="179" y="350"/>
                        </a:lnTo>
                        <a:lnTo>
                          <a:pt x="182" y="348"/>
                        </a:lnTo>
                        <a:lnTo>
                          <a:pt x="185" y="345"/>
                        </a:lnTo>
                        <a:lnTo>
                          <a:pt x="187" y="343"/>
                        </a:lnTo>
                        <a:lnTo>
                          <a:pt x="189" y="342"/>
                        </a:lnTo>
                        <a:lnTo>
                          <a:pt x="192" y="340"/>
                        </a:lnTo>
                        <a:lnTo>
                          <a:pt x="193" y="340"/>
                        </a:lnTo>
                        <a:lnTo>
                          <a:pt x="197" y="339"/>
                        </a:lnTo>
                        <a:lnTo>
                          <a:pt x="200" y="337"/>
                        </a:lnTo>
                        <a:lnTo>
                          <a:pt x="201" y="335"/>
                        </a:lnTo>
                        <a:lnTo>
                          <a:pt x="205" y="335"/>
                        </a:lnTo>
                        <a:lnTo>
                          <a:pt x="206" y="335"/>
                        </a:lnTo>
                        <a:lnTo>
                          <a:pt x="208" y="334"/>
                        </a:lnTo>
                        <a:lnTo>
                          <a:pt x="211" y="334"/>
                        </a:lnTo>
                        <a:lnTo>
                          <a:pt x="212" y="334"/>
                        </a:lnTo>
                        <a:lnTo>
                          <a:pt x="216" y="334"/>
                        </a:lnTo>
                        <a:lnTo>
                          <a:pt x="219" y="335"/>
                        </a:lnTo>
                        <a:lnTo>
                          <a:pt x="220" y="335"/>
                        </a:lnTo>
                        <a:lnTo>
                          <a:pt x="222" y="337"/>
                        </a:lnTo>
                        <a:lnTo>
                          <a:pt x="225" y="337"/>
                        </a:lnTo>
                        <a:lnTo>
                          <a:pt x="227" y="339"/>
                        </a:lnTo>
                        <a:lnTo>
                          <a:pt x="230" y="339"/>
                        </a:lnTo>
                        <a:lnTo>
                          <a:pt x="231" y="340"/>
                        </a:lnTo>
                        <a:lnTo>
                          <a:pt x="233" y="340"/>
                        </a:lnTo>
                        <a:lnTo>
                          <a:pt x="236" y="342"/>
                        </a:lnTo>
                        <a:lnTo>
                          <a:pt x="239" y="342"/>
                        </a:lnTo>
                        <a:lnTo>
                          <a:pt x="241" y="343"/>
                        </a:lnTo>
                        <a:lnTo>
                          <a:pt x="244" y="343"/>
                        </a:lnTo>
                        <a:lnTo>
                          <a:pt x="247" y="345"/>
                        </a:lnTo>
                        <a:lnTo>
                          <a:pt x="249" y="345"/>
                        </a:lnTo>
                        <a:lnTo>
                          <a:pt x="252" y="345"/>
                        </a:lnTo>
                        <a:lnTo>
                          <a:pt x="254" y="345"/>
                        </a:lnTo>
                        <a:lnTo>
                          <a:pt x="255" y="343"/>
                        </a:lnTo>
                        <a:lnTo>
                          <a:pt x="257" y="342"/>
                        </a:lnTo>
                        <a:lnTo>
                          <a:pt x="258" y="340"/>
                        </a:lnTo>
                        <a:lnTo>
                          <a:pt x="260" y="342"/>
                        </a:lnTo>
                        <a:lnTo>
                          <a:pt x="262" y="342"/>
                        </a:lnTo>
                        <a:lnTo>
                          <a:pt x="263" y="340"/>
                        </a:lnTo>
                        <a:lnTo>
                          <a:pt x="265" y="340"/>
                        </a:lnTo>
                        <a:lnTo>
                          <a:pt x="266" y="340"/>
                        </a:lnTo>
                        <a:lnTo>
                          <a:pt x="268" y="339"/>
                        </a:lnTo>
                        <a:lnTo>
                          <a:pt x="269" y="339"/>
                        </a:lnTo>
                        <a:lnTo>
                          <a:pt x="269" y="337"/>
                        </a:lnTo>
                        <a:lnTo>
                          <a:pt x="271" y="337"/>
                        </a:lnTo>
                        <a:lnTo>
                          <a:pt x="273" y="335"/>
                        </a:lnTo>
                        <a:lnTo>
                          <a:pt x="274" y="335"/>
                        </a:lnTo>
                        <a:lnTo>
                          <a:pt x="276" y="335"/>
                        </a:lnTo>
                        <a:lnTo>
                          <a:pt x="277" y="335"/>
                        </a:lnTo>
                        <a:lnTo>
                          <a:pt x="277" y="334"/>
                        </a:lnTo>
                        <a:lnTo>
                          <a:pt x="277" y="332"/>
                        </a:lnTo>
                        <a:lnTo>
                          <a:pt x="277" y="331"/>
                        </a:lnTo>
                        <a:lnTo>
                          <a:pt x="279" y="331"/>
                        </a:lnTo>
                        <a:lnTo>
                          <a:pt x="279" y="329"/>
                        </a:lnTo>
                        <a:lnTo>
                          <a:pt x="281" y="327"/>
                        </a:lnTo>
                        <a:lnTo>
                          <a:pt x="282" y="326"/>
                        </a:lnTo>
                        <a:lnTo>
                          <a:pt x="284" y="326"/>
                        </a:lnTo>
                        <a:lnTo>
                          <a:pt x="284" y="324"/>
                        </a:lnTo>
                        <a:lnTo>
                          <a:pt x="285" y="324"/>
                        </a:lnTo>
                        <a:lnTo>
                          <a:pt x="285" y="323"/>
                        </a:lnTo>
                        <a:lnTo>
                          <a:pt x="287" y="323"/>
                        </a:lnTo>
                        <a:lnTo>
                          <a:pt x="287" y="321"/>
                        </a:lnTo>
                        <a:lnTo>
                          <a:pt x="287" y="323"/>
                        </a:lnTo>
                        <a:lnTo>
                          <a:pt x="287" y="321"/>
                        </a:lnTo>
                        <a:lnTo>
                          <a:pt x="288" y="320"/>
                        </a:lnTo>
                        <a:lnTo>
                          <a:pt x="288" y="318"/>
                        </a:lnTo>
                        <a:lnTo>
                          <a:pt x="290" y="318"/>
                        </a:lnTo>
                        <a:lnTo>
                          <a:pt x="290" y="316"/>
                        </a:lnTo>
                        <a:lnTo>
                          <a:pt x="290" y="315"/>
                        </a:lnTo>
                        <a:lnTo>
                          <a:pt x="290" y="313"/>
                        </a:lnTo>
                        <a:lnTo>
                          <a:pt x="292" y="313"/>
                        </a:lnTo>
                        <a:lnTo>
                          <a:pt x="293" y="312"/>
                        </a:lnTo>
                        <a:lnTo>
                          <a:pt x="293" y="310"/>
                        </a:lnTo>
                        <a:lnTo>
                          <a:pt x="293" y="308"/>
                        </a:lnTo>
                        <a:lnTo>
                          <a:pt x="295" y="308"/>
                        </a:lnTo>
                        <a:lnTo>
                          <a:pt x="295" y="307"/>
                        </a:lnTo>
                        <a:lnTo>
                          <a:pt x="295" y="305"/>
                        </a:lnTo>
                        <a:lnTo>
                          <a:pt x="296" y="305"/>
                        </a:lnTo>
                        <a:lnTo>
                          <a:pt x="296" y="304"/>
                        </a:lnTo>
                        <a:lnTo>
                          <a:pt x="296" y="302"/>
                        </a:lnTo>
                        <a:lnTo>
                          <a:pt x="296" y="301"/>
                        </a:lnTo>
                        <a:lnTo>
                          <a:pt x="298" y="301"/>
                        </a:lnTo>
                        <a:lnTo>
                          <a:pt x="298" y="299"/>
                        </a:lnTo>
                        <a:lnTo>
                          <a:pt x="300" y="297"/>
                        </a:lnTo>
                        <a:lnTo>
                          <a:pt x="300" y="296"/>
                        </a:lnTo>
                        <a:lnTo>
                          <a:pt x="301" y="296"/>
                        </a:lnTo>
                        <a:lnTo>
                          <a:pt x="301" y="294"/>
                        </a:lnTo>
                        <a:lnTo>
                          <a:pt x="301" y="293"/>
                        </a:lnTo>
                        <a:lnTo>
                          <a:pt x="303" y="291"/>
                        </a:lnTo>
                        <a:lnTo>
                          <a:pt x="303" y="289"/>
                        </a:lnTo>
                        <a:lnTo>
                          <a:pt x="303" y="288"/>
                        </a:lnTo>
                        <a:lnTo>
                          <a:pt x="303" y="286"/>
                        </a:lnTo>
                        <a:lnTo>
                          <a:pt x="301" y="286"/>
                        </a:lnTo>
                        <a:lnTo>
                          <a:pt x="301" y="285"/>
                        </a:lnTo>
                        <a:lnTo>
                          <a:pt x="300" y="285"/>
                        </a:lnTo>
                        <a:lnTo>
                          <a:pt x="300" y="283"/>
                        </a:lnTo>
                        <a:lnTo>
                          <a:pt x="298" y="283"/>
                        </a:lnTo>
                        <a:lnTo>
                          <a:pt x="298" y="282"/>
                        </a:lnTo>
                        <a:lnTo>
                          <a:pt x="296" y="282"/>
                        </a:lnTo>
                        <a:lnTo>
                          <a:pt x="295" y="280"/>
                        </a:lnTo>
                        <a:lnTo>
                          <a:pt x="295" y="278"/>
                        </a:lnTo>
                        <a:lnTo>
                          <a:pt x="293" y="278"/>
                        </a:lnTo>
                        <a:lnTo>
                          <a:pt x="292" y="280"/>
                        </a:lnTo>
                        <a:lnTo>
                          <a:pt x="292" y="278"/>
                        </a:lnTo>
                        <a:lnTo>
                          <a:pt x="292" y="277"/>
                        </a:lnTo>
                        <a:lnTo>
                          <a:pt x="292" y="275"/>
                        </a:lnTo>
                        <a:lnTo>
                          <a:pt x="293" y="274"/>
                        </a:lnTo>
                        <a:lnTo>
                          <a:pt x="293" y="272"/>
                        </a:lnTo>
                        <a:lnTo>
                          <a:pt x="293" y="270"/>
                        </a:lnTo>
                        <a:lnTo>
                          <a:pt x="293" y="269"/>
                        </a:lnTo>
                        <a:lnTo>
                          <a:pt x="293" y="267"/>
                        </a:lnTo>
                        <a:lnTo>
                          <a:pt x="295" y="266"/>
                        </a:lnTo>
                        <a:lnTo>
                          <a:pt x="293" y="264"/>
                        </a:lnTo>
                        <a:lnTo>
                          <a:pt x="293" y="263"/>
                        </a:lnTo>
                        <a:lnTo>
                          <a:pt x="293" y="261"/>
                        </a:lnTo>
                        <a:lnTo>
                          <a:pt x="292" y="259"/>
                        </a:lnTo>
                        <a:lnTo>
                          <a:pt x="290" y="258"/>
                        </a:lnTo>
                        <a:lnTo>
                          <a:pt x="290" y="256"/>
                        </a:lnTo>
                        <a:lnTo>
                          <a:pt x="288" y="255"/>
                        </a:lnTo>
                        <a:lnTo>
                          <a:pt x="287" y="253"/>
                        </a:lnTo>
                        <a:lnTo>
                          <a:pt x="287" y="251"/>
                        </a:lnTo>
                        <a:lnTo>
                          <a:pt x="285" y="250"/>
                        </a:lnTo>
                        <a:lnTo>
                          <a:pt x="285" y="248"/>
                        </a:lnTo>
                        <a:lnTo>
                          <a:pt x="285" y="247"/>
                        </a:lnTo>
                        <a:lnTo>
                          <a:pt x="285" y="245"/>
                        </a:lnTo>
                        <a:lnTo>
                          <a:pt x="285" y="243"/>
                        </a:lnTo>
                        <a:lnTo>
                          <a:pt x="287" y="243"/>
                        </a:lnTo>
                        <a:lnTo>
                          <a:pt x="288" y="243"/>
                        </a:lnTo>
                        <a:lnTo>
                          <a:pt x="290" y="243"/>
                        </a:lnTo>
                        <a:lnTo>
                          <a:pt x="292" y="243"/>
                        </a:lnTo>
                        <a:lnTo>
                          <a:pt x="293" y="243"/>
                        </a:lnTo>
                        <a:lnTo>
                          <a:pt x="293" y="245"/>
                        </a:lnTo>
                        <a:lnTo>
                          <a:pt x="295" y="245"/>
                        </a:lnTo>
                        <a:lnTo>
                          <a:pt x="296" y="243"/>
                        </a:lnTo>
                        <a:lnTo>
                          <a:pt x="295" y="243"/>
                        </a:lnTo>
                        <a:lnTo>
                          <a:pt x="295" y="242"/>
                        </a:lnTo>
                        <a:lnTo>
                          <a:pt x="293" y="240"/>
                        </a:lnTo>
                        <a:lnTo>
                          <a:pt x="292" y="239"/>
                        </a:lnTo>
                        <a:lnTo>
                          <a:pt x="290" y="237"/>
                        </a:lnTo>
                        <a:lnTo>
                          <a:pt x="290" y="236"/>
                        </a:lnTo>
                        <a:lnTo>
                          <a:pt x="288" y="234"/>
                        </a:lnTo>
                        <a:lnTo>
                          <a:pt x="287" y="232"/>
                        </a:lnTo>
                        <a:lnTo>
                          <a:pt x="287" y="231"/>
                        </a:lnTo>
                        <a:lnTo>
                          <a:pt x="285" y="229"/>
                        </a:lnTo>
                        <a:lnTo>
                          <a:pt x="284" y="229"/>
                        </a:lnTo>
                        <a:lnTo>
                          <a:pt x="282" y="229"/>
                        </a:lnTo>
                        <a:lnTo>
                          <a:pt x="281" y="229"/>
                        </a:lnTo>
                        <a:lnTo>
                          <a:pt x="279" y="228"/>
                        </a:lnTo>
                        <a:lnTo>
                          <a:pt x="277" y="226"/>
                        </a:lnTo>
                        <a:lnTo>
                          <a:pt x="277" y="224"/>
                        </a:lnTo>
                        <a:lnTo>
                          <a:pt x="276" y="223"/>
                        </a:lnTo>
                        <a:lnTo>
                          <a:pt x="274" y="223"/>
                        </a:lnTo>
                        <a:lnTo>
                          <a:pt x="274" y="220"/>
                        </a:lnTo>
                        <a:lnTo>
                          <a:pt x="274" y="218"/>
                        </a:lnTo>
                        <a:lnTo>
                          <a:pt x="273" y="215"/>
                        </a:lnTo>
                        <a:lnTo>
                          <a:pt x="269" y="213"/>
                        </a:lnTo>
                        <a:lnTo>
                          <a:pt x="266" y="213"/>
                        </a:lnTo>
                        <a:lnTo>
                          <a:pt x="263" y="212"/>
                        </a:lnTo>
                        <a:lnTo>
                          <a:pt x="258" y="212"/>
                        </a:lnTo>
                        <a:lnTo>
                          <a:pt x="257" y="212"/>
                        </a:lnTo>
                        <a:lnTo>
                          <a:pt x="254" y="210"/>
                        </a:lnTo>
                        <a:lnTo>
                          <a:pt x="254" y="209"/>
                        </a:lnTo>
                        <a:lnTo>
                          <a:pt x="252" y="209"/>
                        </a:lnTo>
                        <a:lnTo>
                          <a:pt x="252" y="205"/>
                        </a:lnTo>
                        <a:lnTo>
                          <a:pt x="252" y="204"/>
                        </a:lnTo>
                        <a:lnTo>
                          <a:pt x="252" y="201"/>
                        </a:lnTo>
                        <a:lnTo>
                          <a:pt x="254" y="199"/>
                        </a:lnTo>
                        <a:lnTo>
                          <a:pt x="254" y="196"/>
                        </a:lnTo>
                        <a:lnTo>
                          <a:pt x="254" y="194"/>
                        </a:lnTo>
                        <a:lnTo>
                          <a:pt x="254" y="191"/>
                        </a:lnTo>
                        <a:lnTo>
                          <a:pt x="254" y="190"/>
                        </a:lnTo>
                        <a:lnTo>
                          <a:pt x="254" y="186"/>
                        </a:lnTo>
                        <a:lnTo>
                          <a:pt x="252" y="182"/>
                        </a:lnTo>
                        <a:lnTo>
                          <a:pt x="252" y="179"/>
                        </a:lnTo>
                        <a:lnTo>
                          <a:pt x="250" y="174"/>
                        </a:lnTo>
                        <a:lnTo>
                          <a:pt x="249" y="172"/>
                        </a:lnTo>
                        <a:lnTo>
                          <a:pt x="247" y="171"/>
                        </a:lnTo>
                        <a:lnTo>
                          <a:pt x="246" y="171"/>
                        </a:lnTo>
                        <a:lnTo>
                          <a:pt x="244" y="169"/>
                        </a:lnTo>
                        <a:lnTo>
                          <a:pt x="243" y="169"/>
                        </a:lnTo>
                        <a:lnTo>
                          <a:pt x="241" y="169"/>
                        </a:lnTo>
                        <a:lnTo>
                          <a:pt x="239" y="169"/>
                        </a:lnTo>
                        <a:lnTo>
                          <a:pt x="239" y="167"/>
                        </a:lnTo>
                        <a:lnTo>
                          <a:pt x="238" y="167"/>
                        </a:lnTo>
                        <a:lnTo>
                          <a:pt x="238" y="166"/>
                        </a:lnTo>
                        <a:lnTo>
                          <a:pt x="236" y="166"/>
                        </a:lnTo>
                        <a:lnTo>
                          <a:pt x="236" y="164"/>
                        </a:lnTo>
                        <a:lnTo>
                          <a:pt x="236" y="163"/>
                        </a:lnTo>
                        <a:lnTo>
                          <a:pt x="236" y="161"/>
                        </a:lnTo>
                        <a:lnTo>
                          <a:pt x="236" y="160"/>
                        </a:lnTo>
                        <a:lnTo>
                          <a:pt x="236" y="158"/>
                        </a:lnTo>
                        <a:lnTo>
                          <a:pt x="236" y="156"/>
                        </a:lnTo>
                        <a:lnTo>
                          <a:pt x="238" y="155"/>
                        </a:lnTo>
                        <a:lnTo>
                          <a:pt x="238" y="153"/>
                        </a:lnTo>
                        <a:lnTo>
                          <a:pt x="235" y="153"/>
                        </a:lnTo>
                        <a:lnTo>
                          <a:pt x="233" y="150"/>
                        </a:lnTo>
                        <a:lnTo>
                          <a:pt x="231" y="148"/>
                        </a:lnTo>
                        <a:lnTo>
                          <a:pt x="228" y="145"/>
                        </a:lnTo>
                        <a:lnTo>
                          <a:pt x="225" y="142"/>
                        </a:lnTo>
                        <a:lnTo>
                          <a:pt x="224" y="141"/>
                        </a:lnTo>
                        <a:lnTo>
                          <a:pt x="224" y="139"/>
                        </a:lnTo>
                        <a:lnTo>
                          <a:pt x="225" y="137"/>
                        </a:lnTo>
                        <a:lnTo>
                          <a:pt x="225" y="136"/>
                        </a:lnTo>
                        <a:lnTo>
                          <a:pt x="227" y="133"/>
                        </a:lnTo>
                        <a:lnTo>
                          <a:pt x="227" y="131"/>
                        </a:lnTo>
                        <a:lnTo>
                          <a:pt x="228" y="129"/>
                        </a:lnTo>
                        <a:lnTo>
                          <a:pt x="228" y="126"/>
                        </a:lnTo>
                        <a:lnTo>
                          <a:pt x="228" y="123"/>
                        </a:lnTo>
                        <a:lnTo>
                          <a:pt x="228" y="120"/>
                        </a:lnTo>
                        <a:lnTo>
                          <a:pt x="230" y="120"/>
                        </a:lnTo>
                        <a:lnTo>
                          <a:pt x="231" y="118"/>
                        </a:lnTo>
                        <a:lnTo>
                          <a:pt x="235" y="118"/>
                        </a:lnTo>
                        <a:lnTo>
                          <a:pt x="236" y="117"/>
                        </a:lnTo>
                        <a:lnTo>
                          <a:pt x="238" y="115"/>
                        </a:lnTo>
                        <a:lnTo>
                          <a:pt x="239" y="114"/>
                        </a:lnTo>
                        <a:lnTo>
                          <a:pt x="239" y="110"/>
                        </a:lnTo>
                        <a:lnTo>
                          <a:pt x="239" y="109"/>
                        </a:lnTo>
                        <a:lnTo>
                          <a:pt x="239" y="106"/>
                        </a:lnTo>
                        <a:lnTo>
                          <a:pt x="239" y="103"/>
                        </a:lnTo>
                        <a:lnTo>
                          <a:pt x="239" y="98"/>
                        </a:lnTo>
                        <a:lnTo>
                          <a:pt x="239" y="95"/>
                        </a:lnTo>
                        <a:lnTo>
                          <a:pt x="238" y="95"/>
                        </a:lnTo>
                        <a:lnTo>
                          <a:pt x="236" y="95"/>
                        </a:lnTo>
                        <a:lnTo>
                          <a:pt x="236" y="93"/>
                        </a:lnTo>
                        <a:lnTo>
                          <a:pt x="235" y="93"/>
                        </a:lnTo>
                        <a:lnTo>
                          <a:pt x="233" y="95"/>
                        </a:lnTo>
                        <a:lnTo>
                          <a:pt x="231" y="95"/>
                        </a:lnTo>
                        <a:lnTo>
                          <a:pt x="230" y="95"/>
                        </a:lnTo>
                        <a:lnTo>
                          <a:pt x="228" y="95"/>
                        </a:lnTo>
                        <a:lnTo>
                          <a:pt x="227" y="95"/>
                        </a:lnTo>
                        <a:lnTo>
                          <a:pt x="225" y="95"/>
                        </a:lnTo>
                        <a:lnTo>
                          <a:pt x="224" y="95"/>
                        </a:lnTo>
                        <a:lnTo>
                          <a:pt x="222" y="95"/>
                        </a:lnTo>
                        <a:lnTo>
                          <a:pt x="219" y="95"/>
                        </a:lnTo>
                        <a:lnTo>
                          <a:pt x="217" y="91"/>
                        </a:lnTo>
                        <a:lnTo>
                          <a:pt x="217" y="90"/>
                        </a:lnTo>
                        <a:lnTo>
                          <a:pt x="219" y="87"/>
                        </a:lnTo>
                        <a:lnTo>
                          <a:pt x="219" y="84"/>
                        </a:lnTo>
                        <a:lnTo>
                          <a:pt x="217" y="82"/>
                        </a:lnTo>
                        <a:lnTo>
                          <a:pt x="217" y="80"/>
                        </a:lnTo>
                        <a:lnTo>
                          <a:pt x="217" y="77"/>
                        </a:lnTo>
                        <a:lnTo>
                          <a:pt x="219" y="76"/>
                        </a:lnTo>
                        <a:lnTo>
                          <a:pt x="219" y="71"/>
                        </a:lnTo>
                        <a:lnTo>
                          <a:pt x="217" y="69"/>
                        </a:lnTo>
                        <a:lnTo>
                          <a:pt x="217" y="66"/>
                        </a:lnTo>
                        <a:lnTo>
                          <a:pt x="217" y="64"/>
                        </a:lnTo>
                        <a:lnTo>
                          <a:pt x="217" y="63"/>
                        </a:lnTo>
                        <a:lnTo>
                          <a:pt x="217" y="60"/>
                        </a:lnTo>
                        <a:lnTo>
                          <a:pt x="217" y="58"/>
                        </a:lnTo>
                        <a:lnTo>
                          <a:pt x="216" y="57"/>
                        </a:lnTo>
                        <a:lnTo>
                          <a:pt x="212" y="55"/>
                        </a:lnTo>
                        <a:lnTo>
                          <a:pt x="209" y="55"/>
                        </a:lnTo>
                        <a:lnTo>
                          <a:pt x="208" y="53"/>
                        </a:lnTo>
                        <a:lnTo>
                          <a:pt x="205" y="53"/>
                        </a:lnTo>
                        <a:lnTo>
                          <a:pt x="203" y="55"/>
                        </a:lnTo>
                        <a:lnTo>
                          <a:pt x="201" y="55"/>
                        </a:lnTo>
                        <a:lnTo>
                          <a:pt x="198" y="55"/>
                        </a:lnTo>
                        <a:lnTo>
                          <a:pt x="195" y="55"/>
                        </a:lnTo>
                        <a:lnTo>
                          <a:pt x="192" y="55"/>
                        </a:lnTo>
                        <a:lnTo>
                          <a:pt x="189" y="57"/>
                        </a:lnTo>
                        <a:lnTo>
                          <a:pt x="187" y="57"/>
                        </a:lnTo>
                        <a:lnTo>
                          <a:pt x="185" y="57"/>
                        </a:lnTo>
                        <a:lnTo>
                          <a:pt x="182" y="57"/>
                        </a:lnTo>
                        <a:lnTo>
                          <a:pt x="178" y="57"/>
                        </a:lnTo>
                        <a:lnTo>
                          <a:pt x="176" y="55"/>
                        </a:lnTo>
                        <a:lnTo>
                          <a:pt x="174" y="53"/>
                        </a:lnTo>
                        <a:lnTo>
                          <a:pt x="171" y="50"/>
                        </a:lnTo>
                        <a:lnTo>
                          <a:pt x="170" y="49"/>
                        </a:lnTo>
                        <a:lnTo>
                          <a:pt x="168" y="47"/>
                        </a:lnTo>
                        <a:lnTo>
                          <a:pt x="168" y="45"/>
                        </a:lnTo>
                        <a:lnTo>
                          <a:pt x="166" y="44"/>
                        </a:lnTo>
                        <a:lnTo>
                          <a:pt x="166" y="41"/>
                        </a:lnTo>
                        <a:lnTo>
                          <a:pt x="166" y="39"/>
                        </a:lnTo>
                        <a:lnTo>
                          <a:pt x="166" y="36"/>
                        </a:lnTo>
                        <a:lnTo>
                          <a:pt x="166" y="33"/>
                        </a:lnTo>
                        <a:lnTo>
                          <a:pt x="166" y="31"/>
                        </a:lnTo>
                        <a:lnTo>
                          <a:pt x="166" y="28"/>
                        </a:lnTo>
                        <a:lnTo>
                          <a:pt x="166" y="26"/>
                        </a:lnTo>
                        <a:lnTo>
                          <a:pt x="166" y="23"/>
                        </a:lnTo>
                        <a:lnTo>
                          <a:pt x="166" y="22"/>
                        </a:lnTo>
                        <a:lnTo>
                          <a:pt x="168" y="20"/>
                        </a:lnTo>
                        <a:lnTo>
                          <a:pt x="168" y="19"/>
                        </a:lnTo>
                        <a:lnTo>
                          <a:pt x="168" y="17"/>
                        </a:lnTo>
                        <a:lnTo>
                          <a:pt x="168" y="14"/>
                        </a:lnTo>
                        <a:lnTo>
                          <a:pt x="168" y="12"/>
                        </a:lnTo>
                        <a:lnTo>
                          <a:pt x="170" y="12"/>
                        </a:lnTo>
                        <a:lnTo>
                          <a:pt x="171" y="12"/>
                        </a:lnTo>
                        <a:lnTo>
                          <a:pt x="173" y="14"/>
                        </a:lnTo>
                        <a:lnTo>
                          <a:pt x="174" y="15"/>
                        </a:lnTo>
                        <a:lnTo>
                          <a:pt x="176" y="15"/>
                        </a:lnTo>
                        <a:lnTo>
                          <a:pt x="178" y="15"/>
                        </a:lnTo>
                        <a:lnTo>
                          <a:pt x="179" y="15"/>
                        </a:lnTo>
                        <a:lnTo>
                          <a:pt x="181" y="15"/>
                        </a:lnTo>
                        <a:lnTo>
                          <a:pt x="181" y="14"/>
                        </a:lnTo>
                        <a:lnTo>
                          <a:pt x="182" y="14"/>
                        </a:lnTo>
                        <a:lnTo>
                          <a:pt x="182" y="15"/>
                        </a:lnTo>
                        <a:lnTo>
                          <a:pt x="184" y="15"/>
                        </a:lnTo>
                        <a:lnTo>
                          <a:pt x="184" y="17"/>
                        </a:lnTo>
                        <a:lnTo>
                          <a:pt x="185" y="17"/>
                        </a:lnTo>
                        <a:lnTo>
                          <a:pt x="187" y="15"/>
                        </a:lnTo>
                        <a:lnTo>
                          <a:pt x="189" y="17"/>
                        </a:lnTo>
                        <a:lnTo>
                          <a:pt x="190" y="17"/>
                        </a:lnTo>
                        <a:lnTo>
                          <a:pt x="190" y="19"/>
                        </a:lnTo>
                        <a:lnTo>
                          <a:pt x="192" y="20"/>
                        </a:lnTo>
                        <a:lnTo>
                          <a:pt x="193" y="19"/>
                        </a:lnTo>
                        <a:lnTo>
                          <a:pt x="195" y="20"/>
                        </a:lnTo>
                        <a:lnTo>
                          <a:pt x="197" y="20"/>
                        </a:lnTo>
                        <a:lnTo>
                          <a:pt x="198" y="22"/>
                        </a:lnTo>
                        <a:lnTo>
                          <a:pt x="200" y="22"/>
                        </a:lnTo>
                        <a:lnTo>
                          <a:pt x="201" y="23"/>
                        </a:lnTo>
                        <a:lnTo>
                          <a:pt x="203" y="23"/>
                        </a:lnTo>
                        <a:lnTo>
                          <a:pt x="203" y="25"/>
                        </a:lnTo>
                        <a:lnTo>
                          <a:pt x="206" y="26"/>
                        </a:lnTo>
                        <a:lnTo>
                          <a:pt x="206" y="25"/>
                        </a:lnTo>
                        <a:lnTo>
                          <a:pt x="208" y="25"/>
                        </a:lnTo>
                        <a:lnTo>
                          <a:pt x="209" y="25"/>
                        </a:lnTo>
                        <a:lnTo>
                          <a:pt x="211" y="25"/>
                        </a:lnTo>
                        <a:lnTo>
                          <a:pt x="211" y="26"/>
                        </a:lnTo>
                        <a:lnTo>
                          <a:pt x="212" y="26"/>
                        </a:lnTo>
                        <a:lnTo>
                          <a:pt x="214" y="26"/>
                        </a:lnTo>
                        <a:lnTo>
                          <a:pt x="216" y="28"/>
                        </a:lnTo>
                        <a:lnTo>
                          <a:pt x="217" y="28"/>
                        </a:lnTo>
                        <a:lnTo>
                          <a:pt x="220" y="28"/>
                        </a:lnTo>
                        <a:lnTo>
                          <a:pt x="220" y="30"/>
                        </a:lnTo>
                        <a:lnTo>
                          <a:pt x="220" y="31"/>
                        </a:lnTo>
                        <a:lnTo>
                          <a:pt x="222" y="31"/>
                        </a:lnTo>
                        <a:lnTo>
                          <a:pt x="224" y="31"/>
                        </a:lnTo>
                        <a:lnTo>
                          <a:pt x="224" y="30"/>
                        </a:lnTo>
                        <a:lnTo>
                          <a:pt x="225" y="28"/>
                        </a:lnTo>
                        <a:lnTo>
                          <a:pt x="227" y="28"/>
                        </a:lnTo>
                        <a:lnTo>
                          <a:pt x="228" y="28"/>
                        </a:lnTo>
                        <a:lnTo>
                          <a:pt x="228" y="30"/>
                        </a:lnTo>
                        <a:lnTo>
                          <a:pt x="228" y="31"/>
                        </a:lnTo>
                        <a:lnTo>
                          <a:pt x="231" y="31"/>
                        </a:lnTo>
                        <a:lnTo>
                          <a:pt x="233" y="33"/>
                        </a:lnTo>
                        <a:lnTo>
                          <a:pt x="235" y="33"/>
                        </a:lnTo>
                        <a:lnTo>
                          <a:pt x="236" y="33"/>
                        </a:lnTo>
                        <a:lnTo>
                          <a:pt x="238" y="33"/>
                        </a:lnTo>
                        <a:lnTo>
                          <a:pt x="239" y="33"/>
                        </a:lnTo>
                        <a:lnTo>
                          <a:pt x="241" y="31"/>
                        </a:lnTo>
                        <a:lnTo>
                          <a:pt x="241" y="33"/>
                        </a:lnTo>
                        <a:lnTo>
                          <a:pt x="243" y="34"/>
                        </a:lnTo>
                        <a:lnTo>
                          <a:pt x="244" y="36"/>
                        </a:lnTo>
                        <a:lnTo>
                          <a:pt x="246" y="36"/>
                        </a:lnTo>
                        <a:lnTo>
                          <a:pt x="247" y="38"/>
                        </a:lnTo>
                        <a:lnTo>
                          <a:pt x="249" y="39"/>
                        </a:lnTo>
                        <a:lnTo>
                          <a:pt x="250" y="39"/>
                        </a:lnTo>
                        <a:lnTo>
                          <a:pt x="252" y="39"/>
                        </a:lnTo>
                        <a:lnTo>
                          <a:pt x="254" y="39"/>
                        </a:lnTo>
                        <a:lnTo>
                          <a:pt x="254" y="38"/>
                        </a:lnTo>
                        <a:lnTo>
                          <a:pt x="255" y="38"/>
                        </a:lnTo>
                        <a:lnTo>
                          <a:pt x="257" y="38"/>
                        </a:lnTo>
                        <a:lnTo>
                          <a:pt x="258" y="38"/>
                        </a:lnTo>
                        <a:lnTo>
                          <a:pt x="258" y="39"/>
                        </a:lnTo>
                        <a:lnTo>
                          <a:pt x="260" y="39"/>
                        </a:lnTo>
                        <a:lnTo>
                          <a:pt x="262" y="41"/>
                        </a:lnTo>
                        <a:lnTo>
                          <a:pt x="262" y="42"/>
                        </a:lnTo>
                        <a:lnTo>
                          <a:pt x="263" y="42"/>
                        </a:lnTo>
                        <a:lnTo>
                          <a:pt x="265" y="41"/>
                        </a:lnTo>
                        <a:lnTo>
                          <a:pt x="266" y="41"/>
                        </a:lnTo>
                        <a:lnTo>
                          <a:pt x="266" y="42"/>
                        </a:lnTo>
                        <a:lnTo>
                          <a:pt x="268" y="44"/>
                        </a:lnTo>
                        <a:lnTo>
                          <a:pt x="269" y="44"/>
                        </a:lnTo>
                        <a:lnTo>
                          <a:pt x="271" y="44"/>
                        </a:lnTo>
                        <a:lnTo>
                          <a:pt x="273" y="44"/>
                        </a:lnTo>
                        <a:lnTo>
                          <a:pt x="274" y="44"/>
                        </a:lnTo>
                        <a:lnTo>
                          <a:pt x="276" y="44"/>
                        </a:lnTo>
                        <a:lnTo>
                          <a:pt x="277" y="44"/>
                        </a:lnTo>
                        <a:lnTo>
                          <a:pt x="279" y="44"/>
                        </a:lnTo>
                        <a:lnTo>
                          <a:pt x="281" y="45"/>
                        </a:lnTo>
                        <a:lnTo>
                          <a:pt x="282" y="47"/>
                        </a:lnTo>
                        <a:lnTo>
                          <a:pt x="284" y="49"/>
                        </a:lnTo>
                        <a:lnTo>
                          <a:pt x="285" y="49"/>
                        </a:lnTo>
                        <a:lnTo>
                          <a:pt x="287" y="47"/>
                        </a:lnTo>
                        <a:lnTo>
                          <a:pt x="288" y="49"/>
                        </a:lnTo>
                        <a:lnTo>
                          <a:pt x="290" y="47"/>
                        </a:lnTo>
                        <a:lnTo>
                          <a:pt x="290" y="49"/>
                        </a:lnTo>
                        <a:lnTo>
                          <a:pt x="292" y="50"/>
                        </a:lnTo>
                        <a:lnTo>
                          <a:pt x="293" y="50"/>
                        </a:lnTo>
                        <a:lnTo>
                          <a:pt x="295" y="50"/>
                        </a:lnTo>
                        <a:lnTo>
                          <a:pt x="295" y="49"/>
                        </a:lnTo>
                        <a:lnTo>
                          <a:pt x="295" y="47"/>
                        </a:lnTo>
                        <a:lnTo>
                          <a:pt x="293" y="45"/>
                        </a:lnTo>
                        <a:lnTo>
                          <a:pt x="295" y="45"/>
                        </a:lnTo>
                        <a:lnTo>
                          <a:pt x="296" y="45"/>
                        </a:lnTo>
                        <a:lnTo>
                          <a:pt x="298" y="45"/>
                        </a:lnTo>
                        <a:lnTo>
                          <a:pt x="298" y="44"/>
                        </a:lnTo>
                        <a:lnTo>
                          <a:pt x="300" y="44"/>
                        </a:lnTo>
                        <a:lnTo>
                          <a:pt x="301" y="44"/>
                        </a:lnTo>
                        <a:lnTo>
                          <a:pt x="301" y="45"/>
                        </a:lnTo>
                        <a:lnTo>
                          <a:pt x="303" y="45"/>
                        </a:lnTo>
                        <a:lnTo>
                          <a:pt x="304" y="44"/>
                        </a:lnTo>
                        <a:lnTo>
                          <a:pt x="306" y="44"/>
                        </a:lnTo>
                        <a:lnTo>
                          <a:pt x="306" y="42"/>
                        </a:lnTo>
                        <a:lnTo>
                          <a:pt x="306" y="41"/>
                        </a:lnTo>
                        <a:lnTo>
                          <a:pt x="306" y="39"/>
                        </a:lnTo>
                        <a:lnTo>
                          <a:pt x="307" y="38"/>
                        </a:lnTo>
                        <a:lnTo>
                          <a:pt x="309" y="36"/>
                        </a:lnTo>
                        <a:lnTo>
                          <a:pt x="309" y="34"/>
                        </a:lnTo>
                        <a:lnTo>
                          <a:pt x="309" y="33"/>
                        </a:lnTo>
                        <a:lnTo>
                          <a:pt x="309" y="31"/>
                        </a:lnTo>
                        <a:lnTo>
                          <a:pt x="311" y="31"/>
                        </a:lnTo>
                        <a:lnTo>
                          <a:pt x="312" y="30"/>
                        </a:lnTo>
                        <a:lnTo>
                          <a:pt x="314" y="28"/>
                        </a:lnTo>
                        <a:lnTo>
                          <a:pt x="315" y="28"/>
                        </a:lnTo>
                        <a:lnTo>
                          <a:pt x="317" y="28"/>
                        </a:lnTo>
                        <a:lnTo>
                          <a:pt x="319" y="26"/>
                        </a:lnTo>
                        <a:lnTo>
                          <a:pt x="320" y="26"/>
                        </a:lnTo>
                        <a:lnTo>
                          <a:pt x="322" y="26"/>
                        </a:lnTo>
                        <a:lnTo>
                          <a:pt x="322" y="23"/>
                        </a:lnTo>
                        <a:lnTo>
                          <a:pt x="323" y="23"/>
                        </a:lnTo>
                        <a:lnTo>
                          <a:pt x="325" y="23"/>
                        </a:lnTo>
                        <a:lnTo>
                          <a:pt x="326" y="23"/>
                        </a:lnTo>
                        <a:lnTo>
                          <a:pt x="328" y="23"/>
                        </a:lnTo>
                        <a:lnTo>
                          <a:pt x="330" y="23"/>
                        </a:lnTo>
                        <a:lnTo>
                          <a:pt x="331" y="23"/>
                        </a:lnTo>
                        <a:lnTo>
                          <a:pt x="331" y="22"/>
                        </a:lnTo>
                        <a:lnTo>
                          <a:pt x="331" y="20"/>
                        </a:lnTo>
                        <a:lnTo>
                          <a:pt x="333" y="20"/>
                        </a:lnTo>
                        <a:lnTo>
                          <a:pt x="334" y="20"/>
                        </a:lnTo>
                        <a:lnTo>
                          <a:pt x="336" y="20"/>
                        </a:lnTo>
                        <a:lnTo>
                          <a:pt x="336" y="22"/>
                        </a:lnTo>
                        <a:lnTo>
                          <a:pt x="338" y="20"/>
                        </a:lnTo>
                        <a:lnTo>
                          <a:pt x="339" y="20"/>
                        </a:lnTo>
                        <a:lnTo>
                          <a:pt x="339" y="19"/>
                        </a:lnTo>
                        <a:lnTo>
                          <a:pt x="342" y="19"/>
                        </a:lnTo>
                        <a:lnTo>
                          <a:pt x="344" y="17"/>
                        </a:lnTo>
                        <a:lnTo>
                          <a:pt x="345" y="17"/>
                        </a:lnTo>
                        <a:lnTo>
                          <a:pt x="347" y="15"/>
                        </a:lnTo>
                        <a:lnTo>
                          <a:pt x="349" y="15"/>
                        </a:lnTo>
                        <a:lnTo>
                          <a:pt x="350" y="15"/>
                        </a:lnTo>
                        <a:lnTo>
                          <a:pt x="350" y="14"/>
                        </a:lnTo>
                        <a:lnTo>
                          <a:pt x="352" y="12"/>
                        </a:lnTo>
                        <a:lnTo>
                          <a:pt x="352" y="11"/>
                        </a:lnTo>
                        <a:lnTo>
                          <a:pt x="355" y="11"/>
                        </a:lnTo>
                        <a:lnTo>
                          <a:pt x="353" y="11"/>
                        </a:lnTo>
                        <a:lnTo>
                          <a:pt x="355" y="12"/>
                        </a:lnTo>
                        <a:lnTo>
                          <a:pt x="357" y="12"/>
                        </a:lnTo>
                        <a:lnTo>
                          <a:pt x="358" y="11"/>
                        </a:lnTo>
                        <a:lnTo>
                          <a:pt x="360" y="11"/>
                        </a:lnTo>
                        <a:lnTo>
                          <a:pt x="361" y="11"/>
                        </a:lnTo>
                        <a:lnTo>
                          <a:pt x="363" y="9"/>
                        </a:lnTo>
                        <a:lnTo>
                          <a:pt x="363" y="11"/>
                        </a:lnTo>
                        <a:lnTo>
                          <a:pt x="364" y="9"/>
                        </a:lnTo>
                        <a:lnTo>
                          <a:pt x="364" y="7"/>
                        </a:lnTo>
                        <a:lnTo>
                          <a:pt x="364" y="6"/>
                        </a:lnTo>
                        <a:lnTo>
                          <a:pt x="366" y="9"/>
                        </a:lnTo>
                        <a:lnTo>
                          <a:pt x="369" y="9"/>
                        </a:lnTo>
                        <a:lnTo>
                          <a:pt x="369" y="7"/>
                        </a:lnTo>
                        <a:lnTo>
                          <a:pt x="368" y="7"/>
                        </a:lnTo>
                        <a:lnTo>
                          <a:pt x="368" y="6"/>
                        </a:lnTo>
                        <a:lnTo>
                          <a:pt x="369" y="4"/>
                        </a:lnTo>
                        <a:lnTo>
                          <a:pt x="371" y="3"/>
                        </a:lnTo>
                        <a:lnTo>
                          <a:pt x="372" y="3"/>
                        </a:lnTo>
                        <a:lnTo>
                          <a:pt x="374" y="3"/>
                        </a:lnTo>
                        <a:lnTo>
                          <a:pt x="374" y="4"/>
                        </a:lnTo>
                        <a:lnTo>
                          <a:pt x="376" y="4"/>
                        </a:lnTo>
                        <a:lnTo>
                          <a:pt x="376" y="6"/>
                        </a:lnTo>
                        <a:lnTo>
                          <a:pt x="377" y="6"/>
                        </a:lnTo>
                        <a:lnTo>
                          <a:pt x="377" y="7"/>
                        </a:lnTo>
                        <a:lnTo>
                          <a:pt x="377" y="9"/>
                        </a:lnTo>
                        <a:lnTo>
                          <a:pt x="379" y="9"/>
                        </a:lnTo>
                        <a:lnTo>
                          <a:pt x="379" y="7"/>
                        </a:lnTo>
                        <a:lnTo>
                          <a:pt x="380" y="7"/>
                        </a:lnTo>
                        <a:lnTo>
                          <a:pt x="382" y="7"/>
                        </a:lnTo>
                        <a:lnTo>
                          <a:pt x="384" y="7"/>
                        </a:lnTo>
                        <a:lnTo>
                          <a:pt x="384" y="9"/>
                        </a:lnTo>
                        <a:lnTo>
                          <a:pt x="385" y="9"/>
                        </a:lnTo>
                        <a:lnTo>
                          <a:pt x="387" y="9"/>
                        </a:lnTo>
                        <a:lnTo>
                          <a:pt x="387" y="11"/>
                        </a:lnTo>
                        <a:lnTo>
                          <a:pt x="388" y="11"/>
                        </a:lnTo>
                        <a:lnTo>
                          <a:pt x="388" y="9"/>
                        </a:lnTo>
                        <a:lnTo>
                          <a:pt x="388" y="7"/>
                        </a:lnTo>
                        <a:lnTo>
                          <a:pt x="388" y="6"/>
                        </a:lnTo>
                        <a:lnTo>
                          <a:pt x="390" y="6"/>
                        </a:lnTo>
                        <a:lnTo>
                          <a:pt x="391" y="6"/>
                        </a:lnTo>
                        <a:lnTo>
                          <a:pt x="393" y="6"/>
                        </a:lnTo>
                        <a:lnTo>
                          <a:pt x="393" y="4"/>
                        </a:lnTo>
                        <a:lnTo>
                          <a:pt x="395" y="4"/>
                        </a:lnTo>
                        <a:lnTo>
                          <a:pt x="395" y="6"/>
                        </a:lnTo>
                        <a:lnTo>
                          <a:pt x="396" y="6"/>
                        </a:lnTo>
                        <a:lnTo>
                          <a:pt x="396" y="4"/>
                        </a:lnTo>
                        <a:lnTo>
                          <a:pt x="396" y="3"/>
                        </a:lnTo>
                        <a:lnTo>
                          <a:pt x="398" y="1"/>
                        </a:lnTo>
                        <a:lnTo>
                          <a:pt x="399" y="0"/>
                        </a:lnTo>
                        <a:lnTo>
                          <a:pt x="401" y="1"/>
                        </a:lnTo>
                        <a:lnTo>
                          <a:pt x="401" y="3"/>
                        </a:lnTo>
                        <a:close/>
                      </a:path>
                    </a:pathLst>
                  </a:custGeom>
                  <a:solidFill>
                    <a:srgbClr val="C7E3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84" name="Freeform 83"/>
                  <p:cNvSpPr>
                    <a:spLocks/>
                  </p:cNvSpPr>
                  <p:nvPr/>
                </p:nvSpPr>
                <p:spPr bwMode="auto">
                  <a:xfrm>
                    <a:off x="4580" y="2190"/>
                    <a:ext cx="819" cy="1022"/>
                  </a:xfrm>
                  <a:custGeom>
                    <a:avLst/>
                    <a:gdLst>
                      <a:gd name="T0" fmla="*/ 303 w 819"/>
                      <a:gd name="T1" fmla="*/ 18 h 1022"/>
                      <a:gd name="T2" fmla="*/ 298 w 819"/>
                      <a:gd name="T3" fmla="*/ 38 h 1022"/>
                      <a:gd name="T4" fmla="*/ 293 w 819"/>
                      <a:gd name="T5" fmla="*/ 63 h 1022"/>
                      <a:gd name="T6" fmla="*/ 328 w 819"/>
                      <a:gd name="T7" fmla="*/ 76 h 1022"/>
                      <a:gd name="T8" fmla="*/ 358 w 819"/>
                      <a:gd name="T9" fmla="*/ 90 h 1022"/>
                      <a:gd name="T10" fmla="*/ 361 w 819"/>
                      <a:gd name="T11" fmla="*/ 108 h 1022"/>
                      <a:gd name="T12" fmla="*/ 350 w 819"/>
                      <a:gd name="T13" fmla="*/ 122 h 1022"/>
                      <a:gd name="T14" fmla="*/ 339 w 819"/>
                      <a:gd name="T15" fmla="*/ 141 h 1022"/>
                      <a:gd name="T16" fmla="*/ 328 w 819"/>
                      <a:gd name="T17" fmla="*/ 159 h 1022"/>
                      <a:gd name="T18" fmla="*/ 339 w 819"/>
                      <a:gd name="T19" fmla="*/ 174 h 1022"/>
                      <a:gd name="T20" fmla="*/ 388 w 819"/>
                      <a:gd name="T21" fmla="*/ 189 h 1022"/>
                      <a:gd name="T22" fmla="*/ 417 w 819"/>
                      <a:gd name="T23" fmla="*/ 217 h 1022"/>
                      <a:gd name="T24" fmla="*/ 437 w 819"/>
                      <a:gd name="T25" fmla="*/ 249 h 1022"/>
                      <a:gd name="T26" fmla="*/ 451 w 819"/>
                      <a:gd name="T27" fmla="*/ 276 h 1022"/>
                      <a:gd name="T28" fmla="*/ 431 w 819"/>
                      <a:gd name="T29" fmla="*/ 284 h 1022"/>
                      <a:gd name="T30" fmla="*/ 415 w 819"/>
                      <a:gd name="T31" fmla="*/ 298 h 1022"/>
                      <a:gd name="T32" fmla="*/ 391 w 819"/>
                      <a:gd name="T33" fmla="*/ 293 h 1022"/>
                      <a:gd name="T34" fmla="*/ 383 w 819"/>
                      <a:gd name="T35" fmla="*/ 312 h 1022"/>
                      <a:gd name="T36" fmla="*/ 375 w 819"/>
                      <a:gd name="T37" fmla="*/ 345 h 1022"/>
                      <a:gd name="T38" fmla="*/ 369 w 819"/>
                      <a:gd name="T39" fmla="*/ 377 h 1022"/>
                      <a:gd name="T40" fmla="*/ 388 w 819"/>
                      <a:gd name="T41" fmla="*/ 399 h 1022"/>
                      <a:gd name="T42" fmla="*/ 409 w 819"/>
                      <a:gd name="T43" fmla="*/ 423 h 1022"/>
                      <a:gd name="T44" fmla="*/ 453 w 819"/>
                      <a:gd name="T45" fmla="*/ 431 h 1022"/>
                      <a:gd name="T46" fmla="*/ 467 w 819"/>
                      <a:gd name="T47" fmla="*/ 499 h 1022"/>
                      <a:gd name="T48" fmla="*/ 499 w 819"/>
                      <a:gd name="T49" fmla="*/ 467 h 1022"/>
                      <a:gd name="T50" fmla="*/ 540 w 819"/>
                      <a:gd name="T51" fmla="*/ 474 h 1022"/>
                      <a:gd name="T52" fmla="*/ 565 w 819"/>
                      <a:gd name="T53" fmla="*/ 474 h 1022"/>
                      <a:gd name="T54" fmla="*/ 608 w 819"/>
                      <a:gd name="T55" fmla="*/ 488 h 1022"/>
                      <a:gd name="T56" fmla="*/ 684 w 819"/>
                      <a:gd name="T57" fmla="*/ 526 h 1022"/>
                      <a:gd name="T58" fmla="*/ 744 w 819"/>
                      <a:gd name="T59" fmla="*/ 542 h 1022"/>
                      <a:gd name="T60" fmla="*/ 770 w 819"/>
                      <a:gd name="T61" fmla="*/ 534 h 1022"/>
                      <a:gd name="T62" fmla="*/ 775 w 819"/>
                      <a:gd name="T63" fmla="*/ 570 h 1022"/>
                      <a:gd name="T64" fmla="*/ 784 w 819"/>
                      <a:gd name="T65" fmla="*/ 629 h 1022"/>
                      <a:gd name="T66" fmla="*/ 792 w 819"/>
                      <a:gd name="T67" fmla="*/ 665 h 1022"/>
                      <a:gd name="T68" fmla="*/ 816 w 819"/>
                      <a:gd name="T69" fmla="*/ 738 h 1022"/>
                      <a:gd name="T70" fmla="*/ 792 w 819"/>
                      <a:gd name="T71" fmla="*/ 748 h 1022"/>
                      <a:gd name="T72" fmla="*/ 795 w 819"/>
                      <a:gd name="T73" fmla="*/ 768 h 1022"/>
                      <a:gd name="T74" fmla="*/ 800 w 819"/>
                      <a:gd name="T75" fmla="*/ 794 h 1022"/>
                      <a:gd name="T76" fmla="*/ 805 w 819"/>
                      <a:gd name="T77" fmla="*/ 813 h 1022"/>
                      <a:gd name="T78" fmla="*/ 801 w 819"/>
                      <a:gd name="T79" fmla="*/ 837 h 1022"/>
                      <a:gd name="T80" fmla="*/ 779 w 819"/>
                      <a:gd name="T81" fmla="*/ 903 h 1022"/>
                      <a:gd name="T82" fmla="*/ 759 w 819"/>
                      <a:gd name="T83" fmla="*/ 903 h 1022"/>
                      <a:gd name="T84" fmla="*/ 737 w 819"/>
                      <a:gd name="T85" fmla="*/ 894 h 1022"/>
                      <a:gd name="T86" fmla="*/ 716 w 819"/>
                      <a:gd name="T87" fmla="*/ 946 h 1022"/>
                      <a:gd name="T88" fmla="*/ 537 w 819"/>
                      <a:gd name="T89" fmla="*/ 909 h 1022"/>
                      <a:gd name="T90" fmla="*/ 428 w 819"/>
                      <a:gd name="T91" fmla="*/ 887 h 1022"/>
                      <a:gd name="T92" fmla="*/ 336 w 819"/>
                      <a:gd name="T93" fmla="*/ 867 h 1022"/>
                      <a:gd name="T94" fmla="*/ 282 w 819"/>
                      <a:gd name="T95" fmla="*/ 876 h 1022"/>
                      <a:gd name="T96" fmla="*/ 244 w 819"/>
                      <a:gd name="T97" fmla="*/ 909 h 1022"/>
                      <a:gd name="T98" fmla="*/ 215 w 819"/>
                      <a:gd name="T99" fmla="*/ 887 h 1022"/>
                      <a:gd name="T100" fmla="*/ 147 w 819"/>
                      <a:gd name="T101" fmla="*/ 955 h 1022"/>
                      <a:gd name="T102" fmla="*/ 100 w 819"/>
                      <a:gd name="T103" fmla="*/ 977 h 1022"/>
                      <a:gd name="T104" fmla="*/ 55 w 819"/>
                      <a:gd name="T105" fmla="*/ 996 h 1022"/>
                      <a:gd name="T106" fmla="*/ 51 w 819"/>
                      <a:gd name="T107" fmla="*/ 977 h 1022"/>
                      <a:gd name="T108" fmla="*/ 36 w 819"/>
                      <a:gd name="T109" fmla="*/ 963 h 1022"/>
                      <a:gd name="T110" fmla="*/ 22 w 819"/>
                      <a:gd name="T111" fmla="*/ 955 h 1022"/>
                      <a:gd name="T112" fmla="*/ 32 w 819"/>
                      <a:gd name="T113" fmla="*/ 932 h 1022"/>
                      <a:gd name="T114" fmla="*/ 32 w 819"/>
                      <a:gd name="T115" fmla="*/ 919 h 1022"/>
                      <a:gd name="T116" fmla="*/ 19 w 819"/>
                      <a:gd name="T117" fmla="*/ 895 h 1022"/>
                      <a:gd name="T118" fmla="*/ 2 w 819"/>
                      <a:gd name="T119" fmla="*/ 887 h 10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19" h="1022">
                        <a:moveTo>
                          <a:pt x="301" y="2"/>
                        </a:moveTo>
                        <a:lnTo>
                          <a:pt x="303" y="2"/>
                        </a:lnTo>
                        <a:lnTo>
                          <a:pt x="304" y="0"/>
                        </a:lnTo>
                        <a:lnTo>
                          <a:pt x="306" y="0"/>
                        </a:lnTo>
                        <a:lnTo>
                          <a:pt x="307" y="0"/>
                        </a:lnTo>
                        <a:lnTo>
                          <a:pt x="309" y="0"/>
                        </a:lnTo>
                        <a:lnTo>
                          <a:pt x="307" y="2"/>
                        </a:lnTo>
                        <a:lnTo>
                          <a:pt x="306" y="3"/>
                        </a:lnTo>
                        <a:lnTo>
                          <a:pt x="306" y="5"/>
                        </a:lnTo>
                        <a:lnTo>
                          <a:pt x="304" y="6"/>
                        </a:lnTo>
                        <a:lnTo>
                          <a:pt x="303" y="8"/>
                        </a:lnTo>
                        <a:lnTo>
                          <a:pt x="303" y="10"/>
                        </a:lnTo>
                        <a:lnTo>
                          <a:pt x="303" y="11"/>
                        </a:lnTo>
                        <a:lnTo>
                          <a:pt x="303" y="13"/>
                        </a:lnTo>
                        <a:lnTo>
                          <a:pt x="303" y="14"/>
                        </a:lnTo>
                        <a:lnTo>
                          <a:pt x="303" y="16"/>
                        </a:lnTo>
                        <a:lnTo>
                          <a:pt x="303" y="18"/>
                        </a:lnTo>
                        <a:lnTo>
                          <a:pt x="303" y="19"/>
                        </a:lnTo>
                        <a:lnTo>
                          <a:pt x="304" y="21"/>
                        </a:lnTo>
                        <a:lnTo>
                          <a:pt x="304" y="22"/>
                        </a:lnTo>
                        <a:lnTo>
                          <a:pt x="304" y="24"/>
                        </a:lnTo>
                        <a:lnTo>
                          <a:pt x="303" y="24"/>
                        </a:lnTo>
                        <a:lnTo>
                          <a:pt x="303" y="25"/>
                        </a:lnTo>
                        <a:lnTo>
                          <a:pt x="301" y="25"/>
                        </a:lnTo>
                        <a:lnTo>
                          <a:pt x="301" y="27"/>
                        </a:lnTo>
                        <a:lnTo>
                          <a:pt x="299" y="29"/>
                        </a:lnTo>
                        <a:lnTo>
                          <a:pt x="299" y="30"/>
                        </a:lnTo>
                        <a:lnTo>
                          <a:pt x="298" y="32"/>
                        </a:lnTo>
                        <a:lnTo>
                          <a:pt x="298" y="33"/>
                        </a:lnTo>
                        <a:lnTo>
                          <a:pt x="299" y="33"/>
                        </a:lnTo>
                        <a:lnTo>
                          <a:pt x="299" y="35"/>
                        </a:lnTo>
                        <a:lnTo>
                          <a:pt x="299" y="37"/>
                        </a:lnTo>
                        <a:lnTo>
                          <a:pt x="298" y="37"/>
                        </a:lnTo>
                        <a:lnTo>
                          <a:pt x="298" y="38"/>
                        </a:lnTo>
                        <a:lnTo>
                          <a:pt x="298" y="40"/>
                        </a:lnTo>
                        <a:lnTo>
                          <a:pt x="296" y="41"/>
                        </a:lnTo>
                        <a:lnTo>
                          <a:pt x="296" y="43"/>
                        </a:lnTo>
                        <a:lnTo>
                          <a:pt x="296" y="44"/>
                        </a:lnTo>
                        <a:lnTo>
                          <a:pt x="298" y="46"/>
                        </a:lnTo>
                        <a:lnTo>
                          <a:pt x="298" y="48"/>
                        </a:lnTo>
                        <a:lnTo>
                          <a:pt x="298" y="49"/>
                        </a:lnTo>
                        <a:lnTo>
                          <a:pt x="296" y="49"/>
                        </a:lnTo>
                        <a:lnTo>
                          <a:pt x="296" y="51"/>
                        </a:lnTo>
                        <a:lnTo>
                          <a:pt x="295" y="52"/>
                        </a:lnTo>
                        <a:lnTo>
                          <a:pt x="295" y="54"/>
                        </a:lnTo>
                        <a:lnTo>
                          <a:pt x="295" y="56"/>
                        </a:lnTo>
                        <a:lnTo>
                          <a:pt x="295" y="57"/>
                        </a:lnTo>
                        <a:lnTo>
                          <a:pt x="295" y="59"/>
                        </a:lnTo>
                        <a:lnTo>
                          <a:pt x="293" y="60"/>
                        </a:lnTo>
                        <a:lnTo>
                          <a:pt x="293" y="62"/>
                        </a:lnTo>
                        <a:lnTo>
                          <a:pt x="293" y="63"/>
                        </a:lnTo>
                        <a:lnTo>
                          <a:pt x="295" y="63"/>
                        </a:lnTo>
                        <a:lnTo>
                          <a:pt x="295" y="65"/>
                        </a:lnTo>
                        <a:lnTo>
                          <a:pt x="295" y="67"/>
                        </a:lnTo>
                        <a:lnTo>
                          <a:pt x="296" y="67"/>
                        </a:lnTo>
                        <a:lnTo>
                          <a:pt x="296" y="68"/>
                        </a:lnTo>
                        <a:lnTo>
                          <a:pt x="298" y="70"/>
                        </a:lnTo>
                        <a:lnTo>
                          <a:pt x="299" y="73"/>
                        </a:lnTo>
                        <a:lnTo>
                          <a:pt x="301" y="75"/>
                        </a:lnTo>
                        <a:lnTo>
                          <a:pt x="304" y="76"/>
                        </a:lnTo>
                        <a:lnTo>
                          <a:pt x="306" y="78"/>
                        </a:lnTo>
                        <a:lnTo>
                          <a:pt x="309" y="78"/>
                        </a:lnTo>
                        <a:lnTo>
                          <a:pt x="312" y="78"/>
                        </a:lnTo>
                        <a:lnTo>
                          <a:pt x="315" y="78"/>
                        </a:lnTo>
                        <a:lnTo>
                          <a:pt x="318" y="78"/>
                        </a:lnTo>
                        <a:lnTo>
                          <a:pt x="322" y="78"/>
                        </a:lnTo>
                        <a:lnTo>
                          <a:pt x="325" y="76"/>
                        </a:lnTo>
                        <a:lnTo>
                          <a:pt x="328" y="76"/>
                        </a:lnTo>
                        <a:lnTo>
                          <a:pt x="331" y="76"/>
                        </a:lnTo>
                        <a:lnTo>
                          <a:pt x="334" y="76"/>
                        </a:lnTo>
                        <a:lnTo>
                          <a:pt x="337" y="76"/>
                        </a:lnTo>
                        <a:lnTo>
                          <a:pt x="341" y="76"/>
                        </a:lnTo>
                        <a:lnTo>
                          <a:pt x="342" y="78"/>
                        </a:lnTo>
                        <a:lnTo>
                          <a:pt x="344" y="79"/>
                        </a:lnTo>
                        <a:lnTo>
                          <a:pt x="345" y="81"/>
                        </a:lnTo>
                        <a:lnTo>
                          <a:pt x="347" y="81"/>
                        </a:lnTo>
                        <a:lnTo>
                          <a:pt x="348" y="83"/>
                        </a:lnTo>
                        <a:lnTo>
                          <a:pt x="350" y="83"/>
                        </a:lnTo>
                        <a:lnTo>
                          <a:pt x="352" y="84"/>
                        </a:lnTo>
                        <a:lnTo>
                          <a:pt x="353" y="84"/>
                        </a:lnTo>
                        <a:lnTo>
                          <a:pt x="353" y="87"/>
                        </a:lnTo>
                        <a:lnTo>
                          <a:pt x="355" y="87"/>
                        </a:lnTo>
                        <a:lnTo>
                          <a:pt x="355" y="89"/>
                        </a:lnTo>
                        <a:lnTo>
                          <a:pt x="356" y="90"/>
                        </a:lnTo>
                        <a:lnTo>
                          <a:pt x="358" y="90"/>
                        </a:lnTo>
                        <a:lnTo>
                          <a:pt x="360" y="92"/>
                        </a:lnTo>
                        <a:lnTo>
                          <a:pt x="361" y="94"/>
                        </a:lnTo>
                        <a:lnTo>
                          <a:pt x="363" y="95"/>
                        </a:lnTo>
                        <a:lnTo>
                          <a:pt x="364" y="95"/>
                        </a:lnTo>
                        <a:lnTo>
                          <a:pt x="364" y="97"/>
                        </a:lnTo>
                        <a:lnTo>
                          <a:pt x="366" y="98"/>
                        </a:lnTo>
                        <a:lnTo>
                          <a:pt x="367" y="98"/>
                        </a:lnTo>
                        <a:lnTo>
                          <a:pt x="367" y="100"/>
                        </a:lnTo>
                        <a:lnTo>
                          <a:pt x="367" y="102"/>
                        </a:lnTo>
                        <a:lnTo>
                          <a:pt x="366" y="102"/>
                        </a:lnTo>
                        <a:lnTo>
                          <a:pt x="366" y="103"/>
                        </a:lnTo>
                        <a:lnTo>
                          <a:pt x="366" y="105"/>
                        </a:lnTo>
                        <a:lnTo>
                          <a:pt x="364" y="105"/>
                        </a:lnTo>
                        <a:lnTo>
                          <a:pt x="364" y="106"/>
                        </a:lnTo>
                        <a:lnTo>
                          <a:pt x="363" y="106"/>
                        </a:lnTo>
                        <a:lnTo>
                          <a:pt x="361" y="106"/>
                        </a:lnTo>
                        <a:lnTo>
                          <a:pt x="361" y="108"/>
                        </a:lnTo>
                        <a:lnTo>
                          <a:pt x="361" y="109"/>
                        </a:lnTo>
                        <a:lnTo>
                          <a:pt x="361" y="111"/>
                        </a:lnTo>
                        <a:lnTo>
                          <a:pt x="360" y="111"/>
                        </a:lnTo>
                        <a:lnTo>
                          <a:pt x="360" y="113"/>
                        </a:lnTo>
                        <a:lnTo>
                          <a:pt x="358" y="113"/>
                        </a:lnTo>
                        <a:lnTo>
                          <a:pt x="358" y="114"/>
                        </a:lnTo>
                        <a:lnTo>
                          <a:pt x="358" y="116"/>
                        </a:lnTo>
                        <a:lnTo>
                          <a:pt x="356" y="116"/>
                        </a:lnTo>
                        <a:lnTo>
                          <a:pt x="356" y="117"/>
                        </a:lnTo>
                        <a:lnTo>
                          <a:pt x="355" y="116"/>
                        </a:lnTo>
                        <a:lnTo>
                          <a:pt x="353" y="116"/>
                        </a:lnTo>
                        <a:lnTo>
                          <a:pt x="353" y="117"/>
                        </a:lnTo>
                        <a:lnTo>
                          <a:pt x="352" y="117"/>
                        </a:lnTo>
                        <a:lnTo>
                          <a:pt x="352" y="119"/>
                        </a:lnTo>
                        <a:lnTo>
                          <a:pt x="352" y="121"/>
                        </a:lnTo>
                        <a:lnTo>
                          <a:pt x="352" y="122"/>
                        </a:lnTo>
                        <a:lnTo>
                          <a:pt x="350" y="122"/>
                        </a:lnTo>
                        <a:lnTo>
                          <a:pt x="350" y="124"/>
                        </a:lnTo>
                        <a:lnTo>
                          <a:pt x="348" y="124"/>
                        </a:lnTo>
                        <a:lnTo>
                          <a:pt x="348" y="125"/>
                        </a:lnTo>
                        <a:lnTo>
                          <a:pt x="347" y="125"/>
                        </a:lnTo>
                        <a:lnTo>
                          <a:pt x="344" y="124"/>
                        </a:lnTo>
                        <a:lnTo>
                          <a:pt x="344" y="125"/>
                        </a:lnTo>
                        <a:lnTo>
                          <a:pt x="344" y="127"/>
                        </a:lnTo>
                        <a:lnTo>
                          <a:pt x="344" y="128"/>
                        </a:lnTo>
                        <a:lnTo>
                          <a:pt x="344" y="130"/>
                        </a:lnTo>
                        <a:lnTo>
                          <a:pt x="342" y="130"/>
                        </a:lnTo>
                        <a:lnTo>
                          <a:pt x="341" y="130"/>
                        </a:lnTo>
                        <a:lnTo>
                          <a:pt x="339" y="133"/>
                        </a:lnTo>
                        <a:lnTo>
                          <a:pt x="339" y="135"/>
                        </a:lnTo>
                        <a:lnTo>
                          <a:pt x="339" y="136"/>
                        </a:lnTo>
                        <a:lnTo>
                          <a:pt x="339" y="138"/>
                        </a:lnTo>
                        <a:lnTo>
                          <a:pt x="339" y="140"/>
                        </a:lnTo>
                        <a:lnTo>
                          <a:pt x="339" y="141"/>
                        </a:lnTo>
                        <a:lnTo>
                          <a:pt x="337" y="141"/>
                        </a:lnTo>
                        <a:lnTo>
                          <a:pt x="337" y="143"/>
                        </a:lnTo>
                        <a:lnTo>
                          <a:pt x="337" y="144"/>
                        </a:lnTo>
                        <a:lnTo>
                          <a:pt x="336" y="146"/>
                        </a:lnTo>
                        <a:lnTo>
                          <a:pt x="334" y="146"/>
                        </a:lnTo>
                        <a:lnTo>
                          <a:pt x="333" y="146"/>
                        </a:lnTo>
                        <a:lnTo>
                          <a:pt x="331" y="146"/>
                        </a:lnTo>
                        <a:lnTo>
                          <a:pt x="331" y="147"/>
                        </a:lnTo>
                        <a:lnTo>
                          <a:pt x="329" y="149"/>
                        </a:lnTo>
                        <a:lnTo>
                          <a:pt x="331" y="151"/>
                        </a:lnTo>
                        <a:lnTo>
                          <a:pt x="329" y="152"/>
                        </a:lnTo>
                        <a:lnTo>
                          <a:pt x="329" y="154"/>
                        </a:lnTo>
                        <a:lnTo>
                          <a:pt x="331" y="154"/>
                        </a:lnTo>
                        <a:lnTo>
                          <a:pt x="329" y="155"/>
                        </a:lnTo>
                        <a:lnTo>
                          <a:pt x="329" y="157"/>
                        </a:lnTo>
                        <a:lnTo>
                          <a:pt x="328" y="157"/>
                        </a:lnTo>
                        <a:lnTo>
                          <a:pt x="328" y="159"/>
                        </a:lnTo>
                        <a:lnTo>
                          <a:pt x="329" y="159"/>
                        </a:lnTo>
                        <a:lnTo>
                          <a:pt x="329" y="160"/>
                        </a:lnTo>
                        <a:lnTo>
                          <a:pt x="331" y="160"/>
                        </a:lnTo>
                        <a:lnTo>
                          <a:pt x="331" y="162"/>
                        </a:lnTo>
                        <a:lnTo>
                          <a:pt x="329" y="163"/>
                        </a:lnTo>
                        <a:lnTo>
                          <a:pt x="329" y="165"/>
                        </a:lnTo>
                        <a:lnTo>
                          <a:pt x="329" y="166"/>
                        </a:lnTo>
                        <a:lnTo>
                          <a:pt x="328" y="168"/>
                        </a:lnTo>
                        <a:lnTo>
                          <a:pt x="329" y="170"/>
                        </a:lnTo>
                        <a:lnTo>
                          <a:pt x="331" y="170"/>
                        </a:lnTo>
                        <a:lnTo>
                          <a:pt x="333" y="170"/>
                        </a:lnTo>
                        <a:lnTo>
                          <a:pt x="333" y="171"/>
                        </a:lnTo>
                        <a:lnTo>
                          <a:pt x="334" y="171"/>
                        </a:lnTo>
                        <a:lnTo>
                          <a:pt x="336" y="171"/>
                        </a:lnTo>
                        <a:lnTo>
                          <a:pt x="337" y="173"/>
                        </a:lnTo>
                        <a:lnTo>
                          <a:pt x="337" y="174"/>
                        </a:lnTo>
                        <a:lnTo>
                          <a:pt x="339" y="174"/>
                        </a:lnTo>
                        <a:lnTo>
                          <a:pt x="341" y="174"/>
                        </a:lnTo>
                        <a:lnTo>
                          <a:pt x="347" y="176"/>
                        </a:lnTo>
                        <a:lnTo>
                          <a:pt x="353" y="178"/>
                        </a:lnTo>
                        <a:lnTo>
                          <a:pt x="356" y="178"/>
                        </a:lnTo>
                        <a:lnTo>
                          <a:pt x="358" y="178"/>
                        </a:lnTo>
                        <a:lnTo>
                          <a:pt x="360" y="179"/>
                        </a:lnTo>
                        <a:lnTo>
                          <a:pt x="363" y="181"/>
                        </a:lnTo>
                        <a:lnTo>
                          <a:pt x="366" y="181"/>
                        </a:lnTo>
                        <a:lnTo>
                          <a:pt x="367" y="182"/>
                        </a:lnTo>
                        <a:lnTo>
                          <a:pt x="371" y="184"/>
                        </a:lnTo>
                        <a:lnTo>
                          <a:pt x="374" y="184"/>
                        </a:lnTo>
                        <a:lnTo>
                          <a:pt x="379" y="185"/>
                        </a:lnTo>
                        <a:lnTo>
                          <a:pt x="380" y="185"/>
                        </a:lnTo>
                        <a:lnTo>
                          <a:pt x="383" y="187"/>
                        </a:lnTo>
                        <a:lnTo>
                          <a:pt x="385" y="187"/>
                        </a:lnTo>
                        <a:lnTo>
                          <a:pt x="386" y="189"/>
                        </a:lnTo>
                        <a:lnTo>
                          <a:pt x="388" y="189"/>
                        </a:lnTo>
                        <a:lnTo>
                          <a:pt x="390" y="190"/>
                        </a:lnTo>
                        <a:lnTo>
                          <a:pt x="391" y="190"/>
                        </a:lnTo>
                        <a:lnTo>
                          <a:pt x="393" y="192"/>
                        </a:lnTo>
                        <a:lnTo>
                          <a:pt x="394" y="195"/>
                        </a:lnTo>
                        <a:lnTo>
                          <a:pt x="396" y="195"/>
                        </a:lnTo>
                        <a:lnTo>
                          <a:pt x="398" y="198"/>
                        </a:lnTo>
                        <a:lnTo>
                          <a:pt x="398" y="200"/>
                        </a:lnTo>
                        <a:lnTo>
                          <a:pt x="399" y="201"/>
                        </a:lnTo>
                        <a:lnTo>
                          <a:pt x="399" y="203"/>
                        </a:lnTo>
                        <a:lnTo>
                          <a:pt x="401" y="206"/>
                        </a:lnTo>
                        <a:lnTo>
                          <a:pt x="402" y="209"/>
                        </a:lnTo>
                        <a:lnTo>
                          <a:pt x="404" y="212"/>
                        </a:lnTo>
                        <a:lnTo>
                          <a:pt x="407" y="214"/>
                        </a:lnTo>
                        <a:lnTo>
                          <a:pt x="409" y="216"/>
                        </a:lnTo>
                        <a:lnTo>
                          <a:pt x="412" y="217"/>
                        </a:lnTo>
                        <a:lnTo>
                          <a:pt x="415" y="217"/>
                        </a:lnTo>
                        <a:lnTo>
                          <a:pt x="417" y="217"/>
                        </a:lnTo>
                        <a:lnTo>
                          <a:pt x="420" y="217"/>
                        </a:lnTo>
                        <a:lnTo>
                          <a:pt x="421" y="219"/>
                        </a:lnTo>
                        <a:lnTo>
                          <a:pt x="423" y="222"/>
                        </a:lnTo>
                        <a:lnTo>
                          <a:pt x="424" y="223"/>
                        </a:lnTo>
                        <a:lnTo>
                          <a:pt x="424" y="227"/>
                        </a:lnTo>
                        <a:lnTo>
                          <a:pt x="424" y="228"/>
                        </a:lnTo>
                        <a:lnTo>
                          <a:pt x="424" y="231"/>
                        </a:lnTo>
                        <a:lnTo>
                          <a:pt x="424" y="233"/>
                        </a:lnTo>
                        <a:lnTo>
                          <a:pt x="426" y="235"/>
                        </a:lnTo>
                        <a:lnTo>
                          <a:pt x="426" y="236"/>
                        </a:lnTo>
                        <a:lnTo>
                          <a:pt x="428" y="241"/>
                        </a:lnTo>
                        <a:lnTo>
                          <a:pt x="428" y="242"/>
                        </a:lnTo>
                        <a:lnTo>
                          <a:pt x="428" y="246"/>
                        </a:lnTo>
                        <a:lnTo>
                          <a:pt x="429" y="249"/>
                        </a:lnTo>
                        <a:lnTo>
                          <a:pt x="432" y="249"/>
                        </a:lnTo>
                        <a:lnTo>
                          <a:pt x="436" y="249"/>
                        </a:lnTo>
                        <a:lnTo>
                          <a:pt x="437" y="249"/>
                        </a:lnTo>
                        <a:lnTo>
                          <a:pt x="440" y="250"/>
                        </a:lnTo>
                        <a:lnTo>
                          <a:pt x="442" y="250"/>
                        </a:lnTo>
                        <a:lnTo>
                          <a:pt x="443" y="254"/>
                        </a:lnTo>
                        <a:lnTo>
                          <a:pt x="445" y="255"/>
                        </a:lnTo>
                        <a:lnTo>
                          <a:pt x="445" y="257"/>
                        </a:lnTo>
                        <a:lnTo>
                          <a:pt x="447" y="258"/>
                        </a:lnTo>
                        <a:lnTo>
                          <a:pt x="448" y="262"/>
                        </a:lnTo>
                        <a:lnTo>
                          <a:pt x="448" y="263"/>
                        </a:lnTo>
                        <a:lnTo>
                          <a:pt x="450" y="265"/>
                        </a:lnTo>
                        <a:lnTo>
                          <a:pt x="451" y="268"/>
                        </a:lnTo>
                        <a:lnTo>
                          <a:pt x="451" y="269"/>
                        </a:lnTo>
                        <a:lnTo>
                          <a:pt x="453" y="273"/>
                        </a:lnTo>
                        <a:lnTo>
                          <a:pt x="455" y="273"/>
                        </a:lnTo>
                        <a:lnTo>
                          <a:pt x="455" y="274"/>
                        </a:lnTo>
                        <a:lnTo>
                          <a:pt x="453" y="274"/>
                        </a:lnTo>
                        <a:lnTo>
                          <a:pt x="453" y="276"/>
                        </a:lnTo>
                        <a:lnTo>
                          <a:pt x="451" y="276"/>
                        </a:lnTo>
                        <a:lnTo>
                          <a:pt x="451" y="277"/>
                        </a:lnTo>
                        <a:lnTo>
                          <a:pt x="450" y="277"/>
                        </a:lnTo>
                        <a:lnTo>
                          <a:pt x="450" y="279"/>
                        </a:lnTo>
                        <a:lnTo>
                          <a:pt x="448" y="279"/>
                        </a:lnTo>
                        <a:lnTo>
                          <a:pt x="448" y="281"/>
                        </a:lnTo>
                        <a:lnTo>
                          <a:pt x="447" y="281"/>
                        </a:lnTo>
                        <a:lnTo>
                          <a:pt x="445" y="281"/>
                        </a:lnTo>
                        <a:lnTo>
                          <a:pt x="443" y="281"/>
                        </a:lnTo>
                        <a:lnTo>
                          <a:pt x="443" y="282"/>
                        </a:lnTo>
                        <a:lnTo>
                          <a:pt x="442" y="282"/>
                        </a:lnTo>
                        <a:lnTo>
                          <a:pt x="440" y="282"/>
                        </a:lnTo>
                        <a:lnTo>
                          <a:pt x="439" y="284"/>
                        </a:lnTo>
                        <a:lnTo>
                          <a:pt x="437" y="284"/>
                        </a:lnTo>
                        <a:lnTo>
                          <a:pt x="436" y="284"/>
                        </a:lnTo>
                        <a:lnTo>
                          <a:pt x="434" y="284"/>
                        </a:lnTo>
                        <a:lnTo>
                          <a:pt x="432" y="284"/>
                        </a:lnTo>
                        <a:lnTo>
                          <a:pt x="431" y="284"/>
                        </a:lnTo>
                        <a:lnTo>
                          <a:pt x="429" y="284"/>
                        </a:lnTo>
                        <a:lnTo>
                          <a:pt x="428" y="284"/>
                        </a:lnTo>
                        <a:lnTo>
                          <a:pt x="426" y="282"/>
                        </a:lnTo>
                        <a:lnTo>
                          <a:pt x="424" y="284"/>
                        </a:lnTo>
                        <a:lnTo>
                          <a:pt x="423" y="285"/>
                        </a:lnTo>
                        <a:lnTo>
                          <a:pt x="423" y="287"/>
                        </a:lnTo>
                        <a:lnTo>
                          <a:pt x="423" y="288"/>
                        </a:lnTo>
                        <a:lnTo>
                          <a:pt x="421" y="290"/>
                        </a:lnTo>
                        <a:lnTo>
                          <a:pt x="421" y="292"/>
                        </a:lnTo>
                        <a:lnTo>
                          <a:pt x="421" y="293"/>
                        </a:lnTo>
                        <a:lnTo>
                          <a:pt x="421" y="295"/>
                        </a:lnTo>
                        <a:lnTo>
                          <a:pt x="421" y="296"/>
                        </a:lnTo>
                        <a:lnTo>
                          <a:pt x="420" y="296"/>
                        </a:lnTo>
                        <a:lnTo>
                          <a:pt x="420" y="298"/>
                        </a:lnTo>
                        <a:lnTo>
                          <a:pt x="420" y="300"/>
                        </a:lnTo>
                        <a:lnTo>
                          <a:pt x="417" y="298"/>
                        </a:lnTo>
                        <a:lnTo>
                          <a:pt x="415" y="298"/>
                        </a:lnTo>
                        <a:lnTo>
                          <a:pt x="413" y="296"/>
                        </a:lnTo>
                        <a:lnTo>
                          <a:pt x="412" y="296"/>
                        </a:lnTo>
                        <a:lnTo>
                          <a:pt x="410" y="296"/>
                        </a:lnTo>
                        <a:lnTo>
                          <a:pt x="409" y="296"/>
                        </a:lnTo>
                        <a:lnTo>
                          <a:pt x="409" y="295"/>
                        </a:lnTo>
                        <a:lnTo>
                          <a:pt x="407" y="295"/>
                        </a:lnTo>
                        <a:lnTo>
                          <a:pt x="405" y="293"/>
                        </a:lnTo>
                        <a:lnTo>
                          <a:pt x="404" y="293"/>
                        </a:lnTo>
                        <a:lnTo>
                          <a:pt x="402" y="293"/>
                        </a:lnTo>
                        <a:lnTo>
                          <a:pt x="401" y="293"/>
                        </a:lnTo>
                        <a:lnTo>
                          <a:pt x="399" y="292"/>
                        </a:lnTo>
                        <a:lnTo>
                          <a:pt x="398" y="292"/>
                        </a:lnTo>
                        <a:lnTo>
                          <a:pt x="396" y="292"/>
                        </a:lnTo>
                        <a:lnTo>
                          <a:pt x="394" y="292"/>
                        </a:lnTo>
                        <a:lnTo>
                          <a:pt x="393" y="292"/>
                        </a:lnTo>
                        <a:lnTo>
                          <a:pt x="393" y="293"/>
                        </a:lnTo>
                        <a:lnTo>
                          <a:pt x="391" y="293"/>
                        </a:lnTo>
                        <a:lnTo>
                          <a:pt x="391" y="292"/>
                        </a:lnTo>
                        <a:lnTo>
                          <a:pt x="390" y="293"/>
                        </a:lnTo>
                        <a:lnTo>
                          <a:pt x="388" y="293"/>
                        </a:lnTo>
                        <a:lnTo>
                          <a:pt x="386" y="295"/>
                        </a:lnTo>
                        <a:lnTo>
                          <a:pt x="385" y="296"/>
                        </a:lnTo>
                        <a:lnTo>
                          <a:pt x="383" y="298"/>
                        </a:lnTo>
                        <a:lnTo>
                          <a:pt x="382" y="300"/>
                        </a:lnTo>
                        <a:lnTo>
                          <a:pt x="380" y="300"/>
                        </a:lnTo>
                        <a:lnTo>
                          <a:pt x="380" y="301"/>
                        </a:lnTo>
                        <a:lnTo>
                          <a:pt x="379" y="301"/>
                        </a:lnTo>
                        <a:lnTo>
                          <a:pt x="379" y="303"/>
                        </a:lnTo>
                        <a:lnTo>
                          <a:pt x="380" y="304"/>
                        </a:lnTo>
                        <a:lnTo>
                          <a:pt x="380" y="306"/>
                        </a:lnTo>
                        <a:lnTo>
                          <a:pt x="380" y="307"/>
                        </a:lnTo>
                        <a:lnTo>
                          <a:pt x="382" y="309"/>
                        </a:lnTo>
                        <a:lnTo>
                          <a:pt x="383" y="311"/>
                        </a:lnTo>
                        <a:lnTo>
                          <a:pt x="383" y="312"/>
                        </a:lnTo>
                        <a:lnTo>
                          <a:pt x="383" y="314"/>
                        </a:lnTo>
                        <a:lnTo>
                          <a:pt x="383" y="315"/>
                        </a:lnTo>
                        <a:lnTo>
                          <a:pt x="382" y="317"/>
                        </a:lnTo>
                        <a:lnTo>
                          <a:pt x="382" y="319"/>
                        </a:lnTo>
                        <a:lnTo>
                          <a:pt x="380" y="320"/>
                        </a:lnTo>
                        <a:lnTo>
                          <a:pt x="379" y="322"/>
                        </a:lnTo>
                        <a:lnTo>
                          <a:pt x="379" y="323"/>
                        </a:lnTo>
                        <a:lnTo>
                          <a:pt x="377" y="326"/>
                        </a:lnTo>
                        <a:lnTo>
                          <a:pt x="377" y="328"/>
                        </a:lnTo>
                        <a:lnTo>
                          <a:pt x="377" y="331"/>
                        </a:lnTo>
                        <a:lnTo>
                          <a:pt x="377" y="333"/>
                        </a:lnTo>
                        <a:lnTo>
                          <a:pt x="377" y="336"/>
                        </a:lnTo>
                        <a:lnTo>
                          <a:pt x="377" y="339"/>
                        </a:lnTo>
                        <a:lnTo>
                          <a:pt x="377" y="341"/>
                        </a:lnTo>
                        <a:lnTo>
                          <a:pt x="377" y="344"/>
                        </a:lnTo>
                        <a:lnTo>
                          <a:pt x="375" y="344"/>
                        </a:lnTo>
                        <a:lnTo>
                          <a:pt x="375" y="345"/>
                        </a:lnTo>
                        <a:lnTo>
                          <a:pt x="377" y="347"/>
                        </a:lnTo>
                        <a:lnTo>
                          <a:pt x="377" y="350"/>
                        </a:lnTo>
                        <a:lnTo>
                          <a:pt x="377" y="352"/>
                        </a:lnTo>
                        <a:lnTo>
                          <a:pt x="375" y="353"/>
                        </a:lnTo>
                        <a:lnTo>
                          <a:pt x="374" y="357"/>
                        </a:lnTo>
                        <a:lnTo>
                          <a:pt x="372" y="358"/>
                        </a:lnTo>
                        <a:lnTo>
                          <a:pt x="372" y="360"/>
                        </a:lnTo>
                        <a:lnTo>
                          <a:pt x="371" y="363"/>
                        </a:lnTo>
                        <a:lnTo>
                          <a:pt x="371" y="364"/>
                        </a:lnTo>
                        <a:lnTo>
                          <a:pt x="371" y="366"/>
                        </a:lnTo>
                        <a:lnTo>
                          <a:pt x="371" y="368"/>
                        </a:lnTo>
                        <a:lnTo>
                          <a:pt x="372" y="369"/>
                        </a:lnTo>
                        <a:lnTo>
                          <a:pt x="372" y="371"/>
                        </a:lnTo>
                        <a:lnTo>
                          <a:pt x="372" y="372"/>
                        </a:lnTo>
                        <a:lnTo>
                          <a:pt x="371" y="374"/>
                        </a:lnTo>
                        <a:lnTo>
                          <a:pt x="371" y="376"/>
                        </a:lnTo>
                        <a:lnTo>
                          <a:pt x="369" y="377"/>
                        </a:lnTo>
                        <a:lnTo>
                          <a:pt x="367" y="379"/>
                        </a:lnTo>
                        <a:lnTo>
                          <a:pt x="366" y="380"/>
                        </a:lnTo>
                        <a:lnTo>
                          <a:pt x="367" y="382"/>
                        </a:lnTo>
                        <a:lnTo>
                          <a:pt x="367" y="383"/>
                        </a:lnTo>
                        <a:lnTo>
                          <a:pt x="369" y="385"/>
                        </a:lnTo>
                        <a:lnTo>
                          <a:pt x="369" y="387"/>
                        </a:lnTo>
                        <a:lnTo>
                          <a:pt x="371" y="388"/>
                        </a:lnTo>
                        <a:lnTo>
                          <a:pt x="375" y="388"/>
                        </a:lnTo>
                        <a:lnTo>
                          <a:pt x="379" y="390"/>
                        </a:lnTo>
                        <a:lnTo>
                          <a:pt x="380" y="390"/>
                        </a:lnTo>
                        <a:lnTo>
                          <a:pt x="382" y="390"/>
                        </a:lnTo>
                        <a:lnTo>
                          <a:pt x="383" y="390"/>
                        </a:lnTo>
                        <a:lnTo>
                          <a:pt x="385" y="391"/>
                        </a:lnTo>
                        <a:lnTo>
                          <a:pt x="386" y="395"/>
                        </a:lnTo>
                        <a:lnTo>
                          <a:pt x="388" y="396"/>
                        </a:lnTo>
                        <a:lnTo>
                          <a:pt x="388" y="398"/>
                        </a:lnTo>
                        <a:lnTo>
                          <a:pt x="388" y="399"/>
                        </a:lnTo>
                        <a:lnTo>
                          <a:pt x="388" y="401"/>
                        </a:lnTo>
                        <a:lnTo>
                          <a:pt x="388" y="402"/>
                        </a:lnTo>
                        <a:lnTo>
                          <a:pt x="388" y="404"/>
                        </a:lnTo>
                        <a:lnTo>
                          <a:pt x="388" y="407"/>
                        </a:lnTo>
                        <a:lnTo>
                          <a:pt x="390" y="409"/>
                        </a:lnTo>
                        <a:lnTo>
                          <a:pt x="390" y="410"/>
                        </a:lnTo>
                        <a:lnTo>
                          <a:pt x="390" y="412"/>
                        </a:lnTo>
                        <a:lnTo>
                          <a:pt x="390" y="415"/>
                        </a:lnTo>
                        <a:lnTo>
                          <a:pt x="390" y="417"/>
                        </a:lnTo>
                        <a:lnTo>
                          <a:pt x="391" y="418"/>
                        </a:lnTo>
                        <a:lnTo>
                          <a:pt x="396" y="418"/>
                        </a:lnTo>
                        <a:lnTo>
                          <a:pt x="398" y="420"/>
                        </a:lnTo>
                        <a:lnTo>
                          <a:pt x="401" y="420"/>
                        </a:lnTo>
                        <a:lnTo>
                          <a:pt x="402" y="421"/>
                        </a:lnTo>
                        <a:lnTo>
                          <a:pt x="405" y="423"/>
                        </a:lnTo>
                        <a:lnTo>
                          <a:pt x="407" y="423"/>
                        </a:lnTo>
                        <a:lnTo>
                          <a:pt x="409" y="423"/>
                        </a:lnTo>
                        <a:lnTo>
                          <a:pt x="410" y="423"/>
                        </a:lnTo>
                        <a:lnTo>
                          <a:pt x="412" y="423"/>
                        </a:lnTo>
                        <a:lnTo>
                          <a:pt x="415" y="421"/>
                        </a:lnTo>
                        <a:lnTo>
                          <a:pt x="418" y="420"/>
                        </a:lnTo>
                        <a:lnTo>
                          <a:pt x="423" y="418"/>
                        </a:lnTo>
                        <a:lnTo>
                          <a:pt x="429" y="417"/>
                        </a:lnTo>
                        <a:lnTo>
                          <a:pt x="431" y="417"/>
                        </a:lnTo>
                        <a:lnTo>
                          <a:pt x="434" y="417"/>
                        </a:lnTo>
                        <a:lnTo>
                          <a:pt x="439" y="418"/>
                        </a:lnTo>
                        <a:lnTo>
                          <a:pt x="440" y="418"/>
                        </a:lnTo>
                        <a:lnTo>
                          <a:pt x="443" y="420"/>
                        </a:lnTo>
                        <a:lnTo>
                          <a:pt x="445" y="421"/>
                        </a:lnTo>
                        <a:lnTo>
                          <a:pt x="447" y="425"/>
                        </a:lnTo>
                        <a:lnTo>
                          <a:pt x="450" y="428"/>
                        </a:lnTo>
                        <a:lnTo>
                          <a:pt x="451" y="429"/>
                        </a:lnTo>
                        <a:lnTo>
                          <a:pt x="451" y="431"/>
                        </a:lnTo>
                        <a:lnTo>
                          <a:pt x="453" y="431"/>
                        </a:lnTo>
                        <a:lnTo>
                          <a:pt x="453" y="433"/>
                        </a:lnTo>
                        <a:lnTo>
                          <a:pt x="455" y="434"/>
                        </a:lnTo>
                        <a:lnTo>
                          <a:pt x="456" y="434"/>
                        </a:lnTo>
                        <a:lnTo>
                          <a:pt x="456" y="439"/>
                        </a:lnTo>
                        <a:lnTo>
                          <a:pt x="458" y="444"/>
                        </a:lnTo>
                        <a:lnTo>
                          <a:pt x="458" y="447"/>
                        </a:lnTo>
                        <a:lnTo>
                          <a:pt x="458" y="452"/>
                        </a:lnTo>
                        <a:lnTo>
                          <a:pt x="459" y="456"/>
                        </a:lnTo>
                        <a:lnTo>
                          <a:pt x="461" y="463"/>
                        </a:lnTo>
                        <a:lnTo>
                          <a:pt x="461" y="466"/>
                        </a:lnTo>
                        <a:lnTo>
                          <a:pt x="462" y="471"/>
                        </a:lnTo>
                        <a:lnTo>
                          <a:pt x="462" y="474"/>
                        </a:lnTo>
                        <a:lnTo>
                          <a:pt x="464" y="479"/>
                        </a:lnTo>
                        <a:lnTo>
                          <a:pt x="464" y="482"/>
                        </a:lnTo>
                        <a:lnTo>
                          <a:pt x="466" y="488"/>
                        </a:lnTo>
                        <a:lnTo>
                          <a:pt x="466" y="491"/>
                        </a:lnTo>
                        <a:lnTo>
                          <a:pt x="467" y="499"/>
                        </a:lnTo>
                        <a:lnTo>
                          <a:pt x="469" y="499"/>
                        </a:lnTo>
                        <a:lnTo>
                          <a:pt x="474" y="498"/>
                        </a:lnTo>
                        <a:lnTo>
                          <a:pt x="478" y="496"/>
                        </a:lnTo>
                        <a:lnTo>
                          <a:pt x="483" y="494"/>
                        </a:lnTo>
                        <a:lnTo>
                          <a:pt x="485" y="491"/>
                        </a:lnTo>
                        <a:lnTo>
                          <a:pt x="486" y="488"/>
                        </a:lnTo>
                        <a:lnTo>
                          <a:pt x="486" y="485"/>
                        </a:lnTo>
                        <a:lnTo>
                          <a:pt x="485" y="482"/>
                        </a:lnTo>
                        <a:lnTo>
                          <a:pt x="485" y="477"/>
                        </a:lnTo>
                        <a:lnTo>
                          <a:pt x="485" y="475"/>
                        </a:lnTo>
                        <a:lnTo>
                          <a:pt x="486" y="472"/>
                        </a:lnTo>
                        <a:lnTo>
                          <a:pt x="488" y="471"/>
                        </a:lnTo>
                        <a:lnTo>
                          <a:pt x="489" y="467"/>
                        </a:lnTo>
                        <a:lnTo>
                          <a:pt x="494" y="464"/>
                        </a:lnTo>
                        <a:lnTo>
                          <a:pt x="496" y="464"/>
                        </a:lnTo>
                        <a:lnTo>
                          <a:pt x="497" y="466"/>
                        </a:lnTo>
                        <a:lnTo>
                          <a:pt x="499" y="467"/>
                        </a:lnTo>
                        <a:lnTo>
                          <a:pt x="501" y="469"/>
                        </a:lnTo>
                        <a:lnTo>
                          <a:pt x="502" y="471"/>
                        </a:lnTo>
                        <a:lnTo>
                          <a:pt x="505" y="472"/>
                        </a:lnTo>
                        <a:lnTo>
                          <a:pt x="510" y="472"/>
                        </a:lnTo>
                        <a:lnTo>
                          <a:pt x="515" y="474"/>
                        </a:lnTo>
                        <a:lnTo>
                          <a:pt x="520" y="474"/>
                        </a:lnTo>
                        <a:lnTo>
                          <a:pt x="523" y="475"/>
                        </a:lnTo>
                        <a:lnTo>
                          <a:pt x="524" y="475"/>
                        </a:lnTo>
                        <a:lnTo>
                          <a:pt x="527" y="475"/>
                        </a:lnTo>
                        <a:lnTo>
                          <a:pt x="529" y="477"/>
                        </a:lnTo>
                        <a:lnTo>
                          <a:pt x="531" y="477"/>
                        </a:lnTo>
                        <a:lnTo>
                          <a:pt x="532" y="475"/>
                        </a:lnTo>
                        <a:lnTo>
                          <a:pt x="534" y="475"/>
                        </a:lnTo>
                        <a:lnTo>
                          <a:pt x="535" y="475"/>
                        </a:lnTo>
                        <a:lnTo>
                          <a:pt x="537" y="474"/>
                        </a:lnTo>
                        <a:lnTo>
                          <a:pt x="539" y="474"/>
                        </a:lnTo>
                        <a:lnTo>
                          <a:pt x="540" y="474"/>
                        </a:lnTo>
                        <a:lnTo>
                          <a:pt x="542" y="472"/>
                        </a:lnTo>
                        <a:lnTo>
                          <a:pt x="543" y="472"/>
                        </a:lnTo>
                        <a:lnTo>
                          <a:pt x="546" y="471"/>
                        </a:lnTo>
                        <a:lnTo>
                          <a:pt x="550" y="471"/>
                        </a:lnTo>
                        <a:lnTo>
                          <a:pt x="551" y="471"/>
                        </a:lnTo>
                        <a:lnTo>
                          <a:pt x="551" y="472"/>
                        </a:lnTo>
                        <a:lnTo>
                          <a:pt x="553" y="472"/>
                        </a:lnTo>
                        <a:lnTo>
                          <a:pt x="553" y="474"/>
                        </a:lnTo>
                        <a:lnTo>
                          <a:pt x="556" y="474"/>
                        </a:lnTo>
                        <a:lnTo>
                          <a:pt x="556" y="475"/>
                        </a:lnTo>
                        <a:lnTo>
                          <a:pt x="556" y="474"/>
                        </a:lnTo>
                        <a:lnTo>
                          <a:pt x="558" y="472"/>
                        </a:lnTo>
                        <a:lnTo>
                          <a:pt x="559" y="472"/>
                        </a:lnTo>
                        <a:lnTo>
                          <a:pt x="562" y="472"/>
                        </a:lnTo>
                        <a:lnTo>
                          <a:pt x="562" y="474"/>
                        </a:lnTo>
                        <a:lnTo>
                          <a:pt x="564" y="474"/>
                        </a:lnTo>
                        <a:lnTo>
                          <a:pt x="565" y="474"/>
                        </a:lnTo>
                        <a:lnTo>
                          <a:pt x="567" y="475"/>
                        </a:lnTo>
                        <a:lnTo>
                          <a:pt x="567" y="477"/>
                        </a:lnTo>
                        <a:lnTo>
                          <a:pt x="569" y="477"/>
                        </a:lnTo>
                        <a:lnTo>
                          <a:pt x="567" y="477"/>
                        </a:lnTo>
                        <a:lnTo>
                          <a:pt x="567" y="479"/>
                        </a:lnTo>
                        <a:lnTo>
                          <a:pt x="569" y="480"/>
                        </a:lnTo>
                        <a:lnTo>
                          <a:pt x="572" y="483"/>
                        </a:lnTo>
                        <a:lnTo>
                          <a:pt x="573" y="486"/>
                        </a:lnTo>
                        <a:lnTo>
                          <a:pt x="575" y="486"/>
                        </a:lnTo>
                        <a:lnTo>
                          <a:pt x="575" y="488"/>
                        </a:lnTo>
                        <a:lnTo>
                          <a:pt x="577" y="488"/>
                        </a:lnTo>
                        <a:lnTo>
                          <a:pt x="578" y="488"/>
                        </a:lnTo>
                        <a:lnTo>
                          <a:pt x="583" y="488"/>
                        </a:lnTo>
                        <a:lnTo>
                          <a:pt x="589" y="488"/>
                        </a:lnTo>
                        <a:lnTo>
                          <a:pt x="596" y="488"/>
                        </a:lnTo>
                        <a:lnTo>
                          <a:pt x="602" y="488"/>
                        </a:lnTo>
                        <a:lnTo>
                          <a:pt x="608" y="488"/>
                        </a:lnTo>
                        <a:lnTo>
                          <a:pt x="618" y="488"/>
                        </a:lnTo>
                        <a:lnTo>
                          <a:pt x="622" y="488"/>
                        </a:lnTo>
                        <a:lnTo>
                          <a:pt x="624" y="488"/>
                        </a:lnTo>
                        <a:lnTo>
                          <a:pt x="627" y="488"/>
                        </a:lnTo>
                        <a:lnTo>
                          <a:pt x="627" y="490"/>
                        </a:lnTo>
                        <a:lnTo>
                          <a:pt x="630" y="491"/>
                        </a:lnTo>
                        <a:lnTo>
                          <a:pt x="632" y="493"/>
                        </a:lnTo>
                        <a:lnTo>
                          <a:pt x="635" y="494"/>
                        </a:lnTo>
                        <a:lnTo>
                          <a:pt x="641" y="501"/>
                        </a:lnTo>
                        <a:lnTo>
                          <a:pt x="646" y="504"/>
                        </a:lnTo>
                        <a:lnTo>
                          <a:pt x="651" y="507"/>
                        </a:lnTo>
                        <a:lnTo>
                          <a:pt x="657" y="510"/>
                        </a:lnTo>
                        <a:lnTo>
                          <a:pt x="664" y="513"/>
                        </a:lnTo>
                        <a:lnTo>
                          <a:pt x="670" y="517"/>
                        </a:lnTo>
                        <a:lnTo>
                          <a:pt x="675" y="520"/>
                        </a:lnTo>
                        <a:lnTo>
                          <a:pt x="680" y="523"/>
                        </a:lnTo>
                        <a:lnTo>
                          <a:pt x="684" y="526"/>
                        </a:lnTo>
                        <a:lnTo>
                          <a:pt x="691" y="529"/>
                        </a:lnTo>
                        <a:lnTo>
                          <a:pt x="697" y="532"/>
                        </a:lnTo>
                        <a:lnTo>
                          <a:pt x="705" y="536"/>
                        </a:lnTo>
                        <a:lnTo>
                          <a:pt x="711" y="539"/>
                        </a:lnTo>
                        <a:lnTo>
                          <a:pt x="714" y="540"/>
                        </a:lnTo>
                        <a:lnTo>
                          <a:pt x="718" y="542"/>
                        </a:lnTo>
                        <a:lnTo>
                          <a:pt x="722" y="543"/>
                        </a:lnTo>
                        <a:lnTo>
                          <a:pt x="725" y="543"/>
                        </a:lnTo>
                        <a:lnTo>
                          <a:pt x="727" y="543"/>
                        </a:lnTo>
                        <a:lnTo>
                          <a:pt x="729" y="543"/>
                        </a:lnTo>
                        <a:lnTo>
                          <a:pt x="730" y="543"/>
                        </a:lnTo>
                        <a:lnTo>
                          <a:pt x="732" y="543"/>
                        </a:lnTo>
                        <a:lnTo>
                          <a:pt x="733" y="543"/>
                        </a:lnTo>
                        <a:lnTo>
                          <a:pt x="737" y="543"/>
                        </a:lnTo>
                        <a:lnTo>
                          <a:pt x="738" y="543"/>
                        </a:lnTo>
                        <a:lnTo>
                          <a:pt x="740" y="542"/>
                        </a:lnTo>
                        <a:lnTo>
                          <a:pt x="744" y="542"/>
                        </a:lnTo>
                        <a:lnTo>
                          <a:pt x="748" y="542"/>
                        </a:lnTo>
                        <a:lnTo>
                          <a:pt x="749" y="542"/>
                        </a:lnTo>
                        <a:lnTo>
                          <a:pt x="751" y="542"/>
                        </a:lnTo>
                        <a:lnTo>
                          <a:pt x="752" y="540"/>
                        </a:lnTo>
                        <a:lnTo>
                          <a:pt x="754" y="540"/>
                        </a:lnTo>
                        <a:lnTo>
                          <a:pt x="756" y="540"/>
                        </a:lnTo>
                        <a:lnTo>
                          <a:pt x="757" y="540"/>
                        </a:lnTo>
                        <a:lnTo>
                          <a:pt x="757" y="539"/>
                        </a:lnTo>
                        <a:lnTo>
                          <a:pt x="759" y="539"/>
                        </a:lnTo>
                        <a:lnTo>
                          <a:pt x="760" y="539"/>
                        </a:lnTo>
                        <a:lnTo>
                          <a:pt x="762" y="539"/>
                        </a:lnTo>
                        <a:lnTo>
                          <a:pt x="763" y="537"/>
                        </a:lnTo>
                        <a:lnTo>
                          <a:pt x="765" y="536"/>
                        </a:lnTo>
                        <a:lnTo>
                          <a:pt x="765" y="534"/>
                        </a:lnTo>
                        <a:lnTo>
                          <a:pt x="767" y="534"/>
                        </a:lnTo>
                        <a:lnTo>
                          <a:pt x="768" y="532"/>
                        </a:lnTo>
                        <a:lnTo>
                          <a:pt x="770" y="534"/>
                        </a:lnTo>
                        <a:lnTo>
                          <a:pt x="771" y="536"/>
                        </a:lnTo>
                        <a:lnTo>
                          <a:pt x="771" y="537"/>
                        </a:lnTo>
                        <a:lnTo>
                          <a:pt x="773" y="542"/>
                        </a:lnTo>
                        <a:lnTo>
                          <a:pt x="773" y="545"/>
                        </a:lnTo>
                        <a:lnTo>
                          <a:pt x="773" y="548"/>
                        </a:lnTo>
                        <a:lnTo>
                          <a:pt x="775" y="550"/>
                        </a:lnTo>
                        <a:lnTo>
                          <a:pt x="775" y="551"/>
                        </a:lnTo>
                        <a:lnTo>
                          <a:pt x="775" y="553"/>
                        </a:lnTo>
                        <a:lnTo>
                          <a:pt x="773" y="556"/>
                        </a:lnTo>
                        <a:lnTo>
                          <a:pt x="773" y="558"/>
                        </a:lnTo>
                        <a:lnTo>
                          <a:pt x="773" y="559"/>
                        </a:lnTo>
                        <a:lnTo>
                          <a:pt x="773" y="561"/>
                        </a:lnTo>
                        <a:lnTo>
                          <a:pt x="775" y="564"/>
                        </a:lnTo>
                        <a:lnTo>
                          <a:pt x="775" y="566"/>
                        </a:lnTo>
                        <a:lnTo>
                          <a:pt x="775" y="567"/>
                        </a:lnTo>
                        <a:lnTo>
                          <a:pt x="775" y="569"/>
                        </a:lnTo>
                        <a:lnTo>
                          <a:pt x="775" y="570"/>
                        </a:lnTo>
                        <a:lnTo>
                          <a:pt x="775" y="572"/>
                        </a:lnTo>
                        <a:lnTo>
                          <a:pt x="773" y="575"/>
                        </a:lnTo>
                        <a:lnTo>
                          <a:pt x="773" y="578"/>
                        </a:lnTo>
                        <a:lnTo>
                          <a:pt x="773" y="580"/>
                        </a:lnTo>
                        <a:lnTo>
                          <a:pt x="775" y="581"/>
                        </a:lnTo>
                        <a:lnTo>
                          <a:pt x="775" y="585"/>
                        </a:lnTo>
                        <a:lnTo>
                          <a:pt x="775" y="586"/>
                        </a:lnTo>
                        <a:lnTo>
                          <a:pt x="776" y="589"/>
                        </a:lnTo>
                        <a:lnTo>
                          <a:pt x="776" y="594"/>
                        </a:lnTo>
                        <a:lnTo>
                          <a:pt x="778" y="600"/>
                        </a:lnTo>
                        <a:lnTo>
                          <a:pt x="779" y="604"/>
                        </a:lnTo>
                        <a:lnTo>
                          <a:pt x="779" y="608"/>
                        </a:lnTo>
                        <a:lnTo>
                          <a:pt x="781" y="612"/>
                        </a:lnTo>
                        <a:lnTo>
                          <a:pt x="781" y="615"/>
                        </a:lnTo>
                        <a:lnTo>
                          <a:pt x="782" y="619"/>
                        </a:lnTo>
                        <a:lnTo>
                          <a:pt x="782" y="624"/>
                        </a:lnTo>
                        <a:lnTo>
                          <a:pt x="784" y="629"/>
                        </a:lnTo>
                        <a:lnTo>
                          <a:pt x="784" y="631"/>
                        </a:lnTo>
                        <a:lnTo>
                          <a:pt x="784" y="634"/>
                        </a:lnTo>
                        <a:lnTo>
                          <a:pt x="784" y="635"/>
                        </a:lnTo>
                        <a:lnTo>
                          <a:pt x="784" y="639"/>
                        </a:lnTo>
                        <a:lnTo>
                          <a:pt x="784" y="642"/>
                        </a:lnTo>
                        <a:lnTo>
                          <a:pt x="784" y="643"/>
                        </a:lnTo>
                        <a:lnTo>
                          <a:pt x="784" y="645"/>
                        </a:lnTo>
                        <a:lnTo>
                          <a:pt x="784" y="648"/>
                        </a:lnTo>
                        <a:lnTo>
                          <a:pt x="784" y="650"/>
                        </a:lnTo>
                        <a:lnTo>
                          <a:pt x="784" y="651"/>
                        </a:lnTo>
                        <a:lnTo>
                          <a:pt x="786" y="653"/>
                        </a:lnTo>
                        <a:lnTo>
                          <a:pt x="786" y="654"/>
                        </a:lnTo>
                        <a:lnTo>
                          <a:pt x="787" y="656"/>
                        </a:lnTo>
                        <a:lnTo>
                          <a:pt x="787" y="658"/>
                        </a:lnTo>
                        <a:lnTo>
                          <a:pt x="789" y="661"/>
                        </a:lnTo>
                        <a:lnTo>
                          <a:pt x="790" y="662"/>
                        </a:lnTo>
                        <a:lnTo>
                          <a:pt x="792" y="665"/>
                        </a:lnTo>
                        <a:lnTo>
                          <a:pt x="794" y="667"/>
                        </a:lnTo>
                        <a:lnTo>
                          <a:pt x="795" y="669"/>
                        </a:lnTo>
                        <a:lnTo>
                          <a:pt x="797" y="673"/>
                        </a:lnTo>
                        <a:lnTo>
                          <a:pt x="800" y="683"/>
                        </a:lnTo>
                        <a:lnTo>
                          <a:pt x="801" y="688"/>
                        </a:lnTo>
                        <a:lnTo>
                          <a:pt x="805" y="694"/>
                        </a:lnTo>
                        <a:lnTo>
                          <a:pt x="808" y="703"/>
                        </a:lnTo>
                        <a:lnTo>
                          <a:pt x="811" y="711"/>
                        </a:lnTo>
                        <a:lnTo>
                          <a:pt x="814" y="719"/>
                        </a:lnTo>
                        <a:lnTo>
                          <a:pt x="816" y="724"/>
                        </a:lnTo>
                        <a:lnTo>
                          <a:pt x="816" y="727"/>
                        </a:lnTo>
                        <a:lnTo>
                          <a:pt x="817" y="730"/>
                        </a:lnTo>
                        <a:lnTo>
                          <a:pt x="817" y="732"/>
                        </a:lnTo>
                        <a:lnTo>
                          <a:pt x="819" y="734"/>
                        </a:lnTo>
                        <a:lnTo>
                          <a:pt x="819" y="735"/>
                        </a:lnTo>
                        <a:lnTo>
                          <a:pt x="817" y="737"/>
                        </a:lnTo>
                        <a:lnTo>
                          <a:pt x="816" y="738"/>
                        </a:lnTo>
                        <a:lnTo>
                          <a:pt x="814" y="738"/>
                        </a:lnTo>
                        <a:lnTo>
                          <a:pt x="811" y="740"/>
                        </a:lnTo>
                        <a:lnTo>
                          <a:pt x="809" y="740"/>
                        </a:lnTo>
                        <a:lnTo>
                          <a:pt x="808" y="740"/>
                        </a:lnTo>
                        <a:lnTo>
                          <a:pt x="806" y="740"/>
                        </a:lnTo>
                        <a:lnTo>
                          <a:pt x="805" y="740"/>
                        </a:lnTo>
                        <a:lnTo>
                          <a:pt x="803" y="740"/>
                        </a:lnTo>
                        <a:lnTo>
                          <a:pt x="801" y="741"/>
                        </a:lnTo>
                        <a:lnTo>
                          <a:pt x="800" y="741"/>
                        </a:lnTo>
                        <a:lnTo>
                          <a:pt x="798" y="741"/>
                        </a:lnTo>
                        <a:lnTo>
                          <a:pt x="798" y="743"/>
                        </a:lnTo>
                        <a:lnTo>
                          <a:pt x="797" y="743"/>
                        </a:lnTo>
                        <a:lnTo>
                          <a:pt x="795" y="743"/>
                        </a:lnTo>
                        <a:lnTo>
                          <a:pt x="794" y="745"/>
                        </a:lnTo>
                        <a:lnTo>
                          <a:pt x="794" y="746"/>
                        </a:lnTo>
                        <a:lnTo>
                          <a:pt x="794" y="748"/>
                        </a:lnTo>
                        <a:lnTo>
                          <a:pt x="792" y="748"/>
                        </a:lnTo>
                        <a:lnTo>
                          <a:pt x="790" y="748"/>
                        </a:lnTo>
                        <a:lnTo>
                          <a:pt x="789" y="748"/>
                        </a:lnTo>
                        <a:lnTo>
                          <a:pt x="787" y="749"/>
                        </a:lnTo>
                        <a:lnTo>
                          <a:pt x="786" y="751"/>
                        </a:lnTo>
                        <a:lnTo>
                          <a:pt x="787" y="753"/>
                        </a:lnTo>
                        <a:lnTo>
                          <a:pt x="789" y="753"/>
                        </a:lnTo>
                        <a:lnTo>
                          <a:pt x="789" y="754"/>
                        </a:lnTo>
                        <a:lnTo>
                          <a:pt x="790" y="754"/>
                        </a:lnTo>
                        <a:lnTo>
                          <a:pt x="790" y="756"/>
                        </a:lnTo>
                        <a:lnTo>
                          <a:pt x="790" y="757"/>
                        </a:lnTo>
                        <a:lnTo>
                          <a:pt x="792" y="759"/>
                        </a:lnTo>
                        <a:lnTo>
                          <a:pt x="790" y="760"/>
                        </a:lnTo>
                        <a:lnTo>
                          <a:pt x="790" y="762"/>
                        </a:lnTo>
                        <a:lnTo>
                          <a:pt x="792" y="764"/>
                        </a:lnTo>
                        <a:lnTo>
                          <a:pt x="794" y="765"/>
                        </a:lnTo>
                        <a:lnTo>
                          <a:pt x="794" y="767"/>
                        </a:lnTo>
                        <a:lnTo>
                          <a:pt x="795" y="768"/>
                        </a:lnTo>
                        <a:lnTo>
                          <a:pt x="795" y="770"/>
                        </a:lnTo>
                        <a:lnTo>
                          <a:pt x="794" y="772"/>
                        </a:lnTo>
                        <a:lnTo>
                          <a:pt x="794" y="773"/>
                        </a:lnTo>
                        <a:lnTo>
                          <a:pt x="795" y="776"/>
                        </a:lnTo>
                        <a:lnTo>
                          <a:pt x="795" y="778"/>
                        </a:lnTo>
                        <a:lnTo>
                          <a:pt x="794" y="779"/>
                        </a:lnTo>
                        <a:lnTo>
                          <a:pt x="794" y="781"/>
                        </a:lnTo>
                        <a:lnTo>
                          <a:pt x="794" y="783"/>
                        </a:lnTo>
                        <a:lnTo>
                          <a:pt x="794" y="784"/>
                        </a:lnTo>
                        <a:lnTo>
                          <a:pt x="794" y="786"/>
                        </a:lnTo>
                        <a:lnTo>
                          <a:pt x="795" y="787"/>
                        </a:lnTo>
                        <a:lnTo>
                          <a:pt x="797" y="789"/>
                        </a:lnTo>
                        <a:lnTo>
                          <a:pt x="798" y="789"/>
                        </a:lnTo>
                        <a:lnTo>
                          <a:pt x="798" y="791"/>
                        </a:lnTo>
                        <a:lnTo>
                          <a:pt x="798" y="792"/>
                        </a:lnTo>
                        <a:lnTo>
                          <a:pt x="800" y="792"/>
                        </a:lnTo>
                        <a:lnTo>
                          <a:pt x="800" y="794"/>
                        </a:lnTo>
                        <a:lnTo>
                          <a:pt x="800" y="795"/>
                        </a:lnTo>
                        <a:lnTo>
                          <a:pt x="800" y="797"/>
                        </a:lnTo>
                        <a:lnTo>
                          <a:pt x="800" y="800"/>
                        </a:lnTo>
                        <a:lnTo>
                          <a:pt x="801" y="800"/>
                        </a:lnTo>
                        <a:lnTo>
                          <a:pt x="801" y="802"/>
                        </a:lnTo>
                        <a:lnTo>
                          <a:pt x="803" y="802"/>
                        </a:lnTo>
                        <a:lnTo>
                          <a:pt x="805" y="802"/>
                        </a:lnTo>
                        <a:lnTo>
                          <a:pt x="806" y="802"/>
                        </a:lnTo>
                        <a:lnTo>
                          <a:pt x="806" y="803"/>
                        </a:lnTo>
                        <a:lnTo>
                          <a:pt x="806" y="805"/>
                        </a:lnTo>
                        <a:lnTo>
                          <a:pt x="808" y="805"/>
                        </a:lnTo>
                        <a:lnTo>
                          <a:pt x="808" y="806"/>
                        </a:lnTo>
                        <a:lnTo>
                          <a:pt x="808" y="808"/>
                        </a:lnTo>
                        <a:lnTo>
                          <a:pt x="808" y="810"/>
                        </a:lnTo>
                        <a:lnTo>
                          <a:pt x="806" y="811"/>
                        </a:lnTo>
                        <a:lnTo>
                          <a:pt x="806" y="813"/>
                        </a:lnTo>
                        <a:lnTo>
                          <a:pt x="805" y="813"/>
                        </a:lnTo>
                        <a:lnTo>
                          <a:pt x="805" y="814"/>
                        </a:lnTo>
                        <a:lnTo>
                          <a:pt x="803" y="816"/>
                        </a:lnTo>
                        <a:lnTo>
                          <a:pt x="803" y="817"/>
                        </a:lnTo>
                        <a:lnTo>
                          <a:pt x="803" y="819"/>
                        </a:lnTo>
                        <a:lnTo>
                          <a:pt x="805" y="821"/>
                        </a:lnTo>
                        <a:lnTo>
                          <a:pt x="806" y="822"/>
                        </a:lnTo>
                        <a:lnTo>
                          <a:pt x="808" y="824"/>
                        </a:lnTo>
                        <a:lnTo>
                          <a:pt x="808" y="825"/>
                        </a:lnTo>
                        <a:lnTo>
                          <a:pt x="809" y="825"/>
                        </a:lnTo>
                        <a:lnTo>
                          <a:pt x="809" y="827"/>
                        </a:lnTo>
                        <a:lnTo>
                          <a:pt x="809" y="829"/>
                        </a:lnTo>
                        <a:lnTo>
                          <a:pt x="808" y="830"/>
                        </a:lnTo>
                        <a:lnTo>
                          <a:pt x="806" y="830"/>
                        </a:lnTo>
                        <a:lnTo>
                          <a:pt x="803" y="830"/>
                        </a:lnTo>
                        <a:lnTo>
                          <a:pt x="801" y="833"/>
                        </a:lnTo>
                        <a:lnTo>
                          <a:pt x="801" y="835"/>
                        </a:lnTo>
                        <a:lnTo>
                          <a:pt x="801" y="837"/>
                        </a:lnTo>
                        <a:lnTo>
                          <a:pt x="801" y="838"/>
                        </a:lnTo>
                        <a:lnTo>
                          <a:pt x="800" y="841"/>
                        </a:lnTo>
                        <a:lnTo>
                          <a:pt x="794" y="851"/>
                        </a:lnTo>
                        <a:lnTo>
                          <a:pt x="790" y="856"/>
                        </a:lnTo>
                        <a:lnTo>
                          <a:pt x="786" y="863"/>
                        </a:lnTo>
                        <a:lnTo>
                          <a:pt x="781" y="871"/>
                        </a:lnTo>
                        <a:lnTo>
                          <a:pt x="779" y="875"/>
                        </a:lnTo>
                        <a:lnTo>
                          <a:pt x="778" y="878"/>
                        </a:lnTo>
                        <a:lnTo>
                          <a:pt x="778" y="879"/>
                        </a:lnTo>
                        <a:lnTo>
                          <a:pt x="778" y="882"/>
                        </a:lnTo>
                        <a:lnTo>
                          <a:pt x="778" y="886"/>
                        </a:lnTo>
                        <a:lnTo>
                          <a:pt x="778" y="889"/>
                        </a:lnTo>
                        <a:lnTo>
                          <a:pt x="778" y="894"/>
                        </a:lnTo>
                        <a:lnTo>
                          <a:pt x="778" y="895"/>
                        </a:lnTo>
                        <a:lnTo>
                          <a:pt x="779" y="897"/>
                        </a:lnTo>
                        <a:lnTo>
                          <a:pt x="779" y="901"/>
                        </a:lnTo>
                        <a:lnTo>
                          <a:pt x="779" y="903"/>
                        </a:lnTo>
                        <a:lnTo>
                          <a:pt x="779" y="905"/>
                        </a:lnTo>
                        <a:lnTo>
                          <a:pt x="781" y="909"/>
                        </a:lnTo>
                        <a:lnTo>
                          <a:pt x="781" y="913"/>
                        </a:lnTo>
                        <a:lnTo>
                          <a:pt x="781" y="914"/>
                        </a:lnTo>
                        <a:lnTo>
                          <a:pt x="779" y="916"/>
                        </a:lnTo>
                        <a:lnTo>
                          <a:pt x="778" y="916"/>
                        </a:lnTo>
                        <a:lnTo>
                          <a:pt x="776" y="917"/>
                        </a:lnTo>
                        <a:lnTo>
                          <a:pt x="775" y="917"/>
                        </a:lnTo>
                        <a:lnTo>
                          <a:pt x="771" y="917"/>
                        </a:lnTo>
                        <a:lnTo>
                          <a:pt x="770" y="917"/>
                        </a:lnTo>
                        <a:lnTo>
                          <a:pt x="768" y="916"/>
                        </a:lnTo>
                        <a:lnTo>
                          <a:pt x="767" y="914"/>
                        </a:lnTo>
                        <a:lnTo>
                          <a:pt x="765" y="913"/>
                        </a:lnTo>
                        <a:lnTo>
                          <a:pt x="763" y="909"/>
                        </a:lnTo>
                        <a:lnTo>
                          <a:pt x="762" y="906"/>
                        </a:lnTo>
                        <a:lnTo>
                          <a:pt x="760" y="905"/>
                        </a:lnTo>
                        <a:lnTo>
                          <a:pt x="759" y="903"/>
                        </a:lnTo>
                        <a:lnTo>
                          <a:pt x="759" y="901"/>
                        </a:lnTo>
                        <a:lnTo>
                          <a:pt x="759" y="898"/>
                        </a:lnTo>
                        <a:lnTo>
                          <a:pt x="757" y="897"/>
                        </a:lnTo>
                        <a:lnTo>
                          <a:pt x="754" y="897"/>
                        </a:lnTo>
                        <a:lnTo>
                          <a:pt x="754" y="898"/>
                        </a:lnTo>
                        <a:lnTo>
                          <a:pt x="752" y="898"/>
                        </a:lnTo>
                        <a:lnTo>
                          <a:pt x="751" y="898"/>
                        </a:lnTo>
                        <a:lnTo>
                          <a:pt x="749" y="897"/>
                        </a:lnTo>
                        <a:lnTo>
                          <a:pt x="749" y="895"/>
                        </a:lnTo>
                        <a:lnTo>
                          <a:pt x="748" y="894"/>
                        </a:lnTo>
                        <a:lnTo>
                          <a:pt x="746" y="892"/>
                        </a:lnTo>
                        <a:lnTo>
                          <a:pt x="744" y="892"/>
                        </a:lnTo>
                        <a:lnTo>
                          <a:pt x="743" y="892"/>
                        </a:lnTo>
                        <a:lnTo>
                          <a:pt x="741" y="894"/>
                        </a:lnTo>
                        <a:lnTo>
                          <a:pt x="740" y="894"/>
                        </a:lnTo>
                        <a:lnTo>
                          <a:pt x="738" y="894"/>
                        </a:lnTo>
                        <a:lnTo>
                          <a:pt x="737" y="894"/>
                        </a:lnTo>
                        <a:lnTo>
                          <a:pt x="735" y="897"/>
                        </a:lnTo>
                        <a:lnTo>
                          <a:pt x="733" y="898"/>
                        </a:lnTo>
                        <a:lnTo>
                          <a:pt x="733" y="900"/>
                        </a:lnTo>
                        <a:lnTo>
                          <a:pt x="735" y="901"/>
                        </a:lnTo>
                        <a:lnTo>
                          <a:pt x="733" y="905"/>
                        </a:lnTo>
                        <a:lnTo>
                          <a:pt x="732" y="908"/>
                        </a:lnTo>
                        <a:lnTo>
                          <a:pt x="730" y="913"/>
                        </a:lnTo>
                        <a:lnTo>
                          <a:pt x="727" y="920"/>
                        </a:lnTo>
                        <a:lnTo>
                          <a:pt x="725" y="925"/>
                        </a:lnTo>
                        <a:lnTo>
                          <a:pt x="725" y="930"/>
                        </a:lnTo>
                        <a:lnTo>
                          <a:pt x="724" y="932"/>
                        </a:lnTo>
                        <a:lnTo>
                          <a:pt x="722" y="933"/>
                        </a:lnTo>
                        <a:lnTo>
                          <a:pt x="721" y="936"/>
                        </a:lnTo>
                        <a:lnTo>
                          <a:pt x="721" y="938"/>
                        </a:lnTo>
                        <a:lnTo>
                          <a:pt x="719" y="939"/>
                        </a:lnTo>
                        <a:lnTo>
                          <a:pt x="718" y="946"/>
                        </a:lnTo>
                        <a:lnTo>
                          <a:pt x="716" y="946"/>
                        </a:lnTo>
                        <a:lnTo>
                          <a:pt x="706" y="943"/>
                        </a:lnTo>
                        <a:lnTo>
                          <a:pt x="692" y="941"/>
                        </a:lnTo>
                        <a:lnTo>
                          <a:pt x="689" y="939"/>
                        </a:lnTo>
                        <a:lnTo>
                          <a:pt x="676" y="938"/>
                        </a:lnTo>
                        <a:lnTo>
                          <a:pt x="675" y="936"/>
                        </a:lnTo>
                        <a:lnTo>
                          <a:pt x="645" y="930"/>
                        </a:lnTo>
                        <a:lnTo>
                          <a:pt x="640" y="930"/>
                        </a:lnTo>
                        <a:lnTo>
                          <a:pt x="632" y="928"/>
                        </a:lnTo>
                        <a:lnTo>
                          <a:pt x="619" y="925"/>
                        </a:lnTo>
                        <a:lnTo>
                          <a:pt x="618" y="925"/>
                        </a:lnTo>
                        <a:lnTo>
                          <a:pt x="616" y="925"/>
                        </a:lnTo>
                        <a:lnTo>
                          <a:pt x="608" y="924"/>
                        </a:lnTo>
                        <a:lnTo>
                          <a:pt x="603" y="922"/>
                        </a:lnTo>
                        <a:lnTo>
                          <a:pt x="602" y="922"/>
                        </a:lnTo>
                        <a:lnTo>
                          <a:pt x="600" y="922"/>
                        </a:lnTo>
                        <a:lnTo>
                          <a:pt x="573" y="917"/>
                        </a:lnTo>
                        <a:lnTo>
                          <a:pt x="537" y="909"/>
                        </a:lnTo>
                        <a:lnTo>
                          <a:pt x="535" y="909"/>
                        </a:lnTo>
                        <a:lnTo>
                          <a:pt x="527" y="908"/>
                        </a:lnTo>
                        <a:lnTo>
                          <a:pt x="516" y="905"/>
                        </a:lnTo>
                        <a:lnTo>
                          <a:pt x="513" y="905"/>
                        </a:lnTo>
                        <a:lnTo>
                          <a:pt x="508" y="905"/>
                        </a:lnTo>
                        <a:lnTo>
                          <a:pt x="507" y="903"/>
                        </a:lnTo>
                        <a:lnTo>
                          <a:pt x="493" y="900"/>
                        </a:lnTo>
                        <a:lnTo>
                          <a:pt x="488" y="900"/>
                        </a:lnTo>
                        <a:lnTo>
                          <a:pt x="483" y="898"/>
                        </a:lnTo>
                        <a:lnTo>
                          <a:pt x="478" y="898"/>
                        </a:lnTo>
                        <a:lnTo>
                          <a:pt x="477" y="898"/>
                        </a:lnTo>
                        <a:lnTo>
                          <a:pt x="456" y="894"/>
                        </a:lnTo>
                        <a:lnTo>
                          <a:pt x="455" y="892"/>
                        </a:lnTo>
                        <a:lnTo>
                          <a:pt x="445" y="890"/>
                        </a:lnTo>
                        <a:lnTo>
                          <a:pt x="439" y="890"/>
                        </a:lnTo>
                        <a:lnTo>
                          <a:pt x="434" y="889"/>
                        </a:lnTo>
                        <a:lnTo>
                          <a:pt x="428" y="887"/>
                        </a:lnTo>
                        <a:lnTo>
                          <a:pt x="421" y="887"/>
                        </a:lnTo>
                        <a:lnTo>
                          <a:pt x="413" y="884"/>
                        </a:lnTo>
                        <a:lnTo>
                          <a:pt x="412" y="884"/>
                        </a:lnTo>
                        <a:lnTo>
                          <a:pt x="398" y="882"/>
                        </a:lnTo>
                        <a:lnTo>
                          <a:pt x="394" y="881"/>
                        </a:lnTo>
                        <a:lnTo>
                          <a:pt x="393" y="881"/>
                        </a:lnTo>
                        <a:lnTo>
                          <a:pt x="390" y="879"/>
                        </a:lnTo>
                        <a:lnTo>
                          <a:pt x="388" y="879"/>
                        </a:lnTo>
                        <a:lnTo>
                          <a:pt x="386" y="879"/>
                        </a:lnTo>
                        <a:lnTo>
                          <a:pt x="375" y="878"/>
                        </a:lnTo>
                        <a:lnTo>
                          <a:pt x="371" y="876"/>
                        </a:lnTo>
                        <a:lnTo>
                          <a:pt x="369" y="875"/>
                        </a:lnTo>
                        <a:lnTo>
                          <a:pt x="358" y="873"/>
                        </a:lnTo>
                        <a:lnTo>
                          <a:pt x="345" y="868"/>
                        </a:lnTo>
                        <a:lnTo>
                          <a:pt x="341" y="867"/>
                        </a:lnTo>
                        <a:lnTo>
                          <a:pt x="337" y="867"/>
                        </a:lnTo>
                        <a:lnTo>
                          <a:pt x="336" y="867"/>
                        </a:lnTo>
                        <a:lnTo>
                          <a:pt x="334" y="865"/>
                        </a:lnTo>
                        <a:lnTo>
                          <a:pt x="331" y="865"/>
                        </a:lnTo>
                        <a:lnTo>
                          <a:pt x="325" y="863"/>
                        </a:lnTo>
                        <a:lnTo>
                          <a:pt x="315" y="862"/>
                        </a:lnTo>
                        <a:lnTo>
                          <a:pt x="293" y="856"/>
                        </a:lnTo>
                        <a:lnTo>
                          <a:pt x="288" y="854"/>
                        </a:lnTo>
                        <a:lnTo>
                          <a:pt x="285" y="857"/>
                        </a:lnTo>
                        <a:lnTo>
                          <a:pt x="282" y="865"/>
                        </a:lnTo>
                        <a:lnTo>
                          <a:pt x="282" y="867"/>
                        </a:lnTo>
                        <a:lnTo>
                          <a:pt x="282" y="868"/>
                        </a:lnTo>
                        <a:lnTo>
                          <a:pt x="280" y="868"/>
                        </a:lnTo>
                        <a:lnTo>
                          <a:pt x="279" y="868"/>
                        </a:lnTo>
                        <a:lnTo>
                          <a:pt x="277" y="868"/>
                        </a:lnTo>
                        <a:lnTo>
                          <a:pt x="277" y="871"/>
                        </a:lnTo>
                        <a:lnTo>
                          <a:pt x="277" y="873"/>
                        </a:lnTo>
                        <a:lnTo>
                          <a:pt x="279" y="875"/>
                        </a:lnTo>
                        <a:lnTo>
                          <a:pt x="282" y="876"/>
                        </a:lnTo>
                        <a:lnTo>
                          <a:pt x="284" y="876"/>
                        </a:lnTo>
                        <a:lnTo>
                          <a:pt x="287" y="879"/>
                        </a:lnTo>
                        <a:lnTo>
                          <a:pt x="287" y="882"/>
                        </a:lnTo>
                        <a:lnTo>
                          <a:pt x="288" y="886"/>
                        </a:lnTo>
                        <a:lnTo>
                          <a:pt x="280" y="889"/>
                        </a:lnTo>
                        <a:lnTo>
                          <a:pt x="279" y="890"/>
                        </a:lnTo>
                        <a:lnTo>
                          <a:pt x="276" y="890"/>
                        </a:lnTo>
                        <a:lnTo>
                          <a:pt x="269" y="892"/>
                        </a:lnTo>
                        <a:lnTo>
                          <a:pt x="268" y="892"/>
                        </a:lnTo>
                        <a:lnTo>
                          <a:pt x="264" y="892"/>
                        </a:lnTo>
                        <a:lnTo>
                          <a:pt x="264" y="894"/>
                        </a:lnTo>
                        <a:lnTo>
                          <a:pt x="261" y="894"/>
                        </a:lnTo>
                        <a:lnTo>
                          <a:pt x="253" y="895"/>
                        </a:lnTo>
                        <a:lnTo>
                          <a:pt x="249" y="897"/>
                        </a:lnTo>
                        <a:lnTo>
                          <a:pt x="247" y="898"/>
                        </a:lnTo>
                        <a:lnTo>
                          <a:pt x="245" y="901"/>
                        </a:lnTo>
                        <a:lnTo>
                          <a:pt x="244" y="909"/>
                        </a:lnTo>
                        <a:lnTo>
                          <a:pt x="242" y="911"/>
                        </a:lnTo>
                        <a:lnTo>
                          <a:pt x="238" y="913"/>
                        </a:lnTo>
                        <a:lnTo>
                          <a:pt x="236" y="914"/>
                        </a:lnTo>
                        <a:lnTo>
                          <a:pt x="236" y="916"/>
                        </a:lnTo>
                        <a:lnTo>
                          <a:pt x="236" y="917"/>
                        </a:lnTo>
                        <a:lnTo>
                          <a:pt x="234" y="919"/>
                        </a:lnTo>
                        <a:lnTo>
                          <a:pt x="234" y="917"/>
                        </a:lnTo>
                        <a:lnTo>
                          <a:pt x="226" y="909"/>
                        </a:lnTo>
                        <a:lnTo>
                          <a:pt x="226" y="908"/>
                        </a:lnTo>
                        <a:lnTo>
                          <a:pt x="226" y="903"/>
                        </a:lnTo>
                        <a:lnTo>
                          <a:pt x="223" y="898"/>
                        </a:lnTo>
                        <a:lnTo>
                          <a:pt x="223" y="894"/>
                        </a:lnTo>
                        <a:lnTo>
                          <a:pt x="225" y="890"/>
                        </a:lnTo>
                        <a:lnTo>
                          <a:pt x="225" y="889"/>
                        </a:lnTo>
                        <a:lnTo>
                          <a:pt x="223" y="889"/>
                        </a:lnTo>
                        <a:lnTo>
                          <a:pt x="222" y="889"/>
                        </a:lnTo>
                        <a:lnTo>
                          <a:pt x="215" y="887"/>
                        </a:lnTo>
                        <a:lnTo>
                          <a:pt x="211" y="887"/>
                        </a:lnTo>
                        <a:lnTo>
                          <a:pt x="190" y="900"/>
                        </a:lnTo>
                        <a:lnTo>
                          <a:pt x="188" y="908"/>
                        </a:lnTo>
                        <a:lnTo>
                          <a:pt x="185" y="919"/>
                        </a:lnTo>
                        <a:lnTo>
                          <a:pt x="184" y="925"/>
                        </a:lnTo>
                        <a:lnTo>
                          <a:pt x="184" y="927"/>
                        </a:lnTo>
                        <a:lnTo>
                          <a:pt x="185" y="936"/>
                        </a:lnTo>
                        <a:lnTo>
                          <a:pt x="187" y="941"/>
                        </a:lnTo>
                        <a:lnTo>
                          <a:pt x="187" y="943"/>
                        </a:lnTo>
                        <a:lnTo>
                          <a:pt x="185" y="943"/>
                        </a:lnTo>
                        <a:lnTo>
                          <a:pt x="179" y="947"/>
                        </a:lnTo>
                        <a:lnTo>
                          <a:pt x="176" y="949"/>
                        </a:lnTo>
                        <a:lnTo>
                          <a:pt x="163" y="946"/>
                        </a:lnTo>
                        <a:lnTo>
                          <a:pt x="162" y="946"/>
                        </a:lnTo>
                        <a:lnTo>
                          <a:pt x="160" y="946"/>
                        </a:lnTo>
                        <a:lnTo>
                          <a:pt x="154" y="952"/>
                        </a:lnTo>
                        <a:lnTo>
                          <a:pt x="147" y="955"/>
                        </a:lnTo>
                        <a:lnTo>
                          <a:pt x="147" y="957"/>
                        </a:lnTo>
                        <a:lnTo>
                          <a:pt x="144" y="965"/>
                        </a:lnTo>
                        <a:lnTo>
                          <a:pt x="143" y="966"/>
                        </a:lnTo>
                        <a:lnTo>
                          <a:pt x="139" y="970"/>
                        </a:lnTo>
                        <a:lnTo>
                          <a:pt x="136" y="971"/>
                        </a:lnTo>
                        <a:lnTo>
                          <a:pt x="135" y="970"/>
                        </a:lnTo>
                        <a:lnTo>
                          <a:pt x="131" y="970"/>
                        </a:lnTo>
                        <a:lnTo>
                          <a:pt x="128" y="966"/>
                        </a:lnTo>
                        <a:lnTo>
                          <a:pt x="127" y="966"/>
                        </a:lnTo>
                        <a:lnTo>
                          <a:pt x="125" y="968"/>
                        </a:lnTo>
                        <a:lnTo>
                          <a:pt x="117" y="976"/>
                        </a:lnTo>
                        <a:lnTo>
                          <a:pt x="117" y="977"/>
                        </a:lnTo>
                        <a:lnTo>
                          <a:pt x="116" y="977"/>
                        </a:lnTo>
                        <a:lnTo>
                          <a:pt x="112" y="973"/>
                        </a:lnTo>
                        <a:lnTo>
                          <a:pt x="106" y="973"/>
                        </a:lnTo>
                        <a:lnTo>
                          <a:pt x="103" y="974"/>
                        </a:lnTo>
                        <a:lnTo>
                          <a:pt x="100" y="977"/>
                        </a:lnTo>
                        <a:lnTo>
                          <a:pt x="97" y="984"/>
                        </a:lnTo>
                        <a:lnTo>
                          <a:pt x="95" y="985"/>
                        </a:lnTo>
                        <a:lnTo>
                          <a:pt x="90" y="995"/>
                        </a:lnTo>
                        <a:lnTo>
                          <a:pt x="90" y="1001"/>
                        </a:lnTo>
                        <a:lnTo>
                          <a:pt x="89" y="1003"/>
                        </a:lnTo>
                        <a:lnTo>
                          <a:pt x="89" y="1009"/>
                        </a:lnTo>
                        <a:lnTo>
                          <a:pt x="90" y="1016"/>
                        </a:lnTo>
                        <a:lnTo>
                          <a:pt x="81" y="1020"/>
                        </a:lnTo>
                        <a:lnTo>
                          <a:pt x="79" y="1020"/>
                        </a:lnTo>
                        <a:lnTo>
                          <a:pt x="74" y="1022"/>
                        </a:lnTo>
                        <a:lnTo>
                          <a:pt x="70" y="1004"/>
                        </a:lnTo>
                        <a:lnTo>
                          <a:pt x="66" y="1000"/>
                        </a:lnTo>
                        <a:lnTo>
                          <a:pt x="66" y="998"/>
                        </a:lnTo>
                        <a:lnTo>
                          <a:pt x="65" y="998"/>
                        </a:lnTo>
                        <a:lnTo>
                          <a:pt x="62" y="996"/>
                        </a:lnTo>
                        <a:lnTo>
                          <a:pt x="57" y="996"/>
                        </a:lnTo>
                        <a:lnTo>
                          <a:pt x="55" y="996"/>
                        </a:lnTo>
                        <a:lnTo>
                          <a:pt x="55" y="995"/>
                        </a:lnTo>
                        <a:lnTo>
                          <a:pt x="55" y="993"/>
                        </a:lnTo>
                        <a:lnTo>
                          <a:pt x="55" y="990"/>
                        </a:lnTo>
                        <a:lnTo>
                          <a:pt x="55" y="989"/>
                        </a:lnTo>
                        <a:lnTo>
                          <a:pt x="52" y="987"/>
                        </a:lnTo>
                        <a:lnTo>
                          <a:pt x="51" y="987"/>
                        </a:lnTo>
                        <a:lnTo>
                          <a:pt x="51" y="989"/>
                        </a:lnTo>
                        <a:lnTo>
                          <a:pt x="49" y="990"/>
                        </a:lnTo>
                        <a:lnTo>
                          <a:pt x="49" y="992"/>
                        </a:lnTo>
                        <a:lnTo>
                          <a:pt x="47" y="993"/>
                        </a:lnTo>
                        <a:lnTo>
                          <a:pt x="46" y="992"/>
                        </a:lnTo>
                        <a:lnTo>
                          <a:pt x="41" y="989"/>
                        </a:lnTo>
                        <a:lnTo>
                          <a:pt x="41" y="987"/>
                        </a:lnTo>
                        <a:lnTo>
                          <a:pt x="43" y="984"/>
                        </a:lnTo>
                        <a:lnTo>
                          <a:pt x="46" y="981"/>
                        </a:lnTo>
                        <a:lnTo>
                          <a:pt x="51" y="979"/>
                        </a:lnTo>
                        <a:lnTo>
                          <a:pt x="51" y="977"/>
                        </a:lnTo>
                        <a:lnTo>
                          <a:pt x="52" y="976"/>
                        </a:lnTo>
                        <a:lnTo>
                          <a:pt x="52" y="973"/>
                        </a:lnTo>
                        <a:lnTo>
                          <a:pt x="47" y="973"/>
                        </a:lnTo>
                        <a:lnTo>
                          <a:pt x="46" y="973"/>
                        </a:lnTo>
                        <a:lnTo>
                          <a:pt x="43" y="971"/>
                        </a:lnTo>
                        <a:lnTo>
                          <a:pt x="41" y="971"/>
                        </a:lnTo>
                        <a:lnTo>
                          <a:pt x="38" y="976"/>
                        </a:lnTo>
                        <a:lnTo>
                          <a:pt x="36" y="976"/>
                        </a:lnTo>
                        <a:lnTo>
                          <a:pt x="35" y="974"/>
                        </a:lnTo>
                        <a:lnTo>
                          <a:pt x="33" y="974"/>
                        </a:lnTo>
                        <a:lnTo>
                          <a:pt x="32" y="973"/>
                        </a:lnTo>
                        <a:lnTo>
                          <a:pt x="32" y="971"/>
                        </a:lnTo>
                        <a:lnTo>
                          <a:pt x="32" y="970"/>
                        </a:lnTo>
                        <a:lnTo>
                          <a:pt x="33" y="968"/>
                        </a:lnTo>
                        <a:lnTo>
                          <a:pt x="33" y="966"/>
                        </a:lnTo>
                        <a:lnTo>
                          <a:pt x="35" y="965"/>
                        </a:lnTo>
                        <a:lnTo>
                          <a:pt x="36" y="963"/>
                        </a:lnTo>
                        <a:lnTo>
                          <a:pt x="36" y="960"/>
                        </a:lnTo>
                        <a:lnTo>
                          <a:pt x="38" y="960"/>
                        </a:lnTo>
                        <a:lnTo>
                          <a:pt x="38" y="958"/>
                        </a:lnTo>
                        <a:lnTo>
                          <a:pt x="36" y="957"/>
                        </a:lnTo>
                        <a:lnTo>
                          <a:pt x="36" y="955"/>
                        </a:lnTo>
                        <a:lnTo>
                          <a:pt x="35" y="955"/>
                        </a:lnTo>
                        <a:lnTo>
                          <a:pt x="35" y="954"/>
                        </a:lnTo>
                        <a:lnTo>
                          <a:pt x="33" y="954"/>
                        </a:lnTo>
                        <a:lnTo>
                          <a:pt x="32" y="954"/>
                        </a:lnTo>
                        <a:lnTo>
                          <a:pt x="30" y="955"/>
                        </a:lnTo>
                        <a:lnTo>
                          <a:pt x="30" y="958"/>
                        </a:lnTo>
                        <a:lnTo>
                          <a:pt x="28" y="958"/>
                        </a:lnTo>
                        <a:lnTo>
                          <a:pt x="27" y="960"/>
                        </a:lnTo>
                        <a:lnTo>
                          <a:pt x="25" y="960"/>
                        </a:lnTo>
                        <a:lnTo>
                          <a:pt x="24" y="958"/>
                        </a:lnTo>
                        <a:lnTo>
                          <a:pt x="22" y="957"/>
                        </a:lnTo>
                        <a:lnTo>
                          <a:pt x="22" y="955"/>
                        </a:lnTo>
                        <a:lnTo>
                          <a:pt x="22" y="954"/>
                        </a:lnTo>
                        <a:lnTo>
                          <a:pt x="22" y="952"/>
                        </a:lnTo>
                        <a:lnTo>
                          <a:pt x="22" y="951"/>
                        </a:lnTo>
                        <a:lnTo>
                          <a:pt x="24" y="951"/>
                        </a:lnTo>
                        <a:lnTo>
                          <a:pt x="24" y="949"/>
                        </a:lnTo>
                        <a:lnTo>
                          <a:pt x="25" y="947"/>
                        </a:lnTo>
                        <a:lnTo>
                          <a:pt x="25" y="946"/>
                        </a:lnTo>
                        <a:lnTo>
                          <a:pt x="25" y="944"/>
                        </a:lnTo>
                        <a:lnTo>
                          <a:pt x="27" y="944"/>
                        </a:lnTo>
                        <a:lnTo>
                          <a:pt x="25" y="944"/>
                        </a:lnTo>
                        <a:lnTo>
                          <a:pt x="25" y="943"/>
                        </a:lnTo>
                        <a:lnTo>
                          <a:pt x="27" y="941"/>
                        </a:lnTo>
                        <a:lnTo>
                          <a:pt x="27" y="938"/>
                        </a:lnTo>
                        <a:lnTo>
                          <a:pt x="28" y="935"/>
                        </a:lnTo>
                        <a:lnTo>
                          <a:pt x="28" y="933"/>
                        </a:lnTo>
                        <a:lnTo>
                          <a:pt x="30" y="933"/>
                        </a:lnTo>
                        <a:lnTo>
                          <a:pt x="32" y="932"/>
                        </a:lnTo>
                        <a:lnTo>
                          <a:pt x="32" y="933"/>
                        </a:lnTo>
                        <a:lnTo>
                          <a:pt x="33" y="933"/>
                        </a:lnTo>
                        <a:lnTo>
                          <a:pt x="33" y="935"/>
                        </a:lnTo>
                        <a:lnTo>
                          <a:pt x="35" y="935"/>
                        </a:lnTo>
                        <a:lnTo>
                          <a:pt x="35" y="933"/>
                        </a:lnTo>
                        <a:lnTo>
                          <a:pt x="36" y="933"/>
                        </a:lnTo>
                        <a:lnTo>
                          <a:pt x="36" y="932"/>
                        </a:lnTo>
                        <a:lnTo>
                          <a:pt x="38" y="932"/>
                        </a:lnTo>
                        <a:lnTo>
                          <a:pt x="38" y="930"/>
                        </a:lnTo>
                        <a:lnTo>
                          <a:pt x="36" y="928"/>
                        </a:lnTo>
                        <a:lnTo>
                          <a:pt x="36" y="927"/>
                        </a:lnTo>
                        <a:lnTo>
                          <a:pt x="36" y="925"/>
                        </a:lnTo>
                        <a:lnTo>
                          <a:pt x="36" y="924"/>
                        </a:lnTo>
                        <a:lnTo>
                          <a:pt x="36" y="922"/>
                        </a:lnTo>
                        <a:lnTo>
                          <a:pt x="35" y="922"/>
                        </a:lnTo>
                        <a:lnTo>
                          <a:pt x="33" y="920"/>
                        </a:lnTo>
                        <a:lnTo>
                          <a:pt x="32" y="919"/>
                        </a:lnTo>
                        <a:lnTo>
                          <a:pt x="32" y="917"/>
                        </a:lnTo>
                        <a:lnTo>
                          <a:pt x="30" y="914"/>
                        </a:lnTo>
                        <a:lnTo>
                          <a:pt x="30" y="913"/>
                        </a:lnTo>
                        <a:lnTo>
                          <a:pt x="30" y="911"/>
                        </a:lnTo>
                        <a:lnTo>
                          <a:pt x="30" y="909"/>
                        </a:lnTo>
                        <a:lnTo>
                          <a:pt x="30" y="908"/>
                        </a:lnTo>
                        <a:lnTo>
                          <a:pt x="30" y="905"/>
                        </a:lnTo>
                        <a:lnTo>
                          <a:pt x="28" y="905"/>
                        </a:lnTo>
                        <a:lnTo>
                          <a:pt x="28" y="903"/>
                        </a:lnTo>
                        <a:lnTo>
                          <a:pt x="27" y="903"/>
                        </a:lnTo>
                        <a:lnTo>
                          <a:pt x="25" y="903"/>
                        </a:lnTo>
                        <a:lnTo>
                          <a:pt x="25" y="901"/>
                        </a:lnTo>
                        <a:lnTo>
                          <a:pt x="24" y="901"/>
                        </a:lnTo>
                        <a:lnTo>
                          <a:pt x="22" y="900"/>
                        </a:lnTo>
                        <a:lnTo>
                          <a:pt x="21" y="898"/>
                        </a:lnTo>
                        <a:lnTo>
                          <a:pt x="19" y="897"/>
                        </a:lnTo>
                        <a:lnTo>
                          <a:pt x="19" y="895"/>
                        </a:lnTo>
                        <a:lnTo>
                          <a:pt x="17" y="895"/>
                        </a:lnTo>
                        <a:lnTo>
                          <a:pt x="16" y="897"/>
                        </a:lnTo>
                        <a:lnTo>
                          <a:pt x="14" y="897"/>
                        </a:lnTo>
                        <a:lnTo>
                          <a:pt x="13" y="895"/>
                        </a:lnTo>
                        <a:lnTo>
                          <a:pt x="11" y="895"/>
                        </a:lnTo>
                        <a:lnTo>
                          <a:pt x="9" y="895"/>
                        </a:lnTo>
                        <a:lnTo>
                          <a:pt x="9" y="897"/>
                        </a:lnTo>
                        <a:lnTo>
                          <a:pt x="8" y="897"/>
                        </a:lnTo>
                        <a:lnTo>
                          <a:pt x="6" y="897"/>
                        </a:lnTo>
                        <a:lnTo>
                          <a:pt x="5" y="895"/>
                        </a:lnTo>
                        <a:lnTo>
                          <a:pt x="3" y="895"/>
                        </a:lnTo>
                        <a:lnTo>
                          <a:pt x="3" y="892"/>
                        </a:lnTo>
                        <a:lnTo>
                          <a:pt x="2" y="890"/>
                        </a:lnTo>
                        <a:lnTo>
                          <a:pt x="0" y="890"/>
                        </a:lnTo>
                        <a:lnTo>
                          <a:pt x="0" y="889"/>
                        </a:lnTo>
                        <a:lnTo>
                          <a:pt x="0" y="887"/>
                        </a:lnTo>
                        <a:lnTo>
                          <a:pt x="2" y="887"/>
                        </a:lnTo>
                        <a:lnTo>
                          <a:pt x="3" y="886"/>
                        </a:lnTo>
                        <a:lnTo>
                          <a:pt x="5" y="884"/>
                        </a:lnTo>
                        <a:lnTo>
                          <a:pt x="5" y="882"/>
                        </a:lnTo>
                        <a:lnTo>
                          <a:pt x="5" y="881"/>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85" name="Freeform 84"/>
                  <p:cNvSpPr>
                    <a:spLocks/>
                  </p:cNvSpPr>
                  <p:nvPr/>
                </p:nvSpPr>
                <p:spPr bwMode="auto">
                  <a:xfrm>
                    <a:off x="4480" y="2189"/>
                    <a:ext cx="401" cy="882"/>
                  </a:xfrm>
                  <a:custGeom>
                    <a:avLst/>
                    <a:gdLst>
                      <a:gd name="T0" fmla="*/ 108 w 401"/>
                      <a:gd name="T1" fmla="*/ 868 h 882"/>
                      <a:gd name="T2" fmla="*/ 90 w 401"/>
                      <a:gd name="T3" fmla="*/ 860 h 882"/>
                      <a:gd name="T4" fmla="*/ 87 w 401"/>
                      <a:gd name="T5" fmla="*/ 838 h 882"/>
                      <a:gd name="T6" fmla="*/ 105 w 401"/>
                      <a:gd name="T7" fmla="*/ 814 h 882"/>
                      <a:gd name="T8" fmla="*/ 100 w 401"/>
                      <a:gd name="T9" fmla="*/ 777 h 882"/>
                      <a:gd name="T10" fmla="*/ 125 w 401"/>
                      <a:gd name="T11" fmla="*/ 769 h 882"/>
                      <a:gd name="T12" fmla="*/ 149 w 401"/>
                      <a:gd name="T13" fmla="*/ 733 h 882"/>
                      <a:gd name="T14" fmla="*/ 165 w 401"/>
                      <a:gd name="T15" fmla="*/ 709 h 882"/>
                      <a:gd name="T16" fmla="*/ 185 w 401"/>
                      <a:gd name="T17" fmla="*/ 717 h 882"/>
                      <a:gd name="T18" fmla="*/ 211 w 401"/>
                      <a:gd name="T19" fmla="*/ 716 h 882"/>
                      <a:gd name="T20" fmla="*/ 198 w 401"/>
                      <a:gd name="T21" fmla="*/ 704 h 882"/>
                      <a:gd name="T22" fmla="*/ 203 w 401"/>
                      <a:gd name="T23" fmla="*/ 678 h 882"/>
                      <a:gd name="T24" fmla="*/ 205 w 401"/>
                      <a:gd name="T25" fmla="*/ 663 h 882"/>
                      <a:gd name="T26" fmla="*/ 184 w 401"/>
                      <a:gd name="T27" fmla="*/ 651 h 882"/>
                      <a:gd name="T28" fmla="*/ 159 w 401"/>
                      <a:gd name="T29" fmla="*/ 638 h 882"/>
                      <a:gd name="T30" fmla="*/ 140 w 401"/>
                      <a:gd name="T31" fmla="*/ 614 h 882"/>
                      <a:gd name="T32" fmla="*/ 117 w 401"/>
                      <a:gd name="T33" fmla="*/ 620 h 882"/>
                      <a:gd name="T34" fmla="*/ 102 w 401"/>
                      <a:gd name="T35" fmla="*/ 624 h 882"/>
                      <a:gd name="T36" fmla="*/ 75 w 401"/>
                      <a:gd name="T37" fmla="*/ 598 h 882"/>
                      <a:gd name="T38" fmla="*/ 57 w 401"/>
                      <a:gd name="T39" fmla="*/ 590 h 882"/>
                      <a:gd name="T40" fmla="*/ 8 w 401"/>
                      <a:gd name="T41" fmla="*/ 544 h 882"/>
                      <a:gd name="T42" fmla="*/ 3 w 401"/>
                      <a:gd name="T43" fmla="*/ 481 h 882"/>
                      <a:gd name="T44" fmla="*/ 32 w 401"/>
                      <a:gd name="T45" fmla="*/ 475 h 882"/>
                      <a:gd name="T46" fmla="*/ 51 w 401"/>
                      <a:gd name="T47" fmla="*/ 441 h 882"/>
                      <a:gd name="T48" fmla="*/ 48 w 401"/>
                      <a:gd name="T49" fmla="*/ 427 h 882"/>
                      <a:gd name="T50" fmla="*/ 108 w 401"/>
                      <a:gd name="T51" fmla="*/ 421 h 882"/>
                      <a:gd name="T52" fmla="*/ 127 w 401"/>
                      <a:gd name="T53" fmla="*/ 413 h 882"/>
                      <a:gd name="T54" fmla="*/ 143 w 401"/>
                      <a:gd name="T55" fmla="*/ 399 h 882"/>
                      <a:gd name="T56" fmla="*/ 152 w 401"/>
                      <a:gd name="T57" fmla="*/ 388 h 882"/>
                      <a:gd name="T58" fmla="*/ 176 w 401"/>
                      <a:gd name="T59" fmla="*/ 351 h 882"/>
                      <a:gd name="T60" fmla="*/ 212 w 401"/>
                      <a:gd name="T61" fmla="*/ 334 h 882"/>
                      <a:gd name="T62" fmla="*/ 249 w 401"/>
                      <a:gd name="T63" fmla="*/ 345 h 882"/>
                      <a:gd name="T64" fmla="*/ 273 w 401"/>
                      <a:gd name="T65" fmla="*/ 335 h 882"/>
                      <a:gd name="T66" fmla="*/ 287 w 401"/>
                      <a:gd name="T67" fmla="*/ 323 h 882"/>
                      <a:gd name="T68" fmla="*/ 295 w 401"/>
                      <a:gd name="T69" fmla="*/ 307 h 882"/>
                      <a:gd name="T70" fmla="*/ 303 w 401"/>
                      <a:gd name="T71" fmla="*/ 288 h 882"/>
                      <a:gd name="T72" fmla="*/ 292 w 401"/>
                      <a:gd name="T73" fmla="*/ 275 h 882"/>
                      <a:gd name="T74" fmla="*/ 287 w 401"/>
                      <a:gd name="T75" fmla="*/ 251 h 882"/>
                      <a:gd name="T76" fmla="*/ 295 w 401"/>
                      <a:gd name="T77" fmla="*/ 242 h 882"/>
                      <a:gd name="T78" fmla="*/ 276 w 401"/>
                      <a:gd name="T79" fmla="*/ 223 h 882"/>
                      <a:gd name="T80" fmla="*/ 252 w 401"/>
                      <a:gd name="T81" fmla="*/ 201 h 882"/>
                      <a:gd name="T82" fmla="*/ 241 w 401"/>
                      <a:gd name="T83" fmla="*/ 169 h 882"/>
                      <a:gd name="T84" fmla="*/ 233 w 401"/>
                      <a:gd name="T85" fmla="*/ 150 h 882"/>
                      <a:gd name="T86" fmla="*/ 231 w 401"/>
                      <a:gd name="T87" fmla="*/ 118 h 882"/>
                      <a:gd name="T88" fmla="*/ 233 w 401"/>
                      <a:gd name="T89" fmla="*/ 95 h 882"/>
                      <a:gd name="T90" fmla="*/ 217 w 401"/>
                      <a:gd name="T91" fmla="*/ 77 h 882"/>
                      <a:gd name="T92" fmla="*/ 201 w 401"/>
                      <a:gd name="T93" fmla="*/ 55 h 882"/>
                      <a:gd name="T94" fmla="*/ 166 w 401"/>
                      <a:gd name="T95" fmla="*/ 44 h 882"/>
                      <a:gd name="T96" fmla="*/ 170 w 401"/>
                      <a:gd name="T97" fmla="*/ 12 h 882"/>
                      <a:gd name="T98" fmla="*/ 189 w 401"/>
                      <a:gd name="T99" fmla="*/ 17 h 882"/>
                      <a:gd name="T100" fmla="*/ 209 w 401"/>
                      <a:gd name="T101" fmla="*/ 25 h 882"/>
                      <a:gd name="T102" fmla="*/ 228 w 401"/>
                      <a:gd name="T103" fmla="*/ 28 h 882"/>
                      <a:gd name="T104" fmla="*/ 249 w 401"/>
                      <a:gd name="T105" fmla="*/ 39 h 882"/>
                      <a:gd name="T106" fmla="*/ 266 w 401"/>
                      <a:gd name="T107" fmla="*/ 42 h 882"/>
                      <a:gd name="T108" fmla="*/ 290 w 401"/>
                      <a:gd name="T109" fmla="*/ 47 h 882"/>
                      <a:gd name="T110" fmla="*/ 303 w 401"/>
                      <a:gd name="T111" fmla="*/ 45 h 882"/>
                      <a:gd name="T112" fmla="*/ 317 w 401"/>
                      <a:gd name="T113" fmla="*/ 28 h 882"/>
                      <a:gd name="T114" fmla="*/ 336 w 401"/>
                      <a:gd name="T115" fmla="*/ 20 h 882"/>
                      <a:gd name="T116" fmla="*/ 353 w 401"/>
                      <a:gd name="T117" fmla="*/ 11 h 882"/>
                      <a:gd name="T118" fmla="*/ 368 w 401"/>
                      <a:gd name="T119" fmla="*/ 6 h 882"/>
                      <a:gd name="T120" fmla="*/ 384 w 401"/>
                      <a:gd name="T121" fmla="*/ 7 h 882"/>
                      <a:gd name="T122" fmla="*/ 396 w 401"/>
                      <a:gd name="T123" fmla="*/ 6 h 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1" h="882">
                        <a:moveTo>
                          <a:pt x="105" y="882"/>
                        </a:moveTo>
                        <a:lnTo>
                          <a:pt x="106" y="880"/>
                        </a:lnTo>
                        <a:lnTo>
                          <a:pt x="108" y="880"/>
                        </a:lnTo>
                        <a:lnTo>
                          <a:pt x="108" y="879"/>
                        </a:lnTo>
                        <a:lnTo>
                          <a:pt x="108" y="877"/>
                        </a:lnTo>
                        <a:lnTo>
                          <a:pt x="108" y="876"/>
                        </a:lnTo>
                        <a:lnTo>
                          <a:pt x="109" y="876"/>
                        </a:lnTo>
                        <a:lnTo>
                          <a:pt x="109" y="874"/>
                        </a:lnTo>
                        <a:lnTo>
                          <a:pt x="109" y="872"/>
                        </a:lnTo>
                        <a:lnTo>
                          <a:pt x="111" y="872"/>
                        </a:lnTo>
                        <a:lnTo>
                          <a:pt x="113" y="871"/>
                        </a:lnTo>
                        <a:lnTo>
                          <a:pt x="111" y="869"/>
                        </a:lnTo>
                        <a:lnTo>
                          <a:pt x="109" y="869"/>
                        </a:lnTo>
                        <a:lnTo>
                          <a:pt x="108" y="869"/>
                        </a:lnTo>
                        <a:lnTo>
                          <a:pt x="108" y="868"/>
                        </a:lnTo>
                        <a:lnTo>
                          <a:pt x="109" y="868"/>
                        </a:lnTo>
                        <a:lnTo>
                          <a:pt x="109" y="866"/>
                        </a:lnTo>
                        <a:lnTo>
                          <a:pt x="109" y="864"/>
                        </a:lnTo>
                        <a:lnTo>
                          <a:pt x="108" y="864"/>
                        </a:lnTo>
                        <a:lnTo>
                          <a:pt x="106" y="864"/>
                        </a:lnTo>
                        <a:lnTo>
                          <a:pt x="106" y="863"/>
                        </a:lnTo>
                        <a:lnTo>
                          <a:pt x="105" y="863"/>
                        </a:lnTo>
                        <a:lnTo>
                          <a:pt x="103" y="863"/>
                        </a:lnTo>
                        <a:lnTo>
                          <a:pt x="102" y="863"/>
                        </a:lnTo>
                        <a:lnTo>
                          <a:pt x="98" y="864"/>
                        </a:lnTo>
                        <a:lnTo>
                          <a:pt x="95" y="864"/>
                        </a:lnTo>
                        <a:lnTo>
                          <a:pt x="94" y="864"/>
                        </a:lnTo>
                        <a:lnTo>
                          <a:pt x="92" y="864"/>
                        </a:lnTo>
                        <a:lnTo>
                          <a:pt x="90" y="861"/>
                        </a:lnTo>
                        <a:lnTo>
                          <a:pt x="90" y="860"/>
                        </a:lnTo>
                        <a:lnTo>
                          <a:pt x="89" y="858"/>
                        </a:lnTo>
                        <a:lnTo>
                          <a:pt x="89" y="857"/>
                        </a:lnTo>
                        <a:lnTo>
                          <a:pt x="89" y="855"/>
                        </a:lnTo>
                        <a:lnTo>
                          <a:pt x="90" y="853"/>
                        </a:lnTo>
                        <a:lnTo>
                          <a:pt x="90" y="852"/>
                        </a:lnTo>
                        <a:lnTo>
                          <a:pt x="90" y="850"/>
                        </a:lnTo>
                        <a:lnTo>
                          <a:pt x="90" y="849"/>
                        </a:lnTo>
                        <a:lnTo>
                          <a:pt x="90" y="847"/>
                        </a:lnTo>
                        <a:lnTo>
                          <a:pt x="89" y="847"/>
                        </a:lnTo>
                        <a:lnTo>
                          <a:pt x="89" y="845"/>
                        </a:lnTo>
                        <a:lnTo>
                          <a:pt x="87" y="844"/>
                        </a:lnTo>
                        <a:lnTo>
                          <a:pt x="87" y="842"/>
                        </a:lnTo>
                        <a:lnTo>
                          <a:pt x="86" y="842"/>
                        </a:lnTo>
                        <a:lnTo>
                          <a:pt x="86" y="839"/>
                        </a:lnTo>
                        <a:lnTo>
                          <a:pt x="87" y="838"/>
                        </a:lnTo>
                        <a:lnTo>
                          <a:pt x="87" y="836"/>
                        </a:lnTo>
                        <a:lnTo>
                          <a:pt x="87" y="834"/>
                        </a:lnTo>
                        <a:lnTo>
                          <a:pt x="86" y="834"/>
                        </a:lnTo>
                        <a:lnTo>
                          <a:pt x="89" y="830"/>
                        </a:lnTo>
                        <a:lnTo>
                          <a:pt x="89" y="828"/>
                        </a:lnTo>
                        <a:lnTo>
                          <a:pt x="90" y="826"/>
                        </a:lnTo>
                        <a:lnTo>
                          <a:pt x="92" y="826"/>
                        </a:lnTo>
                        <a:lnTo>
                          <a:pt x="94" y="825"/>
                        </a:lnTo>
                        <a:lnTo>
                          <a:pt x="95" y="825"/>
                        </a:lnTo>
                        <a:lnTo>
                          <a:pt x="97" y="825"/>
                        </a:lnTo>
                        <a:lnTo>
                          <a:pt x="100" y="823"/>
                        </a:lnTo>
                        <a:lnTo>
                          <a:pt x="102" y="822"/>
                        </a:lnTo>
                        <a:lnTo>
                          <a:pt x="103" y="818"/>
                        </a:lnTo>
                        <a:lnTo>
                          <a:pt x="103" y="817"/>
                        </a:lnTo>
                        <a:lnTo>
                          <a:pt x="105" y="814"/>
                        </a:lnTo>
                        <a:lnTo>
                          <a:pt x="106" y="812"/>
                        </a:lnTo>
                        <a:lnTo>
                          <a:pt x="108" y="811"/>
                        </a:lnTo>
                        <a:lnTo>
                          <a:pt x="109" y="809"/>
                        </a:lnTo>
                        <a:lnTo>
                          <a:pt x="109" y="807"/>
                        </a:lnTo>
                        <a:lnTo>
                          <a:pt x="109" y="804"/>
                        </a:lnTo>
                        <a:lnTo>
                          <a:pt x="108" y="801"/>
                        </a:lnTo>
                        <a:lnTo>
                          <a:pt x="106" y="796"/>
                        </a:lnTo>
                        <a:lnTo>
                          <a:pt x="105" y="793"/>
                        </a:lnTo>
                        <a:lnTo>
                          <a:pt x="102" y="792"/>
                        </a:lnTo>
                        <a:lnTo>
                          <a:pt x="98" y="788"/>
                        </a:lnTo>
                        <a:lnTo>
                          <a:pt x="97" y="785"/>
                        </a:lnTo>
                        <a:lnTo>
                          <a:pt x="97" y="784"/>
                        </a:lnTo>
                        <a:lnTo>
                          <a:pt x="97" y="782"/>
                        </a:lnTo>
                        <a:lnTo>
                          <a:pt x="98" y="780"/>
                        </a:lnTo>
                        <a:lnTo>
                          <a:pt x="100" y="777"/>
                        </a:lnTo>
                        <a:lnTo>
                          <a:pt x="102" y="777"/>
                        </a:lnTo>
                        <a:lnTo>
                          <a:pt x="103" y="776"/>
                        </a:lnTo>
                        <a:lnTo>
                          <a:pt x="105" y="774"/>
                        </a:lnTo>
                        <a:lnTo>
                          <a:pt x="105" y="773"/>
                        </a:lnTo>
                        <a:lnTo>
                          <a:pt x="106" y="771"/>
                        </a:lnTo>
                        <a:lnTo>
                          <a:pt x="108" y="771"/>
                        </a:lnTo>
                        <a:lnTo>
                          <a:pt x="109" y="771"/>
                        </a:lnTo>
                        <a:lnTo>
                          <a:pt x="109" y="769"/>
                        </a:lnTo>
                        <a:lnTo>
                          <a:pt x="111" y="769"/>
                        </a:lnTo>
                        <a:lnTo>
                          <a:pt x="114" y="769"/>
                        </a:lnTo>
                        <a:lnTo>
                          <a:pt x="116" y="769"/>
                        </a:lnTo>
                        <a:lnTo>
                          <a:pt x="117" y="769"/>
                        </a:lnTo>
                        <a:lnTo>
                          <a:pt x="122" y="769"/>
                        </a:lnTo>
                        <a:lnTo>
                          <a:pt x="124" y="769"/>
                        </a:lnTo>
                        <a:lnTo>
                          <a:pt x="125" y="769"/>
                        </a:lnTo>
                        <a:lnTo>
                          <a:pt x="128" y="766"/>
                        </a:lnTo>
                        <a:lnTo>
                          <a:pt x="130" y="765"/>
                        </a:lnTo>
                        <a:lnTo>
                          <a:pt x="132" y="761"/>
                        </a:lnTo>
                        <a:lnTo>
                          <a:pt x="133" y="757"/>
                        </a:lnTo>
                        <a:lnTo>
                          <a:pt x="133" y="754"/>
                        </a:lnTo>
                        <a:lnTo>
                          <a:pt x="133" y="750"/>
                        </a:lnTo>
                        <a:lnTo>
                          <a:pt x="133" y="749"/>
                        </a:lnTo>
                        <a:lnTo>
                          <a:pt x="133" y="746"/>
                        </a:lnTo>
                        <a:lnTo>
                          <a:pt x="133" y="744"/>
                        </a:lnTo>
                        <a:lnTo>
                          <a:pt x="136" y="741"/>
                        </a:lnTo>
                        <a:lnTo>
                          <a:pt x="138" y="739"/>
                        </a:lnTo>
                        <a:lnTo>
                          <a:pt x="141" y="736"/>
                        </a:lnTo>
                        <a:lnTo>
                          <a:pt x="143" y="735"/>
                        </a:lnTo>
                        <a:lnTo>
                          <a:pt x="146" y="735"/>
                        </a:lnTo>
                        <a:lnTo>
                          <a:pt x="149" y="733"/>
                        </a:lnTo>
                        <a:lnTo>
                          <a:pt x="152" y="733"/>
                        </a:lnTo>
                        <a:lnTo>
                          <a:pt x="154" y="733"/>
                        </a:lnTo>
                        <a:lnTo>
                          <a:pt x="157" y="730"/>
                        </a:lnTo>
                        <a:lnTo>
                          <a:pt x="159" y="728"/>
                        </a:lnTo>
                        <a:lnTo>
                          <a:pt x="160" y="728"/>
                        </a:lnTo>
                        <a:lnTo>
                          <a:pt x="162" y="728"/>
                        </a:lnTo>
                        <a:lnTo>
                          <a:pt x="163" y="727"/>
                        </a:lnTo>
                        <a:lnTo>
                          <a:pt x="165" y="723"/>
                        </a:lnTo>
                        <a:lnTo>
                          <a:pt x="165" y="722"/>
                        </a:lnTo>
                        <a:lnTo>
                          <a:pt x="165" y="719"/>
                        </a:lnTo>
                        <a:lnTo>
                          <a:pt x="163" y="717"/>
                        </a:lnTo>
                        <a:lnTo>
                          <a:pt x="163" y="716"/>
                        </a:lnTo>
                        <a:lnTo>
                          <a:pt x="163" y="714"/>
                        </a:lnTo>
                        <a:lnTo>
                          <a:pt x="163" y="712"/>
                        </a:lnTo>
                        <a:lnTo>
                          <a:pt x="165" y="709"/>
                        </a:lnTo>
                        <a:lnTo>
                          <a:pt x="165" y="708"/>
                        </a:lnTo>
                        <a:lnTo>
                          <a:pt x="166" y="706"/>
                        </a:lnTo>
                        <a:lnTo>
                          <a:pt x="170" y="706"/>
                        </a:lnTo>
                        <a:lnTo>
                          <a:pt x="171" y="706"/>
                        </a:lnTo>
                        <a:lnTo>
                          <a:pt x="173" y="706"/>
                        </a:lnTo>
                        <a:lnTo>
                          <a:pt x="176" y="708"/>
                        </a:lnTo>
                        <a:lnTo>
                          <a:pt x="178" y="708"/>
                        </a:lnTo>
                        <a:lnTo>
                          <a:pt x="179" y="708"/>
                        </a:lnTo>
                        <a:lnTo>
                          <a:pt x="179" y="709"/>
                        </a:lnTo>
                        <a:lnTo>
                          <a:pt x="181" y="711"/>
                        </a:lnTo>
                        <a:lnTo>
                          <a:pt x="182" y="711"/>
                        </a:lnTo>
                        <a:lnTo>
                          <a:pt x="182" y="712"/>
                        </a:lnTo>
                        <a:lnTo>
                          <a:pt x="184" y="714"/>
                        </a:lnTo>
                        <a:lnTo>
                          <a:pt x="184" y="716"/>
                        </a:lnTo>
                        <a:lnTo>
                          <a:pt x="185" y="717"/>
                        </a:lnTo>
                        <a:lnTo>
                          <a:pt x="189" y="717"/>
                        </a:lnTo>
                        <a:lnTo>
                          <a:pt x="189" y="719"/>
                        </a:lnTo>
                        <a:lnTo>
                          <a:pt x="190" y="720"/>
                        </a:lnTo>
                        <a:lnTo>
                          <a:pt x="192" y="720"/>
                        </a:lnTo>
                        <a:lnTo>
                          <a:pt x="195" y="722"/>
                        </a:lnTo>
                        <a:lnTo>
                          <a:pt x="197" y="722"/>
                        </a:lnTo>
                        <a:lnTo>
                          <a:pt x="200" y="723"/>
                        </a:lnTo>
                        <a:lnTo>
                          <a:pt x="201" y="723"/>
                        </a:lnTo>
                        <a:lnTo>
                          <a:pt x="203" y="723"/>
                        </a:lnTo>
                        <a:lnTo>
                          <a:pt x="205" y="723"/>
                        </a:lnTo>
                        <a:lnTo>
                          <a:pt x="206" y="722"/>
                        </a:lnTo>
                        <a:lnTo>
                          <a:pt x="209" y="720"/>
                        </a:lnTo>
                        <a:lnTo>
                          <a:pt x="209" y="719"/>
                        </a:lnTo>
                        <a:lnTo>
                          <a:pt x="211" y="717"/>
                        </a:lnTo>
                        <a:lnTo>
                          <a:pt x="211" y="716"/>
                        </a:lnTo>
                        <a:lnTo>
                          <a:pt x="211" y="714"/>
                        </a:lnTo>
                        <a:lnTo>
                          <a:pt x="209" y="714"/>
                        </a:lnTo>
                        <a:lnTo>
                          <a:pt x="208" y="714"/>
                        </a:lnTo>
                        <a:lnTo>
                          <a:pt x="206" y="716"/>
                        </a:lnTo>
                        <a:lnTo>
                          <a:pt x="205" y="716"/>
                        </a:lnTo>
                        <a:lnTo>
                          <a:pt x="203" y="716"/>
                        </a:lnTo>
                        <a:lnTo>
                          <a:pt x="201" y="716"/>
                        </a:lnTo>
                        <a:lnTo>
                          <a:pt x="200" y="716"/>
                        </a:lnTo>
                        <a:lnTo>
                          <a:pt x="200" y="714"/>
                        </a:lnTo>
                        <a:lnTo>
                          <a:pt x="200" y="712"/>
                        </a:lnTo>
                        <a:lnTo>
                          <a:pt x="200" y="711"/>
                        </a:lnTo>
                        <a:lnTo>
                          <a:pt x="200" y="709"/>
                        </a:lnTo>
                        <a:lnTo>
                          <a:pt x="200" y="708"/>
                        </a:lnTo>
                        <a:lnTo>
                          <a:pt x="200" y="706"/>
                        </a:lnTo>
                        <a:lnTo>
                          <a:pt x="198" y="704"/>
                        </a:lnTo>
                        <a:lnTo>
                          <a:pt x="197" y="701"/>
                        </a:lnTo>
                        <a:lnTo>
                          <a:pt x="195" y="698"/>
                        </a:lnTo>
                        <a:lnTo>
                          <a:pt x="193" y="697"/>
                        </a:lnTo>
                        <a:lnTo>
                          <a:pt x="192" y="695"/>
                        </a:lnTo>
                        <a:lnTo>
                          <a:pt x="190" y="693"/>
                        </a:lnTo>
                        <a:lnTo>
                          <a:pt x="190" y="692"/>
                        </a:lnTo>
                        <a:lnTo>
                          <a:pt x="190" y="690"/>
                        </a:lnTo>
                        <a:lnTo>
                          <a:pt x="190" y="689"/>
                        </a:lnTo>
                        <a:lnTo>
                          <a:pt x="192" y="687"/>
                        </a:lnTo>
                        <a:lnTo>
                          <a:pt x="193" y="685"/>
                        </a:lnTo>
                        <a:lnTo>
                          <a:pt x="195" y="684"/>
                        </a:lnTo>
                        <a:lnTo>
                          <a:pt x="198" y="681"/>
                        </a:lnTo>
                        <a:lnTo>
                          <a:pt x="198" y="679"/>
                        </a:lnTo>
                        <a:lnTo>
                          <a:pt x="200" y="679"/>
                        </a:lnTo>
                        <a:lnTo>
                          <a:pt x="203" y="678"/>
                        </a:lnTo>
                        <a:lnTo>
                          <a:pt x="205" y="678"/>
                        </a:lnTo>
                        <a:lnTo>
                          <a:pt x="206" y="678"/>
                        </a:lnTo>
                        <a:lnTo>
                          <a:pt x="208" y="676"/>
                        </a:lnTo>
                        <a:lnTo>
                          <a:pt x="209" y="674"/>
                        </a:lnTo>
                        <a:lnTo>
                          <a:pt x="209" y="673"/>
                        </a:lnTo>
                        <a:lnTo>
                          <a:pt x="209" y="671"/>
                        </a:lnTo>
                        <a:lnTo>
                          <a:pt x="211" y="670"/>
                        </a:lnTo>
                        <a:lnTo>
                          <a:pt x="212" y="668"/>
                        </a:lnTo>
                        <a:lnTo>
                          <a:pt x="212" y="666"/>
                        </a:lnTo>
                        <a:lnTo>
                          <a:pt x="212" y="665"/>
                        </a:lnTo>
                        <a:lnTo>
                          <a:pt x="212" y="663"/>
                        </a:lnTo>
                        <a:lnTo>
                          <a:pt x="211" y="663"/>
                        </a:lnTo>
                        <a:lnTo>
                          <a:pt x="209" y="663"/>
                        </a:lnTo>
                        <a:lnTo>
                          <a:pt x="208" y="665"/>
                        </a:lnTo>
                        <a:lnTo>
                          <a:pt x="205" y="663"/>
                        </a:lnTo>
                        <a:lnTo>
                          <a:pt x="203" y="662"/>
                        </a:lnTo>
                        <a:lnTo>
                          <a:pt x="201" y="662"/>
                        </a:lnTo>
                        <a:lnTo>
                          <a:pt x="200" y="660"/>
                        </a:lnTo>
                        <a:lnTo>
                          <a:pt x="198" y="660"/>
                        </a:lnTo>
                        <a:lnTo>
                          <a:pt x="197" y="659"/>
                        </a:lnTo>
                        <a:lnTo>
                          <a:pt x="195" y="659"/>
                        </a:lnTo>
                        <a:lnTo>
                          <a:pt x="193" y="657"/>
                        </a:lnTo>
                        <a:lnTo>
                          <a:pt x="192" y="657"/>
                        </a:lnTo>
                        <a:lnTo>
                          <a:pt x="192" y="655"/>
                        </a:lnTo>
                        <a:lnTo>
                          <a:pt x="190" y="654"/>
                        </a:lnTo>
                        <a:lnTo>
                          <a:pt x="189" y="652"/>
                        </a:lnTo>
                        <a:lnTo>
                          <a:pt x="187" y="652"/>
                        </a:lnTo>
                        <a:lnTo>
                          <a:pt x="185" y="652"/>
                        </a:lnTo>
                        <a:lnTo>
                          <a:pt x="185" y="651"/>
                        </a:lnTo>
                        <a:lnTo>
                          <a:pt x="184" y="651"/>
                        </a:lnTo>
                        <a:lnTo>
                          <a:pt x="182" y="651"/>
                        </a:lnTo>
                        <a:lnTo>
                          <a:pt x="181" y="651"/>
                        </a:lnTo>
                        <a:lnTo>
                          <a:pt x="179" y="649"/>
                        </a:lnTo>
                        <a:lnTo>
                          <a:pt x="178" y="649"/>
                        </a:lnTo>
                        <a:lnTo>
                          <a:pt x="176" y="647"/>
                        </a:lnTo>
                        <a:lnTo>
                          <a:pt x="173" y="646"/>
                        </a:lnTo>
                        <a:lnTo>
                          <a:pt x="173" y="644"/>
                        </a:lnTo>
                        <a:lnTo>
                          <a:pt x="171" y="643"/>
                        </a:lnTo>
                        <a:lnTo>
                          <a:pt x="170" y="643"/>
                        </a:lnTo>
                        <a:lnTo>
                          <a:pt x="168" y="641"/>
                        </a:lnTo>
                        <a:lnTo>
                          <a:pt x="166" y="641"/>
                        </a:lnTo>
                        <a:lnTo>
                          <a:pt x="165" y="641"/>
                        </a:lnTo>
                        <a:lnTo>
                          <a:pt x="163" y="641"/>
                        </a:lnTo>
                        <a:lnTo>
                          <a:pt x="160" y="638"/>
                        </a:lnTo>
                        <a:lnTo>
                          <a:pt x="159" y="638"/>
                        </a:lnTo>
                        <a:lnTo>
                          <a:pt x="157" y="638"/>
                        </a:lnTo>
                        <a:lnTo>
                          <a:pt x="157" y="636"/>
                        </a:lnTo>
                        <a:lnTo>
                          <a:pt x="155" y="636"/>
                        </a:lnTo>
                        <a:lnTo>
                          <a:pt x="155" y="635"/>
                        </a:lnTo>
                        <a:lnTo>
                          <a:pt x="155" y="633"/>
                        </a:lnTo>
                        <a:lnTo>
                          <a:pt x="154" y="632"/>
                        </a:lnTo>
                        <a:lnTo>
                          <a:pt x="154" y="630"/>
                        </a:lnTo>
                        <a:lnTo>
                          <a:pt x="154" y="628"/>
                        </a:lnTo>
                        <a:lnTo>
                          <a:pt x="152" y="627"/>
                        </a:lnTo>
                        <a:lnTo>
                          <a:pt x="151" y="625"/>
                        </a:lnTo>
                        <a:lnTo>
                          <a:pt x="149" y="624"/>
                        </a:lnTo>
                        <a:lnTo>
                          <a:pt x="147" y="620"/>
                        </a:lnTo>
                        <a:lnTo>
                          <a:pt x="146" y="619"/>
                        </a:lnTo>
                        <a:lnTo>
                          <a:pt x="143" y="617"/>
                        </a:lnTo>
                        <a:lnTo>
                          <a:pt x="140" y="614"/>
                        </a:lnTo>
                        <a:lnTo>
                          <a:pt x="138" y="613"/>
                        </a:lnTo>
                        <a:lnTo>
                          <a:pt x="136" y="611"/>
                        </a:lnTo>
                        <a:lnTo>
                          <a:pt x="132" y="608"/>
                        </a:lnTo>
                        <a:lnTo>
                          <a:pt x="130" y="606"/>
                        </a:lnTo>
                        <a:lnTo>
                          <a:pt x="128" y="606"/>
                        </a:lnTo>
                        <a:lnTo>
                          <a:pt x="127" y="606"/>
                        </a:lnTo>
                        <a:lnTo>
                          <a:pt x="125" y="606"/>
                        </a:lnTo>
                        <a:lnTo>
                          <a:pt x="125" y="608"/>
                        </a:lnTo>
                        <a:lnTo>
                          <a:pt x="124" y="609"/>
                        </a:lnTo>
                        <a:lnTo>
                          <a:pt x="124" y="611"/>
                        </a:lnTo>
                        <a:lnTo>
                          <a:pt x="122" y="613"/>
                        </a:lnTo>
                        <a:lnTo>
                          <a:pt x="121" y="614"/>
                        </a:lnTo>
                        <a:lnTo>
                          <a:pt x="119" y="617"/>
                        </a:lnTo>
                        <a:lnTo>
                          <a:pt x="119" y="619"/>
                        </a:lnTo>
                        <a:lnTo>
                          <a:pt x="117" y="620"/>
                        </a:lnTo>
                        <a:lnTo>
                          <a:pt x="117" y="622"/>
                        </a:lnTo>
                        <a:lnTo>
                          <a:pt x="116" y="624"/>
                        </a:lnTo>
                        <a:lnTo>
                          <a:pt x="116" y="625"/>
                        </a:lnTo>
                        <a:lnTo>
                          <a:pt x="114" y="625"/>
                        </a:lnTo>
                        <a:lnTo>
                          <a:pt x="113" y="628"/>
                        </a:lnTo>
                        <a:lnTo>
                          <a:pt x="113" y="627"/>
                        </a:lnTo>
                        <a:lnTo>
                          <a:pt x="111" y="625"/>
                        </a:lnTo>
                        <a:lnTo>
                          <a:pt x="109" y="625"/>
                        </a:lnTo>
                        <a:lnTo>
                          <a:pt x="108" y="625"/>
                        </a:lnTo>
                        <a:lnTo>
                          <a:pt x="106" y="627"/>
                        </a:lnTo>
                        <a:lnTo>
                          <a:pt x="105" y="627"/>
                        </a:lnTo>
                        <a:lnTo>
                          <a:pt x="105" y="625"/>
                        </a:lnTo>
                        <a:lnTo>
                          <a:pt x="103" y="625"/>
                        </a:lnTo>
                        <a:lnTo>
                          <a:pt x="102" y="625"/>
                        </a:lnTo>
                        <a:lnTo>
                          <a:pt x="102" y="624"/>
                        </a:lnTo>
                        <a:lnTo>
                          <a:pt x="100" y="622"/>
                        </a:lnTo>
                        <a:lnTo>
                          <a:pt x="98" y="620"/>
                        </a:lnTo>
                        <a:lnTo>
                          <a:pt x="97" y="617"/>
                        </a:lnTo>
                        <a:lnTo>
                          <a:pt x="95" y="617"/>
                        </a:lnTo>
                        <a:lnTo>
                          <a:pt x="94" y="616"/>
                        </a:lnTo>
                        <a:lnTo>
                          <a:pt x="89" y="613"/>
                        </a:lnTo>
                        <a:lnTo>
                          <a:pt x="86" y="611"/>
                        </a:lnTo>
                        <a:lnTo>
                          <a:pt x="84" y="609"/>
                        </a:lnTo>
                        <a:lnTo>
                          <a:pt x="83" y="609"/>
                        </a:lnTo>
                        <a:lnTo>
                          <a:pt x="81" y="606"/>
                        </a:lnTo>
                        <a:lnTo>
                          <a:pt x="81" y="605"/>
                        </a:lnTo>
                        <a:lnTo>
                          <a:pt x="81" y="603"/>
                        </a:lnTo>
                        <a:lnTo>
                          <a:pt x="81" y="601"/>
                        </a:lnTo>
                        <a:lnTo>
                          <a:pt x="79" y="598"/>
                        </a:lnTo>
                        <a:lnTo>
                          <a:pt x="75" y="598"/>
                        </a:lnTo>
                        <a:lnTo>
                          <a:pt x="73" y="597"/>
                        </a:lnTo>
                        <a:lnTo>
                          <a:pt x="73" y="595"/>
                        </a:lnTo>
                        <a:lnTo>
                          <a:pt x="71" y="597"/>
                        </a:lnTo>
                        <a:lnTo>
                          <a:pt x="71" y="595"/>
                        </a:lnTo>
                        <a:lnTo>
                          <a:pt x="70" y="594"/>
                        </a:lnTo>
                        <a:lnTo>
                          <a:pt x="68" y="595"/>
                        </a:lnTo>
                        <a:lnTo>
                          <a:pt x="67" y="595"/>
                        </a:lnTo>
                        <a:lnTo>
                          <a:pt x="65" y="595"/>
                        </a:lnTo>
                        <a:lnTo>
                          <a:pt x="64" y="595"/>
                        </a:lnTo>
                        <a:lnTo>
                          <a:pt x="62" y="595"/>
                        </a:lnTo>
                        <a:lnTo>
                          <a:pt x="62" y="594"/>
                        </a:lnTo>
                        <a:lnTo>
                          <a:pt x="60" y="594"/>
                        </a:lnTo>
                        <a:lnTo>
                          <a:pt x="60" y="592"/>
                        </a:lnTo>
                        <a:lnTo>
                          <a:pt x="59" y="590"/>
                        </a:lnTo>
                        <a:lnTo>
                          <a:pt x="57" y="590"/>
                        </a:lnTo>
                        <a:lnTo>
                          <a:pt x="56" y="589"/>
                        </a:lnTo>
                        <a:lnTo>
                          <a:pt x="54" y="590"/>
                        </a:lnTo>
                        <a:lnTo>
                          <a:pt x="54" y="589"/>
                        </a:lnTo>
                        <a:lnTo>
                          <a:pt x="51" y="586"/>
                        </a:lnTo>
                        <a:lnTo>
                          <a:pt x="48" y="582"/>
                        </a:lnTo>
                        <a:lnTo>
                          <a:pt x="45" y="579"/>
                        </a:lnTo>
                        <a:lnTo>
                          <a:pt x="40" y="576"/>
                        </a:lnTo>
                        <a:lnTo>
                          <a:pt x="37" y="573"/>
                        </a:lnTo>
                        <a:lnTo>
                          <a:pt x="33" y="568"/>
                        </a:lnTo>
                        <a:lnTo>
                          <a:pt x="30" y="567"/>
                        </a:lnTo>
                        <a:lnTo>
                          <a:pt x="24" y="560"/>
                        </a:lnTo>
                        <a:lnTo>
                          <a:pt x="18" y="556"/>
                        </a:lnTo>
                        <a:lnTo>
                          <a:pt x="13" y="551"/>
                        </a:lnTo>
                        <a:lnTo>
                          <a:pt x="11" y="548"/>
                        </a:lnTo>
                        <a:lnTo>
                          <a:pt x="8" y="544"/>
                        </a:lnTo>
                        <a:lnTo>
                          <a:pt x="3" y="540"/>
                        </a:lnTo>
                        <a:lnTo>
                          <a:pt x="0" y="537"/>
                        </a:lnTo>
                        <a:lnTo>
                          <a:pt x="0" y="535"/>
                        </a:lnTo>
                        <a:lnTo>
                          <a:pt x="2" y="535"/>
                        </a:lnTo>
                        <a:lnTo>
                          <a:pt x="2" y="532"/>
                        </a:lnTo>
                        <a:lnTo>
                          <a:pt x="2" y="525"/>
                        </a:lnTo>
                        <a:lnTo>
                          <a:pt x="2" y="519"/>
                        </a:lnTo>
                        <a:lnTo>
                          <a:pt x="2" y="513"/>
                        </a:lnTo>
                        <a:lnTo>
                          <a:pt x="3" y="503"/>
                        </a:lnTo>
                        <a:lnTo>
                          <a:pt x="3" y="497"/>
                        </a:lnTo>
                        <a:lnTo>
                          <a:pt x="3" y="492"/>
                        </a:lnTo>
                        <a:lnTo>
                          <a:pt x="3" y="487"/>
                        </a:lnTo>
                        <a:lnTo>
                          <a:pt x="3" y="484"/>
                        </a:lnTo>
                        <a:lnTo>
                          <a:pt x="3" y="483"/>
                        </a:lnTo>
                        <a:lnTo>
                          <a:pt x="3" y="481"/>
                        </a:lnTo>
                        <a:lnTo>
                          <a:pt x="5" y="481"/>
                        </a:lnTo>
                        <a:lnTo>
                          <a:pt x="7" y="481"/>
                        </a:lnTo>
                        <a:lnTo>
                          <a:pt x="8" y="480"/>
                        </a:lnTo>
                        <a:lnTo>
                          <a:pt x="10" y="480"/>
                        </a:lnTo>
                        <a:lnTo>
                          <a:pt x="13" y="481"/>
                        </a:lnTo>
                        <a:lnTo>
                          <a:pt x="14" y="481"/>
                        </a:lnTo>
                        <a:lnTo>
                          <a:pt x="18" y="481"/>
                        </a:lnTo>
                        <a:lnTo>
                          <a:pt x="18" y="480"/>
                        </a:lnTo>
                        <a:lnTo>
                          <a:pt x="19" y="480"/>
                        </a:lnTo>
                        <a:lnTo>
                          <a:pt x="21" y="478"/>
                        </a:lnTo>
                        <a:lnTo>
                          <a:pt x="24" y="478"/>
                        </a:lnTo>
                        <a:lnTo>
                          <a:pt x="26" y="478"/>
                        </a:lnTo>
                        <a:lnTo>
                          <a:pt x="29" y="478"/>
                        </a:lnTo>
                        <a:lnTo>
                          <a:pt x="30" y="476"/>
                        </a:lnTo>
                        <a:lnTo>
                          <a:pt x="32" y="475"/>
                        </a:lnTo>
                        <a:lnTo>
                          <a:pt x="33" y="475"/>
                        </a:lnTo>
                        <a:lnTo>
                          <a:pt x="37" y="470"/>
                        </a:lnTo>
                        <a:lnTo>
                          <a:pt x="38" y="468"/>
                        </a:lnTo>
                        <a:lnTo>
                          <a:pt x="40" y="467"/>
                        </a:lnTo>
                        <a:lnTo>
                          <a:pt x="41" y="464"/>
                        </a:lnTo>
                        <a:lnTo>
                          <a:pt x="43" y="459"/>
                        </a:lnTo>
                        <a:lnTo>
                          <a:pt x="46" y="457"/>
                        </a:lnTo>
                        <a:lnTo>
                          <a:pt x="48" y="454"/>
                        </a:lnTo>
                        <a:lnTo>
                          <a:pt x="48" y="451"/>
                        </a:lnTo>
                        <a:lnTo>
                          <a:pt x="49" y="449"/>
                        </a:lnTo>
                        <a:lnTo>
                          <a:pt x="49" y="448"/>
                        </a:lnTo>
                        <a:lnTo>
                          <a:pt x="49" y="446"/>
                        </a:lnTo>
                        <a:lnTo>
                          <a:pt x="51" y="445"/>
                        </a:lnTo>
                        <a:lnTo>
                          <a:pt x="51" y="443"/>
                        </a:lnTo>
                        <a:lnTo>
                          <a:pt x="51" y="441"/>
                        </a:lnTo>
                        <a:lnTo>
                          <a:pt x="51" y="440"/>
                        </a:lnTo>
                        <a:lnTo>
                          <a:pt x="52" y="440"/>
                        </a:lnTo>
                        <a:lnTo>
                          <a:pt x="51" y="440"/>
                        </a:lnTo>
                        <a:lnTo>
                          <a:pt x="49" y="440"/>
                        </a:lnTo>
                        <a:lnTo>
                          <a:pt x="49" y="438"/>
                        </a:lnTo>
                        <a:lnTo>
                          <a:pt x="48" y="438"/>
                        </a:lnTo>
                        <a:lnTo>
                          <a:pt x="46" y="437"/>
                        </a:lnTo>
                        <a:lnTo>
                          <a:pt x="45" y="437"/>
                        </a:lnTo>
                        <a:lnTo>
                          <a:pt x="43" y="435"/>
                        </a:lnTo>
                        <a:lnTo>
                          <a:pt x="43" y="434"/>
                        </a:lnTo>
                        <a:lnTo>
                          <a:pt x="45" y="432"/>
                        </a:lnTo>
                        <a:lnTo>
                          <a:pt x="46" y="432"/>
                        </a:lnTo>
                        <a:lnTo>
                          <a:pt x="46" y="430"/>
                        </a:lnTo>
                        <a:lnTo>
                          <a:pt x="46" y="429"/>
                        </a:lnTo>
                        <a:lnTo>
                          <a:pt x="48" y="427"/>
                        </a:lnTo>
                        <a:lnTo>
                          <a:pt x="48" y="426"/>
                        </a:lnTo>
                        <a:lnTo>
                          <a:pt x="48" y="424"/>
                        </a:lnTo>
                        <a:lnTo>
                          <a:pt x="48" y="422"/>
                        </a:lnTo>
                        <a:lnTo>
                          <a:pt x="51" y="422"/>
                        </a:lnTo>
                        <a:lnTo>
                          <a:pt x="56" y="422"/>
                        </a:lnTo>
                        <a:lnTo>
                          <a:pt x="57" y="422"/>
                        </a:lnTo>
                        <a:lnTo>
                          <a:pt x="59" y="422"/>
                        </a:lnTo>
                        <a:lnTo>
                          <a:pt x="65" y="422"/>
                        </a:lnTo>
                        <a:lnTo>
                          <a:pt x="78" y="422"/>
                        </a:lnTo>
                        <a:lnTo>
                          <a:pt x="90" y="422"/>
                        </a:lnTo>
                        <a:lnTo>
                          <a:pt x="97" y="422"/>
                        </a:lnTo>
                        <a:lnTo>
                          <a:pt x="102" y="422"/>
                        </a:lnTo>
                        <a:lnTo>
                          <a:pt x="105" y="422"/>
                        </a:lnTo>
                        <a:lnTo>
                          <a:pt x="106" y="422"/>
                        </a:lnTo>
                        <a:lnTo>
                          <a:pt x="108" y="421"/>
                        </a:lnTo>
                        <a:lnTo>
                          <a:pt x="109" y="421"/>
                        </a:lnTo>
                        <a:lnTo>
                          <a:pt x="113" y="419"/>
                        </a:lnTo>
                        <a:lnTo>
                          <a:pt x="113" y="418"/>
                        </a:lnTo>
                        <a:lnTo>
                          <a:pt x="113" y="416"/>
                        </a:lnTo>
                        <a:lnTo>
                          <a:pt x="114" y="416"/>
                        </a:lnTo>
                        <a:lnTo>
                          <a:pt x="114" y="415"/>
                        </a:lnTo>
                        <a:lnTo>
                          <a:pt x="116" y="413"/>
                        </a:lnTo>
                        <a:lnTo>
                          <a:pt x="117" y="413"/>
                        </a:lnTo>
                        <a:lnTo>
                          <a:pt x="119" y="413"/>
                        </a:lnTo>
                        <a:lnTo>
                          <a:pt x="121" y="413"/>
                        </a:lnTo>
                        <a:lnTo>
                          <a:pt x="122" y="415"/>
                        </a:lnTo>
                        <a:lnTo>
                          <a:pt x="124" y="415"/>
                        </a:lnTo>
                        <a:lnTo>
                          <a:pt x="125" y="415"/>
                        </a:lnTo>
                        <a:lnTo>
                          <a:pt x="127" y="415"/>
                        </a:lnTo>
                        <a:lnTo>
                          <a:pt x="127" y="413"/>
                        </a:lnTo>
                        <a:lnTo>
                          <a:pt x="128" y="413"/>
                        </a:lnTo>
                        <a:lnTo>
                          <a:pt x="128" y="411"/>
                        </a:lnTo>
                        <a:lnTo>
                          <a:pt x="130" y="411"/>
                        </a:lnTo>
                        <a:lnTo>
                          <a:pt x="132" y="411"/>
                        </a:lnTo>
                        <a:lnTo>
                          <a:pt x="132" y="410"/>
                        </a:lnTo>
                        <a:lnTo>
                          <a:pt x="132" y="408"/>
                        </a:lnTo>
                        <a:lnTo>
                          <a:pt x="133" y="408"/>
                        </a:lnTo>
                        <a:lnTo>
                          <a:pt x="133" y="407"/>
                        </a:lnTo>
                        <a:lnTo>
                          <a:pt x="135" y="407"/>
                        </a:lnTo>
                        <a:lnTo>
                          <a:pt x="138" y="405"/>
                        </a:lnTo>
                        <a:lnTo>
                          <a:pt x="138" y="403"/>
                        </a:lnTo>
                        <a:lnTo>
                          <a:pt x="140" y="403"/>
                        </a:lnTo>
                        <a:lnTo>
                          <a:pt x="140" y="402"/>
                        </a:lnTo>
                        <a:lnTo>
                          <a:pt x="141" y="399"/>
                        </a:lnTo>
                        <a:lnTo>
                          <a:pt x="143" y="399"/>
                        </a:lnTo>
                        <a:lnTo>
                          <a:pt x="144" y="397"/>
                        </a:lnTo>
                        <a:lnTo>
                          <a:pt x="146" y="397"/>
                        </a:lnTo>
                        <a:lnTo>
                          <a:pt x="146" y="399"/>
                        </a:lnTo>
                        <a:lnTo>
                          <a:pt x="147" y="399"/>
                        </a:lnTo>
                        <a:lnTo>
                          <a:pt x="147" y="397"/>
                        </a:lnTo>
                        <a:lnTo>
                          <a:pt x="147" y="396"/>
                        </a:lnTo>
                        <a:lnTo>
                          <a:pt x="149" y="396"/>
                        </a:lnTo>
                        <a:lnTo>
                          <a:pt x="149" y="397"/>
                        </a:lnTo>
                        <a:lnTo>
                          <a:pt x="149" y="396"/>
                        </a:lnTo>
                        <a:lnTo>
                          <a:pt x="149" y="394"/>
                        </a:lnTo>
                        <a:lnTo>
                          <a:pt x="151" y="394"/>
                        </a:lnTo>
                        <a:lnTo>
                          <a:pt x="151" y="392"/>
                        </a:lnTo>
                        <a:lnTo>
                          <a:pt x="151" y="391"/>
                        </a:lnTo>
                        <a:lnTo>
                          <a:pt x="152" y="389"/>
                        </a:lnTo>
                        <a:lnTo>
                          <a:pt x="152" y="388"/>
                        </a:lnTo>
                        <a:lnTo>
                          <a:pt x="152" y="386"/>
                        </a:lnTo>
                        <a:lnTo>
                          <a:pt x="152" y="384"/>
                        </a:lnTo>
                        <a:lnTo>
                          <a:pt x="154" y="384"/>
                        </a:lnTo>
                        <a:lnTo>
                          <a:pt x="154" y="383"/>
                        </a:lnTo>
                        <a:lnTo>
                          <a:pt x="154" y="381"/>
                        </a:lnTo>
                        <a:lnTo>
                          <a:pt x="155" y="377"/>
                        </a:lnTo>
                        <a:lnTo>
                          <a:pt x="157" y="373"/>
                        </a:lnTo>
                        <a:lnTo>
                          <a:pt x="160" y="372"/>
                        </a:lnTo>
                        <a:lnTo>
                          <a:pt x="162" y="370"/>
                        </a:lnTo>
                        <a:lnTo>
                          <a:pt x="165" y="365"/>
                        </a:lnTo>
                        <a:lnTo>
                          <a:pt x="166" y="362"/>
                        </a:lnTo>
                        <a:lnTo>
                          <a:pt x="168" y="359"/>
                        </a:lnTo>
                        <a:lnTo>
                          <a:pt x="171" y="358"/>
                        </a:lnTo>
                        <a:lnTo>
                          <a:pt x="173" y="354"/>
                        </a:lnTo>
                        <a:lnTo>
                          <a:pt x="176" y="351"/>
                        </a:lnTo>
                        <a:lnTo>
                          <a:pt x="179" y="350"/>
                        </a:lnTo>
                        <a:lnTo>
                          <a:pt x="182" y="348"/>
                        </a:lnTo>
                        <a:lnTo>
                          <a:pt x="185" y="345"/>
                        </a:lnTo>
                        <a:lnTo>
                          <a:pt x="187" y="343"/>
                        </a:lnTo>
                        <a:lnTo>
                          <a:pt x="189" y="342"/>
                        </a:lnTo>
                        <a:lnTo>
                          <a:pt x="192" y="340"/>
                        </a:lnTo>
                        <a:lnTo>
                          <a:pt x="193" y="340"/>
                        </a:lnTo>
                        <a:lnTo>
                          <a:pt x="197" y="339"/>
                        </a:lnTo>
                        <a:lnTo>
                          <a:pt x="200" y="337"/>
                        </a:lnTo>
                        <a:lnTo>
                          <a:pt x="201" y="335"/>
                        </a:lnTo>
                        <a:lnTo>
                          <a:pt x="205" y="335"/>
                        </a:lnTo>
                        <a:lnTo>
                          <a:pt x="206" y="335"/>
                        </a:lnTo>
                        <a:lnTo>
                          <a:pt x="208" y="334"/>
                        </a:lnTo>
                        <a:lnTo>
                          <a:pt x="211" y="334"/>
                        </a:lnTo>
                        <a:lnTo>
                          <a:pt x="212" y="334"/>
                        </a:lnTo>
                        <a:lnTo>
                          <a:pt x="216" y="334"/>
                        </a:lnTo>
                        <a:lnTo>
                          <a:pt x="219" y="335"/>
                        </a:lnTo>
                        <a:lnTo>
                          <a:pt x="220" y="335"/>
                        </a:lnTo>
                        <a:lnTo>
                          <a:pt x="222" y="337"/>
                        </a:lnTo>
                        <a:lnTo>
                          <a:pt x="225" y="337"/>
                        </a:lnTo>
                        <a:lnTo>
                          <a:pt x="227" y="339"/>
                        </a:lnTo>
                        <a:lnTo>
                          <a:pt x="230" y="339"/>
                        </a:lnTo>
                        <a:lnTo>
                          <a:pt x="231" y="340"/>
                        </a:lnTo>
                        <a:lnTo>
                          <a:pt x="233" y="340"/>
                        </a:lnTo>
                        <a:lnTo>
                          <a:pt x="236" y="342"/>
                        </a:lnTo>
                        <a:lnTo>
                          <a:pt x="239" y="342"/>
                        </a:lnTo>
                        <a:lnTo>
                          <a:pt x="241" y="343"/>
                        </a:lnTo>
                        <a:lnTo>
                          <a:pt x="244" y="343"/>
                        </a:lnTo>
                        <a:lnTo>
                          <a:pt x="247" y="345"/>
                        </a:lnTo>
                        <a:lnTo>
                          <a:pt x="249" y="345"/>
                        </a:lnTo>
                        <a:lnTo>
                          <a:pt x="252" y="345"/>
                        </a:lnTo>
                        <a:lnTo>
                          <a:pt x="254" y="345"/>
                        </a:lnTo>
                        <a:lnTo>
                          <a:pt x="255" y="343"/>
                        </a:lnTo>
                        <a:lnTo>
                          <a:pt x="257" y="342"/>
                        </a:lnTo>
                        <a:lnTo>
                          <a:pt x="258" y="340"/>
                        </a:lnTo>
                        <a:lnTo>
                          <a:pt x="260" y="342"/>
                        </a:lnTo>
                        <a:lnTo>
                          <a:pt x="262" y="342"/>
                        </a:lnTo>
                        <a:lnTo>
                          <a:pt x="263" y="340"/>
                        </a:lnTo>
                        <a:lnTo>
                          <a:pt x="265" y="340"/>
                        </a:lnTo>
                        <a:lnTo>
                          <a:pt x="266" y="340"/>
                        </a:lnTo>
                        <a:lnTo>
                          <a:pt x="268" y="339"/>
                        </a:lnTo>
                        <a:lnTo>
                          <a:pt x="269" y="339"/>
                        </a:lnTo>
                        <a:lnTo>
                          <a:pt x="269" y="337"/>
                        </a:lnTo>
                        <a:lnTo>
                          <a:pt x="271" y="337"/>
                        </a:lnTo>
                        <a:lnTo>
                          <a:pt x="273" y="335"/>
                        </a:lnTo>
                        <a:lnTo>
                          <a:pt x="274" y="335"/>
                        </a:lnTo>
                        <a:lnTo>
                          <a:pt x="276" y="335"/>
                        </a:lnTo>
                        <a:lnTo>
                          <a:pt x="277" y="335"/>
                        </a:lnTo>
                        <a:lnTo>
                          <a:pt x="277" y="334"/>
                        </a:lnTo>
                        <a:lnTo>
                          <a:pt x="277" y="332"/>
                        </a:lnTo>
                        <a:lnTo>
                          <a:pt x="277" y="331"/>
                        </a:lnTo>
                        <a:lnTo>
                          <a:pt x="279" y="331"/>
                        </a:lnTo>
                        <a:lnTo>
                          <a:pt x="279" y="329"/>
                        </a:lnTo>
                        <a:lnTo>
                          <a:pt x="281" y="327"/>
                        </a:lnTo>
                        <a:lnTo>
                          <a:pt x="282" y="326"/>
                        </a:lnTo>
                        <a:lnTo>
                          <a:pt x="284" y="326"/>
                        </a:lnTo>
                        <a:lnTo>
                          <a:pt x="284" y="324"/>
                        </a:lnTo>
                        <a:lnTo>
                          <a:pt x="285" y="324"/>
                        </a:lnTo>
                        <a:lnTo>
                          <a:pt x="285" y="323"/>
                        </a:lnTo>
                        <a:lnTo>
                          <a:pt x="287" y="323"/>
                        </a:lnTo>
                        <a:lnTo>
                          <a:pt x="287" y="321"/>
                        </a:lnTo>
                        <a:lnTo>
                          <a:pt x="287" y="323"/>
                        </a:lnTo>
                        <a:lnTo>
                          <a:pt x="287" y="321"/>
                        </a:lnTo>
                        <a:lnTo>
                          <a:pt x="288" y="320"/>
                        </a:lnTo>
                        <a:lnTo>
                          <a:pt x="288" y="318"/>
                        </a:lnTo>
                        <a:lnTo>
                          <a:pt x="290" y="318"/>
                        </a:lnTo>
                        <a:lnTo>
                          <a:pt x="290" y="316"/>
                        </a:lnTo>
                        <a:lnTo>
                          <a:pt x="290" y="315"/>
                        </a:lnTo>
                        <a:lnTo>
                          <a:pt x="290" y="313"/>
                        </a:lnTo>
                        <a:lnTo>
                          <a:pt x="292" y="313"/>
                        </a:lnTo>
                        <a:lnTo>
                          <a:pt x="293" y="312"/>
                        </a:lnTo>
                        <a:lnTo>
                          <a:pt x="293" y="310"/>
                        </a:lnTo>
                        <a:lnTo>
                          <a:pt x="293" y="308"/>
                        </a:lnTo>
                        <a:lnTo>
                          <a:pt x="295" y="308"/>
                        </a:lnTo>
                        <a:lnTo>
                          <a:pt x="295" y="307"/>
                        </a:lnTo>
                        <a:lnTo>
                          <a:pt x="295" y="305"/>
                        </a:lnTo>
                        <a:lnTo>
                          <a:pt x="296" y="305"/>
                        </a:lnTo>
                        <a:lnTo>
                          <a:pt x="296" y="304"/>
                        </a:lnTo>
                        <a:lnTo>
                          <a:pt x="296" y="302"/>
                        </a:lnTo>
                        <a:lnTo>
                          <a:pt x="296" y="301"/>
                        </a:lnTo>
                        <a:lnTo>
                          <a:pt x="298" y="301"/>
                        </a:lnTo>
                        <a:lnTo>
                          <a:pt x="298" y="299"/>
                        </a:lnTo>
                        <a:lnTo>
                          <a:pt x="300" y="297"/>
                        </a:lnTo>
                        <a:lnTo>
                          <a:pt x="300" y="296"/>
                        </a:lnTo>
                        <a:lnTo>
                          <a:pt x="301" y="296"/>
                        </a:lnTo>
                        <a:lnTo>
                          <a:pt x="301" y="294"/>
                        </a:lnTo>
                        <a:lnTo>
                          <a:pt x="301" y="293"/>
                        </a:lnTo>
                        <a:lnTo>
                          <a:pt x="303" y="291"/>
                        </a:lnTo>
                        <a:lnTo>
                          <a:pt x="303" y="289"/>
                        </a:lnTo>
                        <a:lnTo>
                          <a:pt x="303" y="288"/>
                        </a:lnTo>
                        <a:lnTo>
                          <a:pt x="303" y="286"/>
                        </a:lnTo>
                        <a:lnTo>
                          <a:pt x="301" y="286"/>
                        </a:lnTo>
                        <a:lnTo>
                          <a:pt x="301" y="285"/>
                        </a:lnTo>
                        <a:lnTo>
                          <a:pt x="300" y="285"/>
                        </a:lnTo>
                        <a:lnTo>
                          <a:pt x="300" y="283"/>
                        </a:lnTo>
                        <a:lnTo>
                          <a:pt x="298" y="283"/>
                        </a:lnTo>
                        <a:lnTo>
                          <a:pt x="298" y="282"/>
                        </a:lnTo>
                        <a:lnTo>
                          <a:pt x="296" y="282"/>
                        </a:lnTo>
                        <a:lnTo>
                          <a:pt x="295" y="280"/>
                        </a:lnTo>
                        <a:lnTo>
                          <a:pt x="295" y="278"/>
                        </a:lnTo>
                        <a:lnTo>
                          <a:pt x="293" y="278"/>
                        </a:lnTo>
                        <a:lnTo>
                          <a:pt x="292" y="280"/>
                        </a:lnTo>
                        <a:lnTo>
                          <a:pt x="292" y="278"/>
                        </a:lnTo>
                        <a:lnTo>
                          <a:pt x="292" y="277"/>
                        </a:lnTo>
                        <a:lnTo>
                          <a:pt x="292" y="275"/>
                        </a:lnTo>
                        <a:lnTo>
                          <a:pt x="293" y="274"/>
                        </a:lnTo>
                        <a:lnTo>
                          <a:pt x="293" y="272"/>
                        </a:lnTo>
                        <a:lnTo>
                          <a:pt x="293" y="270"/>
                        </a:lnTo>
                        <a:lnTo>
                          <a:pt x="293" y="269"/>
                        </a:lnTo>
                        <a:lnTo>
                          <a:pt x="293" y="267"/>
                        </a:lnTo>
                        <a:lnTo>
                          <a:pt x="295" y="266"/>
                        </a:lnTo>
                        <a:lnTo>
                          <a:pt x="293" y="264"/>
                        </a:lnTo>
                        <a:lnTo>
                          <a:pt x="293" y="263"/>
                        </a:lnTo>
                        <a:lnTo>
                          <a:pt x="293" y="261"/>
                        </a:lnTo>
                        <a:lnTo>
                          <a:pt x="292" y="259"/>
                        </a:lnTo>
                        <a:lnTo>
                          <a:pt x="290" y="258"/>
                        </a:lnTo>
                        <a:lnTo>
                          <a:pt x="290" y="256"/>
                        </a:lnTo>
                        <a:lnTo>
                          <a:pt x="288" y="255"/>
                        </a:lnTo>
                        <a:lnTo>
                          <a:pt x="287" y="253"/>
                        </a:lnTo>
                        <a:lnTo>
                          <a:pt x="287" y="251"/>
                        </a:lnTo>
                        <a:lnTo>
                          <a:pt x="285" y="250"/>
                        </a:lnTo>
                        <a:lnTo>
                          <a:pt x="285" y="248"/>
                        </a:lnTo>
                        <a:lnTo>
                          <a:pt x="285" y="247"/>
                        </a:lnTo>
                        <a:lnTo>
                          <a:pt x="285" y="245"/>
                        </a:lnTo>
                        <a:lnTo>
                          <a:pt x="285" y="243"/>
                        </a:lnTo>
                        <a:lnTo>
                          <a:pt x="287" y="243"/>
                        </a:lnTo>
                        <a:lnTo>
                          <a:pt x="288" y="243"/>
                        </a:lnTo>
                        <a:lnTo>
                          <a:pt x="290" y="243"/>
                        </a:lnTo>
                        <a:lnTo>
                          <a:pt x="292" y="243"/>
                        </a:lnTo>
                        <a:lnTo>
                          <a:pt x="293" y="243"/>
                        </a:lnTo>
                        <a:lnTo>
                          <a:pt x="293" y="245"/>
                        </a:lnTo>
                        <a:lnTo>
                          <a:pt x="295" y="245"/>
                        </a:lnTo>
                        <a:lnTo>
                          <a:pt x="296" y="243"/>
                        </a:lnTo>
                        <a:lnTo>
                          <a:pt x="295" y="243"/>
                        </a:lnTo>
                        <a:lnTo>
                          <a:pt x="295" y="242"/>
                        </a:lnTo>
                        <a:lnTo>
                          <a:pt x="293" y="240"/>
                        </a:lnTo>
                        <a:lnTo>
                          <a:pt x="292" y="239"/>
                        </a:lnTo>
                        <a:lnTo>
                          <a:pt x="290" y="237"/>
                        </a:lnTo>
                        <a:lnTo>
                          <a:pt x="290" y="236"/>
                        </a:lnTo>
                        <a:lnTo>
                          <a:pt x="288" y="234"/>
                        </a:lnTo>
                        <a:lnTo>
                          <a:pt x="287" y="232"/>
                        </a:lnTo>
                        <a:lnTo>
                          <a:pt x="287" y="231"/>
                        </a:lnTo>
                        <a:lnTo>
                          <a:pt x="285" y="229"/>
                        </a:lnTo>
                        <a:lnTo>
                          <a:pt x="284" y="229"/>
                        </a:lnTo>
                        <a:lnTo>
                          <a:pt x="282" y="229"/>
                        </a:lnTo>
                        <a:lnTo>
                          <a:pt x="281" y="229"/>
                        </a:lnTo>
                        <a:lnTo>
                          <a:pt x="279" y="228"/>
                        </a:lnTo>
                        <a:lnTo>
                          <a:pt x="277" y="226"/>
                        </a:lnTo>
                        <a:lnTo>
                          <a:pt x="277" y="224"/>
                        </a:lnTo>
                        <a:lnTo>
                          <a:pt x="276" y="223"/>
                        </a:lnTo>
                        <a:lnTo>
                          <a:pt x="274" y="223"/>
                        </a:lnTo>
                        <a:lnTo>
                          <a:pt x="274" y="220"/>
                        </a:lnTo>
                        <a:lnTo>
                          <a:pt x="274" y="218"/>
                        </a:lnTo>
                        <a:lnTo>
                          <a:pt x="273" y="215"/>
                        </a:lnTo>
                        <a:lnTo>
                          <a:pt x="269" y="213"/>
                        </a:lnTo>
                        <a:lnTo>
                          <a:pt x="266" y="213"/>
                        </a:lnTo>
                        <a:lnTo>
                          <a:pt x="263" y="212"/>
                        </a:lnTo>
                        <a:lnTo>
                          <a:pt x="258" y="212"/>
                        </a:lnTo>
                        <a:lnTo>
                          <a:pt x="257" y="212"/>
                        </a:lnTo>
                        <a:lnTo>
                          <a:pt x="254" y="210"/>
                        </a:lnTo>
                        <a:lnTo>
                          <a:pt x="254" y="209"/>
                        </a:lnTo>
                        <a:lnTo>
                          <a:pt x="252" y="209"/>
                        </a:lnTo>
                        <a:lnTo>
                          <a:pt x="252" y="205"/>
                        </a:lnTo>
                        <a:lnTo>
                          <a:pt x="252" y="204"/>
                        </a:lnTo>
                        <a:lnTo>
                          <a:pt x="252" y="201"/>
                        </a:lnTo>
                        <a:lnTo>
                          <a:pt x="254" y="199"/>
                        </a:lnTo>
                        <a:lnTo>
                          <a:pt x="254" y="196"/>
                        </a:lnTo>
                        <a:lnTo>
                          <a:pt x="254" y="194"/>
                        </a:lnTo>
                        <a:lnTo>
                          <a:pt x="254" y="191"/>
                        </a:lnTo>
                        <a:lnTo>
                          <a:pt x="254" y="190"/>
                        </a:lnTo>
                        <a:lnTo>
                          <a:pt x="254" y="186"/>
                        </a:lnTo>
                        <a:lnTo>
                          <a:pt x="252" y="182"/>
                        </a:lnTo>
                        <a:lnTo>
                          <a:pt x="252" y="179"/>
                        </a:lnTo>
                        <a:lnTo>
                          <a:pt x="250" y="174"/>
                        </a:lnTo>
                        <a:lnTo>
                          <a:pt x="249" y="172"/>
                        </a:lnTo>
                        <a:lnTo>
                          <a:pt x="247" y="171"/>
                        </a:lnTo>
                        <a:lnTo>
                          <a:pt x="246" y="171"/>
                        </a:lnTo>
                        <a:lnTo>
                          <a:pt x="244" y="169"/>
                        </a:lnTo>
                        <a:lnTo>
                          <a:pt x="243" y="169"/>
                        </a:lnTo>
                        <a:lnTo>
                          <a:pt x="241" y="169"/>
                        </a:lnTo>
                        <a:lnTo>
                          <a:pt x="239" y="169"/>
                        </a:lnTo>
                        <a:lnTo>
                          <a:pt x="239" y="167"/>
                        </a:lnTo>
                        <a:lnTo>
                          <a:pt x="238" y="167"/>
                        </a:lnTo>
                        <a:lnTo>
                          <a:pt x="238" y="166"/>
                        </a:lnTo>
                        <a:lnTo>
                          <a:pt x="236" y="166"/>
                        </a:lnTo>
                        <a:lnTo>
                          <a:pt x="236" y="164"/>
                        </a:lnTo>
                        <a:lnTo>
                          <a:pt x="236" y="163"/>
                        </a:lnTo>
                        <a:lnTo>
                          <a:pt x="236" y="161"/>
                        </a:lnTo>
                        <a:lnTo>
                          <a:pt x="236" y="160"/>
                        </a:lnTo>
                        <a:lnTo>
                          <a:pt x="236" y="158"/>
                        </a:lnTo>
                        <a:lnTo>
                          <a:pt x="236" y="156"/>
                        </a:lnTo>
                        <a:lnTo>
                          <a:pt x="238" y="155"/>
                        </a:lnTo>
                        <a:lnTo>
                          <a:pt x="238" y="153"/>
                        </a:lnTo>
                        <a:lnTo>
                          <a:pt x="235" y="153"/>
                        </a:lnTo>
                        <a:lnTo>
                          <a:pt x="233" y="150"/>
                        </a:lnTo>
                        <a:lnTo>
                          <a:pt x="231" y="148"/>
                        </a:lnTo>
                        <a:lnTo>
                          <a:pt x="228" y="145"/>
                        </a:lnTo>
                        <a:lnTo>
                          <a:pt x="225" y="142"/>
                        </a:lnTo>
                        <a:lnTo>
                          <a:pt x="224" y="141"/>
                        </a:lnTo>
                        <a:lnTo>
                          <a:pt x="224" y="139"/>
                        </a:lnTo>
                        <a:lnTo>
                          <a:pt x="225" y="137"/>
                        </a:lnTo>
                        <a:lnTo>
                          <a:pt x="225" y="136"/>
                        </a:lnTo>
                        <a:lnTo>
                          <a:pt x="227" y="133"/>
                        </a:lnTo>
                        <a:lnTo>
                          <a:pt x="227" y="131"/>
                        </a:lnTo>
                        <a:lnTo>
                          <a:pt x="228" y="129"/>
                        </a:lnTo>
                        <a:lnTo>
                          <a:pt x="228" y="126"/>
                        </a:lnTo>
                        <a:lnTo>
                          <a:pt x="228" y="123"/>
                        </a:lnTo>
                        <a:lnTo>
                          <a:pt x="228" y="120"/>
                        </a:lnTo>
                        <a:lnTo>
                          <a:pt x="230" y="120"/>
                        </a:lnTo>
                        <a:lnTo>
                          <a:pt x="231" y="118"/>
                        </a:lnTo>
                        <a:lnTo>
                          <a:pt x="235" y="118"/>
                        </a:lnTo>
                        <a:lnTo>
                          <a:pt x="236" y="117"/>
                        </a:lnTo>
                        <a:lnTo>
                          <a:pt x="238" y="115"/>
                        </a:lnTo>
                        <a:lnTo>
                          <a:pt x="239" y="114"/>
                        </a:lnTo>
                        <a:lnTo>
                          <a:pt x="239" y="110"/>
                        </a:lnTo>
                        <a:lnTo>
                          <a:pt x="239" y="109"/>
                        </a:lnTo>
                        <a:lnTo>
                          <a:pt x="239" y="106"/>
                        </a:lnTo>
                        <a:lnTo>
                          <a:pt x="239" y="103"/>
                        </a:lnTo>
                        <a:lnTo>
                          <a:pt x="239" y="98"/>
                        </a:lnTo>
                        <a:lnTo>
                          <a:pt x="239" y="95"/>
                        </a:lnTo>
                        <a:lnTo>
                          <a:pt x="238" y="95"/>
                        </a:lnTo>
                        <a:lnTo>
                          <a:pt x="236" y="95"/>
                        </a:lnTo>
                        <a:lnTo>
                          <a:pt x="236" y="93"/>
                        </a:lnTo>
                        <a:lnTo>
                          <a:pt x="235" y="93"/>
                        </a:lnTo>
                        <a:lnTo>
                          <a:pt x="233" y="95"/>
                        </a:lnTo>
                        <a:lnTo>
                          <a:pt x="231" y="95"/>
                        </a:lnTo>
                        <a:lnTo>
                          <a:pt x="230" y="95"/>
                        </a:lnTo>
                        <a:lnTo>
                          <a:pt x="228" y="95"/>
                        </a:lnTo>
                        <a:lnTo>
                          <a:pt x="227" y="95"/>
                        </a:lnTo>
                        <a:lnTo>
                          <a:pt x="225" y="95"/>
                        </a:lnTo>
                        <a:lnTo>
                          <a:pt x="224" y="95"/>
                        </a:lnTo>
                        <a:lnTo>
                          <a:pt x="222" y="95"/>
                        </a:lnTo>
                        <a:lnTo>
                          <a:pt x="219" y="95"/>
                        </a:lnTo>
                        <a:lnTo>
                          <a:pt x="217" y="91"/>
                        </a:lnTo>
                        <a:lnTo>
                          <a:pt x="217" y="90"/>
                        </a:lnTo>
                        <a:lnTo>
                          <a:pt x="219" y="87"/>
                        </a:lnTo>
                        <a:lnTo>
                          <a:pt x="219" y="84"/>
                        </a:lnTo>
                        <a:lnTo>
                          <a:pt x="217" y="82"/>
                        </a:lnTo>
                        <a:lnTo>
                          <a:pt x="217" y="80"/>
                        </a:lnTo>
                        <a:lnTo>
                          <a:pt x="217" y="77"/>
                        </a:lnTo>
                        <a:lnTo>
                          <a:pt x="219" y="76"/>
                        </a:lnTo>
                        <a:lnTo>
                          <a:pt x="219" y="71"/>
                        </a:lnTo>
                        <a:lnTo>
                          <a:pt x="217" y="69"/>
                        </a:lnTo>
                        <a:lnTo>
                          <a:pt x="217" y="66"/>
                        </a:lnTo>
                        <a:lnTo>
                          <a:pt x="217" y="64"/>
                        </a:lnTo>
                        <a:lnTo>
                          <a:pt x="217" y="63"/>
                        </a:lnTo>
                        <a:lnTo>
                          <a:pt x="217" y="60"/>
                        </a:lnTo>
                        <a:lnTo>
                          <a:pt x="217" y="58"/>
                        </a:lnTo>
                        <a:lnTo>
                          <a:pt x="216" y="57"/>
                        </a:lnTo>
                        <a:lnTo>
                          <a:pt x="212" y="55"/>
                        </a:lnTo>
                        <a:lnTo>
                          <a:pt x="209" y="55"/>
                        </a:lnTo>
                        <a:lnTo>
                          <a:pt x="208" y="53"/>
                        </a:lnTo>
                        <a:lnTo>
                          <a:pt x="205" y="53"/>
                        </a:lnTo>
                        <a:lnTo>
                          <a:pt x="203" y="55"/>
                        </a:lnTo>
                        <a:lnTo>
                          <a:pt x="201" y="55"/>
                        </a:lnTo>
                        <a:lnTo>
                          <a:pt x="198" y="55"/>
                        </a:lnTo>
                        <a:lnTo>
                          <a:pt x="195" y="55"/>
                        </a:lnTo>
                        <a:lnTo>
                          <a:pt x="192" y="55"/>
                        </a:lnTo>
                        <a:lnTo>
                          <a:pt x="189" y="57"/>
                        </a:lnTo>
                        <a:lnTo>
                          <a:pt x="187" y="57"/>
                        </a:lnTo>
                        <a:lnTo>
                          <a:pt x="185" y="57"/>
                        </a:lnTo>
                        <a:lnTo>
                          <a:pt x="182" y="57"/>
                        </a:lnTo>
                        <a:lnTo>
                          <a:pt x="178" y="57"/>
                        </a:lnTo>
                        <a:lnTo>
                          <a:pt x="176" y="55"/>
                        </a:lnTo>
                        <a:lnTo>
                          <a:pt x="174" y="53"/>
                        </a:lnTo>
                        <a:lnTo>
                          <a:pt x="171" y="50"/>
                        </a:lnTo>
                        <a:lnTo>
                          <a:pt x="170" y="49"/>
                        </a:lnTo>
                        <a:lnTo>
                          <a:pt x="168" y="47"/>
                        </a:lnTo>
                        <a:lnTo>
                          <a:pt x="168" y="45"/>
                        </a:lnTo>
                        <a:lnTo>
                          <a:pt x="166" y="44"/>
                        </a:lnTo>
                        <a:lnTo>
                          <a:pt x="166" y="41"/>
                        </a:lnTo>
                        <a:lnTo>
                          <a:pt x="166" y="39"/>
                        </a:lnTo>
                        <a:lnTo>
                          <a:pt x="166" y="36"/>
                        </a:lnTo>
                        <a:lnTo>
                          <a:pt x="166" y="33"/>
                        </a:lnTo>
                        <a:lnTo>
                          <a:pt x="166" y="31"/>
                        </a:lnTo>
                        <a:lnTo>
                          <a:pt x="166" y="28"/>
                        </a:lnTo>
                        <a:lnTo>
                          <a:pt x="166" y="26"/>
                        </a:lnTo>
                        <a:lnTo>
                          <a:pt x="166" y="23"/>
                        </a:lnTo>
                        <a:lnTo>
                          <a:pt x="166" y="22"/>
                        </a:lnTo>
                        <a:lnTo>
                          <a:pt x="168" y="20"/>
                        </a:lnTo>
                        <a:lnTo>
                          <a:pt x="168" y="19"/>
                        </a:lnTo>
                        <a:lnTo>
                          <a:pt x="168" y="17"/>
                        </a:lnTo>
                        <a:lnTo>
                          <a:pt x="168" y="14"/>
                        </a:lnTo>
                        <a:lnTo>
                          <a:pt x="168" y="12"/>
                        </a:lnTo>
                        <a:lnTo>
                          <a:pt x="170" y="12"/>
                        </a:lnTo>
                        <a:lnTo>
                          <a:pt x="171" y="12"/>
                        </a:lnTo>
                        <a:lnTo>
                          <a:pt x="173" y="14"/>
                        </a:lnTo>
                        <a:lnTo>
                          <a:pt x="174" y="15"/>
                        </a:lnTo>
                        <a:lnTo>
                          <a:pt x="176" y="15"/>
                        </a:lnTo>
                        <a:lnTo>
                          <a:pt x="178" y="15"/>
                        </a:lnTo>
                        <a:lnTo>
                          <a:pt x="179" y="15"/>
                        </a:lnTo>
                        <a:lnTo>
                          <a:pt x="181" y="15"/>
                        </a:lnTo>
                        <a:lnTo>
                          <a:pt x="181" y="14"/>
                        </a:lnTo>
                        <a:lnTo>
                          <a:pt x="182" y="14"/>
                        </a:lnTo>
                        <a:lnTo>
                          <a:pt x="182" y="15"/>
                        </a:lnTo>
                        <a:lnTo>
                          <a:pt x="184" y="15"/>
                        </a:lnTo>
                        <a:lnTo>
                          <a:pt x="184" y="17"/>
                        </a:lnTo>
                        <a:lnTo>
                          <a:pt x="185" y="17"/>
                        </a:lnTo>
                        <a:lnTo>
                          <a:pt x="187" y="15"/>
                        </a:lnTo>
                        <a:lnTo>
                          <a:pt x="189" y="17"/>
                        </a:lnTo>
                        <a:lnTo>
                          <a:pt x="190" y="17"/>
                        </a:lnTo>
                        <a:lnTo>
                          <a:pt x="190" y="19"/>
                        </a:lnTo>
                        <a:lnTo>
                          <a:pt x="192" y="20"/>
                        </a:lnTo>
                        <a:lnTo>
                          <a:pt x="193" y="19"/>
                        </a:lnTo>
                        <a:lnTo>
                          <a:pt x="195" y="20"/>
                        </a:lnTo>
                        <a:lnTo>
                          <a:pt x="197" y="20"/>
                        </a:lnTo>
                        <a:lnTo>
                          <a:pt x="198" y="22"/>
                        </a:lnTo>
                        <a:lnTo>
                          <a:pt x="200" y="22"/>
                        </a:lnTo>
                        <a:lnTo>
                          <a:pt x="201" y="23"/>
                        </a:lnTo>
                        <a:lnTo>
                          <a:pt x="203" y="23"/>
                        </a:lnTo>
                        <a:lnTo>
                          <a:pt x="203" y="25"/>
                        </a:lnTo>
                        <a:lnTo>
                          <a:pt x="206" y="26"/>
                        </a:lnTo>
                        <a:lnTo>
                          <a:pt x="206" y="25"/>
                        </a:lnTo>
                        <a:lnTo>
                          <a:pt x="208" y="25"/>
                        </a:lnTo>
                        <a:lnTo>
                          <a:pt x="209" y="25"/>
                        </a:lnTo>
                        <a:lnTo>
                          <a:pt x="211" y="25"/>
                        </a:lnTo>
                        <a:lnTo>
                          <a:pt x="211" y="26"/>
                        </a:lnTo>
                        <a:lnTo>
                          <a:pt x="212" y="26"/>
                        </a:lnTo>
                        <a:lnTo>
                          <a:pt x="214" y="26"/>
                        </a:lnTo>
                        <a:lnTo>
                          <a:pt x="216" y="28"/>
                        </a:lnTo>
                        <a:lnTo>
                          <a:pt x="217" y="28"/>
                        </a:lnTo>
                        <a:lnTo>
                          <a:pt x="220" y="28"/>
                        </a:lnTo>
                        <a:lnTo>
                          <a:pt x="220" y="30"/>
                        </a:lnTo>
                        <a:lnTo>
                          <a:pt x="220" y="31"/>
                        </a:lnTo>
                        <a:lnTo>
                          <a:pt x="222" y="31"/>
                        </a:lnTo>
                        <a:lnTo>
                          <a:pt x="224" y="31"/>
                        </a:lnTo>
                        <a:lnTo>
                          <a:pt x="224" y="30"/>
                        </a:lnTo>
                        <a:lnTo>
                          <a:pt x="225" y="28"/>
                        </a:lnTo>
                        <a:lnTo>
                          <a:pt x="227" y="28"/>
                        </a:lnTo>
                        <a:lnTo>
                          <a:pt x="228" y="28"/>
                        </a:lnTo>
                        <a:lnTo>
                          <a:pt x="228" y="30"/>
                        </a:lnTo>
                        <a:lnTo>
                          <a:pt x="228" y="31"/>
                        </a:lnTo>
                        <a:lnTo>
                          <a:pt x="231" y="31"/>
                        </a:lnTo>
                        <a:lnTo>
                          <a:pt x="233" y="33"/>
                        </a:lnTo>
                        <a:lnTo>
                          <a:pt x="235" y="33"/>
                        </a:lnTo>
                        <a:lnTo>
                          <a:pt x="236" y="33"/>
                        </a:lnTo>
                        <a:lnTo>
                          <a:pt x="238" y="33"/>
                        </a:lnTo>
                        <a:lnTo>
                          <a:pt x="239" y="33"/>
                        </a:lnTo>
                        <a:lnTo>
                          <a:pt x="241" y="31"/>
                        </a:lnTo>
                        <a:lnTo>
                          <a:pt x="241" y="33"/>
                        </a:lnTo>
                        <a:lnTo>
                          <a:pt x="243" y="34"/>
                        </a:lnTo>
                        <a:lnTo>
                          <a:pt x="244" y="36"/>
                        </a:lnTo>
                        <a:lnTo>
                          <a:pt x="246" y="36"/>
                        </a:lnTo>
                        <a:lnTo>
                          <a:pt x="247" y="38"/>
                        </a:lnTo>
                        <a:lnTo>
                          <a:pt x="249" y="39"/>
                        </a:lnTo>
                        <a:lnTo>
                          <a:pt x="250" y="39"/>
                        </a:lnTo>
                        <a:lnTo>
                          <a:pt x="252" y="39"/>
                        </a:lnTo>
                        <a:lnTo>
                          <a:pt x="254" y="39"/>
                        </a:lnTo>
                        <a:lnTo>
                          <a:pt x="254" y="38"/>
                        </a:lnTo>
                        <a:lnTo>
                          <a:pt x="255" y="38"/>
                        </a:lnTo>
                        <a:lnTo>
                          <a:pt x="257" y="38"/>
                        </a:lnTo>
                        <a:lnTo>
                          <a:pt x="258" y="38"/>
                        </a:lnTo>
                        <a:lnTo>
                          <a:pt x="258" y="39"/>
                        </a:lnTo>
                        <a:lnTo>
                          <a:pt x="260" y="39"/>
                        </a:lnTo>
                        <a:lnTo>
                          <a:pt x="262" y="41"/>
                        </a:lnTo>
                        <a:lnTo>
                          <a:pt x="262" y="42"/>
                        </a:lnTo>
                        <a:lnTo>
                          <a:pt x="263" y="42"/>
                        </a:lnTo>
                        <a:lnTo>
                          <a:pt x="265" y="41"/>
                        </a:lnTo>
                        <a:lnTo>
                          <a:pt x="266" y="41"/>
                        </a:lnTo>
                        <a:lnTo>
                          <a:pt x="266" y="42"/>
                        </a:lnTo>
                        <a:lnTo>
                          <a:pt x="268" y="44"/>
                        </a:lnTo>
                        <a:lnTo>
                          <a:pt x="269" y="44"/>
                        </a:lnTo>
                        <a:lnTo>
                          <a:pt x="271" y="44"/>
                        </a:lnTo>
                        <a:lnTo>
                          <a:pt x="273" y="44"/>
                        </a:lnTo>
                        <a:lnTo>
                          <a:pt x="274" y="44"/>
                        </a:lnTo>
                        <a:lnTo>
                          <a:pt x="276" y="44"/>
                        </a:lnTo>
                        <a:lnTo>
                          <a:pt x="277" y="44"/>
                        </a:lnTo>
                        <a:lnTo>
                          <a:pt x="279" y="44"/>
                        </a:lnTo>
                        <a:lnTo>
                          <a:pt x="281" y="45"/>
                        </a:lnTo>
                        <a:lnTo>
                          <a:pt x="282" y="47"/>
                        </a:lnTo>
                        <a:lnTo>
                          <a:pt x="284" y="49"/>
                        </a:lnTo>
                        <a:lnTo>
                          <a:pt x="285" y="49"/>
                        </a:lnTo>
                        <a:lnTo>
                          <a:pt x="287" y="47"/>
                        </a:lnTo>
                        <a:lnTo>
                          <a:pt x="288" y="49"/>
                        </a:lnTo>
                        <a:lnTo>
                          <a:pt x="290" y="47"/>
                        </a:lnTo>
                        <a:lnTo>
                          <a:pt x="290" y="49"/>
                        </a:lnTo>
                        <a:lnTo>
                          <a:pt x="292" y="50"/>
                        </a:lnTo>
                        <a:lnTo>
                          <a:pt x="293" y="50"/>
                        </a:lnTo>
                        <a:lnTo>
                          <a:pt x="295" y="50"/>
                        </a:lnTo>
                        <a:lnTo>
                          <a:pt x="295" y="49"/>
                        </a:lnTo>
                        <a:lnTo>
                          <a:pt x="295" y="47"/>
                        </a:lnTo>
                        <a:lnTo>
                          <a:pt x="293" y="45"/>
                        </a:lnTo>
                        <a:lnTo>
                          <a:pt x="295" y="45"/>
                        </a:lnTo>
                        <a:lnTo>
                          <a:pt x="296" y="45"/>
                        </a:lnTo>
                        <a:lnTo>
                          <a:pt x="298" y="45"/>
                        </a:lnTo>
                        <a:lnTo>
                          <a:pt x="298" y="44"/>
                        </a:lnTo>
                        <a:lnTo>
                          <a:pt x="300" y="44"/>
                        </a:lnTo>
                        <a:lnTo>
                          <a:pt x="301" y="44"/>
                        </a:lnTo>
                        <a:lnTo>
                          <a:pt x="301" y="45"/>
                        </a:lnTo>
                        <a:lnTo>
                          <a:pt x="303" y="45"/>
                        </a:lnTo>
                        <a:lnTo>
                          <a:pt x="304" y="44"/>
                        </a:lnTo>
                        <a:lnTo>
                          <a:pt x="306" y="44"/>
                        </a:lnTo>
                        <a:lnTo>
                          <a:pt x="306" y="42"/>
                        </a:lnTo>
                        <a:lnTo>
                          <a:pt x="306" y="41"/>
                        </a:lnTo>
                        <a:lnTo>
                          <a:pt x="306" y="39"/>
                        </a:lnTo>
                        <a:lnTo>
                          <a:pt x="307" y="38"/>
                        </a:lnTo>
                        <a:lnTo>
                          <a:pt x="309" y="36"/>
                        </a:lnTo>
                        <a:lnTo>
                          <a:pt x="309" y="34"/>
                        </a:lnTo>
                        <a:lnTo>
                          <a:pt x="309" y="33"/>
                        </a:lnTo>
                        <a:lnTo>
                          <a:pt x="309" y="31"/>
                        </a:lnTo>
                        <a:lnTo>
                          <a:pt x="311" y="31"/>
                        </a:lnTo>
                        <a:lnTo>
                          <a:pt x="312" y="30"/>
                        </a:lnTo>
                        <a:lnTo>
                          <a:pt x="314" y="28"/>
                        </a:lnTo>
                        <a:lnTo>
                          <a:pt x="315" y="28"/>
                        </a:lnTo>
                        <a:lnTo>
                          <a:pt x="317" y="28"/>
                        </a:lnTo>
                        <a:lnTo>
                          <a:pt x="319" y="26"/>
                        </a:lnTo>
                        <a:lnTo>
                          <a:pt x="320" y="26"/>
                        </a:lnTo>
                        <a:lnTo>
                          <a:pt x="322" y="26"/>
                        </a:lnTo>
                        <a:lnTo>
                          <a:pt x="322" y="23"/>
                        </a:lnTo>
                        <a:lnTo>
                          <a:pt x="323" y="23"/>
                        </a:lnTo>
                        <a:lnTo>
                          <a:pt x="325" y="23"/>
                        </a:lnTo>
                        <a:lnTo>
                          <a:pt x="326" y="23"/>
                        </a:lnTo>
                        <a:lnTo>
                          <a:pt x="328" y="23"/>
                        </a:lnTo>
                        <a:lnTo>
                          <a:pt x="330" y="23"/>
                        </a:lnTo>
                        <a:lnTo>
                          <a:pt x="331" y="23"/>
                        </a:lnTo>
                        <a:lnTo>
                          <a:pt x="331" y="22"/>
                        </a:lnTo>
                        <a:lnTo>
                          <a:pt x="331" y="20"/>
                        </a:lnTo>
                        <a:lnTo>
                          <a:pt x="333" y="20"/>
                        </a:lnTo>
                        <a:lnTo>
                          <a:pt x="334" y="20"/>
                        </a:lnTo>
                        <a:lnTo>
                          <a:pt x="336" y="20"/>
                        </a:lnTo>
                        <a:lnTo>
                          <a:pt x="336" y="22"/>
                        </a:lnTo>
                        <a:lnTo>
                          <a:pt x="338" y="20"/>
                        </a:lnTo>
                        <a:lnTo>
                          <a:pt x="339" y="20"/>
                        </a:lnTo>
                        <a:lnTo>
                          <a:pt x="339" y="19"/>
                        </a:lnTo>
                        <a:lnTo>
                          <a:pt x="342" y="19"/>
                        </a:lnTo>
                        <a:lnTo>
                          <a:pt x="344" y="17"/>
                        </a:lnTo>
                        <a:lnTo>
                          <a:pt x="345" y="17"/>
                        </a:lnTo>
                        <a:lnTo>
                          <a:pt x="347" y="15"/>
                        </a:lnTo>
                        <a:lnTo>
                          <a:pt x="349" y="15"/>
                        </a:lnTo>
                        <a:lnTo>
                          <a:pt x="350" y="15"/>
                        </a:lnTo>
                        <a:lnTo>
                          <a:pt x="350" y="14"/>
                        </a:lnTo>
                        <a:lnTo>
                          <a:pt x="352" y="12"/>
                        </a:lnTo>
                        <a:lnTo>
                          <a:pt x="352" y="11"/>
                        </a:lnTo>
                        <a:lnTo>
                          <a:pt x="355" y="11"/>
                        </a:lnTo>
                        <a:lnTo>
                          <a:pt x="353" y="11"/>
                        </a:lnTo>
                        <a:lnTo>
                          <a:pt x="355" y="12"/>
                        </a:lnTo>
                        <a:lnTo>
                          <a:pt x="357" y="12"/>
                        </a:lnTo>
                        <a:lnTo>
                          <a:pt x="358" y="11"/>
                        </a:lnTo>
                        <a:lnTo>
                          <a:pt x="360" y="11"/>
                        </a:lnTo>
                        <a:lnTo>
                          <a:pt x="361" y="11"/>
                        </a:lnTo>
                        <a:lnTo>
                          <a:pt x="363" y="9"/>
                        </a:lnTo>
                        <a:lnTo>
                          <a:pt x="363" y="11"/>
                        </a:lnTo>
                        <a:lnTo>
                          <a:pt x="364" y="9"/>
                        </a:lnTo>
                        <a:lnTo>
                          <a:pt x="364" y="7"/>
                        </a:lnTo>
                        <a:lnTo>
                          <a:pt x="364" y="6"/>
                        </a:lnTo>
                        <a:lnTo>
                          <a:pt x="366" y="9"/>
                        </a:lnTo>
                        <a:lnTo>
                          <a:pt x="369" y="9"/>
                        </a:lnTo>
                        <a:lnTo>
                          <a:pt x="369" y="7"/>
                        </a:lnTo>
                        <a:lnTo>
                          <a:pt x="368" y="7"/>
                        </a:lnTo>
                        <a:lnTo>
                          <a:pt x="368" y="6"/>
                        </a:lnTo>
                        <a:lnTo>
                          <a:pt x="369" y="4"/>
                        </a:lnTo>
                        <a:lnTo>
                          <a:pt x="371" y="3"/>
                        </a:lnTo>
                        <a:lnTo>
                          <a:pt x="372" y="3"/>
                        </a:lnTo>
                        <a:lnTo>
                          <a:pt x="374" y="3"/>
                        </a:lnTo>
                        <a:lnTo>
                          <a:pt x="374" y="4"/>
                        </a:lnTo>
                        <a:lnTo>
                          <a:pt x="376" y="4"/>
                        </a:lnTo>
                        <a:lnTo>
                          <a:pt x="376" y="6"/>
                        </a:lnTo>
                        <a:lnTo>
                          <a:pt x="377" y="6"/>
                        </a:lnTo>
                        <a:lnTo>
                          <a:pt x="377" y="7"/>
                        </a:lnTo>
                        <a:lnTo>
                          <a:pt x="377" y="9"/>
                        </a:lnTo>
                        <a:lnTo>
                          <a:pt x="379" y="9"/>
                        </a:lnTo>
                        <a:lnTo>
                          <a:pt x="379" y="7"/>
                        </a:lnTo>
                        <a:lnTo>
                          <a:pt x="380" y="7"/>
                        </a:lnTo>
                        <a:lnTo>
                          <a:pt x="382" y="7"/>
                        </a:lnTo>
                        <a:lnTo>
                          <a:pt x="384" y="7"/>
                        </a:lnTo>
                        <a:lnTo>
                          <a:pt x="384" y="9"/>
                        </a:lnTo>
                        <a:lnTo>
                          <a:pt x="385" y="9"/>
                        </a:lnTo>
                        <a:lnTo>
                          <a:pt x="387" y="9"/>
                        </a:lnTo>
                        <a:lnTo>
                          <a:pt x="387" y="11"/>
                        </a:lnTo>
                        <a:lnTo>
                          <a:pt x="388" y="11"/>
                        </a:lnTo>
                        <a:lnTo>
                          <a:pt x="388" y="9"/>
                        </a:lnTo>
                        <a:lnTo>
                          <a:pt x="388" y="7"/>
                        </a:lnTo>
                        <a:lnTo>
                          <a:pt x="388" y="6"/>
                        </a:lnTo>
                        <a:lnTo>
                          <a:pt x="390" y="6"/>
                        </a:lnTo>
                        <a:lnTo>
                          <a:pt x="391" y="6"/>
                        </a:lnTo>
                        <a:lnTo>
                          <a:pt x="393" y="6"/>
                        </a:lnTo>
                        <a:lnTo>
                          <a:pt x="393" y="4"/>
                        </a:lnTo>
                        <a:lnTo>
                          <a:pt x="395" y="4"/>
                        </a:lnTo>
                        <a:lnTo>
                          <a:pt x="395" y="6"/>
                        </a:lnTo>
                        <a:lnTo>
                          <a:pt x="396" y="6"/>
                        </a:lnTo>
                        <a:lnTo>
                          <a:pt x="396" y="4"/>
                        </a:lnTo>
                        <a:lnTo>
                          <a:pt x="396" y="3"/>
                        </a:lnTo>
                        <a:lnTo>
                          <a:pt x="398" y="1"/>
                        </a:lnTo>
                        <a:lnTo>
                          <a:pt x="399" y="0"/>
                        </a:lnTo>
                        <a:lnTo>
                          <a:pt x="401" y="1"/>
                        </a:lnTo>
                        <a:lnTo>
                          <a:pt x="401" y="3"/>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86" name="Freeform 85"/>
                  <p:cNvSpPr>
                    <a:spLocks/>
                  </p:cNvSpPr>
                  <p:nvPr/>
                </p:nvSpPr>
                <p:spPr bwMode="auto">
                  <a:xfrm>
                    <a:off x="3232" y="2016"/>
                    <a:ext cx="998" cy="1150"/>
                  </a:xfrm>
                  <a:custGeom>
                    <a:avLst/>
                    <a:gdLst>
                      <a:gd name="T0" fmla="*/ 244 w 998"/>
                      <a:gd name="T1" fmla="*/ 85 h 1150"/>
                      <a:gd name="T2" fmla="*/ 287 w 998"/>
                      <a:gd name="T3" fmla="*/ 104 h 1150"/>
                      <a:gd name="T4" fmla="*/ 485 w 998"/>
                      <a:gd name="T5" fmla="*/ 84 h 1150"/>
                      <a:gd name="T6" fmla="*/ 572 w 998"/>
                      <a:gd name="T7" fmla="*/ 84 h 1150"/>
                      <a:gd name="T8" fmla="*/ 615 w 998"/>
                      <a:gd name="T9" fmla="*/ 97 h 1150"/>
                      <a:gd name="T10" fmla="*/ 667 w 998"/>
                      <a:gd name="T11" fmla="*/ 141 h 1150"/>
                      <a:gd name="T12" fmla="*/ 662 w 998"/>
                      <a:gd name="T13" fmla="*/ 242 h 1150"/>
                      <a:gd name="T14" fmla="*/ 572 w 998"/>
                      <a:gd name="T15" fmla="*/ 228 h 1150"/>
                      <a:gd name="T16" fmla="*/ 540 w 998"/>
                      <a:gd name="T17" fmla="*/ 334 h 1150"/>
                      <a:gd name="T18" fmla="*/ 599 w 998"/>
                      <a:gd name="T19" fmla="*/ 306 h 1150"/>
                      <a:gd name="T20" fmla="*/ 691 w 998"/>
                      <a:gd name="T21" fmla="*/ 328 h 1150"/>
                      <a:gd name="T22" fmla="*/ 679 w 998"/>
                      <a:gd name="T23" fmla="*/ 402 h 1150"/>
                      <a:gd name="T24" fmla="*/ 586 w 998"/>
                      <a:gd name="T25" fmla="*/ 443 h 1150"/>
                      <a:gd name="T26" fmla="*/ 542 w 998"/>
                      <a:gd name="T27" fmla="*/ 513 h 1150"/>
                      <a:gd name="T28" fmla="*/ 583 w 998"/>
                      <a:gd name="T29" fmla="*/ 557 h 1150"/>
                      <a:gd name="T30" fmla="*/ 651 w 998"/>
                      <a:gd name="T31" fmla="*/ 564 h 1150"/>
                      <a:gd name="T32" fmla="*/ 695 w 998"/>
                      <a:gd name="T33" fmla="*/ 542 h 1150"/>
                      <a:gd name="T34" fmla="*/ 721 w 998"/>
                      <a:gd name="T35" fmla="*/ 581 h 1150"/>
                      <a:gd name="T36" fmla="*/ 762 w 998"/>
                      <a:gd name="T37" fmla="*/ 613 h 1150"/>
                      <a:gd name="T38" fmla="*/ 792 w 998"/>
                      <a:gd name="T39" fmla="*/ 653 h 1150"/>
                      <a:gd name="T40" fmla="*/ 838 w 998"/>
                      <a:gd name="T41" fmla="*/ 668 h 1150"/>
                      <a:gd name="T42" fmla="*/ 858 w 998"/>
                      <a:gd name="T43" fmla="*/ 694 h 1150"/>
                      <a:gd name="T44" fmla="*/ 900 w 998"/>
                      <a:gd name="T45" fmla="*/ 711 h 1150"/>
                      <a:gd name="T46" fmla="*/ 919 w 998"/>
                      <a:gd name="T47" fmla="*/ 743 h 1150"/>
                      <a:gd name="T48" fmla="*/ 947 w 998"/>
                      <a:gd name="T49" fmla="*/ 767 h 1150"/>
                      <a:gd name="T50" fmla="*/ 985 w 998"/>
                      <a:gd name="T51" fmla="*/ 786 h 1150"/>
                      <a:gd name="T52" fmla="*/ 961 w 998"/>
                      <a:gd name="T53" fmla="*/ 824 h 1150"/>
                      <a:gd name="T54" fmla="*/ 881 w 998"/>
                      <a:gd name="T55" fmla="*/ 877 h 1150"/>
                      <a:gd name="T56" fmla="*/ 824 w 998"/>
                      <a:gd name="T57" fmla="*/ 920 h 1150"/>
                      <a:gd name="T58" fmla="*/ 797 w 998"/>
                      <a:gd name="T59" fmla="*/ 1007 h 1150"/>
                      <a:gd name="T60" fmla="*/ 806 w 998"/>
                      <a:gd name="T61" fmla="*/ 1044 h 1150"/>
                      <a:gd name="T62" fmla="*/ 839 w 998"/>
                      <a:gd name="T63" fmla="*/ 1060 h 1150"/>
                      <a:gd name="T64" fmla="*/ 871 w 998"/>
                      <a:gd name="T65" fmla="*/ 1074 h 1150"/>
                      <a:gd name="T66" fmla="*/ 898 w 998"/>
                      <a:gd name="T67" fmla="*/ 1094 h 1150"/>
                      <a:gd name="T68" fmla="*/ 928 w 998"/>
                      <a:gd name="T69" fmla="*/ 1104 h 1150"/>
                      <a:gd name="T70" fmla="*/ 825 w 998"/>
                      <a:gd name="T71" fmla="*/ 1137 h 1150"/>
                      <a:gd name="T72" fmla="*/ 575 w 998"/>
                      <a:gd name="T73" fmla="*/ 1147 h 1150"/>
                      <a:gd name="T74" fmla="*/ 345 w 998"/>
                      <a:gd name="T75" fmla="*/ 1144 h 1150"/>
                      <a:gd name="T76" fmla="*/ 138 w 998"/>
                      <a:gd name="T77" fmla="*/ 1123 h 1150"/>
                      <a:gd name="T78" fmla="*/ 196 w 998"/>
                      <a:gd name="T79" fmla="*/ 1080 h 1150"/>
                      <a:gd name="T80" fmla="*/ 147 w 998"/>
                      <a:gd name="T81" fmla="*/ 1015 h 1150"/>
                      <a:gd name="T82" fmla="*/ 87 w 998"/>
                      <a:gd name="T83" fmla="*/ 1045 h 1150"/>
                      <a:gd name="T84" fmla="*/ 76 w 998"/>
                      <a:gd name="T85" fmla="*/ 976 h 1150"/>
                      <a:gd name="T86" fmla="*/ 138 w 998"/>
                      <a:gd name="T87" fmla="*/ 930 h 1150"/>
                      <a:gd name="T88" fmla="*/ 198 w 998"/>
                      <a:gd name="T89" fmla="*/ 904 h 1150"/>
                      <a:gd name="T90" fmla="*/ 241 w 998"/>
                      <a:gd name="T91" fmla="*/ 892 h 1150"/>
                      <a:gd name="T92" fmla="*/ 198 w 998"/>
                      <a:gd name="T93" fmla="*/ 849 h 1150"/>
                      <a:gd name="T94" fmla="*/ 144 w 998"/>
                      <a:gd name="T95" fmla="*/ 763 h 1150"/>
                      <a:gd name="T96" fmla="*/ 100 w 998"/>
                      <a:gd name="T97" fmla="*/ 681 h 1150"/>
                      <a:gd name="T98" fmla="*/ 46 w 998"/>
                      <a:gd name="T99" fmla="*/ 672 h 1150"/>
                      <a:gd name="T100" fmla="*/ 14 w 998"/>
                      <a:gd name="T101" fmla="*/ 632 h 1150"/>
                      <a:gd name="T102" fmla="*/ 63 w 998"/>
                      <a:gd name="T103" fmla="*/ 599 h 1150"/>
                      <a:gd name="T104" fmla="*/ 40 w 998"/>
                      <a:gd name="T105" fmla="*/ 545 h 1150"/>
                      <a:gd name="T106" fmla="*/ 19 w 998"/>
                      <a:gd name="T107" fmla="*/ 505 h 1150"/>
                      <a:gd name="T108" fmla="*/ 14 w 998"/>
                      <a:gd name="T109" fmla="*/ 464 h 1150"/>
                      <a:gd name="T110" fmla="*/ 73 w 998"/>
                      <a:gd name="T111" fmla="*/ 478 h 1150"/>
                      <a:gd name="T112" fmla="*/ 68 w 998"/>
                      <a:gd name="T113" fmla="*/ 418 h 1150"/>
                      <a:gd name="T114" fmla="*/ 41 w 998"/>
                      <a:gd name="T115" fmla="*/ 366 h 1150"/>
                      <a:gd name="T116" fmla="*/ 47 w 998"/>
                      <a:gd name="T117" fmla="*/ 309 h 1150"/>
                      <a:gd name="T118" fmla="*/ 68 w 998"/>
                      <a:gd name="T119" fmla="*/ 266 h 1150"/>
                      <a:gd name="T120" fmla="*/ 100 w 998"/>
                      <a:gd name="T121" fmla="*/ 138 h 1150"/>
                      <a:gd name="T122" fmla="*/ 150 w 998"/>
                      <a:gd name="T123" fmla="*/ 85 h 1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8" h="1150">
                        <a:moveTo>
                          <a:pt x="234" y="0"/>
                        </a:moveTo>
                        <a:lnTo>
                          <a:pt x="236" y="0"/>
                        </a:lnTo>
                        <a:lnTo>
                          <a:pt x="238" y="1"/>
                        </a:lnTo>
                        <a:lnTo>
                          <a:pt x="241" y="1"/>
                        </a:lnTo>
                        <a:lnTo>
                          <a:pt x="242" y="3"/>
                        </a:lnTo>
                        <a:lnTo>
                          <a:pt x="247" y="5"/>
                        </a:lnTo>
                        <a:lnTo>
                          <a:pt x="252" y="5"/>
                        </a:lnTo>
                        <a:lnTo>
                          <a:pt x="255" y="8"/>
                        </a:lnTo>
                        <a:lnTo>
                          <a:pt x="257" y="9"/>
                        </a:lnTo>
                        <a:lnTo>
                          <a:pt x="258" y="11"/>
                        </a:lnTo>
                        <a:lnTo>
                          <a:pt x="260" y="16"/>
                        </a:lnTo>
                        <a:lnTo>
                          <a:pt x="260" y="19"/>
                        </a:lnTo>
                        <a:lnTo>
                          <a:pt x="261" y="20"/>
                        </a:lnTo>
                        <a:lnTo>
                          <a:pt x="263" y="24"/>
                        </a:lnTo>
                        <a:lnTo>
                          <a:pt x="266" y="30"/>
                        </a:lnTo>
                        <a:lnTo>
                          <a:pt x="269" y="36"/>
                        </a:lnTo>
                        <a:lnTo>
                          <a:pt x="269" y="39"/>
                        </a:lnTo>
                        <a:lnTo>
                          <a:pt x="271" y="41"/>
                        </a:lnTo>
                        <a:lnTo>
                          <a:pt x="266" y="44"/>
                        </a:lnTo>
                        <a:lnTo>
                          <a:pt x="260" y="47"/>
                        </a:lnTo>
                        <a:lnTo>
                          <a:pt x="253" y="49"/>
                        </a:lnTo>
                        <a:lnTo>
                          <a:pt x="249" y="52"/>
                        </a:lnTo>
                        <a:lnTo>
                          <a:pt x="247" y="54"/>
                        </a:lnTo>
                        <a:lnTo>
                          <a:pt x="245" y="54"/>
                        </a:lnTo>
                        <a:lnTo>
                          <a:pt x="245" y="55"/>
                        </a:lnTo>
                        <a:lnTo>
                          <a:pt x="244" y="65"/>
                        </a:lnTo>
                        <a:lnTo>
                          <a:pt x="244" y="76"/>
                        </a:lnTo>
                        <a:lnTo>
                          <a:pt x="244" y="81"/>
                        </a:lnTo>
                        <a:lnTo>
                          <a:pt x="244" y="82"/>
                        </a:lnTo>
                        <a:lnTo>
                          <a:pt x="244" y="85"/>
                        </a:lnTo>
                        <a:lnTo>
                          <a:pt x="245" y="87"/>
                        </a:lnTo>
                        <a:lnTo>
                          <a:pt x="247" y="90"/>
                        </a:lnTo>
                        <a:lnTo>
                          <a:pt x="249" y="92"/>
                        </a:lnTo>
                        <a:lnTo>
                          <a:pt x="250" y="92"/>
                        </a:lnTo>
                        <a:lnTo>
                          <a:pt x="252" y="92"/>
                        </a:lnTo>
                        <a:lnTo>
                          <a:pt x="253" y="90"/>
                        </a:lnTo>
                        <a:lnTo>
                          <a:pt x="255" y="90"/>
                        </a:lnTo>
                        <a:lnTo>
                          <a:pt x="257" y="90"/>
                        </a:lnTo>
                        <a:lnTo>
                          <a:pt x="257" y="89"/>
                        </a:lnTo>
                        <a:lnTo>
                          <a:pt x="258" y="89"/>
                        </a:lnTo>
                        <a:lnTo>
                          <a:pt x="261" y="89"/>
                        </a:lnTo>
                        <a:lnTo>
                          <a:pt x="264" y="89"/>
                        </a:lnTo>
                        <a:lnTo>
                          <a:pt x="269" y="89"/>
                        </a:lnTo>
                        <a:lnTo>
                          <a:pt x="272" y="89"/>
                        </a:lnTo>
                        <a:lnTo>
                          <a:pt x="276" y="89"/>
                        </a:lnTo>
                        <a:lnTo>
                          <a:pt x="282" y="87"/>
                        </a:lnTo>
                        <a:lnTo>
                          <a:pt x="290" y="87"/>
                        </a:lnTo>
                        <a:lnTo>
                          <a:pt x="296" y="85"/>
                        </a:lnTo>
                        <a:lnTo>
                          <a:pt x="301" y="85"/>
                        </a:lnTo>
                        <a:lnTo>
                          <a:pt x="304" y="85"/>
                        </a:lnTo>
                        <a:lnTo>
                          <a:pt x="306" y="89"/>
                        </a:lnTo>
                        <a:lnTo>
                          <a:pt x="304" y="95"/>
                        </a:lnTo>
                        <a:lnTo>
                          <a:pt x="302" y="98"/>
                        </a:lnTo>
                        <a:lnTo>
                          <a:pt x="301" y="100"/>
                        </a:lnTo>
                        <a:lnTo>
                          <a:pt x="299" y="101"/>
                        </a:lnTo>
                        <a:lnTo>
                          <a:pt x="298" y="103"/>
                        </a:lnTo>
                        <a:lnTo>
                          <a:pt x="296" y="103"/>
                        </a:lnTo>
                        <a:lnTo>
                          <a:pt x="295" y="104"/>
                        </a:lnTo>
                        <a:lnTo>
                          <a:pt x="290" y="104"/>
                        </a:lnTo>
                        <a:lnTo>
                          <a:pt x="287" y="104"/>
                        </a:lnTo>
                        <a:lnTo>
                          <a:pt x="282" y="106"/>
                        </a:lnTo>
                        <a:lnTo>
                          <a:pt x="280" y="106"/>
                        </a:lnTo>
                        <a:lnTo>
                          <a:pt x="279" y="106"/>
                        </a:lnTo>
                        <a:lnTo>
                          <a:pt x="276" y="106"/>
                        </a:lnTo>
                        <a:lnTo>
                          <a:pt x="276" y="114"/>
                        </a:lnTo>
                        <a:lnTo>
                          <a:pt x="276" y="120"/>
                        </a:lnTo>
                        <a:lnTo>
                          <a:pt x="276" y="125"/>
                        </a:lnTo>
                        <a:lnTo>
                          <a:pt x="276" y="127"/>
                        </a:lnTo>
                        <a:lnTo>
                          <a:pt x="276" y="128"/>
                        </a:lnTo>
                        <a:lnTo>
                          <a:pt x="276" y="133"/>
                        </a:lnTo>
                        <a:lnTo>
                          <a:pt x="276" y="136"/>
                        </a:lnTo>
                        <a:lnTo>
                          <a:pt x="276" y="139"/>
                        </a:lnTo>
                        <a:lnTo>
                          <a:pt x="293" y="135"/>
                        </a:lnTo>
                        <a:lnTo>
                          <a:pt x="306" y="131"/>
                        </a:lnTo>
                        <a:lnTo>
                          <a:pt x="322" y="128"/>
                        </a:lnTo>
                        <a:lnTo>
                          <a:pt x="372" y="114"/>
                        </a:lnTo>
                        <a:lnTo>
                          <a:pt x="388" y="108"/>
                        </a:lnTo>
                        <a:lnTo>
                          <a:pt x="396" y="104"/>
                        </a:lnTo>
                        <a:lnTo>
                          <a:pt x="423" y="97"/>
                        </a:lnTo>
                        <a:lnTo>
                          <a:pt x="448" y="89"/>
                        </a:lnTo>
                        <a:lnTo>
                          <a:pt x="462" y="89"/>
                        </a:lnTo>
                        <a:lnTo>
                          <a:pt x="469" y="87"/>
                        </a:lnTo>
                        <a:lnTo>
                          <a:pt x="474" y="87"/>
                        </a:lnTo>
                        <a:lnTo>
                          <a:pt x="475" y="87"/>
                        </a:lnTo>
                        <a:lnTo>
                          <a:pt x="475" y="85"/>
                        </a:lnTo>
                        <a:lnTo>
                          <a:pt x="477" y="84"/>
                        </a:lnTo>
                        <a:lnTo>
                          <a:pt x="480" y="82"/>
                        </a:lnTo>
                        <a:lnTo>
                          <a:pt x="481" y="82"/>
                        </a:lnTo>
                        <a:lnTo>
                          <a:pt x="483" y="82"/>
                        </a:lnTo>
                        <a:lnTo>
                          <a:pt x="485" y="84"/>
                        </a:lnTo>
                        <a:lnTo>
                          <a:pt x="489" y="85"/>
                        </a:lnTo>
                        <a:lnTo>
                          <a:pt x="494" y="87"/>
                        </a:lnTo>
                        <a:lnTo>
                          <a:pt x="502" y="92"/>
                        </a:lnTo>
                        <a:lnTo>
                          <a:pt x="505" y="93"/>
                        </a:lnTo>
                        <a:lnTo>
                          <a:pt x="508" y="95"/>
                        </a:lnTo>
                        <a:lnTo>
                          <a:pt x="510" y="95"/>
                        </a:lnTo>
                        <a:lnTo>
                          <a:pt x="512" y="93"/>
                        </a:lnTo>
                        <a:lnTo>
                          <a:pt x="513" y="95"/>
                        </a:lnTo>
                        <a:lnTo>
                          <a:pt x="515" y="93"/>
                        </a:lnTo>
                        <a:lnTo>
                          <a:pt x="516" y="93"/>
                        </a:lnTo>
                        <a:lnTo>
                          <a:pt x="516" y="95"/>
                        </a:lnTo>
                        <a:lnTo>
                          <a:pt x="518" y="95"/>
                        </a:lnTo>
                        <a:lnTo>
                          <a:pt x="520" y="93"/>
                        </a:lnTo>
                        <a:lnTo>
                          <a:pt x="524" y="92"/>
                        </a:lnTo>
                        <a:lnTo>
                          <a:pt x="526" y="92"/>
                        </a:lnTo>
                        <a:lnTo>
                          <a:pt x="526" y="90"/>
                        </a:lnTo>
                        <a:lnTo>
                          <a:pt x="526" y="89"/>
                        </a:lnTo>
                        <a:lnTo>
                          <a:pt x="526" y="87"/>
                        </a:lnTo>
                        <a:lnTo>
                          <a:pt x="526" y="85"/>
                        </a:lnTo>
                        <a:lnTo>
                          <a:pt x="527" y="84"/>
                        </a:lnTo>
                        <a:lnTo>
                          <a:pt x="531" y="84"/>
                        </a:lnTo>
                        <a:lnTo>
                          <a:pt x="532" y="82"/>
                        </a:lnTo>
                        <a:lnTo>
                          <a:pt x="537" y="82"/>
                        </a:lnTo>
                        <a:lnTo>
                          <a:pt x="543" y="84"/>
                        </a:lnTo>
                        <a:lnTo>
                          <a:pt x="546" y="84"/>
                        </a:lnTo>
                        <a:lnTo>
                          <a:pt x="553" y="85"/>
                        </a:lnTo>
                        <a:lnTo>
                          <a:pt x="558" y="85"/>
                        </a:lnTo>
                        <a:lnTo>
                          <a:pt x="564" y="84"/>
                        </a:lnTo>
                        <a:lnTo>
                          <a:pt x="570" y="84"/>
                        </a:lnTo>
                        <a:lnTo>
                          <a:pt x="572" y="84"/>
                        </a:lnTo>
                        <a:lnTo>
                          <a:pt x="575" y="84"/>
                        </a:lnTo>
                        <a:lnTo>
                          <a:pt x="577" y="84"/>
                        </a:lnTo>
                        <a:lnTo>
                          <a:pt x="578" y="84"/>
                        </a:lnTo>
                        <a:lnTo>
                          <a:pt x="580" y="84"/>
                        </a:lnTo>
                        <a:lnTo>
                          <a:pt x="581" y="84"/>
                        </a:lnTo>
                        <a:lnTo>
                          <a:pt x="581" y="85"/>
                        </a:lnTo>
                        <a:lnTo>
                          <a:pt x="583" y="85"/>
                        </a:lnTo>
                        <a:lnTo>
                          <a:pt x="583" y="87"/>
                        </a:lnTo>
                        <a:lnTo>
                          <a:pt x="586" y="89"/>
                        </a:lnTo>
                        <a:lnTo>
                          <a:pt x="586" y="90"/>
                        </a:lnTo>
                        <a:lnTo>
                          <a:pt x="584" y="93"/>
                        </a:lnTo>
                        <a:lnTo>
                          <a:pt x="583" y="98"/>
                        </a:lnTo>
                        <a:lnTo>
                          <a:pt x="581" y="101"/>
                        </a:lnTo>
                        <a:lnTo>
                          <a:pt x="583" y="103"/>
                        </a:lnTo>
                        <a:lnTo>
                          <a:pt x="584" y="103"/>
                        </a:lnTo>
                        <a:lnTo>
                          <a:pt x="584" y="104"/>
                        </a:lnTo>
                        <a:lnTo>
                          <a:pt x="586" y="104"/>
                        </a:lnTo>
                        <a:lnTo>
                          <a:pt x="588" y="103"/>
                        </a:lnTo>
                        <a:lnTo>
                          <a:pt x="591" y="103"/>
                        </a:lnTo>
                        <a:lnTo>
                          <a:pt x="594" y="101"/>
                        </a:lnTo>
                        <a:lnTo>
                          <a:pt x="597" y="100"/>
                        </a:lnTo>
                        <a:lnTo>
                          <a:pt x="599" y="98"/>
                        </a:lnTo>
                        <a:lnTo>
                          <a:pt x="602" y="97"/>
                        </a:lnTo>
                        <a:lnTo>
                          <a:pt x="605" y="93"/>
                        </a:lnTo>
                        <a:lnTo>
                          <a:pt x="607" y="92"/>
                        </a:lnTo>
                        <a:lnTo>
                          <a:pt x="608" y="93"/>
                        </a:lnTo>
                        <a:lnTo>
                          <a:pt x="610" y="93"/>
                        </a:lnTo>
                        <a:lnTo>
                          <a:pt x="611" y="93"/>
                        </a:lnTo>
                        <a:lnTo>
                          <a:pt x="615" y="95"/>
                        </a:lnTo>
                        <a:lnTo>
                          <a:pt x="615" y="97"/>
                        </a:lnTo>
                        <a:lnTo>
                          <a:pt x="616" y="98"/>
                        </a:lnTo>
                        <a:lnTo>
                          <a:pt x="618" y="98"/>
                        </a:lnTo>
                        <a:lnTo>
                          <a:pt x="619" y="100"/>
                        </a:lnTo>
                        <a:lnTo>
                          <a:pt x="619" y="101"/>
                        </a:lnTo>
                        <a:lnTo>
                          <a:pt x="619" y="103"/>
                        </a:lnTo>
                        <a:lnTo>
                          <a:pt x="619" y="104"/>
                        </a:lnTo>
                        <a:lnTo>
                          <a:pt x="616" y="106"/>
                        </a:lnTo>
                        <a:lnTo>
                          <a:pt x="613" y="111"/>
                        </a:lnTo>
                        <a:lnTo>
                          <a:pt x="611" y="112"/>
                        </a:lnTo>
                        <a:lnTo>
                          <a:pt x="610" y="114"/>
                        </a:lnTo>
                        <a:lnTo>
                          <a:pt x="610" y="116"/>
                        </a:lnTo>
                        <a:lnTo>
                          <a:pt x="610" y="117"/>
                        </a:lnTo>
                        <a:lnTo>
                          <a:pt x="613" y="119"/>
                        </a:lnTo>
                        <a:lnTo>
                          <a:pt x="616" y="120"/>
                        </a:lnTo>
                        <a:lnTo>
                          <a:pt x="618" y="120"/>
                        </a:lnTo>
                        <a:lnTo>
                          <a:pt x="621" y="122"/>
                        </a:lnTo>
                        <a:lnTo>
                          <a:pt x="624" y="123"/>
                        </a:lnTo>
                        <a:lnTo>
                          <a:pt x="629" y="125"/>
                        </a:lnTo>
                        <a:lnTo>
                          <a:pt x="632" y="125"/>
                        </a:lnTo>
                        <a:lnTo>
                          <a:pt x="635" y="127"/>
                        </a:lnTo>
                        <a:lnTo>
                          <a:pt x="638" y="128"/>
                        </a:lnTo>
                        <a:lnTo>
                          <a:pt x="643" y="130"/>
                        </a:lnTo>
                        <a:lnTo>
                          <a:pt x="646" y="133"/>
                        </a:lnTo>
                        <a:lnTo>
                          <a:pt x="649" y="136"/>
                        </a:lnTo>
                        <a:lnTo>
                          <a:pt x="654" y="138"/>
                        </a:lnTo>
                        <a:lnTo>
                          <a:pt x="656" y="139"/>
                        </a:lnTo>
                        <a:lnTo>
                          <a:pt x="659" y="141"/>
                        </a:lnTo>
                        <a:lnTo>
                          <a:pt x="662" y="141"/>
                        </a:lnTo>
                        <a:lnTo>
                          <a:pt x="664" y="141"/>
                        </a:lnTo>
                        <a:lnTo>
                          <a:pt x="667" y="141"/>
                        </a:lnTo>
                        <a:lnTo>
                          <a:pt x="668" y="141"/>
                        </a:lnTo>
                        <a:lnTo>
                          <a:pt x="670" y="141"/>
                        </a:lnTo>
                        <a:lnTo>
                          <a:pt x="672" y="142"/>
                        </a:lnTo>
                        <a:lnTo>
                          <a:pt x="673" y="146"/>
                        </a:lnTo>
                        <a:lnTo>
                          <a:pt x="675" y="150"/>
                        </a:lnTo>
                        <a:lnTo>
                          <a:pt x="676" y="157"/>
                        </a:lnTo>
                        <a:lnTo>
                          <a:pt x="678" y="161"/>
                        </a:lnTo>
                        <a:lnTo>
                          <a:pt x="681" y="163"/>
                        </a:lnTo>
                        <a:lnTo>
                          <a:pt x="683" y="166"/>
                        </a:lnTo>
                        <a:lnTo>
                          <a:pt x="683" y="168"/>
                        </a:lnTo>
                        <a:lnTo>
                          <a:pt x="684" y="169"/>
                        </a:lnTo>
                        <a:lnTo>
                          <a:pt x="686" y="174"/>
                        </a:lnTo>
                        <a:lnTo>
                          <a:pt x="686" y="179"/>
                        </a:lnTo>
                        <a:lnTo>
                          <a:pt x="687" y="184"/>
                        </a:lnTo>
                        <a:lnTo>
                          <a:pt x="691" y="190"/>
                        </a:lnTo>
                        <a:lnTo>
                          <a:pt x="697" y="201"/>
                        </a:lnTo>
                        <a:lnTo>
                          <a:pt x="700" y="207"/>
                        </a:lnTo>
                        <a:lnTo>
                          <a:pt x="702" y="211"/>
                        </a:lnTo>
                        <a:lnTo>
                          <a:pt x="703" y="214"/>
                        </a:lnTo>
                        <a:lnTo>
                          <a:pt x="703" y="215"/>
                        </a:lnTo>
                        <a:lnTo>
                          <a:pt x="705" y="217"/>
                        </a:lnTo>
                        <a:lnTo>
                          <a:pt x="703" y="218"/>
                        </a:lnTo>
                        <a:lnTo>
                          <a:pt x="699" y="222"/>
                        </a:lnTo>
                        <a:lnTo>
                          <a:pt x="695" y="225"/>
                        </a:lnTo>
                        <a:lnTo>
                          <a:pt x="689" y="230"/>
                        </a:lnTo>
                        <a:lnTo>
                          <a:pt x="686" y="231"/>
                        </a:lnTo>
                        <a:lnTo>
                          <a:pt x="678" y="234"/>
                        </a:lnTo>
                        <a:lnTo>
                          <a:pt x="672" y="237"/>
                        </a:lnTo>
                        <a:lnTo>
                          <a:pt x="667" y="239"/>
                        </a:lnTo>
                        <a:lnTo>
                          <a:pt x="662" y="242"/>
                        </a:lnTo>
                        <a:lnTo>
                          <a:pt x="659" y="242"/>
                        </a:lnTo>
                        <a:lnTo>
                          <a:pt x="656" y="244"/>
                        </a:lnTo>
                        <a:lnTo>
                          <a:pt x="653" y="242"/>
                        </a:lnTo>
                        <a:lnTo>
                          <a:pt x="651" y="242"/>
                        </a:lnTo>
                        <a:lnTo>
                          <a:pt x="648" y="239"/>
                        </a:lnTo>
                        <a:lnTo>
                          <a:pt x="646" y="237"/>
                        </a:lnTo>
                        <a:lnTo>
                          <a:pt x="645" y="236"/>
                        </a:lnTo>
                        <a:lnTo>
                          <a:pt x="641" y="233"/>
                        </a:lnTo>
                        <a:lnTo>
                          <a:pt x="638" y="230"/>
                        </a:lnTo>
                        <a:lnTo>
                          <a:pt x="635" y="228"/>
                        </a:lnTo>
                        <a:lnTo>
                          <a:pt x="630" y="225"/>
                        </a:lnTo>
                        <a:lnTo>
                          <a:pt x="627" y="223"/>
                        </a:lnTo>
                        <a:lnTo>
                          <a:pt x="626" y="223"/>
                        </a:lnTo>
                        <a:lnTo>
                          <a:pt x="622" y="222"/>
                        </a:lnTo>
                        <a:lnTo>
                          <a:pt x="619" y="222"/>
                        </a:lnTo>
                        <a:lnTo>
                          <a:pt x="616" y="223"/>
                        </a:lnTo>
                        <a:lnTo>
                          <a:pt x="613" y="223"/>
                        </a:lnTo>
                        <a:lnTo>
                          <a:pt x="610" y="223"/>
                        </a:lnTo>
                        <a:lnTo>
                          <a:pt x="605" y="223"/>
                        </a:lnTo>
                        <a:lnTo>
                          <a:pt x="602" y="223"/>
                        </a:lnTo>
                        <a:lnTo>
                          <a:pt x="600" y="223"/>
                        </a:lnTo>
                        <a:lnTo>
                          <a:pt x="597" y="223"/>
                        </a:lnTo>
                        <a:lnTo>
                          <a:pt x="594" y="225"/>
                        </a:lnTo>
                        <a:lnTo>
                          <a:pt x="591" y="225"/>
                        </a:lnTo>
                        <a:lnTo>
                          <a:pt x="588" y="226"/>
                        </a:lnTo>
                        <a:lnTo>
                          <a:pt x="584" y="226"/>
                        </a:lnTo>
                        <a:lnTo>
                          <a:pt x="581" y="228"/>
                        </a:lnTo>
                        <a:lnTo>
                          <a:pt x="578" y="228"/>
                        </a:lnTo>
                        <a:lnTo>
                          <a:pt x="575" y="228"/>
                        </a:lnTo>
                        <a:lnTo>
                          <a:pt x="572" y="228"/>
                        </a:lnTo>
                        <a:lnTo>
                          <a:pt x="572" y="230"/>
                        </a:lnTo>
                        <a:lnTo>
                          <a:pt x="570" y="233"/>
                        </a:lnTo>
                        <a:lnTo>
                          <a:pt x="569" y="234"/>
                        </a:lnTo>
                        <a:lnTo>
                          <a:pt x="569" y="237"/>
                        </a:lnTo>
                        <a:lnTo>
                          <a:pt x="569" y="242"/>
                        </a:lnTo>
                        <a:lnTo>
                          <a:pt x="569" y="244"/>
                        </a:lnTo>
                        <a:lnTo>
                          <a:pt x="567" y="245"/>
                        </a:lnTo>
                        <a:lnTo>
                          <a:pt x="565" y="249"/>
                        </a:lnTo>
                        <a:lnTo>
                          <a:pt x="559" y="255"/>
                        </a:lnTo>
                        <a:lnTo>
                          <a:pt x="554" y="260"/>
                        </a:lnTo>
                        <a:lnTo>
                          <a:pt x="551" y="263"/>
                        </a:lnTo>
                        <a:lnTo>
                          <a:pt x="551" y="264"/>
                        </a:lnTo>
                        <a:lnTo>
                          <a:pt x="550" y="277"/>
                        </a:lnTo>
                        <a:lnTo>
                          <a:pt x="550" y="283"/>
                        </a:lnTo>
                        <a:lnTo>
                          <a:pt x="550" y="287"/>
                        </a:lnTo>
                        <a:lnTo>
                          <a:pt x="546" y="291"/>
                        </a:lnTo>
                        <a:lnTo>
                          <a:pt x="540" y="298"/>
                        </a:lnTo>
                        <a:lnTo>
                          <a:pt x="534" y="304"/>
                        </a:lnTo>
                        <a:lnTo>
                          <a:pt x="527" y="310"/>
                        </a:lnTo>
                        <a:lnTo>
                          <a:pt x="523" y="315"/>
                        </a:lnTo>
                        <a:lnTo>
                          <a:pt x="521" y="317"/>
                        </a:lnTo>
                        <a:lnTo>
                          <a:pt x="524" y="325"/>
                        </a:lnTo>
                        <a:lnTo>
                          <a:pt x="526" y="325"/>
                        </a:lnTo>
                        <a:lnTo>
                          <a:pt x="527" y="326"/>
                        </a:lnTo>
                        <a:lnTo>
                          <a:pt x="529" y="328"/>
                        </a:lnTo>
                        <a:lnTo>
                          <a:pt x="531" y="328"/>
                        </a:lnTo>
                        <a:lnTo>
                          <a:pt x="535" y="333"/>
                        </a:lnTo>
                        <a:lnTo>
                          <a:pt x="537" y="333"/>
                        </a:lnTo>
                        <a:lnTo>
                          <a:pt x="539" y="334"/>
                        </a:lnTo>
                        <a:lnTo>
                          <a:pt x="540" y="334"/>
                        </a:lnTo>
                        <a:lnTo>
                          <a:pt x="543" y="336"/>
                        </a:lnTo>
                        <a:lnTo>
                          <a:pt x="546" y="334"/>
                        </a:lnTo>
                        <a:lnTo>
                          <a:pt x="548" y="334"/>
                        </a:lnTo>
                        <a:lnTo>
                          <a:pt x="550" y="334"/>
                        </a:lnTo>
                        <a:lnTo>
                          <a:pt x="551" y="334"/>
                        </a:lnTo>
                        <a:lnTo>
                          <a:pt x="556" y="336"/>
                        </a:lnTo>
                        <a:lnTo>
                          <a:pt x="559" y="336"/>
                        </a:lnTo>
                        <a:lnTo>
                          <a:pt x="562" y="336"/>
                        </a:lnTo>
                        <a:lnTo>
                          <a:pt x="565" y="336"/>
                        </a:lnTo>
                        <a:lnTo>
                          <a:pt x="567" y="336"/>
                        </a:lnTo>
                        <a:lnTo>
                          <a:pt x="567" y="334"/>
                        </a:lnTo>
                        <a:lnTo>
                          <a:pt x="565" y="333"/>
                        </a:lnTo>
                        <a:lnTo>
                          <a:pt x="565" y="331"/>
                        </a:lnTo>
                        <a:lnTo>
                          <a:pt x="567" y="328"/>
                        </a:lnTo>
                        <a:lnTo>
                          <a:pt x="572" y="328"/>
                        </a:lnTo>
                        <a:lnTo>
                          <a:pt x="572" y="329"/>
                        </a:lnTo>
                        <a:lnTo>
                          <a:pt x="573" y="329"/>
                        </a:lnTo>
                        <a:lnTo>
                          <a:pt x="577" y="329"/>
                        </a:lnTo>
                        <a:lnTo>
                          <a:pt x="578" y="329"/>
                        </a:lnTo>
                        <a:lnTo>
                          <a:pt x="580" y="329"/>
                        </a:lnTo>
                        <a:lnTo>
                          <a:pt x="583" y="326"/>
                        </a:lnTo>
                        <a:lnTo>
                          <a:pt x="584" y="326"/>
                        </a:lnTo>
                        <a:lnTo>
                          <a:pt x="584" y="325"/>
                        </a:lnTo>
                        <a:lnTo>
                          <a:pt x="584" y="323"/>
                        </a:lnTo>
                        <a:lnTo>
                          <a:pt x="586" y="321"/>
                        </a:lnTo>
                        <a:lnTo>
                          <a:pt x="591" y="318"/>
                        </a:lnTo>
                        <a:lnTo>
                          <a:pt x="594" y="314"/>
                        </a:lnTo>
                        <a:lnTo>
                          <a:pt x="596" y="310"/>
                        </a:lnTo>
                        <a:lnTo>
                          <a:pt x="599" y="307"/>
                        </a:lnTo>
                        <a:lnTo>
                          <a:pt x="599" y="306"/>
                        </a:lnTo>
                        <a:lnTo>
                          <a:pt x="602" y="304"/>
                        </a:lnTo>
                        <a:lnTo>
                          <a:pt x="605" y="302"/>
                        </a:lnTo>
                        <a:lnTo>
                          <a:pt x="608" y="302"/>
                        </a:lnTo>
                        <a:lnTo>
                          <a:pt x="621" y="301"/>
                        </a:lnTo>
                        <a:lnTo>
                          <a:pt x="641" y="296"/>
                        </a:lnTo>
                        <a:lnTo>
                          <a:pt x="659" y="295"/>
                        </a:lnTo>
                        <a:lnTo>
                          <a:pt x="686" y="290"/>
                        </a:lnTo>
                        <a:lnTo>
                          <a:pt x="687" y="290"/>
                        </a:lnTo>
                        <a:lnTo>
                          <a:pt x="689" y="291"/>
                        </a:lnTo>
                        <a:lnTo>
                          <a:pt x="691" y="293"/>
                        </a:lnTo>
                        <a:lnTo>
                          <a:pt x="692" y="296"/>
                        </a:lnTo>
                        <a:lnTo>
                          <a:pt x="695" y="298"/>
                        </a:lnTo>
                        <a:lnTo>
                          <a:pt x="697" y="301"/>
                        </a:lnTo>
                        <a:lnTo>
                          <a:pt x="700" y="304"/>
                        </a:lnTo>
                        <a:lnTo>
                          <a:pt x="702" y="307"/>
                        </a:lnTo>
                        <a:lnTo>
                          <a:pt x="703" y="309"/>
                        </a:lnTo>
                        <a:lnTo>
                          <a:pt x="705" y="310"/>
                        </a:lnTo>
                        <a:lnTo>
                          <a:pt x="705" y="312"/>
                        </a:lnTo>
                        <a:lnTo>
                          <a:pt x="703" y="312"/>
                        </a:lnTo>
                        <a:lnTo>
                          <a:pt x="703" y="314"/>
                        </a:lnTo>
                        <a:lnTo>
                          <a:pt x="700" y="314"/>
                        </a:lnTo>
                        <a:lnTo>
                          <a:pt x="699" y="315"/>
                        </a:lnTo>
                        <a:lnTo>
                          <a:pt x="694" y="317"/>
                        </a:lnTo>
                        <a:lnTo>
                          <a:pt x="687" y="318"/>
                        </a:lnTo>
                        <a:lnTo>
                          <a:pt x="686" y="320"/>
                        </a:lnTo>
                        <a:lnTo>
                          <a:pt x="684" y="321"/>
                        </a:lnTo>
                        <a:lnTo>
                          <a:pt x="684" y="323"/>
                        </a:lnTo>
                        <a:lnTo>
                          <a:pt x="686" y="325"/>
                        </a:lnTo>
                        <a:lnTo>
                          <a:pt x="689" y="326"/>
                        </a:lnTo>
                        <a:lnTo>
                          <a:pt x="691" y="328"/>
                        </a:lnTo>
                        <a:lnTo>
                          <a:pt x="694" y="328"/>
                        </a:lnTo>
                        <a:lnTo>
                          <a:pt x="697" y="329"/>
                        </a:lnTo>
                        <a:lnTo>
                          <a:pt x="702" y="331"/>
                        </a:lnTo>
                        <a:lnTo>
                          <a:pt x="703" y="333"/>
                        </a:lnTo>
                        <a:lnTo>
                          <a:pt x="703" y="336"/>
                        </a:lnTo>
                        <a:lnTo>
                          <a:pt x="705" y="339"/>
                        </a:lnTo>
                        <a:lnTo>
                          <a:pt x="705" y="342"/>
                        </a:lnTo>
                        <a:lnTo>
                          <a:pt x="705" y="348"/>
                        </a:lnTo>
                        <a:lnTo>
                          <a:pt x="703" y="353"/>
                        </a:lnTo>
                        <a:lnTo>
                          <a:pt x="703" y="356"/>
                        </a:lnTo>
                        <a:lnTo>
                          <a:pt x="705" y="359"/>
                        </a:lnTo>
                        <a:lnTo>
                          <a:pt x="705" y="361"/>
                        </a:lnTo>
                        <a:lnTo>
                          <a:pt x="705" y="366"/>
                        </a:lnTo>
                        <a:lnTo>
                          <a:pt x="703" y="369"/>
                        </a:lnTo>
                        <a:lnTo>
                          <a:pt x="703" y="372"/>
                        </a:lnTo>
                        <a:lnTo>
                          <a:pt x="702" y="374"/>
                        </a:lnTo>
                        <a:lnTo>
                          <a:pt x="700" y="375"/>
                        </a:lnTo>
                        <a:lnTo>
                          <a:pt x="699" y="375"/>
                        </a:lnTo>
                        <a:lnTo>
                          <a:pt x="695" y="377"/>
                        </a:lnTo>
                        <a:lnTo>
                          <a:pt x="692" y="377"/>
                        </a:lnTo>
                        <a:lnTo>
                          <a:pt x="689" y="378"/>
                        </a:lnTo>
                        <a:lnTo>
                          <a:pt x="686" y="378"/>
                        </a:lnTo>
                        <a:lnTo>
                          <a:pt x="684" y="380"/>
                        </a:lnTo>
                        <a:lnTo>
                          <a:pt x="683" y="383"/>
                        </a:lnTo>
                        <a:lnTo>
                          <a:pt x="681" y="386"/>
                        </a:lnTo>
                        <a:lnTo>
                          <a:pt x="679" y="388"/>
                        </a:lnTo>
                        <a:lnTo>
                          <a:pt x="679" y="391"/>
                        </a:lnTo>
                        <a:lnTo>
                          <a:pt x="679" y="393"/>
                        </a:lnTo>
                        <a:lnTo>
                          <a:pt x="679" y="397"/>
                        </a:lnTo>
                        <a:lnTo>
                          <a:pt x="679" y="402"/>
                        </a:lnTo>
                        <a:lnTo>
                          <a:pt x="679" y="407"/>
                        </a:lnTo>
                        <a:lnTo>
                          <a:pt x="679" y="420"/>
                        </a:lnTo>
                        <a:lnTo>
                          <a:pt x="675" y="421"/>
                        </a:lnTo>
                        <a:lnTo>
                          <a:pt x="670" y="421"/>
                        </a:lnTo>
                        <a:lnTo>
                          <a:pt x="662" y="421"/>
                        </a:lnTo>
                        <a:lnTo>
                          <a:pt x="649" y="421"/>
                        </a:lnTo>
                        <a:lnTo>
                          <a:pt x="641" y="421"/>
                        </a:lnTo>
                        <a:lnTo>
                          <a:pt x="630" y="421"/>
                        </a:lnTo>
                        <a:lnTo>
                          <a:pt x="626" y="421"/>
                        </a:lnTo>
                        <a:lnTo>
                          <a:pt x="622" y="421"/>
                        </a:lnTo>
                        <a:lnTo>
                          <a:pt x="621" y="421"/>
                        </a:lnTo>
                        <a:lnTo>
                          <a:pt x="619" y="421"/>
                        </a:lnTo>
                        <a:lnTo>
                          <a:pt x="618" y="423"/>
                        </a:lnTo>
                        <a:lnTo>
                          <a:pt x="618" y="426"/>
                        </a:lnTo>
                        <a:lnTo>
                          <a:pt x="618" y="428"/>
                        </a:lnTo>
                        <a:lnTo>
                          <a:pt x="616" y="429"/>
                        </a:lnTo>
                        <a:lnTo>
                          <a:pt x="616" y="431"/>
                        </a:lnTo>
                        <a:lnTo>
                          <a:pt x="615" y="432"/>
                        </a:lnTo>
                        <a:lnTo>
                          <a:pt x="613" y="436"/>
                        </a:lnTo>
                        <a:lnTo>
                          <a:pt x="610" y="437"/>
                        </a:lnTo>
                        <a:lnTo>
                          <a:pt x="608" y="437"/>
                        </a:lnTo>
                        <a:lnTo>
                          <a:pt x="607" y="437"/>
                        </a:lnTo>
                        <a:lnTo>
                          <a:pt x="605" y="437"/>
                        </a:lnTo>
                        <a:lnTo>
                          <a:pt x="603" y="437"/>
                        </a:lnTo>
                        <a:lnTo>
                          <a:pt x="600" y="437"/>
                        </a:lnTo>
                        <a:lnTo>
                          <a:pt x="599" y="437"/>
                        </a:lnTo>
                        <a:lnTo>
                          <a:pt x="597" y="437"/>
                        </a:lnTo>
                        <a:lnTo>
                          <a:pt x="597" y="439"/>
                        </a:lnTo>
                        <a:lnTo>
                          <a:pt x="592" y="442"/>
                        </a:lnTo>
                        <a:lnTo>
                          <a:pt x="586" y="443"/>
                        </a:lnTo>
                        <a:lnTo>
                          <a:pt x="584" y="443"/>
                        </a:lnTo>
                        <a:lnTo>
                          <a:pt x="583" y="443"/>
                        </a:lnTo>
                        <a:lnTo>
                          <a:pt x="583" y="442"/>
                        </a:lnTo>
                        <a:lnTo>
                          <a:pt x="581" y="442"/>
                        </a:lnTo>
                        <a:lnTo>
                          <a:pt x="581" y="445"/>
                        </a:lnTo>
                        <a:lnTo>
                          <a:pt x="581" y="447"/>
                        </a:lnTo>
                        <a:lnTo>
                          <a:pt x="583" y="448"/>
                        </a:lnTo>
                        <a:lnTo>
                          <a:pt x="586" y="453"/>
                        </a:lnTo>
                        <a:lnTo>
                          <a:pt x="588" y="455"/>
                        </a:lnTo>
                        <a:lnTo>
                          <a:pt x="589" y="456"/>
                        </a:lnTo>
                        <a:lnTo>
                          <a:pt x="589" y="458"/>
                        </a:lnTo>
                        <a:lnTo>
                          <a:pt x="592" y="461"/>
                        </a:lnTo>
                        <a:lnTo>
                          <a:pt x="594" y="464"/>
                        </a:lnTo>
                        <a:lnTo>
                          <a:pt x="594" y="466"/>
                        </a:lnTo>
                        <a:lnTo>
                          <a:pt x="597" y="467"/>
                        </a:lnTo>
                        <a:lnTo>
                          <a:pt x="597" y="469"/>
                        </a:lnTo>
                        <a:lnTo>
                          <a:pt x="599" y="472"/>
                        </a:lnTo>
                        <a:lnTo>
                          <a:pt x="597" y="474"/>
                        </a:lnTo>
                        <a:lnTo>
                          <a:pt x="591" y="478"/>
                        </a:lnTo>
                        <a:lnTo>
                          <a:pt x="586" y="483"/>
                        </a:lnTo>
                        <a:lnTo>
                          <a:pt x="583" y="486"/>
                        </a:lnTo>
                        <a:lnTo>
                          <a:pt x="580" y="488"/>
                        </a:lnTo>
                        <a:lnTo>
                          <a:pt x="578" y="489"/>
                        </a:lnTo>
                        <a:lnTo>
                          <a:pt x="575" y="491"/>
                        </a:lnTo>
                        <a:lnTo>
                          <a:pt x="573" y="491"/>
                        </a:lnTo>
                        <a:lnTo>
                          <a:pt x="572" y="493"/>
                        </a:lnTo>
                        <a:lnTo>
                          <a:pt x="570" y="494"/>
                        </a:lnTo>
                        <a:lnTo>
                          <a:pt x="556" y="502"/>
                        </a:lnTo>
                        <a:lnTo>
                          <a:pt x="542" y="510"/>
                        </a:lnTo>
                        <a:lnTo>
                          <a:pt x="542" y="513"/>
                        </a:lnTo>
                        <a:lnTo>
                          <a:pt x="540" y="515"/>
                        </a:lnTo>
                        <a:lnTo>
                          <a:pt x="542" y="515"/>
                        </a:lnTo>
                        <a:lnTo>
                          <a:pt x="543" y="516"/>
                        </a:lnTo>
                        <a:lnTo>
                          <a:pt x="546" y="518"/>
                        </a:lnTo>
                        <a:lnTo>
                          <a:pt x="548" y="519"/>
                        </a:lnTo>
                        <a:lnTo>
                          <a:pt x="546" y="521"/>
                        </a:lnTo>
                        <a:lnTo>
                          <a:pt x="548" y="523"/>
                        </a:lnTo>
                        <a:lnTo>
                          <a:pt x="551" y="523"/>
                        </a:lnTo>
                        <a:lnTo>
                          <a:pt x="554" y="524"/>
                        </a:lnTo>
                        <a:lnTo>
                          <a:pt x="558" y="527"/>
                        </a:lnTo>
                        <a:lnTo>
                          <a:pt x="559" y="529"/>
                        </a:lnTo>
                        <a:lnTo>
                          <a:pt x="561" y="532"/>
                        </a:lnTo>
                        <a:lnTo>
                          <a:pt x="562" y="534"/>
                        </a:lnTo>
                        <a:lnTo>
                          <a:pt x="564" y="535"/>
                        </a:lnTo>
                        <a:lnTo>
                          <a:pt x="565" y="537"/>
                        </a:lnTo>
                        <a:lnTo>
                          <a:pt x="569" y="537"/>
                        </a:lnTo>
                        <a:lnTo>
                          <a:pt x="572" y="538"/>
                        </a:lnTo>
                        <a:lnTo>
                          <a:pt x="572" y="540"/>
                        </a:lnTo>
                        <a:lnTo>
                          <a:pt x="573" y="540"/>
                        </a:lnTo>
                        <a:lnTo>
                          <a:pt x="575" y="542"/>
                        </a:lnTo>
                        <a:lnTo>
                          <a:pt x="577" y="543"/>
                        </a:lnTo>
                        <a:lnTo>
                          <a:pt x="580" y="545"/>
                        </a:lnTo>
                        <a:lnTo>
                          <a:pt x="581" y="545"/>
                        </a:lnTo>
                        <a:lnTo>
                          <a:pt x="581" y="548"/>
                        </a:lnTo>
                        <a:lnTo>
                          <a:pt x="581" y="550"/>
                        </a:lnTo>
                        <a:lnTo>
                          <a:pt x="583" y="551"/>
                        </a:lnTo>
                        <a:lnTo>
                          <a:pt x="583" y="553"/>
                        </a:lnTo>
                        <a:lnTo>
                          <a:pt x="584" y="554"/>
                        </a:lnTo>
                        <a:lnTo>
                          <a:pt x="584" y="556"/>
                        </a:lnTo>
                        <a:lnTo>
                          <a:pt x="583" y="557"/>
                        </a:lnTo>
                        <a:lnTo>
                          <a:pt x="584" y="559"/>
                        </a:lnTo>
                        <a:lnTo>
                          <a:pt x="584" y="561"/>
                        </a:lnTo>
                        <a:lnTo>
                          <a:pt x="588" y="564"/>
                        </a:lnTo>
                        <a:lnTo>
                          <a:pt x="591" y="565"/>
                        </a:lnTo>
                        <a:lnTo>
                          <a:pt x="594" y="565"/>
                        </a:lnTo>
                        <a:lnTo>
                          <a:pt x="599" y="567"/>
                        </a:lnTo>
                        <a:lnTo>
                          <a:pt x="602" y="567"/>
                        </a:lnTo>
                        <a:lnTo>
                          <a:pt x="605" y="565"/>
                        </a:lnTo>
                        <a:lnTo>
                          <a:pt x="607" y="564"/>
                        </a:lnTo>
                        <a:lnTo>
                          <a:pt x="611" y="562"/>
                        </a:lnTo>
                        <a:lnTo>
                          <a:pt x="613" y="562"/>
                        </a:lnTo>
                        <a:lnTo>
                          <a:pt x="615" y="561"/>
                        </a:lnTo>
                        <a:lnTo>
                          <a:pt x="613" y="559"/>
                        </a:lnTo>
                        <a:lnTo>
                          <a:pt x="615" y="557"/>
                        </a:lnTo>
                        <a:lnTo>
                          <a:pt x="616" y="557"/>
                        </a:lnTo>
                        <a:lnTo>
                          <a:pt x="618" y="557"/>
                        </a:lnTo>
                        <a:lnTo>
                          <a:pt x="618" y="559"/>
                        </a:lnTo>
                        <a:lnTo>
                          <a:pt x="621" y="561"/>
                        </a:lnTo>
                        <a:lnTo>
                          <a:pt x="622" y="562"/>
                        </a:lnTo>
                        <a:lnTo>
                          <a:pt x="626" y="564"/>
                        </a:lnTo>
                        <a:lnTo>
                          <a:pt x="629" y="567"/>
                        </a:lnTo>
                        <a:lnTo>
                          <a:pt x="632" y="569"/>
                        </a:lnTo>
                        <a:lnTo>
                          <a:pt x="634" y="570"/>
                        </a:lnTo>
                        <a:lnTo>
                          <a:pt x="635" y="570"/>
                        </a:lnTo>
                        <a:lnTo>
                          <a:pt x="637" y="570"/>
                        </a:lnTo>
                        <a:lnTo>
                          <a:pt x="640" y="570"/>
                        </a:lnTo>
                        <a:lnTo>
                          <a:pt x="641" y="570"/>
                        </a:lnTo>
                        <a:lnTo>
                          <a:pt x="646" y="569"/>
                        </a:lnTo>
                        <a:lnTo>
                          <a:pt x="649" y="565"/>
                        </a:lnTo>
                        <a:lnTo>
                          <a:pt x="651" y="564"/>
                        </a:lnTo>
                        <a:lnTo>
                          <a:pt x="653" y="562"/>
                        </a:lnTo>
                        <a:lnTo>
                          <a:pt x="653" y="561"/>
                        </a:lnTo>
                        <a:lnTo>
                          <a:pt x="654" y="559"/>
                        </a:lnTo>
                        <a:lnTo>
                          <a:pt x="656" y="557"/>
                        </a:lnTo>
                        <a:lnTo>
                          <a:pt x="656" y="556"/>
                        </a:lnTo>
                        <a:lnTo>
                          <a:pt x="657" y="554"/>
                        </a:lnTo>
                        <a:lnTo>
                          <a:pt x="657" y="553"/>
                        </a:lnTo>
                        <a:lnTo>
                          <a:pt x="659" y="553"/>
                        </a:lnTo>
                        <a:lnTo>
                          <a:pt x="662" y="553"/>
                        </a:lnTo>
                        <a:lnTo>
                          <a:pt x="665" y="551"/>
                        </a:lnTo>
                        <a:lnTo>
                          <a:pt x="667" y="551"/>
                        </a:lnTo>
                        <a:lnTo>
                          <a:pt x="668" y="550"/>
                        </a:lnTo>
                        <a:lnTo>
                          <a:pt x="668" y="548"/>
                        </a:lnTo>
                        <a:lnTo>
                          <a:pt x="668" y="546"/>
                        </a:lnTo>
                        <a:lnTo>
                          <a:pt x="668" y="545"/>
                        </a:lnTo>
                        <a:lnTo>
                          <a:pt x="670" y="545"/>
                        </a:lnTo>
                        <a:lnTo>
                          <a:pt x="670" y="543"/>
                        </a:lnTo>
                        <a:lnTo>
                          <a:pt x="673" y="545"/>
                        </a:lnTo>
                        <a:lnTo>
                          <a:pt x="675" y="545"/>
                        </a:lnTo>
                        <a:lnTo>
                          <a:pt x="676" y="545"/>
                        </a:lnTo>
                        <a:lnTo>
                          <a:pt x="678" y="545"/>
                        </a:lnTo>
                        <a:lnTo>
                          <a:pt x="679" y="545"/>
                        </a:lnTo>
                        <a:lnTo>
                          <a:pt x="681" y="543"/>
                        </a:lnTo>
                        <a:lnTo>
                          <a:pt x="683" y="542"/>
                        </a:lnTo>
                        <a:lnTo>
                          <a:pt x="684" y="542"/>
                        </a:lnTo>
                        <a:lnTo>
                          <a:pt x="687" y="543"/>
                        </a:lnTo>
                        <a:lnTo>
                          <a:pt x="689" y="543"/>
                        </a:lnTo>
                        <a:lnTo>
                          <a:pt x="692" y="542"/>
                        </a:lnTo>
                        <a:lnTo>
                          <a:pt x="694" y="542"/>
                        </a:lnTo>
                        <a:lnTo>
                          <a:pt x="695" y="542"/>
                        </a:lnTo>
                        <a:lnTo>
                          <a:pt x="695" y="543"/>
                        </a:lnTo>
                        <a:lnTo>
                          <a:pt x="697" y="545"/>
                        </a:lnTo>
                        <a:lnTo>
                          <a:pt x="699" y="546"/>
                        </a:lnTo>
                        <a:lnTo>
                          <a:pt x="700" y="548"/>
                        </a:lnTo>
                        <a:lnTo>
                          <a:pt x="703" y="548"/>
                        </a:lnTo>
                        <a:lnTo>
                          <a:pt x="703" y="550"/>
                        </a:lnTo>
                        <a:lnTo>
                          <a:pt x="705" y="550"/>
                        </a:lnTo>
                        <a:lnTo>
                          <a:pt x="706" y="551"/>
                        </a:lnTo>
                        <a:lnTo>
                          <a:pt x="706" y="553"/>
                        </a:lnTo>
                        <a:lnTo>
                          <a:pt x="705" y="553"/>
                        </a:lnTo>
                        <a:lnTo>
                          <a:pt x="705" y="554"/>
                        </a:lnTo>
                        <a:lnTo>
                          <a:pt x="706" y="556"/>
                        </a:lnTo>
                        <a:lnTo>
                          <a:pt x="706" y="557"/>
                        </a:lnTo>
                        <a:lnTo>
                          <a:pt x="705" y="559"/>
                        </a:lnTo>
                        <a:lnTo>
                          <a:pt x="705" y="561"/>
                        </a:lnTo>
                        <a:lnTo>
                          <a:pt x="705" y="562"/>
                        </a:lnTo>
                        <a:lnTo>
                          <a:pt x="706" y="564"/>
                        </a:lnTo>
                        <a:lnTo>
                          <a:pt x="705" y="565"/>
                        </a:lnTo>
                        <a:lnTo>
                          <a:pt x="706" y="567"/>
                        </a:lnTo>
                        <a:lnTo>
                          <a:pt x="706" y="569"/>
                        </a:lnTo>
                        <a:lnTo>
                          <a:pt x="708" y="569"/>
                        </a:lnTo>
                        <a:lnTo>
                          <a:pt x="710" y="570"/>
                        </a:lnTo>
                        <a:lnTo>
                          <a:pt x="711" y="570"/>
                        </a:lnTo>
                        <a:lnTo>
                          <a:pt x="711" y="572"/>
                        </a:lnTo>
                        <a:lnTo>
                          <a:pt x="713" y="573"/>
                        </a:lnTo>
                        <a:lnTo>
                          <a:pt x="713" y="575"/>
                        </a:lnTo>
                        <a:lnTo>
                          <a:pt x="714" y="576"/>
                        </a:lnTo>
                        <a:lnTo>
                          <a:pt x="716" y="578"/>
                        </a:lnTo>
                        <a:lnTo>
                          <a:pt x="719" y="580"/>
                        </a:lnTo>
                        <a:lnTo>
                          <a:pt x="721" y="581"/>
                        </a:lnTo>
                        <a:lnTo>
                          <a:pt x="722" y="581"/>
                        </a:lnTo>
                        <a:lnTo>
                          <a:pt x="725" y="584"/>
                        </a:lnTo>
                        <a:lnTo>
                          <a:pt x="727" y="586"/>
                        </a:lnTo>
                        <a:lnTo>
                          <a:pt x="730" y="588"/>
                        </a:lnTo>
                        <a:lnTo>
                          <a:pt x="732" y="588"/>
                        </a:lnTo>
                        <a:lnTo>
                          <a:pt x="733" y="588"/>
                        </a:lnTo>
                        <a:lnTo>
                          <a:pt x="735" y="588"/>
                        </a:lnTo>
                        <a:lnTo>
                          <a:pt x="737" y="588"/>
                        </a:lnTo>
                        <a:lnTo>
                          <a:pt x="738" y="588"/>
                        </a:lnTo>
                        <a:lnTo>
                          <a:pt x="738" y="589"/>
                        </a:lnTo>
                        <a:lnTo>
                          <a:pt x="740" y="591"/>
                        </a:lnTo>
                        <a:lnTo>
                          <a:pt x="741" y="592"/>
                        </a:lnTo>
                        <a:lnTo>
                          <a:pt x="743" y="595"/>
                        </a:lnTo>
                        <a:lnTo>
                          <a:pt x="743" y="597"/>
                        </a:lnTo>
                        <a:lnTo>
                          <a:pt x="743" y="599"/>
                        </a:lnTo>
                        <a:lnTo>
                          <a:pt x="744" y="599"/>
                        </a:lnTo>
                        <a:lnTo>
                          <a:pt x="746" y="600"/>
                        </a:lnTo>
                        <a:lnTo>
                          <a:pt x="748" y="600"/>
                        </a:lnTo>
                        <a:lnTo>
                          <a:pt x="749" y="602"/>
                        </a:lnTo>
                        <a:lnTo>
                          <a:pt x="751" y="602"/>
                        </a:lnTo>
                        <a:lnTo>
                          <a:pt x="752" y="603"/>
                        </a:lnTo>
                        <a:lnTo>
                          <a:pt x="752" y="605"/>
                        </a:lnTo>
                        <a:lnTo>
                          <a:pt x="754" y="605"/>
                        </a:lnTo>
                        <a:lnTo>
                          <a:pt x="756" y="607"/>
                        </a:lnTo>
                        <a:lnTo>
                          <a:pt x="757" y="605"/>
                        </a:lnTo>
                        <a:lnTo>
                          <a:pt x="759" y="607"/>
                        </a:lnTo>
                        <a:lnTo>
                          <a:pt x="757" y="608"/>
                        </a:lnTo>
                        <a:lnTo>
                          <a:pt x="759" y="610"/>
                        </a:lnTo>
                        <a:lnTo>
                          <a:pt x="760" y="613"/>
                        </a:lnTo>
                        <a:lnTo>
                          <a:pt x="762" y="613"/>
                        </a:lnTo>
                        <a:lnTo>
                          <a:pt x="760" y="616"/>
                        </a:lnTo>
                        <a:lnTo>
                          <a:pt x="760" y="618"/>
                        </a:lnTo>
                        <a:lnTo>
                          <a:pt x="760" y="619"/>
                        </a:lnTo>
                        <a:lnTo>
                          <a:pt x="762" y="619"/>
                        </a:lnTo>
                        <a:lnTo>
                          <a:pt x="762" y="621"/>
                        </a:lnTo>
                        <a:lnTo>
                          <a:pt x="762" y="622"/>
                        </a:lnTo>
                        <a:lnTo>
                          <a:pt x="763" y="624"/>
                        </a:lnTo>
                        <a:lnTo>
                          <a:pt x="765" y="624"/>
                        </a:lnTo>
                        <a:lnTo>
                          <a:pt x="767" y="626"/>
                        </a:lnTo>
                        <a:lnTo>
                          <a:pt x="768" y="626"/>
                        </a:lnTo>
                        <a:lnTo>
                          <a:pt x="771" y="627"/>
                        </a:lnTo>
                        <a:lnTo>
                          <a:pt x="773" y="629"/>
                        </a:lnTo>
                        <a:lnTo>
                          <a:pt x="775" y="629"/>
                        </a:lnTo>
                        <a:lnTo>
                          <a:pt x="778" y="629"/>
                        </a:lnTo>
                        <a:lnTo>
                          <a:pt x="779" y="630"/>
                        </a:lnTo>
                        <a:lnTo>
                          <a:pt x="779" y="632"/>
                        </a:lnTo>
                        <a:lnTo>
                          <a:pt x="781" y="634"/>
                        </a:lnTo>
                        <a:lnTo>
                          <a:pt x="782" y="635"/>
                        </a:lnTo>
                        <a:lnTo>
                          <a:pt x="782" y="637"/>
                        </a:lnTo>
                        <a:lnTo>
                          <a:pt x="784" y="638"/>
                        </a:lnTo>
                        <a:lnTo>
                          <a:pt x="786" y="640"/>
                        </a:lnTo>
                        <a:lnTo>
                          <a:pt x="787" y="643"/>
                        </a:lnTo>
                        <a:lnTo>
                          <a:pt x="789" y="643"/>
                        </a:lnTo>
                        <a:lnTo>
                          <a:pt x="789" y="645"/>
                        </a:lnTo>
                        <a:lnTo>
                          <a:pt x="787" y="646"/>
                        </a:lnTo>
                        <a:lnTo>
                          <a:pt x="786" y="648"/>
                        </a:lnTo>
                        <a:lnTo>
                          <a:pt x="787" y="651"/>
                        </a:lnTo>
                        <a:lnTo>
                          <a:pt x="789" y="651"/>
                        </a:lnTo>
                        <a:lnTo>
                          <a:pt x="790" y="653"/>
                        </a:lnTo>
                        <a:lnTo>
                          <a:pt x="792" y="653"/>
                        </a:lnTo>
                        <a:lnTo>
                          <a:pt x="794" y="653"/>
                        </a:lnTo>
                        <a:lnTo>
                          <a:pt x="795" y="653"/>
                        </a:lnTo>
                        <a:lnTo>
                          <a:pt x="797" y="653"/>
                        </a:lnTo>
                        <a:lnTo>
                          <a:pt x="798" y="653"/>
                        </a:lnTo>
                        <a:lnTo>
                          <a:pt x="800" y="651"/>
                        </a:lnTo>
                        <a:lnTo>
                          <a:pt x="803" y="649"/>
                        </a:lnTo>
                        <a:lnTo>
                          <a:pt x="805" y="649"/>
                        </a:lnTo>
                        <a:lnTo>
                          <a:pt x="805" y="648"/>
                        </a:lnTo>
                        <a:lnTo>
                          <a:pt x="806" y="648"/>
                        </a:lnTo>
                        <a:lnTo>
                          <a:pt x="808" y="648"/>
                        </a:lnTo>
                        <a:lnTo>
                          <a:pt x="808" y="649"/>
                        </a:lnTo>
                        <a:lnTo>
                          <a:pt x="808" y="651"/>
                        </a:lnTo>
                        <a:lnTo>
                          <a:pt x="808" y="653"/>
                        </a:lnTo>
                        <a:lnTo>
                          <a:pt x="809" y="654"/>
                        </a:lnTo>
                        <a:lnTo>
                          <a:pt x="813" y="654"/>
                        </a:lnTo>
                        <a:lnTo>
                          <a:pt x="814" y="654"/>
                        </a:lnTo>
                        <a:lnTo>
                          <a:pt x="814" y="656"/>
                        </a:lnTo>
                        <a:lnTo>
                          <a:pt x="816" y="656"/>
                        </a:lnTo>
                        <a:lnTo>
                          <a:pt x="817" y="656"/>
                        </a:lnTo>
                        <a:lnTo>
                          <a:pt x="819" y="657"/>
                        </a:lnTo>
                        <a:lnTo>
                          <a:pt x="819" y="659"/>
                        </a:lnTo>
                        <a:lnTo>
                          <a:pt x="820" y="660"/>
                        </a:lnTo>
                        <a:lnTo>
                          <a:pt x="822" y="662"/>
                        </a:lnTo>
                        <a:lnTo>
                          <a:pt x="822" y="664"/>
                        </a:lnTo>
                        <a:lnTo>
                          <a:pt x="824" y="664"/>
                        </a:lnTo>
                        <a:lnTo>
                          <a:pt x="827" y="665"/>
                        </a:lnTo>
                        <a:lnTo>
                          <a:pt x="832" y="667"/>
                        </a:lnTo>
                        <a:lnTo>
                          <a:pt x="833" y="667"/>
                        </a:lnTo>
                        <a:lnTo>
                          <a:pt x="835" y="667"/>
                        </a:lnTo>
                        <a:lnTo>
                          <a:pt x="838" y="668"/>
                        </a:lnTo>
                        <a:lnTo>
                          <a:pt x="839" y="670"/>
                        </a:lnTo>
                        <a:lnTo>
                          <a:pt x="841" y="670"/>
                        </a:lnTo>
                        <a:lnTo>
                          <a:pt x="843" y="672"/>
                        </a:lnTo>
                        <a:lnTo>
                          <a:pt x="844" y="673"/>
                        </a:lnTo>
                        <a:lnTo>
                          <a:pt x="846" y="673"/>
                        </a:lnTo>
                        <a:lnTo>
                          <a:pt x="846" y="675"/>
                        </a:lnTo>
                        <a:lnTo>
                          <a:pt x="844" y="675"/>
                        </a:lnTo>
                        <a:lnTo>
                          <a:pt x="843" y="675"/>
                        </a:lnTo>
                        <a:lnTo>
                          <a:pt x="843" y="678"/>
                        </a:lnTo>
                        <a:lnTo>
                          <a:pt x="843" y="679"/>
                        </a:lnTo>
                        <a:lnTo>
                          <a:pt x="843" y="681"/>
                        </a:lnTo>
                        <a:lnTo>
                          <a:pt x="844" y="683"/>
                        </a:lnTo>
                        <a:lnTo>
                          <a:pt x="846" y="683"/>
                        </a:lnTo>
                        <a:lnTo>
                          <a:pt x="846" y="684"/>
                        </a:lnTo>
                        <a:lnTo>
                          <a:pt x="846" y="686"/>
                        </a:lnTo>
                        <a:lnTo>
                          <a:pt x="847" y="686"/>
                        </a:lnTo>
                        <a:lnTo>
                          <a:pt x="847" y="687"/>
                        </a:lnTo>
                        <a:lnTo>
                          <a:pt x="849" y="687"/>
                        </a:lnTo>
                        <a:lnTo>
                          <a:pt x="851" y="687"/>
                        </a:lnTo>
                        <a:lnTo>
                          <a:pt x="854" y="686"/>
                        </a:lnTo>
                        <a:lnTo>
                          <a:pt x="855" y="686"/>
                        </a:lnTo>
                        <a:lnTo>
                          <a:pt x="855" y="687"/>
                        </a:lnTo>
                        <a:lnTo>
                          <a:pt x="857" y="687"/>
                        </a:lnTo>
                        <a:lnTo>
                          <a:pt x="857" y="686"/>
                        </a:lnTo>
                        <a:lnTo>
                          <a:pt x="858" y="687"/>
                        </a:lnTo>
                        <a:lnTo>
                          <a:pt x="857" y="689"/>
                        </a:lnTo>
                        <a:lnTo>
                          <a:pt x="857" y="691"/>
                        </a:lnTo>
                        <a:lnTo>
                          <a:pt x="858" y="691"/>
                        </a:lnTo>
                        <a:lnTo>
                          <a:pt x="858" y="692"/>
                        </a:lnTo>
                        <a:lnTo>
                          <a:pt x="858" y="694"/>
                        </a:lnTo>
                        <a:lnTo>
                          <a:pt x="860" y="695"/>
                        </a:lnTo>
                        <a:lnTo>
                          <a:pt x="862" y="697"/>
                        </a:lnTo>
                        <a:lnTo>
                          <a:pt x="863" y="697"/>
                        </a:lnTo>
                        <a:lnTo>
                          <a:pt x="863" y="695"/>
                        </a:lnTo>
                        <a:lnTo>
                          <a:pt x="865" y="695"/>
                        </a:lnTo>
                        <a:lnTo>
                          <a:pt x="866" y="695"/>
                        </a:lnTo>
                        <a:lnTo>
                          <a:pt x="868" y="695"/>
                        </a:lnTo>
                        <a:lnTo>
                          <a:pt x="871" y="697"/>
                        </a:lnTo>
                        <a:lnTo>
                          <a:pt x="874" y="695"/>
                        </a:lnTo>
                        <a:lnTo>
                          <a:pt x="878" y="695"/>
                        </a:lnTo>
                        <a:lnTo>
                          <a:pt x="878" y="694"/>
                        </a:lnTo>
                        <a:lnTo>
                          <a:pt x="879" y="695"/>
                        </a:lnTo>
                        <a:lnTo>
                          <a:pt x="881" y="695"/>
                        </a:lnTo>
                        <a:lnTo>
                          <a:pt x="882" y="695"/>
                        </a:lnTo>
                        <a:lnTo>
                          <a:pt x="884" y="698"/>
                        </a:lnTo>
                        <a:lnTo>
                          <a:pt x="884" y="700"/>
                        </a:lnTo>
                        <a:lnTo>
                          <a:pt x="882" y="702"/>
                        </a:lnTo>
                        <a:lnTo>
                          <a:pt x="882" y="703"/>
                        </a:lnTo>
                        <a:lnTo>
                          <a:pt x="884" y="705"/>
                        </a:lnTo>
                        <a:lnTo>
                          <a:pt x="885" y="708"/>
                        </a:lnTo>
                        <a:lnTo>
                          <a:pt x="885" y="711"/>
                        </a:lnTo>
                        <a:lnTo>
                          <a:pt x="885" y="713"/>
                        </a:lnTo>
                        <a:lnTo>
                          <a:pt x="887" y="713"/>
                        </a:lnTo>
                        <a:lnTo>
                          <a:pt x="887" y="714"/>
                        </a:lnTo>
                        <a:lnTo>
                          <a:pt x="889" y="714"/>
                        </a:lnTo>
                        <a:lnTo>
                          <a:pt x="890" y="714"/>
                        </a:lnTo>
                        <a:lnTo>
                          <a:pt x="892" y="713"/>
                        </a:lnTo>
                        <a:lnTo>
                          <a:pt x="897" y="711"/>
                        </a:lnTo>
                        <a:lnTo>
                          <a:pt x="898" y="711"/>
                        </a:lnTo>
                        <a:lnTo>
                          <a:pt x="900" y="711"/>
                        </a:lnTo>
                        <a:lnTo>
                          <a:pt x="901" y="710"/>
                        </a:lnTo>
                        <a:lnTo>
                          <a:pt x="903" y="708"/>
                        </a:lnTo>
                        <a:lnTo>
                          <a:pt x="904" y="708"/>
                        </a:lnTo>
                        <a:lnTo>
                          <a:pt x="904" y="710"/>
                        </a:lnTo>
                        <a:lnTo>
                          <a:pt x="906" y="710"/>
                        </a:lnTo>
                        <a:lnTo>
                          <a:pt x="906" y="711"/>
                        </a:lnTo>
                        <a:lnTo>
                          <a:pt x="906" y="713"/>
                        </a:lnTo>
                        <a:lnTo>
                          <a:pt x="904" y="716"/>
                        </a:lnTo>
                        <a:lnTo>
                          <a:pt x="906" y="716"/>
                        </a:lnTo>
                        <a:lnTo>
                          <a:pt x="906" y="717"/>
                        </a:lnTo>
                        <a:lnTo>
                          <a:pt x="908" y="719"/>
                        </a:lnTo>
                        <a:lnTo>
                          <a:pt x="909" y="719"/>
                        </a:lnTo>
                        <a:lnTo>
                          <a:pt x="909" y="721"/>
                        </a:lnTo>
                        <a:lnTo>
                          <a:pt x="909" y="722"/>
                        </a:lnTo>
                        <a:lnTo>
                          <a:pt x="909" y="724"/>
                        </a:lnTo>
                        <a:lnTo>
                          <a:pt x="909" y="725"/>
                        </a:lnTo>
                        <a:lnTo>
                          <a:pt x="909" y="729"/>
                        </a:lnTo>
                        <a:lnTo>
                          <a:pt x="909" y="730"/>
                        </a:lnTo>
                        <a:lnTo>
                          <a:pt x="909" y="732"/>
                        </a:lnTo>
                        <a:lnTo>
                          <a:pt x="908" y="733"/>
                        </a:lnTo>
                        <a:lnTo>
                          <a:pt x="908" y="735"/>
                        </a:lnTo>
                        <a:lnTo>
                          <a:pt x="908" y="738"/>
                        </a:lnTo>
                        <a:lnTo>
                          <a:pt x="909" y="738"/>
                        </a:lnTo>
                        <a:lnTo>
                          <a:pt x="911" y="740"/>
                        </a:lnTo>
                        <a:lnTo>
                          <a:pt x="914" y="740"/>
                        </a:lnTo>
                        <a:lnTo>
                          <a:pt x="916" y="740"/>
                        </a:lnTo>
                        <a:lnTo>
                          <a:pt x="917" y="740"/>
                        </a:lnTo>
                        <a:lnTo>
                          <a:pt x="919" y="740"/>
                        </a:lnTo>
                        <a:lnTo>
                          <a:pt x="919" y="741"/>
                        </a:lnTo>
                        <a:lnTo>
                          <a:pt x="919" y="743"/>
                        </a:lnTo>
                        <a:lnTo>
                          <a:pt x="919" y="744"/>
                        </a:lnTo>
                        <a:lnTo>
                          <a:pt x="920" y="744"/>
                        </a:lnTo>
                        <a:lnTo>
                          <a:pt x="923" y="744"/>
                        </a:lnTo>
                        <a:lnTo>
                          <a:pt x="925" y="744"/>
                        </a:lnTo>
                        <a:lnTo>
                          <a:pt x="927" y="744"/>
                        </a:lnTo>
                        <a:lnTo>
                          <a:pt x="928" y="744"/>
                        </a:lnTo>
                        <a:lnTo>
                          <a:pt x="928" y="746"/>
                        </a:lnTo>
                        <a:lnTo>
                          <a:pt x="928" y="748"/>
                        </a:lnTo>
                        <a:lnTo>
                          <a:pt x="927" y="749"/>
                        </a:lnTo>
                        <a:lnTo>
                          <a:pt x="927" y="751"/>
                        </a:lnTo>
                        <a:lnTo>
                          <a:pt x="928" y="752"/>
                        </a:lnTo>
                        <a:lnTo>
                          <a:pt x="930" y="752"/>
                        </a:lnTo>
                        <a:lnTo>
                          <a:pt x="931" y="752"/>
                        </a:lnTo>
                        <a:lnTo>
                          <a:pt x="931" y="754"/>
                        </a:lnTo>
                        <a:lnTo>
                          <a:pt x="933" y="754"/>
                        </a:lnTo>
                        <a:lnTo>
                          <a:pt x="935" y="754"/>
                        </a:lnTo>
                        <a:lnTo>
                          <a:pt x="935" y="755"/>
                        </a:lnTo>
                        <a:lnTo>
                          <a:pt x="936" y="755"/>
                        </a:lnTo>
                        <a:lnTo>
                          <a:pt x="939" y="755"/>
                        </a:lnTo>
                        <a:lnTo>
                          <a:pt x="941" y="755"/>
                        </a:lnTo>
                        <a:lnTo>
                          <a:pt x="944" y="755"/>
                        </a:lnTo>
                        <a:lnTo>
                          <a:pt x="946" y="755"/>
                        </a:lnTo>
                        <a:lnTo>
                          <a:pt x="946" y="757"/>
                        </a:lnTo>
                        <a:lnTo>
                          <a:pt x="946" y="759"/>
                        </a:lnTo>
                        <a:lnTo>
                          <a:pt x="946" y="760"/>
                        </a:lnTo>
                        <a:lnTo>
                          <a:pt x="946" y="762"/>
                        </a:lnTo>
                        <a:lnTo>
                          <a:pt x="946" y="763"/>
                        </a:lnTo>
                        <a:lnTo>
                          <a:pt x="946" y="765"/>
                        </a:lnTo>
                        <a:lnTo>
                          <a:pt x="947" y="765"/>
                        </a:lnTo>
                        <a:lnTo>
                          <a:pt x="947" y="767"/>
                        </a:lnTo>
                        <a:lnTo>
                          <a:pt x="949" y="767"/>
                        </a:lnTo>
                        <a:lnTo>
                          <a:pt x="952" y="765"/>
                        </a:lnTo>
                        <a:lnTo>
                          <a:pt x="954" y="763"/>
                        </a:lnTo>
                        <a:lnTo>
                          <a:pt x="955" y="765"/>
                        </a:lnTo>
                        <a:lnTo>
                          <a:pt x="958" y="763"/>
                        </a:lnTo>
                        <a:lnTo>
                          <a:pt x="960" y="763"/>
                        </a:lnTo>
                        <a:lnTo>
                          <a:pt x="961" y="763"/>
                        </a:lnTo>
                        <a:lnTo>
                          <a:pt x="963" y="763"/>
                        </a:lnTo>
                        <a:lnTo>
                          <a:pt x="965" y="763"/>
                        </a:lnTo>
                        <a:lnTo>
                          <a:pt x="966" y="763"/>
                        </a:lnTo>
                        <a:lnTo>
                          <a:pt x="969" y="763"/>
                        </a:lnTo>
                        <a:lnTo>
                          <a:pt x="971" y="763"/>
                        </a:lnTo>
                        <a:lnTo>
                          <a:pt x="971" y="765"/>
                        </a:lnTo>
                        <a:lnTo>
                          <a:pt x="971" y="767"/>
                        </a:lnTo>
                        <a:lnTo>
                          <a:pt x="973" y="768"/>
                        </a:lnTo>
                        <a:lnTo>
                          <a:pt x="974" y="770"/>
                        </a:lnTo>
                        <a:lnTo>
                          <a:pt x="976" y="770"/>
                        </a:lnTo>
                        <a:lnTo>
                          <a:pt x="976" y="771"/>
                        </a:lnTo>
                        <a:lnTo>
                          <a:pt x="977" y="771"/>
                        </a:lnTo>
                        <a:lnTo>
                          <a:pt x="977" y="773"/>
                        </a:lnTo>
                        <a:lnTo>
                          <a:pt x="979" y="773"/>
                        </a:lnTo>
                        <a:lnTo>
                          <a:pt x="980" y="774"/>
                        </a:lnTo>
                        <a:lnTo>
                          <a:pt x="980" y="776"/>
                        </a:lnTo>
                        <a:lnTo>
                          <a:pt x="982" y="776"/>
                        </a:lnTo>
                        <a:lnTo>
                          <a:pt x="982" y="778"/>
                        </a:lnTo>
                        <a:lnTo>
                          <a:pt x="982" y="779"/>
                        </a:lnTo>
                        <a:lnTo>
                          <a:pt x="982" y="781"/>
                        </a:lnTo>
                        <a:lnTo>
                          <a:pt x="982" y="782"/>
                        </a:lnTo>
                        <a:lnTo>
                          <a:pt x="984" y="784"/>
                        </a:lnTo>
                        <a:lnTo>
                          <a:pt x="985" y="786"/>
                        </a:lnTo>
                        <a:lnTo>
                          <a:pt x="987" y="787"/>
                        </a:lnTo>
                        <a:lnTo>
                          <a:pt x="987" y="789"/>
                        </a:lnTo>
                        <a:lnTo>
                          <a:pt x="988" y="789"/>
                        </a:lnTo>
                        <a:lnTo>
                          <a:pt x="988" y="792"/>
                        </a:lnTo>
                        <a:lnTo>
                          <a:pt x="990" y="792"/>
                        </a:lnTo>
                        <a:lnTo>
                          <a:pt x="990" y="793"/>
                        </a:lnTo>
                        <a:lnTo>
                          <a:pt x="992" y="793"/>
                        </a:lnTo>
                        <a:lnTo>
                          <a:pt x="993" y="795"/>
                        </a:lnTo>
                        <a:lnTo>
                          <a:pt x="995" y="797"/>
                        </a:lnTo>
                        <a:lnTo>
                          <a:pt x="996" y="797"/>
                        </a:lnTo>
                        <a:lnTo>
                          <a:pt x="998" y="797"/>
                        </a:lnTo>
                        <a:lnTo>
                          <a:pt x="998" y="798"/>
                        </a:lnTo>
                        <a:lnTo>
                          <a:pt x="995" y="801"/>
                        </a:lnTo>
                        <a:lnTo>
                          <a:pt x="992" y="805"/>
                        </a:lnTo>
                        <a:lnTo>
                          <a:pt x="988" y="808"/>
                        </a:lnTo>
                        <a:lnTo>
                          <a:pt x="985" y="811"/>
                        </a:lnTo>
                        <a:lnTo>
                          <a:pt x="982" y="811"/>
                        </a:lnTo>
                        <a:lnTo>
                          <a:pt x="979" y="811"/>
                        </a:lnTo>
                        <a:lnTo>
                          <a:pt x="976" y="809"/>
                        </a:lnTo>
                        <a:lnTo>
                          <a:pt x="974" y="809"/>
                        </a:lnTo>
                        <a:lnTo>
                          <a:pt x="973" y="809"/>
                        </a:lnTo>
                        <a:lnTo>
                          <a:pt x="971" y="809"/>
                        </a:lnTo>
                        <a:lnTo>
                          <a:pt x="969" y="811"/>
                        </a:lnTo>
                        <a:lnTo>
                          <a:pt x="969" y="813"/>
                        </a:lnTo>
                        <a:lnTo>
                          <a:pt x="968" y="814"/>
                        </a:lnTo>
                        <a:lnTo>
                          <a:pt x="968" y="817"/>
                        </a:lnTo>
                        <a:lnTo>
                          <a:pt x="966" y="819"/>
                        </a:lnTo>
                        <a:lnTo>
                          <a:pt x="965" y="820"/>
                        </a:lnTo>
                        <a:lnTo>
                          <a:pt x="961" y="822"/>
                        </a:lnTo>
                        <a:lnTo>
                          <a:pt x="961" y="824"/>
                        </a:lnTo>
                        <a:lnTo>
                          <a:pt x="960" y="827"/>
                        </a:lnTo>
                        <a:lnTo>
                          <a:pt x="960" y="828"/>
                        </a:lnTo>
                        <a:lnTo>
                          <a:pt x="957" y="832"/>
                        </a:lnTo>
                        <a:lnTo>
                          <a:pt x="955" y="833"/>
                        </a:lnTo>
                        <a:lnTo>
                          <a:pt x="954" y="835"/>
                        </a:lnTo>
                        <a:lnTo>
                          <a:pt x="952" y="836"/>
                        </a:lnTo>
                        <a:lnTo>
                          <a:pt x="950" y="836"/>
                        </a:lnTo>
                        <a:lnTo>
                          <a:pt x="949" y="836"/>
                        </a:lnTo>
                        <a:lnTo>
                          <a:pt x="947" y="836"/>
                        </a:lnTo>
                        <a:lnTo>
                          <a:pt x="946" y="836"/>
                        </a:lnTo>
                        <a:lnTo>
                          <a:pt x="944" y="838"/>
                        </a:lnTo>
                        <a:lnTo>
                          <a:pt x="942" y="841"/>
                        </a:lnTo>
                        <a:lnTo>
                          <a:pt x="941" y="844"/>
                        </a:lnTo>
                        <a:lnTo>
                          <a:pt x="938" y="846"/>
                        </a:lnTo>
                        <a:lnTo>
                          <a:pt x="935" y="847"/>
                        </a:lnTo>
                        <a:lnTo>
                          <a:pt x="931" y="847"/>
                        </a:lnTo>
                        <a:lnTo>
                          <a:pt x="927" y="847"/>
                        </a:lnTo>
                        <a:lnTo>
                          <a:pt x="920" y="851"/>
                        </a:lnTo>
                        <a:lnTo>
                          <a:pt x="917" y="854"/>
                        </a:lnTo>
                        <a:lnTo>
                          <a:pt x="912" y="855"/>
                        </a:lnTo>
                        <a:lnTo>
                          <a:pt x="908" y="857"/>
                        </a:lnTo>
                        <a:lnTo>
                          <a:pt x="903" y="860"/>
                        </a:lnTo>
                        <a:lnTo>
                          <a:pt x="900" y="863"/>
                        </a:lnTo>
                        <a:lnTo>
                          <a:pt x="898" y="866"/>
                        </a:lnTo>
                        <a:lnTo>
                          <a:pt x="895" y="866"/>
                        </a:lnTo>
                        <a:lnTo>
                          <a:pt x="892" y="868"/>
                        </a:lnTo>
                        <a:lnTo>
                          <a:pt x="889" y="870"/>
                        </a:lnTo>
                        <a:lnTo>
                          <a:pt x="885" y="871"/>
                        </a:lnTo>
                        <a:lnTo>
                          <a:pt x="882" y="874"/>
                        </a:lnTo>
                        <a:lnTo>
                          <a:pt x="881" y="877"/>
                        </a:lnTo>
                        <a:lnTo>
                          <a:pt x="878" y="882"/>
                        </a:lnTo>
                        <a:lnTo>
                          <a:pt x="876" y="889"/>
                        </a:lnTo>
                        <a:lnTo>
                          <a:pt x="873" y="892"/>
                        </a:lnTo>
                        <a:lnTo>
                          <a:pt x="870" y="893"/>
                        </a:lnTo>
                        <a:lnTo>
                          <a:pt x="866" y="893"/>
                        </a:lnTo>
                        <a:lnTo>
                          <a:pt x="863" y="893"/>
                        </a:lnTo>
                        <a:lnTo>
                          <a:pt x="860" y="893"/>
                        </a:lnTo>
                        <a:lnTo>
                          <a:pt x="857" y="893"/>
                        </a:lnTo>
                        <a:lnTo>
                          <a:pt x="855" y="893"/>
                        </a:lnTo>
                        <a:lnTo>
                          <a:pt x="852" y="892"/>
                        </a:lnTo>
                        <a:lnTo>
                          <a:pt x="851" y="889"/>
                        </a:lnTo>
                        <a:lnTo>
                          <a:pt x="849" y="885"/>
                        </a:lnTo>
                        <a:lnTo>
                          <a:pt x="847" y="885"/>
                        </a:lnTo>
                        <a:lnTo>
                          <a:pt x="846" y="887"/>
                        </a:lnTo>
                        <a:lnTo>
                          <a:pt x="844" y="887"/>
                        </a:lnTo>
                        <a:lnTo>
                          <a:pt x="841" y="887"/>
                        </a:lnTo>
                        <a:lnTo>
                          <a:pt x="841" y="889"/>
                        </a:lnTo>
                        <a:lnTo>
                          <a:pt x="839" y="890"/>
                        </a:lnTo>
                        <a:lnTo>
                          <a:pt x="838" y="892"/>
                        </a:lnTo>
                        <a:lnTo>
                          <a:pt x="836" y="892"/>
                        </a:lnTo>
                        <a:lnTo>
                          <a:pt x="835" y="892"/>
                        </a:lnTo>
                        <a:lnTo>
                          <a:pt x="835" y="893"/>
                        </a:lnTo>
                        <a:lnTo>
                          <a:pt x="835" y="895"/>
                        </a:lnTo>
                        <a:lnTo>
                          <a:pt x="832" y="896"/>
                        </a:lnTo>
                        <a:lnTo>
                          <a:pt x="830" y="900"/>
                        </a:lnTo>
                        <a:lnTo>
                          <a:pt x="830" y="904"/>
                        </a:lnTo>
                        <a:lnTo>
                          <a:pt x="828" y="908"/>
                        </a:lnTo>
                        <a:lnTo>
                          <a:pt x="827" y="912"/>
                        </a:lnTo>
                        <a:lnTo>
                          <a:pt x="825" y="917"/>
                        </a:lnTo>
                        <a:lnTo>
                          <a:pt x="824" y="920"/>
                        </a:lnTo>
                        <a:lnTo>
                          <a:pt x="820" y="923"/>
                        </a:lnTo>
                        <a:lnTo>
                          <a:pt x="819" y="925"/>
                        </a:lnTo>
                        <a:lnTo>
                          <a:pt x="819" y="928"/>
                        </a:lnTo>
                        <a:lnTo>
                          <a:pt x="819" y="930"/>
                        </a:lnTo>
                        <a:lnTo>
                          <a:pt x="819" y="933"/>
                        </a:lnTo>
                        <a:lnTo>
                          <a:pt x="819" y="936"/>
                        </a:lnTo>
                        <a:lnTo>
                          <a:pt x="820" y="941"/>
                        </a:lnTo>
                        <a:lnTo>
                          <a:pt x="820" y="944"/>
                        </a:lnTo>
                        <a:lnTo>
                          <a:pt x="822" y="947"/>
                        </a:lnTo>
                        <a:lnTo>
                          <a:pt x="822" y="952"/>
                        </a:lnTo>
                        <a:lnTo>
                          <a:pt x="820" y="955"/>
                        </a:lnTo>
                        <a:lnTo>
                          <a:pt x="817" y="958"/>
                        </a:lnTo>
                        <a:lnTo>
                          <a:pt x="814" y="960"/>
                        </a:lnTo>
                        <a:lnTo>
                          <a:pt x="811" y="961"/>
                        </a:lnTo>
                        <a:lnTo>
                          <a:pt x="808" y="963"/>
                        </a:lnTo>
                        <a:lnTo>
                          <a:pt x="806" y="966"/>
                        </a:lnTo>
                        <a:lnTo>
                          <a:pt x="806" y="969"/>
                        </a:lnTo>
                        <a:lnTo>
                          <a:pt x="805" y="974"/>
                        </a:lnTo>
                        <a:lnTo>
                          <a:pt x="805" y="979"/>
                        </a:lnTo>
                        <a:lnTo>
                          <a:pt x="805" y="980"/>
                        </a:lnTo>
                        <a:lnTo>
                          <a:pt x="805" y="984"/>
                        </a:lnTo>
                        <a:lnTo>
                          <a:pt x="805" y="985"/>
                        </a:lnTo>
                        <a:lnTo>
                          <a:pt x="805" y="988"/>
                        </a:lnTo>
                        <a:lnTo>
                          <a:pt x="805" y="990"/>
                        </a:lnTo>
                        <a:lnTo>
                          <a:pt x="806" y="993"/>
                        </a:lnTo>
                        <a:lnTo>
                          <a:pt x="806" y="995"/>
                        </a:lnTo>
                        <a:lnTo>
                          <a:pt x="806" y="996"/>
                        </a:lnTo>
                        <a:lnTo>
                          <a:pt x="805" y="999"/>
                        </a:lnTo>
                        <a:lnTo>
                          <a:pt x="801" y="1001"/>
                        </a:lnTo>
                        <a:lnTo>
                          <a:pt x="797" y="1007"/>
                        </a:lnTo>
                        <a:lnTo>
                          <a:pt x="792" y="1012"/>
                        </a:lnTo>
                        <a:lnTo>
                          <a:pt x="789" y="1017"/>
                        </a:lnTo>
                        <a:lnTo>
                          <a:pt x="784" y="1023"/>
                        </a:lnTo>
                        <a:lnTo>
                          <a:pt x="782" y="1025"/>
                        </a:lnTo>
                        <a:lnTo>
                          <a:pt x="781" y="1028"/>
                        </a:lnTo>
                        <a:lnTo>
                          <a:pt x="781" y="1030"/>
                        </a:lnTo>
                        <a:lnTo>
                          <a:pt x="781" y="1031"/>
                        </a:lnTo>
                        <a:lnTo>
                          <a:pt x="781" y="1033"/>
                        </a:lnTo>
                        <a:lnTo>
                          <a:pt x="784" y="1033"/>
                        </a:lnTo>
                        <a:lnTo>
                          <a:pt x="786" y="1033"/>
                        </a:lnTo>
                        <a:lnTo>
                          <a:pt x="786" y="1034"/>
                        </a:lnTo>
                        <a:lnTo>
                          <a:pt x="787" y="1034"/>
                        </a:lnTo>
                        <a:lnTo>
                          <a:pt x="790" y="1034"/>
                        </a:lnTo>
                        <a:lnTo>
                          <a:pt x="792" y="1033"/>
                        </a:lnTo>
                        <a:lnTo>
                          <a:pt x="794" y="1033"/>
                        </a:lnTo>
                        <a:lnTo>
                          <a:pt x="795" y="1033"/>
                        </a:lnTo>
                        <a:lnTo>
                          <a:pt x="797" y="1033"/>
                        </a:lnTo>
                        <a:lnTo>
                          <a:pt x="797" y="1034"/>
                        </a:lnTo>
                        <a:lnTo>
                          <a:pt x="797" y="1036"/>
                        </a:lnTo>
                        <a:lnTo>
                          <a:pt x="797" y="1037"/>
                        </a:lnTo>
                        <a:lnTo>
                          <a:pt x="795" y="1037"/>
                        </a:lnTo>
                        <a:lnTo>
                          <a:pt x="795" y="1039"/>
                        </a:lnTo>
                        <a:lnTo>
                          <a:pt x="797" y="1041"/>
                        </a:lnTo>
                        <a:lnTo>
                          <a:pt x="797" y="1039"/>
                        </a:lnTo>
                        <a:lnTo>
                          <a:pt x="798" y="1041"/>
                        </a:lnTo>
                        <a:lnTo>
                          <a:pt x="800" y="1041"/>
                        </a:lnTo>
                        <a:lnTo>
                          <a:pt x="801" y="1042"/>
                        </a:lnTo>
                        <a:lnTo>
                          <a:pt x="803" y="1042"/>
                        </a:lnTo>
                        <a:lnTo>
                          <a:pt x="805" y="1042"/>
                        </a:lnTo>
                        <a:lnTo>
                          <a:pt x="806" y="1044"/>
                        </a:lnTo>
                        <a:lnTo>
                          <a:pt x="809" y="1045"/>
                        </a:lnTo>
                        <a:lnTo>
                          <a:pt x="813" y="1045"/>
                        </a:lnTo>
                        <a:lnTo>
                          <a:pt x="814" y="1047"/>
                        </a:lnTo>
                        <a:lnTo>
                          <a:pt x="814" y="1049"/>
                        </a:lnTo>
                        <a:lnTo>
                          <a:pt x="814" y="1050"/>
                        </a:lnTo>
                        <a:lnTo>
                          <a:pt x="813" y="1052"/>
                        </a:lnTo>
                        <a:lnTo>
                          <a:pt x="814" y="1055"/>
                        </a:lnTo>
                        <a:lnTo>
                          <a:pt x="814" y="1056"/>
                        </a:lnTo>
                        <a:lnTo>
                          <a:pt x="816" y="1056"/>
                        </a:lnTo>
                        <a:lnTo>
                          <a:pt x="817" y="1056"/>
                        </a:lnTo>
                        <a:lnTo>
                          <a:pt x="817" y="1058"/>
                        </a:lnTo>
                        <a:lnTo>
                          <a:pt x="819" y="1058"/>
                        </a:lnTo>
                        <a:lnTo>
                          <a:pt x="820" y="1058"/>
                        </a:lnTo>
                        <a:lnTo>
                          <a:pt x="822" y="1058"/>
                        </a:lnTo>
                        <a:lnTo>
                          <a:pt x="822" y="1060"/>
                        </a:lnTo>
                        <a:lnTo>
                          <a:pt x="824" y="1060"/>
                        </a:lnTo>
                        <a:lnTo>
                          <a:pt x="824" y="1058"/>
                        </a:lnTo>
                        <a:lnTo>
                          <a:pt x="825" y="1056"/>
                        </a:lnTo>
                        <a:lnTo>
                          <a:pt x="825" y="1055"/>
                        </a:lnTo>
                        <a:lnTo>
                          <a:pt x="827" y="1055"/>
                        </a:lnTo>
                        <a:lnTo>
                          <a:pt x="830" y="1055"/>
                        </a:lnTo>
                        <a:lnTo>
                          <a:pt x="832" y="1055"/>
                        </a:lnTo>
                        <a:lnTo>
                          <a:pt x="833" y="1053"/>
                        </a:lnTo>
                        <a:lnTo>
                          <a:pt x="835" y="1053"/>
                        </a:lnTo>
                        <a:lnTo>
                          <a:pt x="836" y="1053"/>
                        </a:lnTo>
                        <a:lnTo>
                          <a:pt x="838" y="1053"/>
                        </a:lnTo>
                        <a:lnTo>
                          <a:pt x="839" y="1055"/>
                        </a:lnTo>
                        <a:lnTo>
                          <a:pt x="841" y="1056"/>
                        </a:lnTo>
                        <a:lnTo>
                          <a:pt x="841" y="1058"/>
                        </a:lnTo>
                        <a:lnTo>
                          <a:pt x="839" y="1060"/>
                        </a:lnTo>
                        <a:lnTo>
                          <a:pt x="838" y="1060"/>
                        </a:lnTo>
                        <a:lnTo>
                          <a:pt x="838" y="1061"/>
                        </a:lnTo>
                        <a:lnTo>
                          <a:pt x="838" y="1063"/>
                        </a:lnTo>
                        <a:lnTo>
                          <a:pt x="838" y="1064"/>
                        </a:lnTo>
                        <a:lnTo>
                          <a:pt x="838" y="1066"/>
                        </a:lnTo>
                        <a:lnTo>
                          <a:pt x="839" y="1068"/>
                        </a:lnTo>
                        <a:lnTo>
                          <a:pt x="841" y="1068"/>
                        </a:lnTo>
                        <a:lnTo>
                          <a:pt x="843" y="1069"/>
                        </a:lnTo>
                        <a:lnTo>
                          <a:pt x="844" y="1069"/>
                        </a:lnTo>
                        <a:lnTo>
                          <a:pt x="846" y="1068"/>
                        </a:lnTo>
                        <a:lnTo>
                          <a:pt x="847" y="1066"/>
                        </a:lnTo>
                        <a:lnTo>
                          <a:pt x="849" y="1064"/>
                        </a:lnTo>
                        <a:lnTo>
                          <a:pt x="852" y="1066"/>
                        </a:lnTo>
                        <a:lnTo>
                          <a:pt x="855" y="1069"/>
                        </a:lnTo>
                        <a:lnTo>
                          <a:pt x="855" y="1071"/>
                        </a:lnTo>
                        <a:lnTo>
                          <a:pt x="854" y="1071"/>
                        </a:lnTo>
                        <a:lnTo>
                          <a:pt x="852" y="1072"/>
                        </a:lnTo>
                        <a:lnTo>
                          <a:pt x="852" y="1074"/>
                        </a:lnTo>
                        <a:lnTo>
                          <a:pt x="852" y="1075"/>
                        </a:lnTo>
                        <a:lnTo>
                          <a:pt x="854" y="1075"/>
                        </a:lnTo>
                        <a:lnTo>
                          <a:pt x="855" y="1077"/>
                        </a:lnTo>
                        <a:lnTo>
                          <a:pt x="857" y="1079"/>
                        </a:lnTo>
                        <a:lnTo>
                          <a:pt x="858" y="1079"/>
                        </a:lnTo>
                        <a:lnTo>
                          <a:pt x="860" y="1079"/>
                        </a:lnTo>
                        <a:lnTo>
                          <a:pt x="862" y="1079"/>
                        </a:lnTo>
                        <a:lnTo>
                          <a:pt x="863" y="1079"/>
                        </a:lnTo>
                        <a:lnTo>
                          <a:pt x="866" y="1077"/>
                        </a:lnTo>
                        <a:lnTo>
                          <a:pt x="868" y="1075"/>
                        </a:lnTo>
                        <a:lnTo>
                          <a:pt x="870" y="1075"/>
                        </a:lnTo>
                        <a:lnTo>
                          <a:pt x="871" y="1074"/>
                        </a:lnTo>
                        <a:lnTo>
                          <a:pt x="874" y="1074"/>
                        </a:lnTo>
                        <a:lnTo>
                          <a:pt x="876" y="1074"/>
                        </a:lnTo>
                        <a:lnTo>
                          <a:pt x="878" y="1075"/>
                        </a:lnTo>
                        <a:lnTo>
                          <a:pt x="879" y="1077"/>
                        </a:lnTo>
                        <a:lnTo>
                          <a:pt x="879" y="1079"/>
                        </a:lnTo>
                        <a:lnTo>
                          <a:pt x="882" y="1079"/>
                        </a:lnTo>
                        <a:lnTo>
                          <a:pt x="882" y="1077"/>
                        </a:lnTo>
                        <a:lnTo>
                          <a:pt x="884" y="1077"/>
                        </a:lnTo>
                        <a:lnTo>
                          <a:pt x="885" y="1077"/>
                        </a:lnTo>
                        <a:lnTo>
                          <a:pt x="887" y="1077"/>
                        </a:lnTo>
                        <a:lnTo>
                          <a:pt x="889" y="1075"/>
                        </a:lnTo>
                        <a:lnTo>
                          <a:pt x="890" y="1075"/>
                        </a:lnTo>
                        <a:lnTo>
                          <a:pt x="892" y="1075"/>
                        </a:lnTo>
                        <a:lnTo>
                          <a:pt x="893" y="1075"/>
                        </a:lnTo>
                        <a:lnTo>
                          <a:pt x="895" y="1075"/>
                        </a:lnTo>
                        <a:lnTo>
                          <a:pt x="895" y="1077"/>
                        </a:lnTo>
                        <a:lnTo>
                          <a:pt x="897" y="1077"/>
                        </a:lnTo>
                        <a:lnTo>
                          <a:pt x="897" y="1079"/>
                        </a:lnTo>
                        <a:lnTo>
                          <a:pt x="895" y="1079"/>
                        </a:lnTo>
                        <a:lnTo>
                          <a:pt x="895" y="1080"/>
                        </a:lnTo>
                        <a:lnTo>
                          <a:pt x="895" y="1082"/>
                        </a:lnTo>
                        <a:lnTo>
                          <a:pt x="893" y="1082"/>
                        </a:lnTo>
                        <a:lnTo>
                          <a:pt x="893" y="1083"/>
                        </a:lnTo>
                        <a:lnTo>
                          <a:pt x="890" y="1083"/>
                        </a:lnTo>
                        <a:lnTo>
                          <a:pt x="890" y="1087"/>
                        </a:lnTo>
                        <a:lnTo>
                          <a:pt x="890" y="1088"/>
                        </a:lnTo>
                        <a:lnTo>
                          <a:pt x="892" y="1090"/>
                        </a:lnTo>
                        <a:lnTo>
                          <a:pt x="895" y="1091"/>
                        </a:lnTo>
                        <a:lnTo>
                          <a:pt x="897" y="1093"/>
                        </a:lnTo>
                        <a:lnTo>
                          <a:pt x="898" y="1094"/>
                        </a:lnTo>
                        <a:lnTo>
                          <a:pt x="900" y="1096"/>
                        </a:lnTo>
                        <a:lnTo>
                          <a:pt x="901" y="1096"/>
                        </a:lnTo>
                        <a:lnTo>
                          <a:pt x="901" y="1098"/>
                        </a:lnTo>
                        <a:lnTo>
                          <a:pt x="901" y="1099"/>
                        </a:lnTo>
                        <a:lnTo>
                          <a:pt x="903" y="1099"/>
                        </a:lnTo>
                        <a:lnTo>
                          <a:pt x="904" y="1101"/>
                        </a:lnTo>
                        <a:lnTo>
                          <a:pt x="908" y="1104"/>
                        </a:lnTo>
                        <a:lnTo>
                          <a:pt x="909" y="1106"/>
                        </a:lnTo>
                        <a:lnTo>
                          <a:pt x="911" y="1106"/>
                        </a:lnTo>
                        <a:lnTo>
                          <a:pt x="912" y="1106"/>
                        </a:lnTo>
                        <a:lnTo>
                          <a:pt x="914" y="1107"/>
                        </a:lnTo>
                        <a:lnTo>
                          <a:pt x="916" y="1109"/>
                        </a:lnTo>
                        <a:lnTo>
                          <a:pt x="916" y="1110"/>
                        </a:lnTo>
                        <a:lnTo>
                          <a:pt x="917" y="1110"/>
                        </a:lnTo>
                        <a:lnTo>
                          <a:pt x="920" y="1109"/>
                        </a:lnTo>
                        <a:lnTo>
                          <a:pt x="922" y="1109"/>
                        </a:lnTo>
                        <a:lnTo>
                          <a:pt x="922" y="1107"/>
                        </a:lnTo>
                        <a:lnTo>
                          <a:pt x="923" y="1106"/>
                        </a:lnTo>
                        <a:lnTo>
                          <a:pt x="923" y="1104"/>
                        </a:lnTo>
                        <a:lnTo>
                          <a:pt x="923" y="1102"/>
                        </a:lnTo>
                        <a:lnTo>
                          <a:pt x="923" y="1101"/>
                        </a:lnTo>
                        <a:lnTo>
                          <a:pt x="927" y="1099"/>
                        </a:lnTo>
                        <a:lnTo>
                          <a:pt x="928" y="1099"/>
                        </a:lnTo>
                        <a:lnTo>
                          <a:pt x="930" y="1099"/>
                        </a:lnTo>
                        <a:lnTo>
                          <a:pt x="930" y="1101"/>
                        </a:lnTo>
                        <a:lnTo>
                          <a:pt x="931" y="1101"/>
                        </a:lnTo>
                        <a:lnTo>
                          <a:pt x="931" y="1102"/>
                        </a:lnTo>
                        <a:lnTo>
                          <a:pt x="930" y="1102"/>
                        </a:lnTo>
                        <a:lnTo>
                          <a:pt x="928" y="1102"/>
                        </a:lnTo>
                        <a:lnTo>
                          <a:pt x="928" y="1104"/>
                        </a:lnTo>
                        <a:lnTo>
                          <a:pt x="930" y="1107"/>
                        </a:lnTo>
                        <a:lnTo>
                          <a:pt x="930" y="1109"/>
                        </a:lnTo>
                        <a:lnTo>
                          <a:pt x="930" y="1110"/>
                        </a:lnTo>
                        <a:lnTo>
                          <a:pt x="927" y="1112"/>
                        </a:lnTo>
                        <a:lnTo>
                          <a:pt x="925" y="1112"/>
                        </a:lnTo>
                        <a:lnTo>
                          <a:pt x="923" y="1113"/>
                        </a:lnTo>
                        <a:lnTo>
                          <a:pt x="922" y="1115"/>
                        </a:lnTo>
                        <a:lnTo>
                          <a:pt x="922" y="1117"/>
                        </a:lnTo>
                        <a:lnTo>
                          <a:pt x="923" y="1118"/>
                        </a:lnTo>
                        <a:lnTo>
                          <a:pt x="925" y="1118"/>
                        </a:lnTo>
                        <a:lnTo>
                          <a:pt x="925" y="1120"/>
                        </a:lnTo>
                        <a:lnTo>
                          <a:pt x="927" y="1121"/>
                        </a:lnTo>
                        <a:lnTo>
                          <a:pt x="925" y="1126"/>
                        </a:lnTo>
                        <a:lnTo>
                          <a:pt x="923" y="1125"/>
                        </a:lnTo>
                        <a:lnTo>
                          <a:pt x="922" y="1123"/>
                        </a:lnTo>
                        <a:lnTo>
                          <a:pt x="919" y="1123"/>
                        </a:lnTo>
                        <a:lnTo>
                          <a:pt x="911" y="1123"/>
                        </a:lnTo>
                        <a:lnTo>
                          <a:pt x="904" y="1123"/>
                        </a:lnTo>
                        <a:lnTo>
                          <a:pt x="897" y="1125"/>
                        </a:lnTo>
                        <a:lnTo>
                          <a:pt x="889" y="1125"/>
                        </a:lnTo>
                        <a:lnTo>
                          <a:pt x="885" y="1125"/>
                        </a:lnTo>
                        <a:lnTo>
                          <a:pt x="874" y="1123"/>
                        </a:lnTo>
                        <a:lnTo>
                          <a:pt x="866" y="1125"/>
                        </a:lnTo>
                        <a:lnTo>
                          <a:pt x="860" y="1123"/>
                        </a:lnTo>
                        <a:lnTo>
                          <a:pt x="827" y="1123"/>
                        </a:lnTo>
                        <a:lnTo>
                          <a:pt x="825" y="1126"/>
                        </a:lnTo>
                        <a:lnTo>
                          <a:pt x="825" y="1129"/>
                        </a:lnTo>
                        <a:lnTo>
                          <a:pt x="827" y="1132"/>
                        </a:lnTo>
                        <a:lnTo>
                          <a:pt x="827" y="1134"/>
                        </a:lnTo>
                        <a:lnTo>
                          <a:pt x="825" y="1137"/>
                        </a:lnTo>
                        <a:lnTo>
                          <a:pt x="825" y="1140"/>
                        </a:lnTo>
                        <a:lnTo>
                          <a:pt x="824" y="1142"/>
                        </a:lnTo>
                        <a:lnTo>
                          <a:pt x="813" y="1140"/>
                        </a:lnTo>
                        <a:lnTo>
                          <a:pt x="808" y="1140"/>
                        </a:lnTo>
                        <a:lnTo>
                          <a:pt x="806" y="1142"/>
                        </a:lnTo>
                        <a:lnTo>
                          <a:pt x="800" y="1139"/>
                        </a:lnTo>
                        <a:lnTo>
                          <a:pt x="790" y="1136"/>
                        </a:lnTo>
                        <a:lnTo>
                          <a:pt x="787" y="1136"/>
                        </a:lnTo>
                        <a:lnTo>
                          <a:pt x="782" y="1137"/>
                        </a:lnTo>
                        <a:lnTo>
                          <a:pt x="757" y="1144"/>
                        </a:lnTo>
                        <a:lnTo>
                          <a:pt x="756" y="1145"/>
                        </a:lnTo>
                        <a:lnTo>
                          <a:pt x="751" y="1147"/>
                        </a:lnTo>
                        <a:lnTo>
                          <a:pt x="748" y="1148"/>
                        </a:lnTo>
                        <a:lnTo>
                          <a:pt x="732" y="1150"/>
                        </a:lnTo>
                        <a:lnTo>
                          <a:pt x="729" y="1148"/>
                        </a:lnTo>
                        <a:lnTo>
                          <a:pt x="727" y="1148"/>
                        </a:lnTo>
                        <a:lnTo>
                          <a:pt x="722" y="1145"/>
                        </a:lnTo>
                        <a:lnTo>
                          <a:pt x="714" y="1145"/>
                        </a:lnTo>
                        <a:lnTo>
                          <a:pt x="702" y="1145"/>
                        </a:lnTo>
                        <a:lnTo>
                          <a:pt x="691" y="1145"/>
                        </a:lnTo>
                        <a:lnTo>
                          <a:pt x="686" y="1147"/>
                        </a:lnTo>
                        <a:lnTo>
                          <a:pt x="678" y="1145"/>
                        </a:lnTo>
                        <a:lnTo>
                          <a:pt x="645" y="1145"/>
                        </a:lnTo>
                        <a:lnTo>
                          <a:pt x="638" y="1145"/>
                        </a:lnTo>
                        <a:lnTo>
                          <a:pt x="635" y="1145"/>
                        </a:lnTo>
                        <a:lnTo>
                          <a:pt x="632" y="1145"/>
                        </a:lnTo>
                        <a:lnTo>
                          <a:pt x="613" y="1147"/>
                        </a:lnTo>
                        <a:lnTo>
                          <a:pt x="592" y="1148"/>
                        </a:lnTo>
                        <a:lnTo>
                          <a:pt x="586" y="1147"/>
                        </a:lnTo>
                        <a:lnTo>
                          <a:pt x="575" y="1147"/>
                        </a:lnTo>
                        <a:lnTo>
                          <a:pt x="569" y="1147"/>
                        </a:lnTo>
                        <a:lnTo>
                          <a:pt x="543" y="1148"/>
                        </a:lnTo>
                        <a:lnTo>
                          <a:pt x="542" y="1148"/>
                        </a:lnTo>
                        <a:lnTo>
                          <a:pt x="540" y="1148"/>
                        </a:lnTo>
                        <a:lnTo>
                          <a:pt x="539" y="1148"/>
                        </a:lnTo>
                        <a:lnTo>
                          <a:pt x="535" y="1148"/>
                        </a:lnTo>
                        <a:lnTo>
                          <a:pt x="527" y="1148"/>
                        </a:lnTo>
                        <a:lnTo>
                          <a:pt x="513" y="1148"/>
                        </a:lnTo>
                        <a:lnTo>
                          <a:pt x="507" y="1148"/>
                        </a:lnTo>
                        <a:lnTo>
                          <a:pt x="491" y="1148"/>
                        </a:lnTo>
                        <a:lnTo>
                          <a:pt x="481" y="1148"/>
                        </a:lnTo>
                        <a:lnTo>
                          <a:pt x="475" y="1148"/>
                        </a:lnTo>
                        <a:lnTo>
                          <a:pt x="459" y="1147"/>
                        </a:lnTo>
                        <a:lnTo>
                          <a:pt x="455" y="1145"/>
                        </a:lnTo>
                        <a:lnTo>
                          <a:pt x="451" y="1145"/>
                        </a:lnTo>
                        <a:lnTo>
                          <a:pt x="447" y="1145"/>
                        </a:lnTo>
                        <a:lnTo>
                          <a:pt x="439" y="1144"/>
                        </a:lnTo>
                        <a:lnTo>
                          <a:pt x="434" y="1144"/>
                        </a:lnTo>
                        <a:lnTo>
                          <a:pt x="428" y="1144"/>
                        </a:lnTo>
                        <a:lnTo>
                          <a:pt x="418" y="1142"/>
                        </a:lnTo>
                        <a:lnTo>
                          <a:pt x="415" y="1142"/>
                        </a:lnTo>
                        <a:lnTo>
                          <a:pt x="412" y="1142"/>
                        </a:lnTo>
                        <a:lnTo>
                          <a:pt x="412" y="1144"/>
                        </a:lnTo>
                        <a:lnTo>
                          <a:pt x="402" y="1144"/>
                        </a:lnTo>
                        <a:lnTo>
                          <a:pt x="390" y="1144"/>
                        </a:lnTo>
                        <a:lnTo>
                          <a:pt x="382" y="1144"/>
                        </a:lnTo>
                        <a:lnTo>
                          <a:pt x="366" y="1145"/>
                        </a:lnTo>
                        <a:lnTo>
                          <a:pt x="352" y="1145"/>
                        </a:lnTo>
                        <a:lnTo>
                          <a:pt x="350" y="1145"/>
                        </a:lnTo>
                        <a:lnTo>
                          <a:pt x="345" y="1144"/>
                        </a:lnTo>
                        <a:lnTo>
                          <a:pt x="344" y="1144"/>
                        </a:lnTo>
                        <a:lnTo>
                          <a:pt x="333" y="1144"/>
                        </a:lnTo>
                        <a:lnTo>
                          <a:pt x="323" y="1144"/>
                        </a:lnTo>
                        <a:lnTo>
                          <a:pt x="306" y="1144"/>
                        </a:lnTo>
                        <a:lnTo>
                          <a:pt x="298" y="1144"/>
                        </a:lnTo>
                        <a:lnTo>
                          <a:pt x="261" y="1145"/>
                        </a:lnTo>
                        <a:lnTo>
                          <a:pt x="252" y="1144"/>
                        </a:lnTo>
                        <a:lnTo>
                          <a:pt x="245" y="1142"/>
                        </a:lnTo>
                        <a:lnTo>
                          <a:pt x="244" y="1142"/>
                        </a:lnTo>
                        <a:lnTo>
                          <a:pt x="233" y="1142"/>
                        </a:lnTo>
                        <a:lnTo>
                          <a:pt x="230" y="1142"/>
                        </a:lnTo>
                        <a:lnTo>
                          <a:pt x="217" y="1140"/>
                        </a:lnTo>
                        <a:lnTo>
                          <a:pt x="215" y="1139"/>
                        </a:lnTo>
                        <a:lnTo>
                          <a:pt x="214" y="1139"/>
                        </a:lnTo>
                        <a:lnTo>
                          <a:pt x="206" y="1139"/>
                        </a:lnTo>
                        <a:lnTo>
                          <a:pt x="198" y="1137"/>
                        </a:lnTo>
                        <a:lnTo>
                          <a:pt x="196" y="1137"/>
                        </a:lnTo>
                        <a:lnTo>
                          <a:pt x="182" y="1137"/>
                        </a:lnTo>
                        <a:lnTo>
                          <a:pt x="158" y="1139"/>
                        </a:lnTo>
                        <a:lnTo>
                          <a:pt x="155" y="1139"/>
                        </a:lnTo>
                        <a:lnTo>
                          <a:pt x="143" y="1137"/>
                        </a:lnTo>
                        <a:lnTo>
                          <a:pt x="141" y="1137"/>
                        </a:lnTo>
                        <a:lnTo>
                          <a:pt x="138" y="1137"/>
                        </a:lnTo>
                        <a:lnTo>
                          <a:pt x="133" y="1137"/>
                        </a:lnTo>
                        <a:lnTo>
                          <a:pt x="131" y="1137"/>
                        </a:lnTo>
                        <a:lnTo>
                          <a:pt x="131" y="1132"/>
                        </a:lnTo>
                        <a:lnTo>
                          <a:pt x="133" y="1129"/>
                        </a:lnTo>
                        <a:lnTo>
                          <a:pt x="135" y="1128"/>
                        </a:lnTo>
                        <a:lnTo>
                          <a:pt x="136" y="1125"/>
                        </a:lnTo>
                        <a:lnTo>
                          <a:pt x="138" y="1123"/>
                        </a:lnTo>
                        <a:lnTo>
                          <a:pt x="141" y="1121"/>
                        </a:lnTo>
                        <a:lnTo>
                          <a:pt x="146" y="1120"/>
                        </a:lnTo>
                        <a:lnTo>
                          <a:pt x="147" y="1118"/>
                        </a:lnTo>
                        <a:lnTo>
                          <a:pt x="150" y="1115"/>
                        </a:lnTo>
                        <a:lnTo>
                          <a:pt x="152" y="1112"/>
                        </a:lnTo>
                        <a:lnTo>
                          <a:pt x="152" y="1110"/>
                        </a:lnTo>
                        <a:lnTo>
                          <a:pt x="154" y="1109"/>
                        </a:lnTo>
                        <a:lnTo>
                          <a:pt x="154" y="1107"/>
                        </a:lnTo>
                        <a:lnTo>
                          <a:pt x="154" y="1106"/>
                        </a:lnTo>
                        <a:lnTo>
                          <a:pt x="154" y="1102"/>
                        </a:lnTo>
                        <a:lnTo>
                          <a:pt x="155" y="1102"/>
                        </a:lnTo>
                        <a:lnTo>
                          <a:pt x="158" y="1101"/>
                        </a:lnTo>
                        <a:lnTo>
                          <a:pt x="160" y="1101"/>
                        </a:lnTo>
                        <a:lnTo>
                          <a:pt x="165" y="1101"/>
                        </a:lnTo>
                        <a:lnTo>
                          <a:pt x="168" y="1101"/>
                        </a:lnTo>
                        <a:lnTo>
                          <a:pt x="171" y="1101"/>
                        </a:lnTo>
                        <a:lnTo>
                          <a:pt x="173" y="1101"/>
                        </a:lnTo>
                        <a:lnTo>
                          <a:pt x="176" y="1101"/>
                        </a:lnTo>
                        <a:lnTo>
                          <a:pt x="179" y="1102"/>
                        </a:lnTo>
                        <a:lnTo>
                          <a:pt x="182" y="1102"/>
                        </a:lnTo>
                        <a:lnTo>
                          <a:pt x="184" y="1102"/>
                        </a:lnTo>
                        <a:lnTo>
                          <a:pt x="187" y="1102"/>
                        </a:lnTo>
                        <a:lnTo>
                          <a:pt x="188" y="1101"/>
                        </a:lnTo>
                        <a:lnTo>
                          <a:pt x="190" y="1099"/>
                        </a:lnTo>
                        <a:lnTo>
                          <a:pt x="192" y="1096"/>
                        </a:lnTo>
                        <a:lnTo>
                          <a:pt x="192" y="1093"/>
                        </a:lnTo>
                        <a:lnTo>
                          <a:pt x="193" y="1090"/>
                        </a:lnTo>
                        <a:lnTo>
                          <a:pt x="195" y="1087"/>
                        </a:lnTo>
                        <a:lnTo>
                          <a:pt x="196" y="1083"/>
                        </a:lnTo>
                        <a:lnTo>
                          <a:pt x="196" y="1080"/>
                        </a:lnTo>
                        <a:lnTo>
                          <a:pt x="198" y="1074"/>
                        </a:lnTo>
                        <a:lnTo>
                          <a:pt x="198" y="1071"/>
                        </a:lnTo>
                        <a:lnTo>
                          <a:pt x="198" y="1068"/>
                        </a:lnTo>
                        <a:lnTo>
                          <a:pt x="200" y="1066"/>
                        </a:lnTo>
                        <a:lnTo>
                          <a:pt x="198" y="1063"/>
                        </a:lnTo>
                        <a:lnTo>
                          <a:pt x="198" y="1061"/>
                        </a:lnTo>
                        <a:lnTo>
                          <a:pt x="198" y="1060"/>
                        </a:lnTo>
                        <a:lnTo>
                          <a:pt x="196" y="1058"/>
                        </a:lnTo>
                        <a:lnTo>
                          <a:pt x="195" y="1056"/>
                        </a:lnTo>
                        <a:lnTo>
                          <a:pt x="193" y="1055"/>
                        </a:lnTo>
                        <a:lnTo>
                          <a:pt x="192" y="1055"/>
                        </a:lnTo>
                        <a:lnTo>
                          <a:pt x="192" y="1053"/>
                        </a:lnTo>
                        <a:lnTo>
                          <a:pt x="188" y="1053"/>
                        </a:lnTo>
                        <a:lnTo>
                          <a:pt x="187" y="1052"/>
                        </a:lnTo>
                        <a:lnTo>
                          <a:pt x="185" y="1052"/>
                        </a:lnTo>
                        <a:lnTo>
                          <a:pt x="184" y="1049"/>
                        </a:lnTo>
                        <a:lnTo>
                          <a:pt x="177" y="1045"/>
                        </a:lnTo>
                        <a:lnTo>
                          <a:pt x="173" y="1042"/>
                        </a:lnTo>
                        <a:lnTo>
                          <a:pt x="171" y="1039"/>
                        </a:lnTo>
                        <a:lnTo>
                          <a:pt x="168" y="1036"/>
                        </a:lnTo>
                        <a:lnTo>
                          <a:pt x="168" y="1033"/>
                        </a:lnTo>
                        <a:lnTo>
                          <a:pt x="166" y="1031"/>
                        </a:lnTo>
                        <a:lnTo>
                          <a:pt x="165" y="1030"/>
                        </a:lnTo>
                        <a:lnTo>
                          <a:pt x="163" y="1028"/>
                        </a:lnTo>
                        <a:lnTo>
                          <a:pt x="162" y="1026"/>
                        </a:lnTo>
                        <a:lnTo>
                          <a:pt x="160" y="1026"/>
                        </a:lnTo>
                        <a:lnTo>
                          <a:pt x="157" y="1025"/>
                        </a:lnTo>
                        <a:lnTo>
                          <a:pt x="152" y="1020"/>
                        </a:lnTo>
                        <a:lnTo>
                          <a:pt x="150" y="1017"/>
                        </a:lnTo>
                        <a:lnTo>
                          <a:pt x="147" y="1015"/>
                        </a:lnTo>
                        <a:lnTo>
                          <a:pt x="147" y="1014"/>
                        </a:lnTo>
                        <a:lnTo>
                          <a:pt x="146" y="1014"/>
                        </a:lnTo>
                        <a:lnTo>
                          <a:pt x="144" y="1012"/>
                        </a:lnTo>
                        <a:lnTo>
                          <a:pt x="143" y="1011"/>
                        </a:lnTo>
                        <a:lnTo>
                          <a:pt x="138" y="1011"/>
                        </a:lnTo>
                        <a:lnTo>
                          <a:pt x="135" y="1009"/>
                        </a:lnTo>
                        <a:lnTo>
                          <a:pt x="131" y="1009"/>
                        </a:lnTo>
                        <a:lnTo>
                          <a:pt x="128" y="1011"/>
                        </a:lnTo>
                        <a:lnTo>
                          <a:pt x="125" y="1011"/>
                        </a:lnTo>
                        <a:lnTo>
                          <a:pt x="124" y="1011"/>
                        </a:lnTo>
                        <a:lnTo>
                          <a:pt x="122" y="1012"/>
                        </a:lnTo>
                        <a:lnTo>
                          <a:pt x="120" y="1014"/>
                        </a:lnTo>
                        <a:lnTo>
                          <a:pt x="119" y="1015"/>
                        </a:lnTo>
                        <a:lnTo>
                          <a:pt x="119" y="1020"/>
                        </a:lnTo>
                        <a:lnTo>
                          <a:pt x="120" y="1025"/>
                        </a:lnTo>
                        <a:lnTo>
                          <a:pt x="122" y="1028"/>
                        </a:lnTo>
                        <a:lnTo>
                          <a:pt x="122" y="1031"/>
                        </a:lnTo>
                        <a:lnTo>
                          <a:pt x="124" y="1033"/>
                        </a:lnTo>
                        <a:lnTo>
                          <a:pt x="124" y="1034"/>
                        </a:lnTo>
                        <a:lnTo>
                          <a:pt x="124" y="1036"/>
                        </a:lnTo>
                        <a:lnTo>
                          <a:pt x="122" y="1037"/>
                        </a:lnTo>
                        <a:lnTo>
                          <a:pt x="119" y="1037"/>
                        </a:lnTo>
                        <a:lnTo>
                          <a:pt x="109" y="1041"/>
                        </a:lnTo>
                        <a:lnTo>
                          <a:pt x="101" y="1044"/>
                        </a:lnTo>
                        <a:lnTo>
                          <a:pt x="97" y="1047"/>
                        </a:lnTo>
                        <a:lnTo>
                          <a:pt x="93" y="1047"/>
                        </a:lnTo>
                        <a:lnTo>
                          <a:pt x="90" y="1049"/>
                        </a:lnTo>
                        <a:lnTo>
                          <a:pt x="87" y="1050"/>
                        </a:lnTo>
                        <a:lnTo>
                          <a:pt x="87" y="1049"/>
                        </a:lnTo>
                        <a:lnTo>
                          <a:pt x="87" y="1045"/>
                        </a:lnTo>
                        <a:lnTo>
                          <a:pt x="87" y="1044"/>
                        </a:lnTo>
                        <a:lnTo>
                          <a:pt x="87" y="1042"/>
                        </a:lnTo>
                        <a:lnTo>
                          <a:pt x="85" y="1037"/>
                        </a:lnTo>
                        <a:lnTo>
                          <a:pt x="85" y="1034"/>
                        </a:lnTo>
                        <a:lnTo>
                          <a:pt x="84" y="1031"/>
                        </a:lnTo>
                        <a:lnTo>
                          <a:pt x="82" y="1028"/>
                        </a:lnTo>
                        <a:lnTo>
                          <a:pt x="82" y="1026"/>
                        </a:lnTo>
                        <a:lnTo>
                          <a:pt x="82" y="1023"/>
                        </a:lnTo>
                        <a:lnTo>
                          <a:pt x="82" y="1022"/>
                        </a:lnTo>
                        <a:lnTo>
                          <a:pt x="82" y="1020"/>
                        </a:lnTo>
                        <a:lnTo>
                          <a:pt x="82" y="1018"/>
                        </a:lnTo>
                        <a:lnTo>
                          <a:pt x="82" y="1015"/>
                        </a:lnTo>
                        <a:lnTo>
                          <a:pt x="81" y="1014"/>
                        </a:lnTo>
                        <a:lnTo>
                          <a:pt x="81" y="1012"/>
                        </a:lnTo>
                        <a:lnTo>
                          <a:pt x="81" y="1011"/>
                        </a:lnTo>
                        <a:lnTo>
                          <a:pt x="81" y="1009"/>
                        </a:lnTo>
                        <a:lnTo>
                          <a:pt x="81" y="1004"/>
                        </a:lnTo>
                        <a:lnTo>
                          <a:pt x="81" y="1003"/>
                        </a:lnTo>
                        <a:lnTo>
                          <a:pt x="81" y="999"/>
                        </a:lnTo>
                        <a:lnTo>
                          <a:pt x="81" y="998"/>
                        </a:lnTo>
                        <a:lnTo>
                          <a:pt x="79" y="991"/>
                        </a:lnTo>
                        <a:lnTo>
                          <a:pt x="78" y="990"/>
                        </a:lnTo>
                        <a:lnTo>
                          <a:pt x="78" y="988"/>
                        </a:lnTo>
                        <a:lnTo>
                          <a:pt x="76" y="987"/>
                        </a:lnTo>
                        <a:lnTo>
                          <a:pt x="74" y="985"/>
                        </a:lnTo>
                        <a:lnTo>
                          <a:pt x="74" y="984"/>
                        </a:lnTo>
                        <a:lnTo>
                          <a:pt x="74" y="982"/>
                        </a:lnTo>
                        <a:lnTo>
                          <a:pt x="76" y="980"/>
                        </a:lnTo>
                        <a:lnTo>
                          <a:pt x="76" y="977"/>
                        </a:lnTo>
                        <a:lnTo>
                          <a:pt x="76" y="976"/>
                        </a:lnTo>
                        <a:lnTo>
                          <a:pt x="76" y="974"/>
                        </a:lnTo>
                        <a:lnTo>
                          <a:pt x="74" y="972"/>
                        </a:lnTo>
                        <a:lnTo>
                          <a:pt x="74" y="971"/>
                        </a:lnTo>
                        <a:lnTo>
                          <a:pt x="74" y="968"/>
                        </a:lnTo>
                        <a:lnTo>
                          <a:pt x="76" y="968"/>
                        </a:lnTo>
                        <a:lnTo>
                          <a:pt x="78" y="963"/>
                        </a:lnTo>
                        <a:lnTo>
                          <a:pt x="78" y="961"/>
                        </a:lnTo>
                        <a:lnTo>
                          <a:pt x="78" y="960"/>
                        </a:lnTo>
                        <a:lnTo>
                          <a:pt x="81" y="958"/>
                        </a:lnTo>
                        <a:lnTo>
                          <a:pt x="84" y="957"/>
                        </a:lnTo>
                        <a:lnTo>
                          <a:pt x="89" y="952"/>
                        </a:lnTo>
                        <a:lnTo>
                          <a:pt x="90" y="950"/>
                        </a:lnTo>
                        <a:lnTo>
                          <a:pt x="92" y="947"/>
                        </a:lnTo>
                        <a:lnTo>
                          <a:pt x="93" y="942"/>
                        </a:lnTo>
                        <a:lnTo>
                          <a:pt x="93" y="941"/>
                        </a:lnTo>
                        <a:lnTo>
                          <a:pt x="95" y="936"/>
                        </a:lnTo>
                        <a:lnTo>
                          <a:pt x="98" y="933"/>
                        </a:lnTo>
                        <a:lnTo>
                          <a:pt x="101" y="930"/>
                        </a:lnTo>
                        <a:lnTo>
                          <a:pt x="106" y="927"/>
                        </a:lnTo>
                        <a:lnTo>
                          <a:pt x="111" y="923"/>
                        </a:lnTo>
                        <a:lnTo>
                          <a:pt x="114" y="922"/>
                        </a:lnTo>
                        <a:lnTo>
                          <a:pt x="116" y="920"/>
                        </a:lnTo>
                        <a:lnTo>
                          <a:pt x="117" y="920"/>
                        </a:lnTo>
                        <a:lnTo>
                          <a:pt x="119" y="922"/>
                        </a:lnTo>
                        <a:lnTo>
                          <a:pt x="120" y="922"/>
                        </a:lnTo>
                        <a:lnTo>
                          <a:pt x="124" y="923"/>
                        </a:lnTo>
                        <a:lnTo>
                          <a:pt x="125" y="925"/>
                        </a:lnTo>
                        <a:lnTo>
                          <a:pt x="130" y="927"/>
                        </a:lnTo>
                        <a:lnTo>
                          <a:pt x="131" y="927"/>
                        </a:lnTo>
                        <a:lnTo>
                          <a:pt x="138" y="930"/>
                        </a:lnTo>
                        <a:lnTo>
                          <a:pt x="141" y="933"/>
                        </a:lnTo>
                        <a:lnTo>
                          <a:pt x="147" y="931"/>
                        </a:lnTo>
                        <a:lnTo>
                          <a:pt x="155" y="931"/>
                        </a:lnTo>
                        <a:lnTo>
                          <a:pt x="165" y="933"/>
                        </a:lnTo>
                        <a:lnTo>
                          <a:pt x="168" y="933"/>
                        </a:lnTo>
                        <a:lnTo>
                          <a:pt x="171" y="933"/>
                        </a:lnTo>
                        <a:lnTo>
                          <a:pt x="174" y="933"/>
                        </a:lnTo>
                        <a:lnTo>
                          <a:pt x="177" y="933"/>
                        </a:lnTo>
                        <a:lnTo>
                          <a:pt x="184" y="934"/>
                        </a:lnTo>
                        <a:lnTo>
                          <a:pt x="185" y="933"/>
                        </a:lnTo>
                        <a:lnTo>
                          <a:pt x="185" y="931"/>
                        </a:lnTo>
                        <a:lnTo>
                          <a:pt x="185" y="930"/>
                        </a:lnTo>
                        <a:lnTo>
                          <a:pt x="185" y="928"/>
                        </a:lnTo>
                        <a:lnTo>
                          <a:pt x="187" y="927"/>
                        </a:lnTo>
                        <a:lnTo>
                          <a:pt x="187" y="925"/>
                        </a:lnTo>
                        <a:lnTo>
                          <a:pt x="187" y="922"/>
                        </a:lnTo>
                        <a:lnTo>
                          <a:pt x="187" y="920"/>
                        </a:lnTo>
                        <a:lnTo>
                          <a:pt x="187" y="919"/>
                        </a:lnTo>
                        <a:lnTo>
                          <a:pt x="187" y="915"/>
                        </a:lnTo>
                        <a:lnTo>
                          <a:pt x="187" y="912"/>
                        </a:lnTo>
                        <a:lnTo>
                          <a:pt x="188" y="911"/>
                        </a:lnTo>
                        <a:lnTo>
                          <a:pt x="188" y="909"/>
                        </a:lnTo>
                        <a:lnTo>
                          <a:pt x="190" y="908"/>
                        </a:lnTo>
                        <a:lnTo>
                          <a:pt x="190" y="906"/>
                        </a:lnTo>
                        <a:lnTo>
                          <a:pt x="190" y="904"/>
                        </a:lnTo>
                        <a:lnTo>
                          <a:pt x="192" y="904"/>
                        </a:lnTo>
                        <a:lnTo>
                          <a:pt x="193" y="904"/>
                        </a:lnTo>
                        <a:lnTo>
                          <a:pt x="195" y="904"/>
                        </a:lnTo>
                        <a:lnTo>
                          <a:pt x="196" y="906"/>
                        </a:lnTo>
                        <a:lnTo>
                          <a:pt x="198" y="904"/>
                        </a:lnTo>
                        <a:lnTo>
                          <a:pt x="201" y="904"/>
                        </a:lnTo>
                        <a:lnTo>
                          <a:pt x="203" y="904"/>
                        </a:lnTo>
                        <a:lnTo>
                          <a:pt x="204" y="904"/>
                        </a:lnTo>
                        <a:lnTo>
                          <a:pt x="206" y="904"/>
                        </a:lnTo>
                        <a:lnTo>
                          <a:pt x="207" y="904"/>
                        </a:lnTo>
                        <a:lnTo>
                          <a:pt x="209" y="904"/>
                        </a:lnTo>
                        <a:lnTo>
                          <a:pt x="211" y="904"/>
                        </a:lnTo>
                        <a:lnTo>
                          <a:pt x="212" y="904"/>
                        </a:lnTo>
                        <a:lnTo>
                          <a:pt x="214" y="904"/>
                        </a:lnTo>
                        <a:lnTo>
                          <a:pt x="215" y="904"/>
                        </a:lnTo>
                        <a:lnTo>
                          <a:pt x="215" y="906"/>
                        </a:lnTo>
                        <a:lnTo>
                          <a:pt x="217" y="906"/>
                        </a:lnTo>
                        <a:lnTo>
                          <a:pt x="219" y="906"/>
                        </a:lnTo>
                        <a:lnTo>
                          <a:pt x="220" y="904"/>
                        </a:lnTo>
                        <a:lnTo>
                          <a:pt x="222" y="904"/>
                        </a:lnTo>
                        <a:lnTo>
                          <a:pt x="222" y="903"/>
                        </a:lnTo>
                        <a:lnTo>
                          <a:pt x="223" y="903"/>
                        </a:lnTo>
                        <a:lnTo>
                          <a:pt x="223" y="904"/>
                        </a:lnTo>
                        <a:lnTo>
                          <a:pt x="225" y="903"/>
                        </a:lnTo>
                        <a:lnTo>
                          <a:pt x="226" y="904"/>
                        </a:lnTo>
                        <a:lnTo>
                          <a:pt x="228" y="904"/>
                        </a:lnTo>
                        <a:lnTo>
                          <a:pt x="230" y="903"/>
                        </a:lnTo>
                        <a:lnTo>
                          <a:pt x="230" y="901"/>
                        </a:lnTo>
                        <a:lnTo>
                          <a:pt x="230" y="900"/>
                        </a:lnTo>
                        <a:lnTo>
                          <a:pt x="231" y="898"/>
                        </a:lnTo>
                        <a:lnTo>
                          <a:pt x="233" y="898"/>
                        </a:lnTo>
                        <a:lnTo>
                          <a:pt x="234" y="896"/>
                        </a:lnTo>
                        <a:lnTo>
                          <a:pt x="238" y="896"/>
                        </a:lnTo>
                        <a:lnTo>
                          <a:pt x="238" y="895"/>
                        </a:lnTo>
                        <a:lnTo>
                          <a:pt x="241" y="892"/>
                        </a:lnTo>
                        <a:lnTo>
                          <a:pt x="244" y="892"/>
                        </a:lnTo>
                        <a:lnTo>
                          <a:pt x="245" y="890"/>
                        </a:lnTo>
                        <a:lnTo>
                          <a:pt x="247" y="889"/>
                        </a:lnTo>
                        <a:lnTo>
                          <a:pt x="249" y="889"/>
                        </a:lnTo>
                        <a:lnTo>
                          <a:pt x="250" y="885"/>
                        </a:lnTo>
                        <a:lnTo>
                          <a:pt x="253" y="882"/>
                        </a:lnTo>
                        <a:lnTo>
                          <a:pt x="255" y="882"/>
                        </a:lnTo>
                        <a:lnTo>
                          <a:pt x="253" y="881"/>
                        </a:lnTo>
                        <a:lnTo>
                          <a:pt x="252" y="877"/>
                        </a:lnTo>
                        <a:lnTo>
                          <a:pt x="250" y="877"/>
                        </a:lnTo>
                        <a:lnTo>
                          <a:pt x="250" y="876"/>
                        </a:lnTo>
                        <a:lnTo>
                          <a:pt x="249" y="874"/>
                        </a:lnTo>
                        <a:lnTo>
                          <a:pt x="247" y="873"/>
                        </a:lnTo>
                        <a:lnTo>
                          <a:pt x="245" y="873"/>
                        </a:lnTo>
                        <a:lnTo>
                          <a:pt x="244" y="873"/>
                        </a:lnTo>
                        <a:lnTo>
                          <a:pt x="242" y="871"/>
                        </a:lnTo>
                        <a:lnTo>
                          <a:pt x="242" y="870"/>
                        </a:lnTo>
                        <a:lnTo>
                          <a:pt x="241" y="870"/>
                        </a:lnTo>
                        <a:lnTo>
                          <a:pt x="238" y="868"/>
                        </a:lnTo>
                        <a:lnTo>
                          <a:pt x="236" y="866"/>
                        </a:lnTo>
                        <a:lnTo>
                          <a:pt x="231" y="866"/>
                        </a:lnTo>
                        <a:lnTo>
                          <a:pt x="228" y="866"/>
                        </a:lnTo>
                        <a:lnTo>
                          <a:pt x="222" y="865"/>
                        </a:lnTo>
                        <a:lnTo>
                          <a:pt x="217" y="863"/>
                        </a:lnTo>
                        <a:lnTo>
                          <a:pt x="215" y="862"/>
                        </a:lnTo>
                        <a:lnTo>
                          <a:pt x="212" y="858"/>
                        </a:lnTo>
                        <a:lnTo>
                          <a:pt x="203" y="852"/>
                        </a:lnTo>
                        <a:lnTo>
                          <a:pt x="201" y="851"/>
                        </a:lnTo>
                        <a:lnTo>
                          <a:pt x="200" y="849"/>
                        </a:lnTo>
                        <a:lnTo>
                          <a:pt x="198" y="849"/>
                        </a:lnTo>
                        <a:lnTo>
                          <a:pt x="195" y="849"/>
                        </a:lnTo>
                        <a:lnTo>
                          <a:pt x="193" y="849"/>
                        </a:lnTo>
                        <a:lnTo>
                          <a:pt x="190" y="847"/>
                        </a:lnTo>
                        <a:lnTo>
                          <a:pt x="184" y="844"/>
                        </a:lnTo>
                        <a:lnTo>
                          <a:pt x="179" y="843"/>
                        </a:lnTo>
                        <a:lnTo>
                          <a:pt x="171" y="838"/>
                        </a:lnTo>
                        <a:lnTo>
                          <a:pt x="168" y="835"/>
                        </a:lnTo>
                        <a:lnTo>
                          <a:pt x="163" y="832"/>
                        </a:lnTo>
                        <a:lnTo>
                          <a:pt x="160" y="828"/>
                        </a:lnTo>
                        <a:lnTo>
                          <a:pt x="158" y="827"/>
                        </a:lnTo>
                        <a:lnTo>
                          <a:pt x="158" y="824"/>
                        </a:lnTo>
                        <a:lnTo>
                          <a:pt x="157" y="822"/>
                        </a:lnTo>
                        <a:lnTo>
                          <a:pt x="157" y="820"/>
                        </a:lnTo>
                        <a:lnTo>
                          <a:pt x="158" y="817"/>
                        </a:lnTo>
                        <a:lnTo>
                          <a:pt x="158" y="814"/>
                        </a:lnTo>
                        <a:lnTo>
                          <a:pt x="160" y="811"/>
                        </a:lnTo>
                        <a:lnTo>
                          <a:pt x="162" y="803"/>
                        </a:lnTo>
                        <a:lnTo>
                          <a:pt x="162" y="800"/>
                        </a:lnTo>
                        <a:lnTo>
                          <a:pt x="162" y="793"/>
                        </a:lnTo>
                        <a:lnTo>
                          <a:pt x="162" y="789"/>
                        </a:lnTo>
                        <a:lnTo>
                          <a:pt x="160" y="784"/>
                        </a:lnTo>
                        <a:lnTo>
                          <a:pt x="160" y="781"/>
                        </a:lnTo>
                        <a:lnTo>
                          <a:pt x="158" y="779"/>
                        </a:lnTo>
                        <a:lnTo>
                          <a:pt x="158" y="776"/>
                        </a:lnTo>
                        <a:lnTo>
                          <a:pt x="155" y="773"/>
                        </a:lnTo>
                        <a:lnTo>
                          <a:pt x="154" y="771"/>
                        </a:lnTo>
                        <a:lnTo>
                          <a:pt x="152" y="768"/>
                        </a:lnTo>
                        <a:lnTo>
                          <a:pt x="149" y="767"/>
                        </a:lnTo>
                        <a:lnTo>
                          <a:pt x="147" y="765"/>
                        </a:lnTo>
                        <a:lnTo>
                          <a:pt x="144" y="763"/>
                        </a:lnTo>
                        <a:lnTo>
                          <a:pt x="141" y="762"/>
                        </a:lnTo>
                        <a:lnTo>
                          <a:pt x="139" y="762"/>
                        </a:lnTo>
                        <a:lnTo>
                          <a:pt x="136" y="760"/>
                        </a:lnTo>
                        <a:lnTo>
                          <a:pt x="136" y="759"/>
                        </a:lnTo>
                        <a:lnTo>
                          <a:pt x="135" y="757"/>
                        </a:lnTo>
                        <a:lnTo>
                          <a:pt x="135" y="755"/>
                        </a:lnTo>
                        <a:lnTo>
                          <a:pt x="135" y="752"/>
                        </a:lnTo>
                        <a:lnTo>
                          <a:pt x="133" y="746"/>
                        </a:lnTo>
                        <a:lnTo>
                          <a:pt x="133" y="740"/>
                        </a:lnTo>
                        <a:lnTo>
                          <a:pt x="131" y="730"/>
                        </a:lnTo>
                        <a:lnTo>
                          <a:pt x="130" y="724"/>
                        </a:lnTo>
                        <a:lnTo>
                          <a:pt x="130" y="721"/>
                        </a:lnTo>
                        <a:lnTo>
                          <a:pt x="130" y="719"/>
                        </a:lnTo>
                        <a:lnTo>
                          <a:pt x="130" y="716"/>
                        </a:lnTo>
                        <a:lnTo>
                          <a:pt x="128" y="713"/>
                        </a:lnTo>
                        <a:lnTo>
                          <a:pt x="128" y="711"/>
                        </a:lnTo>
                        <a:lnTo>
                          <a:pt x="128" y="708"/>
                        </a:lnTo>
                        <a:lnTo>
                          <a:pt x="127" y="706"/>
                        </a:lnTo>
                        <a:lnTo>
                          <a:pt x="125" y="703"/>
                        </a:lnTo>
                        <a:lnTo>
                          <a:pt x="124" y="702"/>
                        </a:lnTo>
                        <a:lnTo>
                          <a:pt x="120" y="698"/>
                        </a:lnTo>
                        <a:lnTo>
                          <a:pt x="117" y="695"/>
                        </a:lnTo>
                        <a:lnTo>
                          <a:pt x="112" y="692"/>
                        </a:lnTo>
                        <a:lnTo>
                          <a:pt x="111" y="691"/>
                        </a:lnTo>
                        <a:lnTo>
                          <a:pt x="109" y="689"/>
                        </a:lnTo>
                        <a:lnTo>
                          <a:pt x="106" y="686"/>
                        </a:lnTo>
                        <a:lnTo>
                          <a:pt x="103" y="684"/>
                        </a:lnTo>
                        <a:lnTo>
                          <a:pt x="101" y="683"/>
                        </a:lnTo>
                        <a:lnTo>
                          <a:pt x="101" y="681"/>
                        </a:lnTo>
                        <a:lnTo>
                          <a:pt x="100" y="681"/>
                        </a:lnTo>
                        <a:lnTo>
                          <a:pt x="98" y="679"/>
                        </a:lnTo>
                        <a:lnTo>
                          <a:pt x="97" y="678"/>
                        </a:lnTo>
                        <a:lnTo>
                          <a:pt x="95" y="678"/>
                        </a:lnTo>
                        <a:lnTo>
                          <a:pt x="95" y="676"/>
                        </a:lnTo>
                        <a:lnTo>
                          <a:pt x="93" y="675"/>
                        </a:lnTo>
                        <a:lnTo>
                          <a:pt x="92" y="673"/>
                        </a:lnTo>
                        <a:lnTo>
                          <a:pt x="90" y="672"/>
                        </a:lnTo>
                        <a:lnTo>
                          <a:pt x="89" y="672"/>
                        </a:lnTo>
                        <a:lnTo>
                          <a:pt x="87" y="670"/>
                        </a:lnTo>
                        <a:lnTo>
                          <a:pt x="85" y="668"/>
                        </a:lnTo>
                        <a:lnTo>
                          <a:pt x="84" y="668"/>
                        </a:lnTo>
                        <a:lnTo>
                          <a:pt x="84" y="667"/>
                        </a:lnTo>
                        <a:lnTo>
                          <a:pt x="82" y="667"/>
                        </a:lnTo>
                        <a:lnTo>
                          <a:pt x="81" y="667"/>
                        </a:lnTo>
                        <a:lnTo>
                          <a:pt x="79" y="665"/>
                        </a:lnTo>
                        <a:lnTo>
                          <a:pt x="78" y="665"/>
                        </a:lnTo>
                        <a:lnTo>
                          <a:pt x="76" y="665"/>
                        </a:lnTo>
                        <a:lnTo>
                          <a:pt x="74" y="665"/>
                        </a:lnTo>
                        <a:lnTo>
                          <a:pt x="73" y="667"/>
                        </a:lnTo>
                        <a:lnTo>
                          <a:pt x="71" y="667"/>
                        </a:lnTo>
                        <a:lnTo>
                          <a:pt x="70" y="667"/>
                        </a:lnTo>
                        <a:lnTo>
                          <a:pt x="66" y="667"/>
                        </a:lnTo>
                        <a:lnTo>
                          <a:pt x="62" y="668"/>
                        </a:lnTo>
                        <a:lnTo>
                          <a:pt x="59" y="667"/>
                        </a:lnTo>
                        <a:lnTo>
                          <a:pt x="57" y="667"/>
                        </a:lnTo>
                        <a:lnTo>
                          <a:pt x="57" y="668"/>
                        </a:lnTo>
                        <a:lnTo>
                          <a:pt x="54" y="668"/>
                        </a:lnTo>
                        <a:lnTo>
                          <a:pt x="52" y="670"/>
                        </a:lnTo>
                        <a:lnTo>
                          <a:pt x="49" y="670"/>
                        </a:lnTo>
                        <a:lnTo>
                          <a:pt x="46" y="672"/>
                        </a:lnTo>
                        <a:lnTo>
                          <a:pt x="44" y="670"/>
                        </a:lnTo>
                        <a:lnTo>
                          <a:pt x="43" y="670"/>
                        </a:lnTo>
                        <a:lnTo>
                          <a:pt x="41" y="670"/>
                        </a:lnTo>
                        <a:lnTo>
                          <a:pt x="40" y="672"/>
                        </a:lnTo>
                        <a:lnTo>
                          <a:pt x="38" y="672"/>
                        </a:lnTo>
                        <a:lnTo>
                          <a:pt x="36" y="672"/>
                        </a:lnTo>
                        <a:lnTo>
                          <a:pt x="33" y="672"/>
                        </a:lnTo>
                        <a:lnTo>
                          <a:pt x="32" y="670"/>
                        </a:lnTo>
                        <a:lnTo>
                          <a:pt x="30" y="670"/>
                        </a:lnTo>
                        <a:lnTo>
                          <a:pt x="28" y="668"/>
                        </a:lnTo>
                        <a:lnTo>
                          <a:pt x="25" y="667"/>
                        </a:lnTo>
                        <a:lnTo>
                          <a:pt x="22" y="664"/>
                        </a:lnTo>
                        <a:lnTo>
                          <a:pt x="21" y="662"/>
                        </a:lnTo>
                        <a:lnTo>
                          <a:pt x="17" y="660"/>
                        </a:lnTo>
                        <a:lnTo>
                          <a:pt x="16" y="659"/>
                        </a:lnTo>
                        <a:lnTo>
                          <a:pt x="9" y="656"/>
                        </a:lnTo>
                        <a:lnTo>
                          <a:pt x="6" y="653"/>
                        </a:lnTo>
                        <a:lnTo>
                          <a:pt x="5" y="651"/>
                        </a:lnTo>
                        <a:lnTo>
                          <a:pt x="5" y="648"/>
                        </a:lnTo>
                        <a:lnTo>
                          <a:pt x="5" y="646"/>
                        </a:lnTo>
                        <a:lnTo>
                          <a:pt x="5" y="645"/>
                        </a:lnTo>
                        <a:lnTo>
                          <a:pt x="3" y="641"/>
                        </a:lnTo>
                        <a:lnTo>
                          <a:pt x="3" y="638"/>
                        </a:lnTo>
                        <a:lnTo>
                          <a:pt x="5" y="635"/>
                        </a:lnTo>
                        <a:lnTo>
                          <a:pt x="5" y="634"/>
                        </a:lnTo>
                        <a:lnTo>
                          <a:pt x="6" y="634"/>
                        </a:lnTo>
                        <a:lnTo>
                          <a:pt x="8" y="632"/>
                        </a:lnTo>
                        <a:lnTo>
                          <a:pt x="9" y="632"/>
                        </a:lnTo>
                        <a:lnTo>
                          <a:pt x="13" y="632"/>
                        </a:lnTo>
                        <a:lnTo>
                          <a:pt x="14" y="632"/>
                        </a:lnTo>
                        <a:lnTo>
                          <a:pt x="16" y="632"/>
                        </a:lnTo>
                        <a:lnTo>
                          <a:pt x="17" y="632"/>
                        </a:lnTo>
                        <a:lnTo>
                          <a:pt x="22" y="634"/>
                        </a:lnTo>
                        <a:lnTo>
                          <a:pt x="24" y="634"/>
                        </a:lnTo>
                        <a:lnTo>
                          <a:pt x="25" y="634"/>
                        </a:lnTo>
                        <a:lnTo>
                          <a:pt x="28" y="634"/>
                        </a:lnTo>
                        <a:lnTo>
                          <a:pt x="30" y="634"/>
                        </a:lnTo>
                        <a:lnTo>
                          <a:pt x="32" y="632"/>
                        </a:lnTo>
                        <a:lnTo>
                          <a:pt x="33" y="632"/>
                        </a:lnTo>
                        <a:lnTo>
                          <a:pt x="36" y="629"/>
                        </a:lnTo>
                        <a:lnTo>
                          <a:pt x="38" y="629"/>
                        </a:lnTo>
                        <a:lnTo>
                          <a:pt x="40" y="629"/>
                        </a:lnTo>
                        <a:lnTo>
                          <a:pt x="40" y="627"/>
                        </a:lnTo>
                        <a:lnTo>
                          <a:pt x="43" y="627"/>
                        </a:lnTo>
                        <a:lnTo>
                          <a:pt x="44" y="626"/>
                        </a:lnTo>
                        <a:lnTo>
                          <a:pt x="49" y="624"/>
                        </a:lnTo>
                        <a:lnTo>
                          <a:pt x="51" y="624"/>
                        </a:lnTo>
                        <a:lnTo>
                          <a:pt x="52" y="622"/>
                        </a:lnTo>
                        <a:lnTo>
                          <a:pt x="54" y="619"/>
                        </a:lnTo>
                        <a:lnTo>
                          <a:pt x="55" y="618"/>
                        </a:lnTo>
                        <a:lnTo>
                          <a:pt x="55" y="616"/>
                        </a:lnTo>
                        <a:lnTo>
                          <a:pt x="55" y="613"/>
                        </a:lnTo>
                        <a:lnTo>
                          <a:pt x="55" y="611"/>
                        </a:lnTo>
                        <a:lnTo>
                          <a:pt x="55" y="610"/>
                        </a:lnTo>
                        <a:lnTo>
                          <a:pt x="57" y="608"/>
                        </a:lnTo>
                        <a:lnTo>
                          <a:pt x="57" y="607"/>
                        </a:lnTo>
                        <a:lnTo>
                          <a:pt x="59" y="605"/>
                        </a:lnTo>
                        <a:lnTo>
                          <a:pt x="60" y="603"/>
                        </a:lnTo>
                        <a:lnTo>
                          <a:pt x="62" y="602"/>
                        </a:lnTo>
                        <a:lnTo>
                          <a:pt x="63" y="599"/>
                        </a:lnTo>
                        <a:lnTo>
                          <a:pt x="65" y="597"/>
                        </a:lnTo>
                        <a:lnTo>
                          <a:pt x="65" y="595"/>
                        </a:lnTo>
                        <a:lnTo>
                          <a:pt x="65" y="591"/>
                        </a:lnTo>
                        <a:lnTo>
                          <a:pt x="65" y="588"/>
                        </a:lnTo>
                        <a:lnTo>
                          <a:pt x="63" y="588"/>
                        </a:lnTo>
                        <a:lnTo>
                          <a:pt x="63" y="586"/>
                        </a:lnTo>
                        <a:lnTo>
                          <a:pt x="63" y="584"/>
                        </a:lnTo>
                        <a:lnTo>
                          <a:pt x="60" y="583"/>
                        </a:lnTo>
                        <a:lnTo>
                          <a:pt x="59" y="581"/>
                        </a:lnTo>
                        <a:lnTo>
                          <a:pt x="55" y="578"/>
                        </a:lnTo>
                        <a:lnTo>
                          <a:pt x="55" y="576"/>
                        </a:lnTo>
                        <a:lnTo>
                          <a:pt x="52" y="576"/>
                        </a:lnTo>
                        <a:lnTo>
                          <a:pt x="49" y="573"/>
                        </a:lnTo>
                        <a:lnTo>
                          <a:pt x="47" y="572"/>
                        </a:lnTo>
                        <a:lnTo>
                          <a:pt x="46" y="570"/>
                        </a:lnTo>
                        <a:lnTo>
                          <a:pt x="44" y="570"/>
                        </a:lnTo>
                        <a:lnTo>
                          <a:pt x="43" y="569"/>
                        </a:lnTo>
                        <a:lnTo>
                          <a:pt x="41" y="569"/>
                        </a:lnTo>
                        <a:lnTo>
                          <a:pt x="36" y="569"/>
                        </a:lnTo>
                        <a:lnTo>
                          <a:pt x="35" y="567"/>
                        </a:lnTo>
                        <a:lnTo>
                          <a:pt x="33" y="564"/>
                        </a:lnTo>
                        <a:lnTo>
                          <a:pt x="32" y="562"/>
                        </a:lnTo>
                        <a:lnTo>
                          <a:pt x="30" y="561"/>
                        </a:lnTo>
                        <a:lnTo>
                          <a:pt x="30" y="557"/>
                        </a:lnTo>
                        <a:lnTo>
                          <a:pt x="30" y="556"/>
                        </a:lnTo>
                        <a:lnTo>
                          <a:pt x="32" y="554"/>
                        </a:lnTo>
                        <a:lnTo>
                          <a:pt x="32" y="553"/>
                        </a:lnTo>
                        <a:lnTo>
                          <a:pt x="33" y="551"/>
                        </a:lnTo>
                        <a:lnTo>
                          <a:pt x="36" y="548"/>
                        </a:lnTo>
                        <a:lnTo>
                          <a:pt x="40" y="545"/>
                        </a:lnTo>
                        <a:lnTo>
                          <a:pt x="41" y="543"/>
                        </a:lnTo>
                        <a:lnTo>
                          <a:pt x="43" y="542"/>
                        </a:lnTo>
                        <a:lnTo>
                          <a:pt x="44" y="540"/>
                        </a:lnTo>
                        <a:lnTo>
                          <a:pt x="47" y="537"/>
                        </a:lnTo>
                        <a:lnTo>
                          <a:pt x="49" y="537"/>
                        </a:lnTo>
                        <a:lnTo>
                          <a:pt x="49" y="535"/>
                        </a:lnTo>
                        <a:lnTo>
                          <a:pt x="51" y="531"/>
                        </a:lnTo>
                        <a:lnTo>
                          <a:pt x="51" y="529"/>
                        </a:lnTo>
                        <a:lnTo>
                          <a:pt x="51" y="527"/>
                        </a:lnTo>
                        <a:lnTo>
                          <a:pt x="49" y="526"/>
                        </a:lnTo>
                        <a:lnTo>
                          <a:pt x="49" y="524"/>
                        </a:lnTo>
                        <a:lnTo>
                          <a:pt x="47" y="523"/>
                        </a:lnTo>
                        <a:lnTo>
                          <a:pt x="47" y="521"/>
                        </a:lnTo>
                        <a:lnTo>
                          <a:pt x="46" y="521"/>
                        </a:lnTo>
                        <a:lnTo>
                          <a:pt x="46" y="519"/>
                        </a:lnTo>
                        <a:lnTo>
                          <a:pt x="46" y="518"/>
                        </a:lnTo>
                        <a:lnTo>
                          <a:pt x="40" y="513"/>
                        </a:lnTo>
                        <a:lnTo>
                          <a:pt x="36" y="513"/>
                        </a:lnTo>
                        <a:lnTo>
                          <a:pt x="35" y="513"/>
                        </a:lnTo>
                        <a:lnTo>
                          <a:pt x="33" y="513"/>
                        </a:lnTo>
                        <a:lnTo>
                          <a:pt x="33" y="512"/>
                        </a:lnTo>
                        <a:lnTo>
                          <a:pt x="32" y="512"/>
                        </a:lnTo>
                        <a:lnTo>
                          <a:pt x="30" y="512"/>
                        </a:lnTo>
                        <a:lnTo>
                          <a:pt x="28" y="512"/>
                        </a:lnTo>
                        <a:lnTo>
                          <a:pt x="27" y="512"/>
                        </a:lnTo>
                        <a:lnTo>
                          <a:pt x="25" y="510"/>
                        </a:lnTo>
                        <a:lnTo>
                          <a:pt x="24" y="510"/>
                        </a:lnTo>
                        <a:lnTo>
                          <a:pt x="22" y="508"/>
                        </a:lnTo>
                        <a:lnTo>
                          <a:pt x="21" y="507"/>
                        </a:lnTo>
                        <a:lnTo>
                          <a:pt x="19" y="505"/>
                        </a:lnTo>
                        <a:lnTo>
                          <a:pt x="17" y="505"/>
                        </a:lnTo>
                        <a:lnTo>
                          <a:pt x="16" y="504"/>
                        </a:lnTo>
                        <a:lnTo>
                          <a:pt x="13" y="502"/>
                        </a:lnTo>
                        <a:lnTo>
                          <a:pt x="13" y="500"/>
                        </a:lnTo>
                        <a:lnTo>
                          <a:pt x="13" y="499"/>
                        </a:lnTo>
                        <a:lnTo>
                          <a:pt x="13" y="497"/>
                        </a:lnTo>
                        <a:lnTo>
                          <a:pt x="11" y="496"/>
                        </a:lnTo>
                        <a:lnTo>
                          <a:pt x="9" y="491"/>
                        </a:lnTo>
                        <a:lnTo>
                          <a:pt x="8" y="489"/>
                        </a:lnTo>
                        <a:lnTo>
                          <a:pt x="6" y="489"/>
                        </a:lnTo>
                        <a:lnTo>
                          <a:pt x="5" y="488"/>
                        </a:lnTo>
                        <a:lnTo>
                          <a:pt x="5" y="486"/>
                        </a:lnTo>
                        <a:lnTo>
                          <a:pt x="3" y="485"/>
                        </a:lnTo>
                        <a:lnTo>
                          <a:pt x="2" y="485"/>
                        </a:lnTo>
                        <a:lnTo>
                          <a:pt x="0" y="483"/>
                        </a:lnTo>
                        <a:lnTo>
                          <a:pt x="0" y="481"/>
                        </a:lnTo>
                        <a:lnTo>
                          <a:pt x="0" y="480"/>
                        </a:lnTo>
                        <a:lnTo>
                          <a:pt x="0" y="478"/>
                        </a:lnTo>
                        <a:lnTo>
                          <a:pt x="2" y="477"/>
                        </a:lnTo>
                        <a:lnTo>
                          <a:pt x="2" y="474"/>
                        </a:lnTo>
                        <a:lnTo>
                          <a:pt x="3" y="474"/>
                        </a:lnTo>
                        <a:lnTo>
                          <a:pt x="3" y="472"/>
                        </a:lnTo>
                        <a:lnTo>
                          <a:pt x="5" y="472"/>
                        </a:lnTo>
                        <a:lnTo>
                          <a:pt x="6" y="470"/>
                        </a:lnTo>
                        <a:lnTo>
                          <a:pt x="8" y="470"/>
                        </a:lnTo>
                        <a:lnTo>
                          <a:pt x="8" y="469"/>
                        </a:lnTo>
                        <a:lnTo>
                          <a:pt x="9" y="467"/>
                        </a:lnTo>
                        <a:lnTo>
                          <a:pt x="11" y="467"/>
                        </a:lnTo>
                        <a:lnTo>
                          <a:pt x="11" y="466"/>
                        </a:lnTo>
                        <a:lnTo>
                          <a:pt x="14" y="464"/>
                        </a:lnTo>
                        <a:lnTo>
                          <a:pt x="16" y="462"/>
                        </a:lnTo>
                        <a:lnTo>
                          <a:pt x="19" y="461"/>
                        </a:lnTo>
                        <a:lnTo>
                          <a:pt x="22" y="461"/>
                        </a:lnTo>
                        <a:lnTo>
                          <a:pt x="24" y="461"/>
                        </a:lnTo>
                        <a:lnTo>
                          <a:pt x="25" y="459"/>
                        </a:lnTo>
                        <a:lnTo>
                          <a:pt x="28" y="459"/>
                        </a:lnTo>
                        <a:lnTo>
                          <a:pt x="30" y="458"/>
                        </a:lnTo>
                        <a:lnTo>
                          <a:pt x="32" y="456"/>
                        </a:lnTo>
                        <a:lnTo>
                          <a:pt x="35" y="456"/>
                        </a:lnTo>
                        <a:lnTo>
                          <a:pt x="36" y="456"/>
                        </a:lnTo>
                        <a:lnTo>
                          <a:pt x="38" y="456"/>
                        </a:lnTo>
                        <a:lnTo>
                          <a:pt x="41" y="456"/>
                        </a:lnTo>
                        <a:lnTo>
                          <a:pt x="43" y="458"/>
                        </a:lnTo>
                        <a:lnTo>
                          <a:pt x="47" y="459"/>
                        </a:lnTo>
                        <a:lnTo>
                          <a:pt x="49" y="459"/>
                        </a:lnTo>
                        <a:lnTo>
                          <a:pt x="52" y="461"/>
                        </a:lnTo>
                        <a:lnTo>
                          <a:pt x="54" y="461"/>
                        </a:lnTo>
                        <a:lnTo>
                          <a:pt x="55" y="464"/>
                        </a:lnTo>
                        <a:lnTo>
                          <a:pt x="57" y="466"/>
                        </a:lnTo>
                        <a:lnTo>
                          <a:pt x="59" y="467"/>
                        </a:lnTo>
                        <a:lnTo>
                          <a:pt x="59" y="469"/>
                        </a:lnTo>
                        <a:lnTo>
                          <a:pt x="60" y="470"/>
                        </a:lnTo>
                        <a:lnTo>
                          <a:pt x="62" y="472"/>
                        </a:lnTo>
                        <a:lnTo>
                          <a:pt x="63" y="472"/>
                        </a:lnTo>
                        <a:lnTo>
                          <a:pt x="63" y="474"/>
                        </a:lnTo>
                        <a:lnTo>
                          <a:pt x="63" y="475"/>
                        </a:lnTo>
                        <a:lnTo>
                          <a:pt x="65" y="477"/>
                        </a:lnTo>
                        <a:lnTo>
                          <a:pt x="70" y="480"/>
                        </a:lnTo>
                        <a:lnTo>
                          <a:pt x="71" y="478"/>
                        </a:lnTo>
                        <a:lnTo>
                          <a:pt x="73" y="478"/>
                        </a:lnTo>
                        <a:lnTo>
                          <a:pt x="74" y="478"/>
                        </a:lnTo>
                        <a:lnTo>
                          <a:pt x="76" y="477"/>
                        </a:lnTo>
                        <a:lnTo>
                          <a:pt x="78" y="475"/>
                        </a:lnTo>
                        <a:lnTo>
                          <a:pt x="78" y="474"/>
                        </a:lnTo>
                        <a:lnTo>
                          <a:pt x="78" y="467"/>
                        </a:lnTo>
                        <a:lnTo>
                          <a:pt x="78" y="466"/>
                        </a:lnTo>
                        <a:lnTo>
                          <a:pt x="78" y="461"/>
                        </a:lnTo>
                        <a:lnTo>
                          <a:pt x="78" y="459"/>
                        </a:lnTo>
                        <a:lnTo>
                          <a:pt x="79" y="459"/>
                        </a:lnTo>
                        <a:lnTo>
                          <a:pt x="79" y="456"/>
                        </a:lnTo>
                        <a:lnTo>
                          <a:pt x="81" y="455"/>
                        </a:lnTo>
                        <a:lnTo>
                          <a:pt x="84" y="450"/>
                        </a:lnTo>
                        <a:lnTo>
                          <a:pt x="84" y="448"/>
                        </a:lnTo>
                        <a:lnTo>
                          <a:pt x="85" y="447"/>
                        </a:lnTo>
                        <a:lnTo>
                          <a:pt x="85" y="445"/>
                        </a:lnTo>
                        <a:lnTo>
                          <a:pt x="85" y="443"/>
                        </a:lnTo>
                        <a:lnTo>
                          <a:pt x="85" y="442"/>
                        </a:lnTo>
                        <a:lnTo>
                          <a:pt x="84" y="440"/>
                        </a:lnTo>
                        <a:lnTo>
                          <a:pt x="84" y="439"/>
                        </a:lnTo>
                        <a:lnTo>
                          <a:pt x="82" y="437"/>
                        </a:lnTo>
                        <a:lnTo>
                          <a:pt x="82" y="436"/>
                        </a:lnTo>
                        <a:lnTo>
                          <a:pt x="81" y="434"/>
                        </a:lnTo>
                        <a:lnTo>
                          <a:pt x="79" y="432"/>
                        </a:lnTo>
                        <a:lnTo>
                          <a:pt x="79" y="431"/>
                        </a:lnTo>
                        <a:lnTo>
                          <a:pt x="78" y="429"/>
                        </a:lnTo>
                        <a:lnTo>
                          <a:pt x="76" y="428"/>
                        </a:lnTo>
                        <a:lnTo>
                          <a:pt x="73" y="426"/>
                        </a:lnTo>
                        <a:lnTo>
                          <a:pt x="70" y="424"/>
                        </a:lnTo>
                        <a:lnTo>
                          <a:pt x="68" y="420"/>
                        </a:lnTo>
                        <a:lnTo>
                          <a:pt x="68" y="418"/>
                        </a:lnTo>
                        <a:lnTo>
                          <a:pt x="68" y="416"/>
                        </a:lnTo>
                        <a:lnTo>
                          <a:pt x="68" y="415"/>
                        </a:lnTo>
                        <a:lnTo>
                          <a:pt x="70" y="410"/>
                        </a:lnTo>
                        <a:lnTo>
                          <a:pt x="68" y="409"/>
                        </a:lnTo>
                        <a:lnTo>
                          <a:pt x="68" y="407"/>
                        </a:lnTo>
                        <a:lnTo>
                          <a:pt x="66" y="404"/>
                        </a:lnTo>
                        <a:lnTo>
                          <a:pt x="65" y="402"/>
                        </a:lnTo>
                        <a:lnTo>
                          <a:pt x="65" y="401"/>
                        </a:lnTo>
                        <a:lnTo>
                          <a:pt x="65" y="399"/>
                        </a:lnTo>
                        <a:lnTo>
                          <a:pt x="65" y="397"/>
                        </a:lnTo>
                        <a:lnTo>
                          <a:pt x="63" y="396"/>
                        </a:lnTo>
                        <a:lnTo>
                          <a:pt x="65" y="394"/>
                        </a:lnTo>
                        <a:lnTo>
                          <a:pt x="65" y="393"/>
                        </a:lnTo>
                        <a:lnTo>
                          <a:pt x="63" y="393"/>
                        </a:lnTo>
                        <a:lnTo>
                          <a:pt x="63" y="390"/>
                        </a:lnTo>
                        <a:lnTo>
                          <a:pt x="63" y="388"/>
                        </a:lnTo>
                        <a:lnTo>
                          <a:pt x="62" y="388"/>
                        </a:lnTo>
                        <a:lnTo>
                          <a:pt x="62" y="386"/>
                        </a:lnTo>
                        <a:lnTo>
                          <a:pt x="60" y="383"/>
                        </a:lnTo>
                        <a:lnTo>
                          <a:pt x="60" y="382"/>
                        </a:lnTo>
                        <a:lnTo>
                          <a:pt x="59" y="380"/>
                        </a:lnTo>
                        <a:lnTo>
                          <a:pt x="57" y="378"/>
                        </a:lnTo>
                        <a:lnTo>
                          <a:pt x="55" y="377"/>
                        </a:lnTo>
                        <a:lnTo>
                          <a:pt x="54" y="375"/>
                        </a:lnTo>
                        <a:lnTo>
                          <a:pt x="52" y="375"/>
                        </a:lnTo>
                        <a:lnTo>
                          <a:pt x="49" y="371"/>
                        </a:lnTo>
                        <a:lnTo>
                          <a:pt x="47" y="369"/>
                        </a:lnTo>
                        <a:lnTo>
                          <a:pt x="46" y="367"/>
                        </a:lnTo>
                        <a:lnTo>
                          <a:pt x="43" y="367"/>
                        </a:lnTo>
                        <a:lnTo>
                          <a:pt x="41" y="366"/>
                        </a:lnTo>
                        <a:lnTo>
                          <a:pt x="40" y="364"/>
                        </a:lnTo>
                        <a:lnTo>
                          <a:pt x="38" y="364"/>
                        </a:lnTo>
                        <a:lnTo>
                          <a:pt x="36" y="364"/>
                        </a:lnTo>
                        <a:lnTo>
                          <a:pt x="35" y="363"/>
                        </a:lnTo>
                        <a:lnTo>
                          <a:pt x="33" y="361"/>
                        </a:lnTo>
                        <a:lnTo>
                          <a:pt x="32" y="359"/>
                        </a:lnTo>
                        <a:lnTo>
                          <a:pt x="30" y="358"/>
                        </a:lnTo>
                        <a:lnTo>
                          <a:pt x="28" y="356"/>
                        </a:lnTo>
                        <a:lnTo>
                          <a:pt x="28" y="355"/>
                        </a:lnTo>
                        <a:lnTo>
                          <a:pt x="27" y="352"/>
                        </a:lnTo>
                        <a:lnTo>
                          <a:pt x="27" y="350"/>
                        </a:lnTo>
                        <a:lnTo>
                          <a:pt x="27" y="348"/>
                        </a:lnTo>
                        <a:lnTo>
                          <a:pt x="27" y="347"/>
                        </a:lnTo>
                        <a:lnTo>
                          <a:pt x="28" y="342"/>
                        </a:lnTo>
                        <a:lnTo>
                          <a:pt x="30" y="337"/>
                        </a:lnTo>
                        <a:lnTo>
                          <a:pt x="30" y="334"/>
                        </a:lnTo>
                        <a:lnTo>
                          <a:pt x="30" y="333"/>
                        </a:lnTo>
                        <a:lnTo>
                          <a:pt x="32" y="331"/>
                        </a:lnTo>
                        <a:lnTo>
                          <a:pt x="35" y="326"/>
                        </a:lnTo>
                        <a:lnTo>
                          <a:pt x="35" y="325"/>
                        </a:lnTo>
                        <a:lnTo>
                          <a:pt x="35" y="323"/>
                        </a:lnTo>
                        <a:lnTo>
                          <a:pt x="36" y="321"/>
                        </a:lnTo>
                        <a:lnTo>
                          <a:pt x="38" y="320"/>
                        </a:lnTo>
                        <a:lnTo>
                          <a:pt x="38" y="318"/>
                        </a:lnTo>
                        <a:lnTo>
                          <a:pt x="40" y="318"/>
                        </a:lnTo>
                        <a:lnTo>
                          <a:pt x="43" y="315"/>
                        </a:lnTo>
                        <a:lnTo>
                          <a:pt x="46" y="312"/>
                        </a:lnTo>
                        <a:lnTo>
                          <a:pt x="47" y="312"/>
                        </a:lnTo>
                        <a:lnTo>
                          <a:pt x="47" y="310"/>
                        </a:lnTo>
                        <a:lnTo>
                          <a:pt x="47" y="309"/>
                        </a:lnTo>
                        <a:lnTo>
                          <a:pt x="49" y="309"/>
                        </a:lnTo>
                        <a:lnTo>
                          <a:pt x="51" y="307"/>
                        </a:lnTo>
                        <a:lnTo>
                          <a:pt x="52" y="307"/>
                        </a:lnTo>
                        <a:lnTo>
                          <a:pt x="54" y="307"/>
                        </a:lnTo>
                        <a:lnTo>
                          <a:pt x="54" y="309"/>
                        </a:lnTo>
                        <a:lnTo>
                          <a:pt x="59" y="310"/>
                        </a:lnTo>
                        <a:lnTo>
                          <a:pt x="60" y="310"/>
                        </a:lnTo>
                        <a:lnTo>
                          <a:pt x="62" y="310"/>
                        </a:lnTo>
                        <a:lnTo>
                          <a:pt x="63" y="309"/>
                        </a:lnTo>
                        <a:lnTo>
                          <a:pt x="65" y="307"/>
                        </a:lnTo>
                        <a:lnTo>
                          <a:pt x="65" y="306"/>
                        </a:lnTo>
                        <a:lnTo>
                          <a:pt x="65" y="304"/>
                        </a:lnTo>
                        <a:lnTo>
                          <a:pt x="65" y="301"/>
                        </a:lnTo>
                        <a:lnTo>
                          <a:pt x="65" y="299"/>
                        </a:lnTo>
                        <a:lnTo>
                          <a:pt x="65" y="298"/>
                        </a:lnTo>
                        <a:lnTo>
                          <a:pt x="65" y="296"/>
                        </a:lnTo>
                        <a:lnTo>
                          <a:pt x="65" y="295"/>
                        </a:lnTo>
                        <a:lnTo>
                          <a:pt x="63" y="291"/>
                        </a:lnTo>
                        <a:lnTo>
                          <a:pt x="63" y="288"/>
                        </a:lnTo>
                        <a:lnTo>
                          <a:pt x="62" y="287"/>
                        </a:lnTo>
                        <a:lnTo>
                          <a:pt x="60" y="285"/>
                        </a:lnTo>
                        <a:lnTo>
                          <a:pt x="59" y="283"/>
                        </a:lnTo>
                        <a:lnTo>
                          <a:pt x="57" y="282"/>
                        </a:lnTo>
                        <a:lnTo>
                          <a:pt x="55" y="282"/>
                        </a:lnTo>
                        <a:lnTo>
                          <a:pt x="52" y="282"/>
                        </a:lnTo>
                        <a:lnTo>
                          <a:pt x="51" y="280"/>
                        </a:lnTo>
                        <a:lnTo>
                          <a:pt x="49" y="280"/>
                        </a:lnTo>
                        <a:lnTo>
                          <a:pt x="54" y="276"/>
                        </a:lnTo>
                        <a:lnTo>
                          <a:pt x="60" y="272"/>
                        </a:lnTo>
                        <a:lnTo>
                          <a:pt x="68" y="266"/>
                        </a:lnTo>
                        <a:lnTo>
                          <a:pt x="82" y="255"/>
                        </a:lnTo>
                        <a:lnTo>
                          <a:pt x="89" y="250"/>
                        </a:lnTo>
                        <a:lnTo>
                          <a:pt x="93" y="245"/>
                        </a:lnTo>
                        <a:lnTo>
                          <a:pt x="93" y="247"/>
                        </a:lnTo>
                        <a:lnTo>
                          <a:pt x="95" y="247"/>
                        </a:lnTo>
                        <a:lnTo>
                          <a:pt x="98" y="242"/>
                        </a:lnTo>
                        <a:lnTo>
                          <a:pt x="100" y="241"/>
                        </a:lnTo>
                        <a:lnTo>
                          <a:pt x="101" y="237"/>
                        </a:lnTo>
                        <a:lnTo>
                          <a:pt x="106" y="234"/>
                        </a:lnTo>
                        <a:lnTo>
                          <a:pt x="108" y="233"/>
                        </a:lnTo>
                        <a:lnTo>
                          <a:pt x="108" y="231"/>
                        </a:lnTo>
                        <a:lnTo>
                          <a:pt x="109" y="230"/>
                        </a:lnTo>
                        <a:lnTo>
                          <a:pt x="109" y="225"/>
                        </a:lnTo>
                        <a:lnTo>
                          <a:pt x="108" y="223"/>
                        </a:lnTo>
                        <a:lnTo>
                          <a:pt x="108" y="222"/>
                        </a:lnTo>
                        <a:lnTo>
                          <a:pt x="109" y="220"/>
                        </a:lnTo>
                        <a:lnTo>
                          <a:pt x="112" y="217"/>
                        </a:lnTo>
                        <a:lnTo>
                          <a:pt x="119" y="212"/>
                        </a:lnTo>
                        <a:lnTo>
                          <a:pt x="128" y="204"/>
                        </a:lnTo>
                        <a:lnTo>
                          <a:pt x="127" y="201"/>
                        </a:lnTo>
                        <a:lnTo>
                          <a:pt x="125" y="196"/>
                        </a:lnTo>
                        <a:lnTo>
                          <a:pt x="124" y="192"/>
                        </a:lnTo>
                        <a:lnTo>
                          <a:pt x="119" y="184"/>
                        </a:lnTo>
                        <a:lnTo>
                          <a:pt x="116" y="176"/>
                        </a:lnTo>
                        <a:lnTo>
                          <a:pt x="109" y="165"/>
                        </a:lnTo>
                        <a:lnTo>
                          <a:pt x="101" y="150"/>
                        </a:lnTo>
                        <a:lnTo>
                          <a:pt x="98" y="141"/>
                        </a:lnTo>
                        <a:lnTo>
                          <a:pt x="98" y="139"/>
                        </a:lnTo>
                        <a:lnTo>
                          <a:pt x="100" y="139"/>
                        </a:lnTo>
                        <a:lnTo>
                          <a:pt x="100" y="138"/>
                        </a:lnTo>
                        <a:lnTo>
                          <a:pt x="100" y="136"/>
                        </a:lnTo>
                        <a:lnTo>
                          <a:pt x="101" y="133"/>
                        </a:lnTo>
                        <a:lnTo>
                          <a:pt x="103" y="131"/>
                        </a:lnTo>
                        <a:lnTo>
                          <a:pt x="104" y="128"/>
                        </a:lnTo>
                        <a:lnTo>
                          <a:pt x="106" y="127"/>
                        </a:lnTo>
                        <a:lnTo>
                          <a:pt x="106" y="125"/>
                        </a:lnTo>
                        <a:lnTo>
                          <a:pt x="109" y="122"/>
                        </a:lnTo>
                        <a:lnTo>
                          <a:pt x="112" y="120"/>
                        </a:lnTo>
                        <a:lnTo>
                          <a:pt x="114" y="119"/>
                        </a:lnTo>
                        <a:lnTo>
                          <a:pt x="116" y="117"/>
                        </a:lnTo>
                        <a:lnTo>
                          <a:pt x="117" y="116"/>
                        </a:lnTo>
                        <a:lnTo>
                          <a:pt x="120" y="114"/>
                        </a:lnTo>
                        <a:lnTo>
                          <a:pt x="122" y="112"/>
                        </a:lnTo>
                        <a:lnTo>
                          <a:pt x="122" y="111"/>
                        </a:lnTo>
                        <a:lnTo>
                          <a:pt x="125" y="108"/>
                        </a:lnTo>
                        <a:lnTo>
                          <a:pt x="128" y="104"/>
                        </a:lnTo>
                        <a:lnTo>
                          <a:pt x="128" y="101"/>
                        </a:lnTo>
                        <a:lnTo>
                          <a:pt x="130" y="100"/>
                        </a:lnTo>
                        <a:lnTo>
                          <a:pt x="130" y="98"/>
                        </a:lnTo>
                        <a:lnTo>
                          <a:pt x="131" y="98"/>
                        </a:lnTo>
                        <a:lnTo>
                          <a:pt x="131" y="97"/>
                        </a:lnTo>
                        <a:lnTo>
                          <a:pt x="138" y="97"/>
                        </a:lnTo>
                        <a:lnTo>
                          <a:pt x="139" y="95"/>
                        </a:lnTo>
                        <a:lnTo>
                          <a:pt x="141" y="93"/>
                        </a:lnTo>
                        <a:lnTo>
                          <a:pt x="143" y="92"/>
                        </a:lnTo>
                        <a:lnTo>
                          <a:pt x="146" y="92"/>
                        </a:lnTo>
                        <a:lnTo>
                          <a:pt x="149" y="93"/>
                        </a:lnTo>
                        <a:lnTo>
                          <a:pt x="149" y="92"/>
                        </a:lnTo>
                        <a:lnTo>
                          <a:pt x="150" y="90"/>
                        </a:lnTo>
                        <a:lnTo>
                          <a:pt x="150" y="85"/>
                        </a:lnTo>
                        <a:lnTo>
                          <a:pt x="150" y="81"/>
                        </a:lnTo>
                        <a:lnTo>
                          <a:pt x="152" y="79"/>
                        </a:lnTo>
                        <a:lnTo>
                          <a:pt x="152" y="78"/>
                        </a:lnTo>
                        <a:lnTo>
                          <a:pt x="154" y="76"/>
                        </a:lnTo>
                        <a:lnTo>
                          <a:pt x="155" y="74"/>
                        </a:lnTo>
                        <a:lnTo>
                          <a:pt x="158" y="73"/>
                        </a:lnTo>
                        <a:lnTo>
                          <a:pt x="162" y="71"/>
                        </a:lnTo>
                        <a:lnTo>
                          <a:pt x="165" y="68"/>
                        </a:lnTo>
                        <a:lnTo>
                          <a:pt x="168" y="65"/>
                        </a:lnTo>
                        <a:lnTo>
                          <a:pt x="173" y="60"/>
                        </a:lnTo>
                        <a:lnTo>
                          <a:pt x="176" y="58"/>
                        </a:lnTo>
                        <a:lnTo>
                          <a:pt x="177" y="57"/>
                        </a:lnTo>
                        <a:lnTo>
                          <a:pt x="177" y="55"/>
                        </a:lnTo>
                        <a:lnTo>
                          <a:pt x="185" y="49"/>
                        </a:lnTo>
                        <a:lnTo>
                          <a:pt x="200" y="38"/>
                        </a:lnTo>
                        <a:lnTo>
                          <a:pt x="211" y="28"/>
                        </a:lnTo>
                        <a:lnTo>
                          <a:pt x="222" y="19"/>
                        </a:lnTo>
                        <a:lnTo>
                          <a:pt x="223" y="16"/>
                        </a:lnTo>
                        <a:lnTo>
                          <a:pt x="225" y="14"/>
                        </a:lnTo>
                        <a:lnTo>
                          <a:pt x="225" y="13"/>
                        </a:lnTo>
                        <a:lnTo>
                          <a:pt x="225" y="11"/>
                        </a:lnTo>
                        <a:lnTo>
                          <a:pt x="226" y="8"/>
                        </a:lnTo>
                        <a:lnTo>
                          <a:pt x="230" y="6"/>
                        </a:lnTo>
                        <a:lnTo>
                          <a:pt x="231" y="5"/>
                        </a:lnTo>
                        <a:lnTo>
                          <a:pt x="231" y="3"/>
                        </a:lnTo>
                        <a:lnTo>
                          <a:pt x="233" y="1"/>
                        </a:lnTo>
                        <a:lnTo>
                          <a:pt x="233" y="0"/>
                        </a:lnTo>
                        <a:lnTo>
                          <a:pt x="234" y="0"/>
                        </a:lnTo>
                        <a:close/>
                      </a:path>
                    </a:pathLst>
                  </a:custGeom>
                  <a:solidFill>
                    <a:srgbClr val="C7E3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87" name="Freeform 86"/>
                  <p:cNvSpPr>
                    <a:spLocks/>
                  </p:cNvSpPr>
                  <p:nvPr/>
                </p:nvSpPr>
                <p:spPr bwMode="auto">
                  <a:xfrm>
                    <a:off x="3466" y="2016"/>
                    <a:ext cx="764" cy="1099"/>
                  </a:xfrm>
                  <a:custGeom>
                    <a:avLst/>
                    <a:gdLst>
                      <a:gd name="T0" fmla="*/ 35 w 764"/>
                      <a:gd name="T1" fmla="*/ 39 h 1099"/>
                      <a:gd name="T2" fmla="*/ 16 w 764"/>
                      <a:gd name="T3" fmla="*/ 92 h 1099"/>
                      <a:gd name="T4" fmla="*/ 72 w 764"/>
                      <a:gd name="T5" fmla="*/ 89 h 1099"/>
                      <a:gd name="T6" fmla="*/ 42 w 764"/>
                      <a:gd name="T7" fmla="*/ 127 h 1099"/>
                      <a:gd name="T8" fmla="*/ 241 w 764"/>
                      <a:gd name="T9" fmla="*/ 85 h 1099"/>
                      <a:gd name="T10" fmla="*/ 284 w 764"/>
                      <a:gd name="T11" fmla="*/ 95 h 1099"/>
                      <a:gd name="T12" fmla="*/ 336 w 764"/>
                      <a:gd name="T13" fmla="*/ 84 h 1099"/>
                      <a:gd name="T14" fmla="*/ 350 w 764"/>
                      <a:gd name="T15" fmla="*/ 104 h 1099"/>
                      <a:gd name="T16" fmla="*/ 385 w 764"/>
                      <a:gd name="T17" fmla="*/ 100 h 1099"/>
                      <a:gd name="T18" fmla="*/ 401 w 764"/>
                      <a:gd name="T19" fmla="*/ 127 h 1099"/>
                      <a:gd name="T20" fmla="*/ 444 w 764"/>
                      <a:gd name="T21" fmla="*/ 161 h 1099"/>
                      <a:gd name="T22" fmla="*/ 461 w 764"/>
                      <a:gd name="T23" fmla="*/ 225 h 1099"/>
                      <a:gd name="T24" fmla="*/ 396 w 764"/>
                      <a:gd name="T25" fmla="*/ 225 h 1099"/>
                      <a:gd name="T26" fmla="*/ 344 w 764"/>
                      <a:gd name="T27" fmla="*/ 228 h 1099"/>
                      <a:gd name="T28" fmla="*/ 316 w 764"/>
                      <a:gd name="T29" fmla="*/ 287 h 1099"/>
                      <a:gd name="T30" fmla="*/ 312 w 764"/>
                      <a:gd name="T31" fmla="*/ 334 h 1099"/>
                      <a:gd name="T32" fmla="*/ 344 w 764"/>
                      <a:gd name="T33" fmla="*/ 329 h 1099"/>
                      <a:gd name="T34" fmla="*/ 425 w 764"/>
                      <a:gd name="T35" fmla="*/ 295 h 1099"/>
                      <a:gd name="T36" fmla="*/ 460 w 764"/>
                      <a:gd name="T37" fmla="*/ 317 h 1099"/>
                      <a:gd name="T38" fmla="*/ 469 w 764"/>
                      <a:gd name="T39" fmla="*/ 356 h 1099"/>
                      <a:gd name="T40" fmla="*/ 445 w 764"/>
                      <a:gd name="T41" fmla="*/ 391 h 1099"/>
                      <a:gd name="T42" fmla="*/ 384 w 764"/>
                      <a:gd name="T43" fmla="*/ 426 h 1099"/>
                      <a:gd name="T44" fmla="*/ 350 w 764"/>
                      <a:gd name="T45" fmla="*/ 443 h 1099"/>
                      <a:gd name="T46" fmla="*/ 363 w 764"/>
                      <a:gd name="T47" fmla="*/ 474 h 1099"/>
                      <a:gd name="T48" fmla="*/ 314 w 764"/>
                      <a:gd name="T49" fmla="*/ 519 h 1099"/>
                      <a:gd name="T50" fmla="*/ 346 w 764"/>
                      <a:gd name="T51" fmla="*/ 545 h 1099"/>
                      <a:gd name="T52" fmla="*/ 373 w 764"/>
                      <a:gd name="T53" fmla="*/ 564 h 1099"/>
                      <a:gd name="T54" fmla="*/ 406 w 764"/>
                      <a:gd name="T55" fmla="*/ 570 h 1099"/>
                      <a:gd name="T56" fmla="*/ 434 w 764"/>
                      <a:gd name="T57" fmla="*/ 548 h 1099"/>
                      <a:gd name="T58" fmla="*/ 461 w 764"/>
                      <a:gd name="T59" fmla="*/ 542 h 1099"/>
                      <a:gd name="T60" fmla="*/ 472 w 764"/>
                      <a:gd name="T61" fmla="*/ 564 h 1099"/>
                      <a:gd name="T62" fmla="*/ 496 w 764"/>
                      <a:gd name="T63" fmla="*/ 588 h 1099"/>
                      <a:gd name="T64" fmla="*/ 518 w 764"/>
                      <a:gd name="T65" fmla="*/ 603 h 1099"/>
                      <a:gd name="T66" fmla="*/ 531 w 764"/>
                      <a:gd name="T67" fmla="*/ 624 h 1099"/>
                      <a:gd name="T68" fmla="*/ 553 w 764"/>
                      <a:gd name="T69" fmla="*/ 646 h 1099"/>
                      <a:gd name="T70" fmla="*/ 574 w 764"/>
                      <a:gd name="T71" fmla="*/ 651 h 1099"/>
                      <a:gd name="T72" fmla="*/ 601 w 764"/>
                      <a:gd name="T73" fmla="*/ 667 h 1099"/>
                      <a:gd name="T74" fmla="*/ 613 w 764"/>
                      <a:gd name="T75" fmla="*/ 686 h 1099"/>
                      <a:gd name="T76" fmla="*/ 629 w 764"/>
                      <a:gd name="T77" fmla="*/ 697 h 1099"/>
                      <a:gd name="T78" fmla="*/ 651 w 764"/>
                      <a:gd name="T79" fmla="*/ 708 h 1099"/>
                      <a:gd name="T80" fmla="*/ 672 w 764"/>
                      <a:gd name="T81" fmla="*/ 713 h 1099"/>
                      <a:gd name="T82" fmla="*/ 677 w 764"/>
                      <a:gd name="T83" fmla="*/ 740 h 1099"/>
                      <a:gd name="T84" fmla="*/ 694 w 764"/>
                      <a:gd name="T85" fmla="*/ 752 h 1099"/>
                      <a:gd name="T86" fmla="*/ 712 w 764"/>
                      <a:gd name="T87" fmla="*/ 765 h 1099"/>
                      <a:gd name="T88" fmla="*/ 739 w 764"/>
                      <a:gd name="T89" fmla="*/ 768 h 1099"/>
                      <a:gd name="T90" fmla="*/ 753 w 764"/>
                      <a:gd name="T91" fmla="*/ 789 h 1099"/>
                      <a:gd name="T92" fmla="*/ 742 w 764"/>
                      <a:gd name="T93" fmla="*/ 809 h 1099"/>
                      <a:gd name="T94" fmla="*/ 718 w 764"/>
                      <a:gd name="T95" fmla="*/ 836 h 1099"/>
                      <a:gd name="T96" fmla="*/ 666 w 764"/>
                      <a:gd name="T97" fmla="*/ 863 h 1099"/>
                      <a:gd name="T98" fmla="*/ 618 w 764"/>
                      <a:gd name="T99" fmla="*/ 892 h 1099"/>
                      <a:gd name="T100" fmla="*/ 594 w 764"/>
                      <a:gd name="T101" fmla="*/ 908 h 1099"/>
                      <a:gd name="T102" fmla="*/ 577 w 764"/>
                      <a:gd name="T103" fmla="*/ 961 h 1099"/>
                      <a:gd name="T104" fmla="*/ 558 w 764"/>
                      <a:gd name="T105" fmla="*/ 1012 h 1099"/>
                      <a:gd name="T106" fmla="*/ 563 w 764"/>
                      <a:gd name="T107" fmla="*/ 1034 h 1099"/>
                      <a:gd name="T108" fmla="*/ 580 w 764"/>
                      <a:gd name="T109" fmla="*/ 1050 h 1099"/>
                      <a:gd name="T110" fmla="*/ 598 w 764"/>
                      <a:gd name="T111" fmla="*/ 1055 h 1099"/>
                      <a:gd name="T112" fmla="*/ 610 w 764"/>
                      <a:gd name="T113" fmla="*/ 1069 h 1099"/>
                      <a:gd name="T114" fmla="*/ 629 w 764"/>
                      <a:gd name="T115" fmla="*/ 1079 h 1099"/>
                      <a:gd name="T116" fmla="*/ 658 w 764"/>
                      <a:gd name="T117" fmla="*/ 1075 h 1099"/>
                      <a:gd name="T118" fmla="*/ 664 w 764"/>
                      <a:gd name="T119" fmla="*/ 1094 h 1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64" h="1099">
                        <a:moveTo>
                          <a:pt x="0" y="0"/>
                        </a:moveTo>
                        <a:lnTo>
                          <a:pt x="2" y="0"/>
                        </a:lnTo>
                        <a:lnTo>
                          <a:pt x="4" y="1"/>
                        </a:lnTo>
                        <a:lnTo>
                          <a:pt x="7" y="1"/>
                        </a:lnTo>
                        <a:lnTo>
                          <a:pt x="8" y="3"/>
                        </a:lnTo>
                        <a:lnTo>
                          <a:pt x="13" y="5"/>
                        </a:lnTo>
                        <a:lnTo>
                          <a:pt x="18" y="5"/>
                        </a:lnTo>
                        <a:lnTo>
                          <a:pt x="21" y="8"/>
                        </a:lnTo>
                        <a:lnTo>
                          <a:pt x="23" y="9"/>
                        </a:lnTo>
                        <a:lnTo>
                          <a:pt x="24" y="11"/>
                        </a:lnTo>
                        <a:lnTo>
                          <a:pt x="26" y="16"/>
                        </a:lnTo>
                        <a:lnTo>
                          <a:pt x="26" y="19"/>
                        </a:lnTo>
                        <a:lnTo>
                          <a:pt x="27" y="20"/>
                        </a:lnTo>
                        <a:lnTo>
                          <a:pt x="29" y="24"/>
                        </a:lnTo>
                        <a:lnTo>
                          <a:pt x="32" y="30"/>
                        </a:lnTo>
                        <a:lnTo>
                          <a:pt x="35" y="36"/>
                        </a:lnTo>
                        <a:lnTo>
                          <a:pt x="35" y="39"/>
                        </a:lnTo>
                        <a:lnTo>
                          <a:pt x="37" y="41"/>
                        </a:lnTo>
                        <a:lnTo>
                          <a:pt x="32" y="44"/>
                        </a:lnTo>
                        <a:lnTo>
                          <a:pt x="26" y="47"/>
                        </a:lnTo>
                        <a:lnTo>
                          <a:pt x="19" y="49"/>
                        </a:lnTo>
                        <a:lnTo>
                          <a:pt x="15" y="52"/>
                        </a:lnTo>
                        <a:lnTo>
                          <a:pt x="13" y="54"/>
                        </a:lnTo>
                        <a:lnTo>
                          <a:pt x="11" y="54"/>
                        </a:lnTo>
                        <a:lnTo>
                          <a:pt x="11" y="55"/>
                        </a:lnTo>
                        <a:lnTo>
                          <a:pt x="10" y="65"/>
                        </a:lnTo>
                        <a:lnTo>
                          <a:pt x="10" y="76"/>
                        </a:lnTo>
                        <a:lnTo>
                          <a:pt x="10" y="81"/>
                        </a:lnTo>
                        <a:lnTo>
                          <a:pt x="10" y="82"/>
                        </a:lnTo>
                        <a:lnTo>
                          <a:pt x="10" y="85"/>
                        </a:lnTo>
                        <a:lnTo>
                          <a:pt x="11" y="87"/>
                        </a:lnTo>
                        <a:lnTo>
                          <a:pt x="13" y="90"/>
                        </a:lnTo>
                        <a:lnTo>
                          <a:pt x="15" y="92"/>
                        </a:lnTo>
                        <a:lnTo>
                          <a:pt x="16" y="92"/>
                        </a:lnTo>
                        <a:lnTo>
                          <a:pt x="18" y="92"/>
                        </a:lnTo>
                        <a:lnTo>
                          <a:pt x="19" y="90"/>
                        </a:lnTo>
                        <a:lnTo>
                          <a:pt x="21" y="90"/>
                        </a:lnTo>
                        <a:lnTo>
                          <a:pt x="23" y="90"/>
                        </a:lnTo>
                        <a:lnTo>
                          <a:pt x="23" y="89"/>
                        </a:lnTo>
                        <a:lnTo>
                          <a:pt x="24" y="89"/>
                        </a:lnTo>
                        <a:lnTo>
                          <a:pt x="27" y="89"/>
                        </a:lnTo>
                        <a:lnTo>
                          <a:pt x="30" y="89"/>
                        </a:lnTo>
                        <a:lnTo>
                          <a:pt x="35" y="89"/>
                        </a:lnTo>
                        <a:lnTo>
                          <a:pt x="38" y="89"/>
                        </a:lnTo>
                        <a:lnTo>
                          <a:pt x="42" y="89"/>
                        </a:lnTo>
                        <a:lnTo>
                          <a:pt x="48" y="87"/>
                        </a:lnTo>
                        <a:lnTo>
                          <a:pt x="56" y="87"/>
                        </a:lnTo>
                        <a:lnTo>
                          <a:pt x="62" y="85"/>
                        </a:lnTo>
                        <a:lnTo>
                          <a:pt x="67" y="85"/>
                        </a:lnTo>
                        <a:lnTo>
                          <a:pt x="70" y="85"/>
                        </a:lnTo>
                        <a:lnTo>
                          <a:pt x="72" y="89"/>
                        </a:lnTo>
                        <a:lnTo>
                          <a:pt x="70" y="95"/>
                        </a:lnTo>
                        <a:lnTo>
                          <a:pt x="68" y="98"/>
                        </a:lnTo>
                        <a:lnTo>
                          <a:pt x="67" y="100"/>
                        </a:lnTo>
                        <a:lnTo>
                          <a:pt x="65" y="101"/>
                        </a:lnTo>
                        <a:lnTo>
                          <a:pt x="64" y="103"/>
                        </a:lnTo>
                        <a:lnTo>
                          <a:pt x="62" y="103"/>
                        </a:lnTo>
                        <a:lnTo>
                          <a:pt x="61" y="104"/>
                        </a:lnTo>
                        <a:lnTo>
                          <a:pt x="56" y="104"/>
                        </a:lnTo>
                        <a:lnTo>
                          <a:pt x="53" y="104"/>
                        </a:lnTo>
                        <a:lnTo>
                          <a:pt x="48" y="106"/>
                        </a:lnTo>
                        <a:lnTo>
                          <a:pt x="46" y="106"/>
                        </a:lnTo>
                        <a:lnTo>
                          <a:pt x="45" y="106"/>
                        </a:lnTo>
                        <a:lnTo>
                          <a:pt x="42" y="106"/>
                        </a:lnTo>
                        <a:lnTo>
                          <a:pt x="42" y="114"/>
                        </a:lnTo>
                        <a:lnTo>
                          <a:pt x="42" y="120"/>
                        </a:lnTo>
                        <a:lnTo>
                          <a:pt x="42" y="125"/>
                        </a:lnTo>
                        <a:lnTo>
                          <a:pt x="42" y="127"/>
                        </a:lnTo>
                        <a:lnTo>
                          <a:pt x="42" y="128"/>
                        </a:lnTo>
                        <a:lnTo>
                          <a:pt x="42" y="133"/>
                        </a:lnTo>
                        <a:lnTo>
                          <a:pt x="42" y="136"/>
                        </a:lnTo>
                        <a:lnTo>
                          <a:pt x="42" y="139"/>
                        </a:lnTo>
                        <a:lnTo>
                          <a:pt x="59" y="135"/>
                        </a:lnTo>
                        <a:lnTo>
                          <a:pt x="72" y="131"/>
                        </a:lnTo>
                        <a:lnTo>
                          <a:pt x="88" y="128"/>
                        </a:lnTo>
                        <a:lnTo>
                          <a:pt x="138" y="114"/>
                        </a:lnTo>
                        <a:lnTo>
                          <a:pt x="154" y="108"/>
                        </a:lnTo>
                        <a:lnTo>
                          <a:pt x="162" y="104"/>
                        </a:lnTo>
                        <a:lnTo>
                          <a:pt x="189" y="97"/>
                        </a:lnTo>
                        <a:lnTo>
                          <a:pt x="214" y="89"/>
                        </a:lnTo>
                        <a:lnTo>
                          <a:pt x="228" y="89"/>
                        </a:lnTo>
                        <a:lnTo>
                          <a:pt x="235" y="87"/>
                        </a:lnTo>
                        <a:lnTo>
                          <a:pt x="240" y="87"/>
                        </a:lnTo>
                        <a:lnTo>
                          <a:pt x="241" y="87"/>
                        </a:lnTo>
                        <a:lnTo>
                          <a:pt x="241" y="85"/>
                        </a:lnTo>
                        <a:lnTo>
                          <a:pt x="243" y="84"/>
                        </a:lnTo>
                        <a:lnTo>
                          <a:pt x="246" y="82"/>
                        </a:lnTo>
                        <a:lnTo>
                          <a:pt x="247" y="82"/>
                        </a:lnTo>
                        <a:lnTo>
                          <a:pt x="249" y="82"/>
                        </a:lnTo>
                        <a:lnTo>
                          <a:pt x="251" y="84"/>
                        </a:lnTo>
                        <a:lnTo>
                          <a:pt x="255" y="85"/>
                        </a:lnTo>
                        <a:lnTo>
                          <a:pt x="260" y="87"/>
                        </a:lnTo>
                        <a:lnTo>
                          <a:pt x="268" y="92"/>
                        </a:lnTo>
                        <a:lnTo>
                          <a:pt x="271" y="93"/>
                        </a:lnTo>
                        <a:lnTo>
                          <a:pt x="274" y="95"/>
                        </a:lnTo>
                        <a:lnTo>
                          <a:pt x="276" y="95"/>
                        </a:lnTo>
                        <a:lnTo>
                          <a:pt x="278" y="93"/>
                        </a:lnTo>
                        <a:lnTo>
                          <a:pt x="279" y="95"/>
                        </a:lnTo>
                        <a:lnTo>
                          <a:pt x="281" y="93"/>
                        </a:lnTo>
                        <a:lnTo>
                          <a:pt x="282" y="93"/>
                        </a:lnTo>
                        <a:lnTo>
                          <a:pt x="282" y="95"/>
                        </a:lnTo>
                        <a:lnTo>
                          <a:pt x="284" y="95"/>
                        </a:lnTo>
                        <a:lnTo>
                          <a:pt x="286" y="93"/>
                        </a:lnTo>
                        <a:lnTo>
                          <a:pt x="290" y="92"/>
                        </a:lnTo>
                        <a:lnTo>
                          <a:pt x="292" y="92"/>
                        </a:lnTo>
                        <a:lnTo>
                          <a:pt x="292" y="90"/>
                        </a:lnTo>
                        <a:lnTo>
                          <a:pt x="292" y="89"/>
                        </a:lnTo>
                        <a:lnTo>
                          <a:pt x="292" y="87"/>
                        </a:lnTo>
                        <a:lnTo>
                          <a:pt x="292" y="85"/>
                        </a:lnTo>
                        <a:lnTo>
                          <a:pt x="293" y="84"/>
                        </a:lnTo>
                        <a:lnTo>
                          <a:pt x="297" y="84"/>
                        </a:lnTo>
                        <a:lnTo>
                          <a:pt x="298" y="82"/>
                        </a:lnTo>
                        <a:lnTo>
                          <a:pt x="303" y="82"/>
                        </a:lnTo>
                        <a:lnTo>
                          <a:pt x="309" y="84"/>
                        </a:lnTo>
                        <a:lnTo>
                          <a:pt x="312" y="84"/>
                        </a:lnTo>
                        <a:lnTo>
                          <a:pt x="319" y="85"/>
                        </a:lnTo>
                        <a:lnTo>
                          <a:pt x="324" y="85"/>
                        </a:lnTo>
                        <a:lnTo>
                          <a:pt x="330" y="84"/>
                        </a:lnTo>
                        <a:lnTo>
                          <a:pt x="336" y="84"/>
                        </a:lnTo>
                        <a:lnTo>
                          <a:pt x="338" y="84"/>
                        </a:lnTo>
                        <a:lnTo>
                          <a:pt x="341" y="84"/>
                        </a:lnTo>
                        <a:lnTo>
                          <a:pt x="343" y="84"/>
                        </a:lnTo>
                        <a:lnTo>
                          <a:pt x="344" y="84"/>
                        </a:lnTo>
                        <a:lnTo>
                          <a:pt x="346" y="84"/>
                        </a:lnTo>
                        <a:lnTo>
                          <a:pt x="347" y="84"/>
                        </a:lnTo>
                        <a:lnTo>
                          <a:pt x="347" y="85"/>
                        </a:lnTo>
                        <a:lnTo>
                          <a:pt x="349" y="85"/>
                        </a:lnTo>
                        <a:lnTo>
                          <a:pt x="349" y="87"/>
                        </a:lnTo>
                        <a:lnTo>
                          <a:pt x="352" y="89"/>
                        </a:lnTo>
                        <a:lnTo>
                          <a:pt x="352" y="90"/>
                        </a:lnTo>
                        <a:lnTo>
                          <a:pt x="350" y="93"/>
                        </a:lnTo>
                        <a:lnTo>
                          <a:pt x="349" y="98"/>
                        </a:lnTo>
                        <a:lnTo>
                          <a:pt x="347" y="101"/>
                        </a:lnTo>
                        <a:lnTo>
                          <a:pt x="349" y="103"/>
                        </a:lnTo>
                        <a:lnTo>
                          <a:pt x="350" y="103"/>
                        </a:lnTo>
                        <a:lnTo>
                          <a:pt x="350" y="104"/>
                        </a:lnTo>
                        <a:lnTo>
                          <a:pt x="352" y="104"/>
                        </a:lnTo>
                        <a:lnTo>
                          <a:pt x="354" y="103"/>
                        </a:lnTo>
                        <a:lnTo>
                          <a:pt x="357" y="103"/>
                        </a:lnTo>
                        <a:lnTo>
                          <a:pt x="360" y="101"/>
                        </a:lnTo>
                        <a:lnTo>
                          <a:pt x="363" y="100"/>
                        </a:lnTo>
                        <a:lnTo>
                          <a:pt x="365" y="98"/>
                        </a:lnTo>
                        <a:lnTo>
                          <a:pt x="368" y="97"/>
                        </a:lnTo>
                        <a:lnTo>
                          <a:pt x="371" y="93"/>
                        </a:lnTo>
                        <a:lnTo>
                          <a:pt x="373" y="92"/>
                        </a:lnTo>
                        <a:lnTo>
                          <a:pt x="374" y="93"/>
                        </a:lnTo>
                        <a:lnTo>
                          <a:pt x="376" y="93"/>
                        </a:lnTo>
                        <a:lnTo>
                          <a:pt x="377" y="93"/>
                        </a:lnTo>
                        <a:lnTo>
                          <a:pt x="381" y="95"/>
                        </a:lnTo>
                        <a:lnTo>
                          <a:pt x="381" y="97"/>
                        </a:lnTo>
                        <a:lnTo>
                          <a:pt x="382" y="98"/>
                        </a:lnTo>
                        <a:lnTo>
                          <a:pt x="384" y="98"/>
                        </a:lnTo>
                        <a:lnTo>
                          <a:pt x="385" y="100"/>
                        </a:lnTo>
                        <a:lnTo>
                          <a:pt x="385" y="101"/>
                        </a:lnTo>
                        <a:lnTo>
                          <a:pt x="385" y="103"/>
                        </a:lnTo>
                        <a:lnTo>
                          <a:pt x="385" y="104"/>
                        </a:lnTo>
                        <a:lnTo>
                          <a:pt x="382" y="106"/>
                        </a:lnTo>
                        <a:lnTo>
                          <a:pt x="379" y="111"/>
                        </a:lnTo>
                        <a:lnTo>
                          <a:pt x="377" y="112"/>
                        </a:lnTo>
                        <a:lnTo>
                          <a:pt x="376" y="114"/>
                        </a:lnTo>
                        <a:lnTo>
                          <a:pt x="376" y="116"/>
                        </a:lnTo>
                        <a:lnTo>
                          <a:pt x="376" y="117"/>
                        </a:lnTo>
                        <a:lnTo>
                          <a:pt x="379" y="119"/>
                        </a:lnTo>
                        <a:lnTo>
                          <a:pt x="382" y="120"/>
                        </a:lnTo>
                        <a:lnTo>
                          <a:pt x="384" y="120"/>
                        </a:lnTo>
                        <a:lnTo>
                          <a:pt x="387" y="122"/>
                        </a:lnTo>
                        <a:lnTo>
                          <a:pt x="390" y="123"/>
                        </a:lnTo>
                        <a:lnTo>
                          <a:pt x="395" y="125"/>
                        </a:lnTo>
                        <a:lnTo>
                          <a:pt x="398" y="125"/>
                        </a:lnTo>
                        <a:lnTo>
                          <a:pt x="401" y="127"/>
                        </a:lnTo>
                        <a:lnTo>
                          <a:pt x="404" y="128"/>
                        </a:lnTo>
                        <a:lnTo>
                          <a:pt x="409" y="130"/>
                        </a:lnTo>
                        <a:lnTo>
                          <a:pt x="412" y="133"/>
                        </a:lnTo>
                        <a:lnTo>
                          <a:pt x="415" y="136"/>
                        </a:lnTo>
                        <a:lnTo>
                          <a:pt x="420" y="138"/>
                        </a:lnTo>
                        <a:lnTo>
                          <a:pt x="422" y="139"/>
                        </a:lnTo>
                        <a:lnTo>
                          <a:pt x="425" y="141"/>
                        </a:lnTo>
                        <a:lnTo>
                          <a:pt x="428" y="141"/>
                        </a:lnTo>
                        <a:lnTo>
                          <a:pt x="430" y="141"/>
                        </a:lnTo>
                        <a:lnTo>
                          <a:pt x="433" y="141"/>
                        </a:lnTo>
                        <a:lnTo>
                          <a:pt x="434" y="141"/>
                        </a:lnTo>
                        <a:lnTo>
                          <a:pt x="436" y="141"/>
                        </a:lnTo>
                        <a:lnTo>
                          <a:pt x="438" y="142"/>
                        </a:lnTo>
                        <a:lnTo>
                          <a:pt x="439" y="146"/>
                        </a:lnTo>
                        <a:lnTo>
                          <a:pt x="441" y="150"/>
                        </a:lnTo>
                        <a:lnTo>
                          <a:pt x="442" y="157"/>
                        </a:lnTo>
                        <a:lnTo>
                          <a:pt x="444" y="161"/>
                        </a:lnTo>
                        <a:lnTo>
                          <a:pt x="447" y="163"/>
                        </a:lnTo>
                        <a:lnTo>
                          <a:pt x="449" y="166"/>
                        </a:lnTo>
                        <a:lnTo>
                          <a:pt x="449" y="168"/>
                        </a:lnTo>
                        <a:lnTo>
                          <a:pt x="450" y="169"/>
                        </a:lnTo>
                        <a:lnTo>
                          <a:pt x="452" y="174"/>
                        </a:lnTo>
                        <a:lnTo>
                          <a:pt x="452" y="179"/>
                        </a:lnTo>
                        <a:lnTo>
                          <a:pt x="453" y="184"/>
                        </a:lnTo>
                        <a:lnTo>
                          <a:pt x="457" y="190"/>
                        </a:lnTo>
                        <a:lnTo>
                          <a:pt x="463" y="201"/>
                        </a:lnTo>
                        <a:lnTo>
                          <a:pt x="466" y="207"/>
                        </a:lnTo>
                        <a:lnTo>
                          <a:pt x="468" y="211"/>
                        </a:lnTo>
                        <a:lnTo>
                          <a:pt x="469" y="214"/>
                        </a:lnTo>
                        <a:lnTo>
                          <a:pt x="469" y="215"/>
                        </a:lnTo>
                        <a:lnTo>
                          <a:pt x="471" y="217"/>
                        </a:lnTo>
                        <a:lnTo>
                          <a:pt x="469" y="218"/>
                        </a:lnTo>
                        <a:lnTo>
                          <a:pt x="465" y="222"/>
                        </a:lnTo>
                        <a:lnTo>
                          <a:pt x="461" y="225"/>
                        </a:lnTo>
                        <a:lnTo>
                          <a:pt x="455" y="230"/>
                        </a:lnTo>
                        <a:lnTo>
                          <a:pt x="452" y="231"/>
                        </a:lnTo>
                        <a:lnTo>
                          <a:pt x="444" y="234"/>
                        </a:lnTo>
                        <a:lnTo>
                          <a:pt x="438" y="237"/>
                        </a:lnTo>
                        <a:lnTo>
                          <a:pt x="433" y="239"/>
                        </a:lnTo>
                        <a:lnTo>
                          <a:pt x="428" y="242"/>
                        </a:lnTo>
                        <a:lnTo>
                          <a:pt x="425" y="242"/>
                        </a:lnTo>
                        <a:lnTo>
                          <a:pt x="422" y="244"/>
                        </a:lnTo>
                        <a:lnTo>
                          <a:pt x="419" y="242"/>
                        </a:lnTo>
                        <a:lnTo>
                          <a:pt x="417" y="242"/>
                        </a:lnTo>
                        <a:lnTo>
                          <a:pt x="414" y="239"/>
                        </a:lnTo>
                        <a:lnTo>
                          <a:pt x="412" y="237"/>
                        </a:lnTo>
                        <a:lnTo>
                          <a:pt x="411" y="236"/>
                        </a:lnTo>
                        <a:lnTo>
                          <a:pt x="407" y="233"/>
                        </a:lnTo>
                        <a:lnTo>
                          <a:pt x="404" y="230"/>
                        </a:lnTo>
                        <a:lnTo>
                          <a:pt x="401" y="228"/>
                        </a:lnTo>
                        <a:lnTo>
                          <a:pt x="396" y="225"/>
                        </a:lnTo>
                        <a:lnTo>
                          <a:pt x="393" y="223"/>
                        </a:lnTo>
                        <a:lnTo>
                          <a:pt x="392" y="223"/>
                        </a:lnTo>
                        <a:lnTo>
                          <a:pt x="388" y="222"/>
                        </a:lnTo>
                        <a:lnTo>
                          <a:pt x="385" y="222"/>
                        </a:lnTo>
                        <a:lnTo>
                          <a:pt x="382" y="223"/>
                        </a:lnTo>
                        <a:lnTo>
                          <a:pt x="379" y="223"/>
                        </a:lnTo>
                        <a:lnTo>
                          <a:pt x="376" y="223"/>
                        </a:lnTo>
                        <a:lnTo>
                          <a:pt x="371" y="223"/>
                        </a:lnTo>
                        <a:lnTo>
                          <a:pt x="368" y="223"/>
                        </a:lnTo>
                        <a:lnTo>
                          <a:pt x="366" y="223"/>
                        </a:lnTo>
                        <a:lnTo>
                          <a:pt x="363" y="223"/>
                        </a:lnTo>
                        <a:lnTo>
                          <a:pt x="360" y="225"/>
                        </a:lnTo>
                        <a:lnTo>
                          <a:pt x="357" y="225"/>
                        </a:lnTo>
                        <a:lnTo>
                          <a:pt x="354" y="226"/>
                        </a:lnTo>
                        <a:lnTo>
                          <a:pt x="350" y="226"/>
                        </a:lnTo>
                        <a:lnTo>
                          <a:pt x="347" y="228"/>
                        </a:lnTo>
                        <a:lnTo>
                          <a:pt x="344" y="228"/>
                        </a:lnTo>
                        <a:lnTo>
                          <a:pt x="341" y="228"/>
                        </a:lnTo>
                        <a:lnTo>
                          <a:pt x="338" y="228"/>
                        </a:lnTo>
                        <a:lnTo>
                          <a:pt x="338" y="230"/>
                        </a:lnTo>
                        <a:lnTo>
                          <a:pt x="336" y="233"/>
                        </a:lnTo>
                        <a:lnTo>
                          <a:pt x="335" y="234"/>
                        </a:lnTo>
                        <a:lnTo>
                          <a:pt x="335" y="237"/>
                        </a:lnTo>
                        <a:lnTo>
                          <a:pt x="335" y="242"/>
                        </a:lnTo>
                        <a:lnTo>
                          <a:pt x="335" y="244"/>
                        </a:lnTo>
                        <a:lnTo>
                          <a:pt x="333" y="245"/>
                        </a:lnTo>
                        <a:lnTo>
                          <a:pt x="331" y="249"/>
                        </a:lnTo>
                        <a:lnTo>
                          <a:pt x="325" y="255"/>
                        </a:lnTo>
                        <a:lnTo>
                          <a:pt x="320" y="260"/>
                        </a:lnTo>
                        <a:lnTo>
                          <a:pt x="317" y="263"/>
                        </a:lnTo>
                        <a:lnTo>
                          <a:pt x="317" y="264"/>
                        </a:lnTo>
                        <a:lnTo>
                          <a:pt x="316" y="277"/>
                        </a:lnTo>
                        <a:lnTo>
                          <a:pt x="316" y="283"/>
                        </a:lnTo>
                        <a:lnTo>
                          <a:pt x="316" y="287"/>
                        </a:lnTo>
                        <a:lnTo>
                          <a:pt x="312" y="291"/>
                        </a:lnTo>
                        <a:lnTo>
                          <a:pt x="306" y="298"/>
                        </a:lnTo>
                        <a:lnTo>
                          <a:pt x="300" y="304"/>
                        </a:lnTo>
                        <a:lnTo>
                          <a:pt x="293" y="310"/>
                        </a:lnTo>
                        <a:lnTo>
                          <a:pt x="289" y="315"/>
                        </a:lnTo>
                        <a:lnTo>
                          <a:pt x="287" y="317"/>
                        </a:lnTo>
                        <a:lnTo>
                          <a:pt x="290" y="325"/>
                        </a:lnTo>
                        <a:lnTo>
                          <a:pt x="292" y="325"/>
                        </a:lnTo>
                        <a:lnTo>
                          <a:pt x="293" y="326"/>
                        </a:lnTo>
                        <a:lnTo>
                          <a:pt x="295" y="328"/>
                        </a:lnTo>
                        <a:lnTo>
                          <a:pt x="297" y="328"/>
                        </a:lnTo>
                        <a:lnTo>
                          <a:pt x="301" y="333"/>
                        </a:lnTo>
                        <a:lnTo>
                          <a:pt x="303" y="333"/>
                        </a:lnTo>
                        <a:lnTo>
                          <a:pt x="305" y="334"/>
                        </a:lnTo>
                        <a:lnTo>
                          <a:pt x="306" y="334"/>
                        </a:lnTo>
                        <a:lnTo>
                          <a:pt x="309" y="336"/>
                        </a:lnTo>
                        <a:lnTo>
                          <a:pt x="312" y="334"/>
                        </a:lnTo>
                        <a:lnTo>
                          <a:pt x="314" y="334"/>
                        </a:lnTo>
                        <a:lnTo>
                          <a:pt x="316" y="334"/>
                        </a:lnTo>
                        <a:lnTo>
                          <a:pt x="317" y="334"/>
                        </a:lnTo>
                        <a:lnTo>
                          <a:pt x="322" y="336"/>
                        </a:lnTo>
                        <a:lnTo>
                          <a:pt x="325" y="336"/>
                        </a:lnTo>
                        <a:lnTo>
                          <a:pt x="328" y="336"/>
                        </a:lnTo>
                        <a:lnTo>
                          <a:pt x="331" y="336"/>
                        </a:lnTo>
                        <a:lnTo>
                          <a:pt x="333" y="336"/>
                        </a:lnTo>
                        <a:lnTo>
                          <a:pt x="333" y="334"/>
                        </a:lnTo>
                        <a:lnTo>
                          <a:pt x="331" y="333"/>
                        </a:lnTo>
                        <a:lnTo>
                          <a:pt x="331" y="331"/>
                        </a:lnTo>
                        <a:lnTo>
                          <a:pt x="333" y="328"/>
                        </a:lnTo>
                        <a:lnTo>
                          <a:pt x="338" y="328"/>
                        </a:lnTo>
                        <a:lnTo>
                          <a:pt x="338" y="329"/>
                        </a:lnTo>
                        <a:lnTo>
                          <a:pt x="339" y="329"/>
                        </a:lnTo>
                        <a:lnTo>
                          <a:pt x="343" y="329"/>
                        </a:lnTo>
                        <a:lnTo>
                          <a:pt x="344" y="329"/>
                        </a:lnTo>
                        <a:lnTo>
                          <a:pt x="346" y="329"/>
                        </a:lnTo>
                        <a:lnTo>
                          <a:pt x="349" y="326"/>
                        </a:lnTo>
                        <a:lnTo>
                          <a:pt x="350" y="326"/>
                        </a:lnTo>
                        <a:lnTo>
                          <a:pt x="350" y="325"/>
                        </a:lnTo>
                        <a:lnTo>
                          <a:pt x="350" y="323"/>
                        </a:lnTo>
                        <a:lnTo>
                          <a:pt x="352" y="321"/>
                        </a:lnTo>
                        <a:lnTo>
                          <a:pt x="357" y="318"/>
                        </a:lnTo>
                        <a:lnTo>
                          <a:pt x="360" y="314"/>
                        </a:lnTo>
                        <a:lnTo>
                          <a:pt x="362" y="310"/>
                        </a:lnTo>
                        <a:lnTo>
                          <a:pt x="365" y="307"/>
                        </a:lnTo>
                        <a:lnTo>
                          <a:pt x="365" y="306"/>
                        </a:lnTo>
                        <a:lnTo>
                          <a:pt x="368" y="304"/>
                        </a:lnTo>
                        <a:lnTo>
                          <a:pt x="371" y="302"/>
                        </a:lnTo>
                        <a:lnTo>
                          <a:pt x="374" y="302"/>
                        </a:lnTo>
                        <a:lnTo>
                          <a:pt x="387" y="301"/>
                        </a:lnTo>
                        <a:lnTo>
                          <a:pt x="407" y="296"/>
                        </a:lnTo>
                        <a:lnTo>
                          <a:pt x="425" y="295"/>
                        </a:lnTo>
                        <a:lnTo>
                          <a:pt x="452" y="290"/>
                        </a:lnTo>
                        <a:lnTo>
                          <a:pt x="453" y="290"/>
                        </a:lnTo>
                        <a:lnTo>
                          <a:pt x="455" y="291"/>
                        </a:lnTo>
                        <a:lnTo>
                          <a:pt x="457" y="293"/>
                        </a:lnTo>
                        <a:lnTo>
                          <a:pt x="458" y="296"/>
                        </a:lnTo>
                        <a:lnTo>
                          <a:pt x="461" y="298"/>
                        </a:lnTo>
                        <a:lnTo>
                          <a:pt x="463" y="301"/>
                        </a:lnTo>
                        <a:lnTo>
                          <a:pt x="466" y="304"/>
                        </a:lnTo>
                        <a:lnTo>
                          <a:pt x="468" y="307"/>
                        </a:lnTo>
                        <a:lnTo>
                          <a:pt x="469" y="309"/>
                        </a:lnTo>
                        <a:lnTo>
                          <a:pt x="471" y="310"/>
                        </a:lnTo>
                        <a:lnTo>
                          <a:pt x="471" y="312"/>
                        </a:lnTo>
                        <a:lnTo>
                          <a:pt x="469" y="312"/>
                        </a:lnTo>
                        <a:lnTo>
                          <a:pt x="469" y="314"/>
                        </a:lnTo>
                        <a:lnTo>
                          <a:pt x="466" y="314"/>
                        </a:lnTo>
                        <a:lnTo>
                          <a:pt x="465" y="315"/>
                        </a:lnTo>
                        <a:lnTo>
                          <a:pt x="460" y="317"/>
                        </a:lnTo>
                        <a:lnTo>
                          <a:pt x="453" y="318"/>
                        </a:lnTo>
                        <a:lnTo>
                          <a:pt x="452" y="320"/>
                        </a:lnTo>
                        <a:lnTo>
                          <a:pt x="450" y="321"/>
                        </a:lnTo>
                        <a:lnTo>
                          <a:pt x="450" y="323"/>
                        </a:lnTo>
                        <a:lnTo>
                          <a:pt x="452" y="325"/>
                        </a:lnTo>
                        <a:lnTo>
                          <a:pt x="455" y="326"/>
                        </a:lnTo>
                        <a:lnTo>
                          <a:pt x="457" y="328"/>
                        </a:lnTo>
                        <a:lnTo>
                          <a:pt x="460" y="328"/>
                        </a:lnTo>
                        <a:lnTo>
                          <a:pt x="463" y="329"/>
                        </a:lnTo>
                        <a:lnTo>
                          <a:pt x="468" y="331"/>
                        </a:lnTo>
                        <a:lnTo>
                          <a:pt x="469" y="333"/>
                        </a:lnTo>
                        <a:lnTo>
                          <a:pt x="469" y="336"/>
                        </a:lnTo>
                        <a:lnTo>
                          <a:pt x="471" y="339"/>
                        </a:lnTo>
                        <a:lnTo>
                          <a:pt x="471" y="342"/>
                        </a:lnTo>
                        <a:lnTo>
                          <a:pt x="471" y="348"/>
                        </a:lnTo>
                        <a:lnTo>
                          <a:pt x="469" y="353"/>
                        </a:lnTo>
                        <a:lnTo>
                          <a:pt x="469" y="356"/>
                        </a:lnTo>
                        <a:lnTo>
                          <a:pt x="471" y="359"/>
                        </a:lnTo>
                        <a:lnTo>
                          <a:pt x="471" y="361"/>
                        </a:lnTo>
                        <a:lnTo>
                          <a:pt x="471" y="366"/>
                        </a:lnTo>
                        <a:lnTo>
                          <a:pt x="469" y="369"/>
                        </a:lnTo>
                        <a:lnTo>
                          <a:pt x="469" y="372"/>
                        </a:lnTo>
                        <a:lnTo>
                          <a:pt x="468" y="374"/>
                        </a:lnTo>
                        <a:lnTo>
                          <a:pt x="466" y="375"/>
                        </a:lnTo>
                        <a:lnTo>
                          <a:pt x="465" y="375"/>
                        </a:lnTo>
                        <a:lnTo>
                          <a:pt x="461" y="377"/>
                        </a:lnTo>
                        <a:lnTo>
                          <a:pt x="458" y="377"/>
                        </a:lnTo>
                        <a:lnTo>
                          <a:pt x="455" y="378"/>
                        </a:lnTo>
                        <a:lnTo>
                          <a:pt x="452" y="378"/>
                        </a:lnTo>
                        <a:lnTo>
                          <a:pt x="450" y="380"/>
                        </a:lnTo>
                        <a:lnTo>
                          <a:pt x="449" y="383"/>
                        </a:lnTo>
                        <a:lnTo>
                          <a:pt x="447" y="386"/>
                        </a:lnTo>
                        <a:lnTo>
                          <a:pt x="445" y="388"/>
                        </a:lnTo>
                        <a:lnTo>
                          <a:pt x="445" y="391"/>
                        </a:lnTo>
                        <a:lnTo>
                          <a:pt x="445" y="393"/>
                        </a:lnTo>
                        <a:lnTo>
                          <a:pt x="445" y="397"/>
                        </a:lnTo>
                        <a:lnTo>
                          <a:pt x="445" y="402"/>
                        </a:lnTo>
                        <a:lnTo>
                          <a:pt x="445" y="407"/>
                        </a:lnTo>
                        <a:lnTo>
                          <a:pt x="445" y="420"/>
                        </a:lnTo>
                        <a:lnTo>
                          <a:pt x="441" y="421"/>
                        </a:lnTo>
                        <a:lnTo>
                          <a:pt x="436" y="421"/>
                        </a:lnTo>
                        <a:lnTo>
                          <a:pt x="428" y="421"/>
                        </a:lnTo>
                        <a:lnTo>
                          <a:pt x="415" y="421"/>
                        </a:lnTo>
                        <a:lnTo>
                          <a:pt x="407" y="421"/>
                        </a:lnTo>
                        <a:lnTo>
                          <a:pt x="396" y="421"/>
                        </a:lnTo>
                        <a:lnTo>
                          <a:pt x="392" y="421"/>
                        </a:lnTo>
                        <a:lnTo>
                          <a:pt x="388" y="421"/>
                        </a:lnTo>
                        <a:lnTo>
                          <a:pt x="387" y="421"/>
                        </a:lnTo>
                        <a:lnTo>
                          <a:pt x="385" y="421"/>
                        </a:lnTo>
                        <a:lnTo>
                          <a:pt x="384" y="423"/>
                        </a:lnTo>
                        <a:lnTo>
                          <a:pt x="384" y="426"/>
                        </a:lnTo>
                        <a:lnTo>
                          <a:pt x="384" y="428"/>
                        </a:lnTo>
                        <a:lnTo>
                          <a:pt x="382" y="429"/>
                        </a:lnTo>
                        <a:lnTo>
                          <a:pt x="382" y="431"/>
                        </a:lnTo>
                        <a:lnTo>
                          <a:pt x="381" y="432"/>
                        </a:lnTo>
                        <a:lnTo>
                          <a:pt x="379" y="436"/>
                        </a:lnTo>
                        <a:lnTo>
                          <a:pt x="376" y="437"/>
                        </a:lnTo>
                        <a:lnTo>
                          <a:pt x="374" y="437"/>
                        </a:lnTo>
                        <a:lnTo>
                          <a:pt x="373" y="437"/>
                        </a:lnTo>
                        <a:lnTo>
                          <a:pt x="371" y="437"/>
                        </a:lnTo>
                        <a:lnTo>
                          <a:pt x="369" y="437"/>
                        </a:lnTo>
                        <a:lnTo>
                          <a:pt x="366" y="437"/>
                        </a:lnTo>
                        <a:lnTo>
                          <a:pt x="365" y="437"/>
                        </a:lnTo>
                        <a:lnTo>
                          <a:pt x="363" y="437"/>
                        </a:lnTo>
                        <a:lnTo>
                          <a:pt x="363" y="439"/>
                        </a:lnTo>
                        <a:lnTo>
                          <a:pt x="358" y="442"/>
                        </a:lnTo>
                        <a:lnTo>
                          <a:pt x="352" y="443"/>
                        </a:lnTo>
                        <a:lnTo>
                          <a:pt x="350" y="443"/>
                        </a:lnTo>
                        <a:lnTo>
                          <a:pt x="349" y="443"/>
                        </a:lnTo>
                        <a:lnTo>
                          <a:pt x="349" y="442"/>
                        </a:lnTo>
                        <a:lnTo>
                          <a:pt x="347" y="442"/>
                        </a:lnTo>
                        <a:lnTo>
                          <a:pt x="347" y="445"/>
                        </a:lnTo>
                        <a:lnTo>
                          <a:pt x="347" y="447"/>
                        </a:lnTo>
                        <a:lnTo>
                          <a:pt x="349" y="448"/>
                        </a:lnTo>
                        <a:lnTo>
                          <a:pt x="352" y="453"/>
                        </a:lnTo>
                        <a:lnTo>
                          <a:pt x="354" y="455"/>
                        </a:lnTo>
                        <a:lnTo>
                          <a:pt x="355" y="456"/>
                        </a:lnTo>
                        <a:lnTo>
                          <a:pt x="355" y="458"/>
                        </a:lnTo>
                        <a:lnTo>
                          <a:pt x="358" y="461"/>
                        </a:lnTo>
                        <a:lnTo>
                          <a:pt x="360" y="464"/>
                        </a:lnTo>
                        <a:lnTo>
                          <a:pt x="360" y="466"/>
                        </a:lnTo>
                        <a:lnTo>
                          <a:pt x="363" y="467"/>
                        </a:lnTo>
                        <a:lnTo>
                          <a:pt x="363" y="469"/>
                        </a:lnTo>
                        <a:lnTo>
                          <a:pt x="365" y="472"/>
                        </a:lnTo>
                        <a:lnTo>
                          <a:pt x="363" y="474"/>
                        </a:lnTo>
                        <a:lnTo>
                          <a:pt x="357" y="478"/>
                        </a:lnTo>
                        <a:lnTo>
                          <a:pt x="352" y="483"/>
                        </a:lnTo>
                        <a:lnTo>
                          <a:pt x="349" y="486"/>
                        </a:lnTo>
                        <a:lnTo>
                          <a:pt x="346" y="488"/>
                        </a:lnTo>
                        <a:lnTo>
                          <a:pt x="344" y="489"/>
                        </a:lnTo>
                        <a:lnTo>
                          <a:pt x="341" y="491"/>
                        </a:lnTo>
                        <a:lnTo>
                          <a:pt x="339" y="491"/>
                        </a:lnTo>
                        <a:lnTo>
                          <a:pt x="338" y="493"/>
                        </a:lnTo>
                        <a:lnTo>
                          <a:pt x="336" y="494"/>
                        </a:lnTo>
                        <a:lnTo>
                          <a:pt x="322" y="502"/>
                        </a:lnTo>
                        <a:lnTo>
                          <a:pt x="308" y="510"/>
                        </a:lnTo>
                        <a:lnTo>
                          <a:pt x="308" y="513"/>
                        </a:lnTo>
                        <a:lnTo>
                          <a:pt x="306" y="515"/>
                        </a:lnTo>
                        <a:lnTo>
                          <a:pt x="308" y="515"/>
                        </a:lnTo>
                        <a:lnTo>
                          <a:pt x="309" y="516"/>
                        </a:lnTo>
                        <a:lnTo>
                          <a:pt x="312" y="518"/>
                        </a:lnTo>
                        <a:lnTo>
                          <a:pt x="314" y="519"/>
                        </a:lnTo>
                        <a:lnTo>
                          <a:pt x="312" y="521"/>
                        </a:lnTo>
                        <a:lnTo>
                          <a:pt x="314" y="523"/>
                        </a:lnTo>
                        <a:lnTo>
                          <a:pt x="317" y="523"/>
                        </a:lnTo>
                        <a:lnTo>
                          <a:pt x="320" y="524"/>
                        </a:lnTo>
                        <a:lnTo>
                          <a:pt x="324" y="527"/>
                        </a:lnTo>
                        <a:lnTo>
                          <a:pt x="325" y="529"/>
                        </a:lnTo>
                        <a:lnTo>
                          <a:pt x="327" y="532"/>
                        </a:lnTo>
                        <a:lnTo>
                          <a:pt x="328" y="534"/>
                        </a:lnTo>
                        <a:lnTo>
                          <a:pt x="330" y="535"/>
                        </a:lnTo>
                        <a:lnTo>
                          <a:pt x="331" y="537"/>
                        </a:lnTo>
                        <a:lnTo>
                          <a:pt x="335" y="537"/>
                        </a:lnTo>
                        <a:lnTo>
                          <a:pt x="338" y="538"/>
                        </a:lnTo>
                        <a:lnTo>
                          <a:pt x="338" y="540"/>
                        </a:lnTo>
                        <a:lnTo>
                          <a:pt x="339" y="540"/>
                        </a:lnTo>
                        <a:lnTo>
                          <a:pt x="341" y="542"/>
                        </a:lnTo>
                        <a:lnTo>
                          <a:pt x="343" y="543"/>
                        </a:lnTo>
                        <a:lnTo>
                          <a:pt x="346" y="545"/>
                        </a:lnTo>
                        <a:lnTo>
                          <a:pt x="347" y="545"/>
                        </a:lnTo>
                        <a:lnTo>
                          <a:pt x="347" y="548"/>
                        </a:lnTo>
                        <a:lnTo>
                          <a:pt x="347" y="550"/>
                        </a:lnTo>
                        <a:lnTo>
                          <a:pt x="349" y="551"/>
                        </a:lnTo>
                        <a:lnTo>
                          <a:pt x="349" y="553"/>
                        </a:lnTo>
                        <a:lnTo>
                          <a:pt x="350" y="554"/>
                        </a:lnTo>
                        <a:lnTo>
                          <a:pt x="350" y="556"/>
                        </a:lnTo>
                        <a:lnTo>
                          <a:pt x="349" y="557"/>
                        </a:lnTo>
                        <a:lnTo>
                          <a:pt x="350" y="559"/>
                        </a:lnTo>
                        <a:lnTo>
                          <a:pt x="350" y="561"/>
                        </a:lnTo>
                        <a:lnTo>
                          <a:pt x="354" y="564"/>
                        </a:lnTo>
                        <a:lnTo>
                          <a:pt x="357" y="565"/>
                        </a:lnTo>
                        <a:lnTo>
                          <a:pt x="360" y="565"/>
                        </a:lnTo>
                        <a:lnTo>
                          <a:pt x="365" y="567"/>
                        </a:lnTo>
                        <a:lnTo>
                          <a:pt x="368" y="567"/>
                        </a:lnTo>
                        <a:lnTo>
                          <a:pt x="371" y="565"/>
                        </a:lnTo>
                        <a:lnTo>
                          <a:pt x="373" y="564"/>
                        </a:lnTo>
                        <a:lnTo>
                          <a:pt x="377" y="562"/>
                        </a:lnTo>
                        <a:lnTo>
                          <a:pt x="379" y="562"/>
                        </a:lnTo>
                        <a:lnTo>
                          <a:pt x="381" y="561"/>
                        </a:lnTo>
                        <a:lnTo>
                          <a:pt x="379" y="559"/>
                        </a:lnTo>
                        <a:lnTo>
                          <a:pt x="381" y="557"/>
                        </a:lnTo>
                        <a:lnTo>
                          <a:pt x="382" y="557"/>
                        </a:lnTo>
                        <a:lnTo>
                          <a:pt x="384" y="557"/>
                        </a:lnTo>
                        <a:lnTo>
                          <a:pt x="384" y="559"/>
                        </a:lnTo>
                        <a:lnTo>
                          <a:pt x="387" y="561"/>
                        </a:lnTo>
                        <a:lnTo>
                          <a:pt x="388" y="562"/>
                        </a:lnTo>
                        <a:lnTo>
                          <a:pt x="392" y="564"/>
                        </a:lnTo>
                        <a:lnTo>
                          <a:pt x="395" y="567"/>
                        </a:lnTo>
                        <a:lnTo>
                          <a:pt x="398" y="569"/>
                        </a:lnTo>
                        <a:lnTo>
                          <a:pt x="400" y="570"/>
                        </a:lnTo>
                        <a:lnTo>
                          <a:pt x="401" y="570"/>
                        </a:lnTo>
                        <a:lnTo>
                          <a:pt x="403" y="570"/>
                        </a:lnTo>
                        <a:lnTo>
                          <a:pt x="406" y="570"/>
                        </a:lnTo>
                        <a:lnTo>
                          <a:pt x="407" y="570"/>
                        </a:lnTo>
                        <a:lnTo>
                          <a:pt x="412" y="569"/>
                        </a:lnTo>
                        <a:lnTo>
                          <a:pt x="415" y="565"/>
                        </a:lnTo>
                        <a:lnTo>
                          <a:pt x="417" y="564"/>
                        </a:lnTo>
                        <a:lnTo>
                          <a:pt x="419" y="562"/>
                        </a:lnTo>
                        <a:lnTo>
                          <a:pt x="419" y="561"/>
                        </a:lnTo>
                        <a:lnTo>
                          <a:pt x="420" y="559"/>
                        </a:lnTo>
                        <a:lnTo>
                          <a:pt x="422" y="557"/>
                        </a:lnTo>
                        <a:lnTo>
                          <a:pt x="422" y="556"/>
                        </a:lnTo>
                        <a:lnTo>
                          <a:pt x="423" y="554"/>
                        </a:lnTo>
                        <a:lnTo>
                          <a:pt x="423" y="553"/>
                        </a:lnTo>
                        <a:lnTo>
                          <a:pt x="425" y="553"/>
                        </a:lnTo>
                        <a:lnTo>
                          <a:pt x="428" y="553"/>
                        </a:lnTo>
                        <a:lnTo>
                          <a:pt x="431" y="551"/>
                        </a:lnTo>
                        <a:lnTo>
                          <a:pt x="433" y="551"/>
                        </a:lnTo>
                        <a:lnTo>
                          <a:pt x="434" y="550"/>
                        </a:lnTo>
                        <a:lnTo>
                          <a:pt x="434" y="548"/>
                        </a:lnTo>
                        <a:lnTo>
                          <a:pt x="434" y="546"/>
                        </a:lnTo>
                        <a:lnTo>
                          <a:pt x="434" y="545"/>
                        </a:lnTo>
                        <a:lnTo>
                          <a:pt x="436" y="545"/>
                        </a:lnTo>
                        <a:lnTo>
                          <a:pt x="436" y="543"/>
                        </a:lnTo>
                        <a:lnTo>
                          <a:pt x="439" y="545"/>
                        </a:lnTo>
                        <a:lnTo>
                          <a:pt x="441" y="545"/>
                        </a:lnTo>
                        <a:lnTo>
                          <a:pt x="442" y="545"/>
                        </a:lnTo>
                        <a:lnTo>
                          <a:pt x="444" y="545"/>
                        </a:lnTo>
                        <a:lnTo>
                          <a:pt x="445" y="545"/>
                        </a:lnTo>
                        <a:lnTo>
                          <a:pt x="447" y="543"/>
                        </a:lnTo>
                        <a:lnTo>
                          <a:pt x="449" y="542"/>
                        </a:lnTo>
                        <a:lnTo>
                          <a:pt x="450" y="542"/>
                        </a:lnTo>
                        <a:lnTo>
                          <a:pt x="453" y="543"/>
                        </a:lnTo>
                        <a:lnTo>
                          <a:pt x="455" y="543"/>
                        </a:lnTo>
                        <a:lnTo>
                          <a:pt x="458" y="542"/>
                        </a:lnTo>
                        <a:lnTo>
                          <a:pt x="460" y="542"/>
                        </a:lnTo>
                        <a:lnTo>
                          <a:pt x="461" y="542"/>
                        </a:lnTo>
                        <a:lnTo>
                          <a:pt x="461" y="543"/>
                        </a:lnTo>
                        <a:lnTo>
                          <a:pt x="463" y="545"/>
                        </a:lnTo>
                        <a:lnTo>
                          <a:pt x="465" y="546"/>
                        </a:lnTo>
                        <a:lnTo>
                          <a:pt x="466" y="548"/>
                        </a:lnTo>
                        <a:lnTo>
                          <a:pt x="469" y="548"/>
                        </a:lnTo>
                        <a:lnTo>
                          <a:pt x="469" y="550"/>
                        </a:lnTo>
                        <a:lnTo>
                          <a:pt x="471" y="550"/>
                        </a:lnTo>
                        <a:lnTo>
                          <a:pt x="472" y="551"/>
                        </a:lnTo>
                        <a:lnTo>
                          <a:pt x="472" y="553"/>
                        </a:lnTo>
                        <a:lnTo>
                          <a:pt x="471" y="553"/>
                        </a:lnTo>
                        <a:lnTo>
                          <a:pt x="471" y="554"/>
                        </a:lnTo>
                        <a:lnTo>
                          <a:pt x="472" y="556"/>
                        </a:lnTo>
                        <a:lnTo>
                          <a:pt x="472" y="557"/>
                        </a:lnTo>
                        <a:lnTo>
                          <a:pt x="471" y="559"/>
                        </a:lnTo>
                        <a:lnTo>
                          <a:pt x="471" y="561"/>
                        </a:lnTo>
                        <a:lnTo>
                          <a:pt x="471" y="562"/>
                        </a:lnTo>
                        <a:lnTo>
                          <a:pt x="472" y="564"/>
                        </a:lnTo>
                        <a:lnTo>
                          <a:pt x="471" y="565"/>
                        </a:lnTo>
                        <a:lnTo>
                          <a:pt x="472" y="567"/>
                        </a:lnTo>
                        <a:lnTo>
                          <a:pt x="472" y="569"/>
                        </a:lnTo>
                        <a:lnTo>
                          <a:pt x="474" y="569"/>
                        </a:lnTo>
                        <a:lnTo>
                          <a:pt x="476" y="570"/>
                        </a:lnTo>
                        <a:lnTo>
                          <a:pt x="477" y="570"/>
                        </a:lnTo>
                        <a:lnTo>
                          <a:pt x="477" y="572"/>
                        </a:lnTo>
                        <a:lnTo>
                          <a:pt x="479" y="573"/>
                        </a:lnTo>
                        <a:lnTo>
                          <a:pt x="479" y="575"/>
                        </a:lnTo>
                        <a:lnTo>
                          <a:pt x="480" y="576"/>
                        </a:lnTo>
                        <a:lnTo>
                          <a:pt x="482" y="578"/>
                        </a:lnTo>
                        <a:lnTo>
                          <a:pt x="485" y="580"/>
                        </a:lnTo>
                        <a:lnTo>
                          <a:pt x="487" y="581"/>
                        </a:lnTo>
                        <a:lnTo>
                          <a:pt x="488" y="581"/>
                        </a:lnTo>
                        <a:lnTo>
                          <a:pt x="491" y="584"/>
                        </a:lnTo>
                        <a:lnTo>
                          <a:pt x="493" y="586"/>
                        </a:lnTo>
                        <a:lnTo>
                          <a:pt x="496" y="588"/>
                        </a:lnTo>
                        <a:lnTo>
                          <a:pt x="498" y="588"/>
                        </a:lnTo>
                        <a:lnTo>
                          <a:pt x="499" y="588"/>
                        </a:lnTo>
                        <a:lnTo>
                          <a:pt x="501" y="588"/>
                        </a:lnTo>
                        <a:lnTo>
                          <a:pt x="503" y="588"/>
                        </a:lnTo>
                        <a:lnTo>
                          <a:pt x="504" y="588"/>
                        </a:lnTo>
                        <a:lnTo>
                          <a:pt x="504" y="589"/>
                        </a:lnTo>
                        <a:lnTo>
                          <a:pt x="506" y="591"/>
                        </a:lnTo>
                        <a:lnTo>
                          <a:pt x="507" y="592"/>
                        </a:lnTo>
                        <a:lnTo>
                          <a:pt x="509" y="595"/>
                        </a:lnTo>
                        <a:lnTo>
                          <a:pt x="509" y="597"/>
                        </a:lnTo>
                        <a:lnTo>
                          <a:pt x="509" y="599"/>
                        </a:lnTo>
                        <a:lnTo>
                          <a:pt x="510" y="599"/>
                        </a:lnTo>
                        <a:lnTo>
                          <a:pt x="512" y="600"/>
                        </a:lnTo>
                        <a:lnTo>
                          <a:pt x="514" y="600"/>
                        </a:lnTo>
                        <a:lnTo>
                          <a:pt x="515" y="602"/>
                        </a:lnTo>
                        <a:lnTo>
                          <a:pt x="517" y="602"/>
                        </a:lnTo>
                        <a:lnTo>
                          <a:pt x="518" y="603"/>
                        </a:lnTo>
                        <a:lnTo>
                          <a:pt x="518" y="605"/>
                        </a:lnTo>
                        <a:lnTo>
                          <a:pt x="520" y="605"/>
                        </a:lnTo>
                        <a:lnTo>
                          <a:pt x="522" y="607"/>
                        </a:lnTo>
                        <a:lnTo>
                          <a:pt x="523" y="605"/>
                        </a:lnTo>
                        <a:lnTo>
                          <a:pt x="525" y="607"/>
                        </a:lnTo>
                        <a:lnTo>
                          <a:pt x="523" y="608"/>
                        </a:lnTo>
                        <a:lnTo>
                          <a:pt x="525" y="610"/>
                        </a:lnTo>
                        <a:lnTo>
                          <a:pt x="526" y="613"/>
                        </a:lnTo>
                        <a:lnTo>
                          <a:pt x="528" y="613"/>
                        </a:lnTo>
                        <a:lnTo>
                          <a:pt x="526" y="616"/>
                        </a:lnTo>
                        <a:lnTo>
                          <a:pt x="526" y="618"/>
                        </a:lnTo>
                        <a:lnTo>
                          <a:pt x="526" y="619"/>
                        </a:lnTo>
                        <a:lnTo>
                          <a:pt x="528" y="619"/>
                        </a:lnTo>
                        <a:lnTo>
                          <a:pt x="528" y="621"/>
                        </a:lnTo>
                        <a:lnTo>
                          <a:pt x="528" y="622"/>
                        </a:lnTo>
                        <a:lnTo>
                          <a:pt x="529" y="624"/>
                        </a:lnTo>
                        <a:lnTo>
                          <a:pt x="531" y="624"/>
                        </a:lnTo>
                        <a:lnTo>
                          <a:pt x="533" y="626"/>
                        </a:lnTo>
                        <a:lnTo>
                          <a:pt x="534" y="626"/>
                        </a:lnTo>
                        <a:lnTo>
                          <a:pt x="537" y="627"/>
                        </a:lnTo>
                        <a:lnTo>
                          <a:pt x="539" y="629"/>
                        </a:lnTo>
                        <a:lnTo>
                          <a:pt x="541" y="629"/>
                        </a:lnTo>
                        <a:lnTo>
                          <a:pt x="544" y="629"/>
                        </a:lnTo>
                        <a:lnTo>
                          <a:pt x="545" y="630"/>
                        </a:lnTo>
                        <a:lnTo>
                          <a:pt x="545" y="632"/>
                        </a:lnTo>
                        <a:lnTo>
                          <a:pt x="547" y="634"/>
                        </a:lnTo>
                        <a:lnTo>
                          <a:pt x="548" y="635"/>
                        </a:lnTo>
                        <a:lnTo>
                          <a:pt x="548" y="637"/>
                        </a:lnTo>
                        <a:lnTo>
                          <a:pt x="550" y="638"/>
                        </a:lnTo>
                        <a:lnTo>
                          <a:pt x="552" y="640"/>
                        </a:lnTo>
                        <a:lnTo>
                          <a:pt x="553" y="643"/>
                        </a:lnTo>
                        <a:lnTo>
                          <a:pt x="555" y="643"/>
                        </a:lnTo>
                        <a:lnTo>
                          <a:pt x="555" y="645"/>
                        </a:lnTo>
                        <a:lnTo>
                          <a:pt x="553" y="646"/>
                        </a:lnTo>
                        <a:lnTo>
                          <a:pt x="552" y="648"/>
                        </a:lnTo>
                        <a:lnTo>
                          <a:pt x="553" y="651"/>
                        </a:lnTo>
                        <a:lnTo>
                          <a:pt x="555" y="651"/>
                        </a:lnTo>
                        <a:lnTo>
                          <a:pt x="556" y="653"/>
                        </a:lnTo>
                        <a:lnTo>
                          <a:pt x="558" y="653"/>
                        </a:lnTo>
                        <a:lnTo>
                          <a:pt x="560" y="653"/>
                        </a:lnTo>
                        <a:lnTo>
                          <a:pt x="561" y="653"/>
                        </a:lnTo>
                        <a:lnTo>
                          <a:pt x="563" y="653"/>
                        </a:lnTo>
                        <a:lnTo>
                          <a:pt x="564" y="653"/>
                        </a:lnTo>
                        <a:lnTo>
                          <a:pt x="566" y="651"/>
                        </a:lnTo>
                        <a:lnTo>
                          <a:pt x="569" y="649"/>
                        </a:lnTo>
                        <a:lnTo>
                          <a:pt x="571" y="649"/>
                        </a:lnTo>
                        <a:lnTo>
                          <a:pt x="571" y="648"/>
                        </a:lnTo>
                        <a:lnTo>
                          <a:pt x="572" y="648"/>
                        </a:lnTo>
                        <a:lnTo>
                          <a:pt x="574" y="648"/>
                        </a:lnTo>
                        <a:lnTo>
                          <a:pt x="574" y="649"/>
                        </a:lnTo>
                        <a:lnTo>
                          <a:pt x="574" y="651"/>
                        </a:lnTo>
                        <a:lnTo>
                          <a:pt x="574" y="653"/>
                        </a:lnTo>
                        <a:lnTo>
                          <a:pt x="575" y="654"/>
                        </a:lnTo>
                        <a:lnTo>
                          <a:pt x="579" y="654"/>
                        </a:lnTo>
                        <a:lnTo>
                          <a:pt x="580" y="654"/>
                        </a:lnTo>
                        <a:lnTo>
                          <a:pt x="580" y="656"/>
                        </a:lnTo>
                        <a:lnTo>
                          <a:pt x="582" y="656"/>
                        </a:lnTo>
                        <a:lnTo>
                          <a:pt x="583" y="656"/>
                        </a:lnTo>
                        <a:lnTo>
                          <a:pt x="585" y="657"/>
                        </a:lnTo>
                        <a:lnTo>
                          <a:pt x="585" y="659"/>
                        </a:lnTo>
                        <a:lnTo>
                          <a:pt x="586" y="660"/>
                        </a:lnTo>
                        <a:lnTo>
                          <a:pt x="588" y="662"/>
                        </a:lnTo>
                        <a:lnTo>
                          <a:pt x="588" y="664"/>
                        </a:lnTo>
                        <a:lnTo>
                          <a:pt x="590" y="664"/>
                        </a:lnTo>
                        <a:lnTo>
                          <a:pt x="593" y="665"/>
                        </a:lnTo>
                        <a:lnTo>
                          <a:pt x="598" y="667"/>
                        </a:lnTo>
                        <a:lnTo>
                          <a:pt x="599" y="667"/>
                        </a:lnTo>
                        <a:lnTo>
                          <a:pt x="601" y="667"/>
                        </a:lnTo>
                        <a:lnTo>
                          <a:pt x="604" y="668"/>
                        </a:lnTo>
                        <a:lnTo>
                          <a:pt x="605" y="670"/>
                        </a:lnTo>
                        <a:lnTo>
                          <a:pt x="607" y="670"/>
                        </a:lnTo>
                        <a:lnTo>
                          <a:pt x="609" y="672"/>
                        </a:lnTo>
                        <a:lnTo>
                          <a:pt x="610" y="673"/>
                        </a:lnTo>
                        <a:lnTo>
                          <a:pt x="612" y="673"/>
                        </a:lnTo>
                        <a:lnTo>
                          <a:pt x="612" y="675"/>
                        </a:lnTo>
                        <a:lnTo>
                          <a:pt x="610" y="675"/>
                        </a:lnTo>
                        <a:lnTo>
                          <a:pt x="609" y="675"/>
                        </a:lnTo>
                        <a:lnTo>
                          <a:pt x="609" y="678"/>
                        </a:lnTo>
                        <a:lnTo>
                          <a:pt x="609" y="679"/>
                        </a:lnTo>
                        <a:lnTo>
                          <a:pt x="609" y="681"/>
                        </a:lnTo>
                        <a:lnTo>
                          <a:pt x="610" y="683"/>
                        </a:lnTo>
                        <a:lnTo>
                          <a:pt x="612" y="683"/>
                        </a:lnTo>
                        <a:lnTo>
                          <a:pt x="612" y="684"/>
                        </a:lnTo>
                        <a:lnTo>
                          <a:pt x="612" y="686"/>
                        </a:lnTo>
                        <a:lnTo>
                          <a:pt x="613" y="686"/>
                        </a:lnTo>
                        <a:lnTo>
                          <a:pt x="613" y="687"/>
                        </a:lnTo>
                        <a:lnTo>
                          <a:pt x="615" y="687"/>
                        </a:lnTo>
                        <a:lnTo>
                          <a:pt x="617" y="687"/>
                        </a:lnTo>
                        <a:lnTo>
                          <a:pt x="620" y="686"/>
                        </a:lnTo>
                        <a:lnTo>
                          <a:pt x="621" y="686"/>
                        </a:lnTo>
                        <a:lnTo>
                          <a:pt x="621" y="687"/>
                        </a:lnTo>
                        <a:lnTo>
                          <a:pt x="623" y="687"/>
                        </a:lnTo>
                        <a:lnTo>
                          <a:pt x="623" y="686"/>
                        </a:lnTo>
                        <a:lnTo>
                          <a:pt x="624" y="687"/>
                        </a:lnTo>
                        <a:lnTo>
                          <a:pt x="623" y="689"/>
                        </a:lnTo>
                        <a:lnTo>
                          <a:pt x="623" y="691"/>
                        </a:lnTo>
                        <a:lnTo>
                          <a:pt x="624" y="691"/>
                        </a:lnTo>
                        <a:lnTo>
                          <a:pt x="624" y="692"/>
                        </a:lnTo>
                        <a:lnTo>
                          <a:pt x="624" y="694"/>
                        </a:lnTo>
                        <a:lnTo>
                          <a:pt x="626" y="695"/>
                        </a:lnTo>
                        <a:lnTo>
                          <a:pt x="628" y="697"/>
                        </a:lnTo>
                        <a:lnTo>
                          <a:pt x="629" y="697"/>
                        </a:lnTo>
                        <a:lnTo>
                          <a:pt x="629" y="695"/>
                        </a:lnTo>
                        <a:lnTo>
                          <a:pt x="631" y="695"/>
                        </a:lnTo>
                        <a:lnTo>
                          <a:pt x="632" y="695"/>
                        </a:lnTo>
                        <a:lnTo>
                          <a:pt x="634" y="695"/>
                        </a:lnTo>
                        <a:lnTo>
                          <a:pt x="637" y="697"/>
                        </a:lnTo>
                        <a:lnTo>
                          <a:pt x="640" y="695"/>
                        </a:lnTo>
                        <a:lnTo>
                          <a:pt x="644" y="695"/>
                        </a:lnTo>
                        <a:lnTo>
                          <a:pt x="644" y="694"/>
                        </a:lnTo>
                        <a:lnTo>
                          <a:pt x="645" y="695"/>
                        </a:lnTo>
                        <a:lnTo>
                          <a:pt x="647" y="695"/>
                        </a:lnTo>
                        <a:lnTo>
                          <a:pt x="648" y="695"/>
                        </a:lnTo>
                        <a:lnTo>
                          <a:pt x="650" y="698"/>
                        </a:lnTo>
                        <a:lnTo>
                          <a:pt x="650" y="700"/>
                        </a:lnTo>
                        <a:lnTo>
                          <a:pt x="648" y="702"/>
                        </a:lnTo>
                        <a:lnTo>
                          <a:pt x="648" y="703"/>
                        </a:lnTo>
                        <a:lnTo>
                          <a:pt x="650" y="705"/>
                        </a:lnTo>
                        <a:lnTo>
                          <a:pt x="651" y="708"/>
                        </a:lnTo>
                        <a:lnTo>
                          <a:pt x="651" y="711"/>
                        </a:lnTo>
                        <a:lnTo>
                          <a:pt x="651" y="713"/>
                        </a:lnTo>
                        <a:lnTo>
                          <a:pt x="653" y="713"/>
                        </a:lnTo>
                        <a:lnTo>
                          <a:pt x="653" y="714"/>
                        </a:lnTo>
                        <a:lnTo>
                          <a:pt x="655" y="714"/>
                        </a:lnTo>
                        <a:lnTo>
                          <a:pt x="656" y="714"/>
                        </a:lnTo>
                        <a:lnTo>
                          <a:pt x="658" y="713"/>
                        </a:lnTo>
                        <a:lnTo>
                          <a:pt x="663" y="711"/>
                        </a:lnTo>
                        <a:lnTo>
                          <a:pt x="664" y="711"/>
                        </a:lnTo>
                        <a:lnTo>
                          <a:pt x="666" y="711"/>
                        </a:lnTo>
                        <a:lnTo>
                          <a:pt x="667" y="710"/>
                        </a:lnTo>
                        <a:lnTo>
                          <a:pt x="669" y="708"/>
                        </a:lnTo>
                        <a:lnTo>
                          <a:pt x="670" y="708"/>
                        </a:lnTo>
                        <a:lnTo>
                          <a:pt x="670" y="710"/>
                        </a:lnTo>
                        <a:lnTo>
                          <a:pt x="672" y="710"/>
                        </a:lnTo>
                        <a:lnTo>
                          <a:pt x="672" y="711"/>
                        </a:lnTo>
                        <a:lnTo>
                          <a:pt x="672" y="713"/>
                        </a:lnTo>
                        <a:lnTo>
                          <a:pt x="670" y="716"/>
                        </a:lnTo>
                        <a:lnTo>
                          <a:pt x="672" y="716"/>
                        </a:lnTo>
                        <a:lnTo>
                          <a:pt x="672" y="717"/>
                        </a:lnTo>
                        <a:lnTo>
                          <a:pt x="674" y="719"/>
                        </a:lnTo>
                        <a:lnTo>
                          <a:pt x="675" y="719"/>
                        </a:lnTo>
                        <a:lnTo>
                          <a:pt x="675" y="721"/>
                        </a:lnTo>
                        <a:lnTo>
                          <a:pt x="675" y="722"/>
                        </a:lnTo>
                        <a:lnTo>
                          <a:pt x="675" y="724"/>
                        </a:lnTo>
                        <a:lnTo>
                          <a:pt x="675" y="725"/>
                        </a:lnTo>
                        <a:lnTo>
                          <a:pt x="675" y="729"/>
                        </a:lnTo>
                        <a:lnTo>
                          <a:pt x="675" y="730"/>
                        </a:lnTo>
                        <a:lnTo>
                          <a:pt x="675" y="732"/>
                        </a:lnTo>
                        <a:lnTo>
                          <a:pt x="674" y="733"/>
                        </a:lnTo>
                        <a:lnTo>
                          <a:pt x="674" y="735"/>
                        </a:lnTo>
                        <a:lnTo>
                          <a:pt x="674" y="738"/>
                        </a:lnTo>
                        <a:lnTo>
                          <a:pt x="675" y="738"/>
                        </a:lnTo>
                        <a:lnTo>
                          <a:pt x="677" y="740"/>
                        </a:lnTo>
                        <a:lnTo>
                          <a:pt x="680" y="740"/>
                        </a:lnTo>
                        <a:lnTo>
                          <a:pt x="682" y="740"/>
                        </a:lnTo>
                        <a:lnTo>
                          <a:pt x="683" y="740"/>
                        </a:lnTo>
                        <a:lnTo>
                          <a:pt x="685" y="740"/>
                        </a:lnTo>
                        <a:lnTo>
                          <a:pt x="685" y="741"/>
                        </a:lnTo>
                        <a:lnTo>
                          <a:pt x="685" y="743"/>
                        </a:lnTo>
                        <a:lnTo>
                          <a:pt x="685" y="744"/>
                        </a:lnTo>
                        <a:lnTo>
                          <a:pt x="686" y="744"/>
                        </a:lnTo>
                        <a:lnTo>
                          <a:pt x="689" y="744"/>
                        </a:lnTo>
                        <a:lnTo>
                          <a:pt x="691" y="744"/>
                        </a:lnTo>
                        <a:lnTo>
                          <a:pt x="693" y="744"/>
                        </a:lnTo>
                        <a:lnTo>
                          <a:pt x="694" y="744"/>
                        </a:lnTo>
                        <a:lnTo>
                          <a:pt x="694" y="746"/>
                        </a:lnTo>
                        <a:lnTo>
                          <a:pt x="694" y="748"/>
                        </a:lnTo>
                        <a:lnTo>
                          <a:pt x="693" y="749"/>
                        </a:lnTo>
                        <a:lnTo>
                          <a:pt x="693" y="751"/>
                        </a:lnTo>
                        <a:lnTo>
                          <a:pt x="694" y="752"/>
                        </a:lnTo>
                        <a:lnTo>
                          <a:pt x="696" y="752"/>
                        </a:lnTo>
                        <a:lnTo>
                          <a:pt x="697" y="752"/>
                        </a:lnTo>
                        <a:lnTo>
                          <a:pt x="697" y="754"/>
                        </a:lnTo>
                        <a:lnTo>
                          <a:pt x="699" y="754"/>
                        </a:lnTo>
                        <a:lnTo>
                          <a:pt x="701" y="754"/>
                        </a:lnTo>
                        <a:lnTo>
                          <a:pt x="701" y="755"/>
                        </a:lnTo>
                        <a:lnTo>
                          <a:pt x="702" y="755"/>
                        </a:lnTo>
                        <a:lnTo>
                          <a:pt x="705" y="755"/>
                        </a:lnTo>
                        <a:lnTo>
                          <a:pt x="707" y="755"/>
                        </a:lnTo>
                        <a:lnTo>
                          <a:pt x="710" y="755"/>
                        </a:lnTo>
                        <a:lnTo>
                          <a:pt x="712" y="755"/>
                        </a:lnTo>
                        <a:lnTo>
                          <a:pt x="712" y="757"/>
                        </a:lnTo>
                        <a:lnTo>
                          <a:pt x="712" y="759"/>
                        </a:lnTo>
                        <a:lnTo>
                          <a:pt x="712" y="760"/>
                        </a:lnTo>
                        <a:lnTo>
                          <a:pt x="712" y="762"/>
                        </a:lnTo>
                        <a:lnTo>
                          <a:pt x="712" y="763"/>
                        </a:lnTo>
                        <a:lnTo>
                          <a:pt x="712" y="765"/>
                        </a:lnTo>
                        <a:lnTo>
                          <a:pt x="713" y="765"/>
                        </a:lnTo>
                        <a:lnTo>
                          <a:pt x="713" y="767"/>
                        </a:lnTo>
                        <a:lnTo>
                          <a:pt x="715" y="767"/>
                        </a:lnTo>
                        <a:lnTo>
                          <a:pt x="718" y="765"/>
                        </a:lnTo>
                        <a:lnTo>
                          <a:pt x="720" y="763"/>
                        </a:lnTo>
                        <a:lnTo>
                          <a:pt x="721" y="765"/>
                        </a:lnTo>
                        <a:lnTo>
                          <a:pt x="724" y="763"/>
                        </a:lnTo>
                        <a:lnTo>
                          <a:pt x="726" y="763"/>
                        </a:lnTo>
                        <a:lnTo>
                          <a:pt x="727" y="763"/>
                        </a:lnTo>
                        <a:lnTo>
                          <a:pt x="729" y="763"/>
                        </a:lnTo>
                        <a:lnTo>
                          <a:pt x="731" y="763"/>
                        </a:lnTo>
                        <a:lnTo>
                          <a:pt x="732" y="763"/>
                        </a:lnTo>
                        <a:lnTo>
                          <a:pt x="735" y="763"/>
                        </a:lnTo>
                        <a:lnTo>
                          <a:pt x="737" y="763"/>
                        </a:lnTo>
                        <a:lnTo>
                          <a:pt x="737" y="765"/>
                        </a:lnTo>
                        <a:lnTo>
                          <a:pt x="737" y="767"/>
                        </a:lnTo>
                        <a:lnTo>
                          <a:pt x="739" y="768"/>
                        </a:lnTo>
                        <a:lnTo>
                          <a:pt x="740" y="770"/>
                        </a:lnTo>
                        <a:lnTo>
                          <a:pt x="742" y="770"/>
                        </a:lnTo>
                        <a:lnTo>
                          <a:pt x="742" y="771"/>
                        </a:lnTo>
                        <a:lnTo>
                          <a:pt x="743" y="771"/>
                        </a:lnTo>
                        <a:lnTo>
                          <a:pt x="743" y="773"/>
                        </a:lnTo>
                        <a:lnTo>
                          <a:pt x="745" y="773"/>
                        </a:lnTo>
                        <a:lnTo>
                          <a:pt x="746" y="774"/>
                        </a:lnTo>
                        <a:lnTo>
                          <a:pt x="746" y="776"/>
                        </a:lnTo>
                        <a:lnTo>
                          <a:pt x="748" y="776"/>
                        </a:lnTo>
                        <a:lnTo>
                          <a:pt x="748" y="778"/>
                        </a:lnTo>
                        <a:lnTo>
                          <a:pt x="748" y="779"/>
                        </a:lnTo>
                        <a:lnTo>
                          <a:pt x="748" y="781"/>
                        </a:lnTo>
                        <a:lnTo>
                          <a:pt x="748" y="782"/>
                        </a:lnTo>
                        <a:lnTo>
                          <a:pt x="750" y="784"/>
                        </a:lnTo>
                        <a:lnTo>
                          <a:pt x="751" y="786"/>
                        </a:lnTo>
                        <a:lnTo>
                          <a:pt x="753" y="787"/>
                        </a:lnTo>
                        <a:lnTo>
                          <a:pt x="753" y="789"/>
                        </a:lnTo>
                        <a:lnTo>
                          <a:pt x="754" y="789"/>
                        </a:lnTo>
                        <a:lnTo>
                          <a:pt x="754" y="792"/>
                        </a:lnTo>
                        <a:lnTo>
                          <a:pt x="756" y="792"/>
                        </a:lnTo>
                        <a:lnTo>
                          <a:pt x="756" y="793"/>
                        </a:lnTo>
                        <a:lnTo>
                          <a:pt x="758" y="793"/>
                        </a:lnTo>
                        <a:lnTo>
                          <a:pt x="759" y="795"/>
                        </a:lnTo>
                        <a:lnTo>
                          <a:pt x="761" y="797"/>
                        </a:lnTo>
                        <a:lnTo>
                          <a:pt x="762" y="797"/>
                        </a:lnTo>
                        <a:lnTo>
                          <a:pt x="764" y="797"/>
                        </a:lnTo>
                        <a:lnTo>
                          <a:pt x="764" y="798"/>
                        </a:lnTo>
                        <a:lnTo>
                          <a:pt x="761" y="801"/>
                        </a:lnTo>
                        <a:lnTo>
                          <a:pt x="758" y="805"/>
                        </a:lnTo>
                        <a:lnTo>
                          <a:pt x="754" y="808"/>
                        </a:lnTo>
                        <a:lnTo>
                          <a:pt x="751" y="811"/>
                        </a:lnTo>
                        <a:lnTo>
                          <a:pt x="748" y="811"/>
                        </a:lnTo>
                        <a:lnTo>
                          <a:pt x="745" y="811"/>
                        </a:lnTo>
                        <a:lnTo>
                          <a:pt x="742" y="809"/>
                        </a:lnTo>
                        <a:lnTo>
                          <a:pt x="740" y="809"/>
                        </a:lnTo>
                        <a:lnTo>
                          <a:pt x="739" y="809"/>
                        </a:lnTo>
                        <a:lnTo>
                          <a:pt x="737" y="809"/>
                        </a:lnTo>
                        <a:lnTo>
                          <a:pt x="735" y="811"/>
                        </a:lnTo>
                        <a:lnTo>
                          <a:pt x="735" y="813"/>
                        </a:lnTo>
                        <a:lnTo>
                          <a:pt x="734" y="814"/>
                        </a:lnTo>
                        <a:lnTo>
                          <a:pt x="734" y="817"/>
                        </a:lnTo>
                        <a:lnTo>
                          <a:pt x="732" y="819"/>
                        </a:lnTo>
                        <a:lnTo>
                          <a:pt x="731" y="820"/>
                        </a:lnTo>
                        <a:lnTo>
                          <a:pt x="727" y="822"/>
                        </a:lnTo>
                        <a:lnTo>
                          <a:pt x="727" y="824"/>
                        </a:lnTo>
                        <a:lnTo>
                          <a:pt x="726" y="827"/>
                        </a:lnTo>
                        <a:lnTo>
                          <a:pt x="726" y="828"/>
                        </a:lnTo>
                        <a:lnTo>
                          <a:pt x="723" y="832"/>
                        </a:lnTo>
                        <a:lnTo>
                          <a:pt x="721" y="833"/>
                        </a:lnTo>
                        <a:lnTo>
                          <a:pt x="720" y="835"/>
                        </a:lnTo>
                        <a:lnTo>
                          <a:pt x="718" y="836"/>
                        </a:lnTo>
                        <a:lnTo>
                          <a:pt x="716" y="836"/>
                        </a:lnTo>
                        <a:lnTo>
                          <a:pt x="715" y="836"/>
                        </a:lnTo>
                        <a:lnTo>
                          <a:pt x="713" y="836"/>
                        </a:lnTo>
                        <a:lnTo>
                          <a:pt x="712" y="836"/>
                        </a:lnTo>
                        <a:lnTo>
                          <a:pt x="710" y="838"/>
                        </a:lnTo>
                        <a:lnTo>
                          <a:pt x="708" y="841"/>
                        </a:lnTo>
                        <a:lnTo>
                          <a:pt x="707" y="844"/>
                        </a:lnTo>
                        <a:lnTo>
                          <a:pt x="704" y="846"/>
                        </a:lnTo>
                        <a:lnTo>
                          <a:pt x="701" y="847"/>
                        </a:lnTo>
                        <a:lnTo>
                          <a:pt x="697" y="847"/>
                        </a:lnTo>
                        <a:lnTo>
                          <a:pt x="693" y="847"/>
                        </a:lnTo>
                        <a:lnTo>
                          <a:pt x="686" y="851"/>
                        </a:lnTo>
                        <a:lnTo>
                          <a:pt x="683" y="854"/>
                        </a:lnTo>
                        <a:lnTo>
                          <a:pt x="678" y="855"/>
                        </a:lnTo>
                        <a:lnTo>
                          <a:pt x="674" y="857"/>
                        </a:lnTo>
                        <a:lnTo>
                          <a:pt x="669" y="860"/>
                        </a:lnTo>
                        <a:lnTo>
                          <a:pt x="666" y="863"/>
                        </a:lnTo>
                        <a:lnTo>
                          <a:pt x="664" y="866"/>
                        </a:lnTo>
                        <a:lnTo>
                          <a:pt x="661" y="866"/>
                        </a:lnTo>
                        <a:lnTo>
                          <a:pt x="658" y="868"/>
                        </a:lnTo>
                        <a:lnTo>
                          <a:pt x="655" y="870"/>
                        </a:lnTo>
                        <a:lnTo>
                          <a:pt x="651" y="871"/>
                        </a:lnTo>
                        <a:lnTo>
                          <a:pt x="648" y="874"/>
                        </a:lnTo>
                        <a:lnTo>
                          <a:pt x="647" y="877"/>
                        </a:lnTo>
                        <a:lnTo>
                          <a:pt x="644" y="882"/>
                        </a:lnTo>
                        <a:lnTo>
                          <a:pt x="642" y="889"/>
                        </a:lnTo>
                        <a:lnTo>
                          <a:pt x="639" y="892"/>
                        </a:lnTo>
                        <a:lnTo>
                          <a:pt x="636" y="893"/>
                        </a:lnTo>
                        <a:lnTo>
                          <a:pt x="632" y="893"/>
                        </a:lnTo>
                        <a:lnTo>
                          <a:pt x="629" y="893"/>
                        </a:lnTo>
                        <a:lnTo>
                          <a:pt x="626" y="893"/>
                        </a:lnTo>
                        <a:lnTo>
                          <a:pt x="623" y="893"/>
                        </a:lnTo>
                        <a:lnTo>
                          <a:pt x="621" y="893"/>
                        </a:lnTo>
                        <a:lnTo>
                          <a:pt x="618" y="892"/>
                        </a:lnTo>
                        <a:lnTo>
                          <a:pt x="617" y="889"/>
                        </a:lnTo>
                        <a:lnTo>
                          <a:pt x="615" y="885"/>
                        </a:lnTo>
                        <a:lnTo>
                          <a:pt x="613" y="885"/>
                        </a:lnTo>
                        <a:lnTo>
                          <a:pt x="612" y="887"/>
                        </a:lnTo>
                        <a:lnTo>
                          <a:pt x="610" y="887"/>
                        </a:lnTo>
                        <a:lnTo>
                          <a:pt x="607" y="887"/>
                        </a:lnTo>
                        <a:lnTo>
                          <a:pt x="607" y="889"/>
                        </a:lnTo>
                        <a:lnTo>
                          <a:pt x="605" y="890"/>
                        </a:lnTo>
                        <a:lnTo>
                          <a:pt x="604" y="892"/>
                        </a:lnTo>
                        <a:lnTo>
                          <a:pt x="602" y="892"/>
                        </a:lnTo>
                        <a:lnTo>
                          <a:pt x="601" y="892"/>
                        </a:lnTo>
                        <a:lnTo>
                          <a:pt x="601" y="893"/>
                        </a:lnTo>
                        <a:lnTo>
                          <a:pt x="601" y="895"/>
                        </a:lnTo>
                        <a:lnTo>
                          <a:pt x="598" y="896"/>
                        </a:lnTo>
                        <a:lnTo>
                          <a:pt x="596" y="900"/>
                        </a:lnTo>
                        <a:lnTo>
                          <a:pt x="596" y="904"/>
                        </a:lnTo>
                        <a:lnTo>
                          <a:pt x="594" y="908"/>
                        </a:lnTo>
                        <a:lnTo>
                          <a:pt x="593" y="912"/>
                        </a:lnTo>
                        <a:lnTo>
                          <a:pt x="591" y="917"/>
                        </a:lnTo>
                        <a:lnTo>
                          <a:pt x="590" y="920"/>
                        </a:lnTo>
                        <a:lnTo>
                          <a:pt x="586" y="923"/>
                        </a:lnTo>
                        <a:lnTo>
                          <a:pt x="585" y="925"/>
                        </a:lnTo>
                        <a:lnTo>
                          <a:pt x="585" y="928"/>
                        </a:lnTo>
                        <a:lnTo>
                          <a:pt x="585" y="930"/>
                        </a:lnTo>
                        <a:lnTo>
                          <a:pt x="585" y="933"/>
                        </a:lnTo>
                        <a:lnTo>
                          <a:pt x="585" y="936"/>
                        </a:lnTo>
                        <a:lnTo>
                          <a:pt x="586" y="941"/>
                        </a:lnTo>
                        <a:lnTo>
                          <a:pt x="586" y="944"/>
                        </a:lnTo>
                        <a:lnTo>
                          <a:pt x="588" y="947"/>
                        </a:lnTo>
                        <a:lnTo>
                          <a:pt x="588" y="952"/>
                        </a:lnTo>
                        <a:lnTo>
                          <a:pt x="586" y="955"/>
                        </a:lnTo>
                        <a:lnTo>
                          <a:pt x="583" y="958"/>
                        </a:lnTo>
                        <a:lnTo>
                          <a:pt x="580" y="960"/>
                        </a:lnTo>
                        <a:lnTo>
                          <a:pt x="577" y="961"/>
                        </a:lnTo>
                        <a:lnTo>
                          <a:pt x="574" y="963"/>
                        </a:lnTo>
                        <a:lnTo>
                          <a:pt x="572" y="966"/>
                        </a:lnTo>
                        <a:lnTo>
                          <a:pt x="572" y="969"/>
                        </a:lnTo>
                        <a:lnTo>
                          <a:pt x="571" y="974"/>
                        </a:lnTo>
                        <a:lnTo>
                          <a:pt x="571" y="979"/>
                        </a:lnTo>
                        <a:lnTo>
                          <a:pt x="571" y="980"/>
                        </a:lnTo>
                        <a:lnTo>
                          <a:pt x="571" y="984"/>
                        </a:lnTo>
                        <a:lnTo>
                          <a:pt x="571" y="985"/>
                        </a:lnTo>
                        <a:lnTo>
                          <a:pt x="571" y="988"/>
                        </a:lnTo>
                        <a:lnTo>
                          <a:pt x="571" y="990"/>
                        </a:lnTo>
                        <a:lnTo>
                          <a:pt x="572" y="993"/>
                        </a:lnTo>
                        <a:lnTo>
                          <a:pt x="572" y="995"/>
                        </a:lnTo>
                        <a:lnTo>
                          <a:pt x="572" y="996"/>
                        </a:lnTo>
                        <a:lnTo>
                          <a:pt x="571" y="999"/>
                        </a:lnTo>
                        <a:lnTo>
                          <a:pt x="567" y="1001"/>
                        </a:lnTo>
                        <a:lnTo>
                          <a:pt x="563" y="1007"/>
                        </a:lnTo>
                        <a:lnTo>
                          <a:pt x="558" y="1012"/>
                        </a:lnTo>
                        <a:lnTo>
                          <a:pt x="555" y="1017"/>
                        </a:lnTo>
                        <a:lnTo>
                          <a:pt x="550" y="1023"/>
                        </a:lnTo>
                        <a:lnTo>
                          <a:pt x="548" y="1025"/>
                        </a:lnTo>
                        <a:lnTo>
                          <a:pt x="547" y="1028"/>
                        </a:lnTo>
                        <a:lnTo>
                          <a:pt x="547" y="1030"/>
                        </a:lnTo>
                        <a:lnTo>
                          <a:pt x="547" y="1031"/>
                        </a:lnTo>
                        <a:lnTo>
                          <a:pt x="547" y="1033"/>
                        </a:lnTo>
                        <a:lnTo>
                          <a:pt x="550" y="1033"/>
                        </a:lnTo>
                        <a:lnTo>
                          <a:pt x="552" y="1033"/>
                        </a:lnTo>
                        <a:lnTo>
                          <a:pt x="552" y="1034"/>
                        </a:lnTo>
                        <a:lnTo>
                          <a:pt x="553" y="1034"/>
                        </a:lnTo>
                        <a:lnTo>
                          <a:pt x="556" y="1034"/>
                        </a:lnTo>
                        <a:lnTo>
                          <a:pt x="558" y="1033"/>
                        </a:lnTo>
                        <a:lnTo>
                          <a:pt x="560" y="1033"/>
                        </a:lnTo>
                        <a:lnTo>
                          <a:pt x="561" y="1033"/>
                        </a:lnTo>
                        <a:lnTo>
                          <a:pt x="563" y="1033"/>
                        </a:lnTo>
                        <a:lnTo>
                          <a:pt x="563" y="1034"/>
                        </a:lnTo>
                        <a:lnTo>
                          <a:pt x="563" y="1036"/>
                        </a:lnTo>
                        <a:lnTo>
                          <a:pt x="563" y="1037"/>
                        </a:lnTo>
                        <a:lnTo>
                          <a:pt x="561" y="1037"/>
                        </a:lnTo>
                        <a:lnTo>
                          <a:pt x="561" y="1039"/>
                        </a:lnTo>
                        <a:lnTo>
                          <a:pt x="563" y="1041"/>
                        </a:lnTo>
                        <a:lnTo>
                          <a:pt x="563" y="1039"/>
                        </a:lnTo>
                        <a:lnTo>
                          <a:pt x="564" y="1041"/>
                        </a:lnTo>
                        <a:lnTo>
                          <a:pt x="566" y="1041"/>
                        </a:lnTo>
                        <a:lnTo>
                          <a:pt x="567" y="1042"/>
                        </a:lnTo>
                        <a:lnTo>
                          <a:pt x="569" y="1042"/>
                        </a:lnTo>
                        <a:lnTo>
                          <a:pt x="571" y="1042"/>
                        </a:lnTo>
                        <a:lnTo>
                          <a:pt x="572" y="1044"/>
                        </a:lnTo>
                        <a:lnTo>
                          <a:pt x="575" y="1045"/>
                        </a:lnTo>
                        <a:lnTo>
                          <a:pt x="579" y="1045"/>
                        </a:lnTo>
                        <a:lnTo>
                          <a:pt x="580" y="1047"/>
                        </a:lnTo>
                        <a:lnTo>
                          <a:pt x="580" y="1049"/>
                        </a:lnTo>
                        <a:lnTo>
                          <a:pt x="580" y="1050"/>
                        </a:lnTo>
                        <a:lnTo>
                          <a:pt x="579" y="1052"/>
                        </a:lnTo>
                        <a:lnTo>
                          <a:pt x="580" y="1055"/>
                        </a:lnTo>
                        <a:lnTo>
                          <a:pt x="580" y="1056"/>
                        </a:lnTo>
                        <a:lnTo>
                          <a:pt x="582" y="1056"/>
                        </a:lnTo>
                        <a:lnTo>
                          <a:pt x="583" y="1056"/>
                        </a:lnTo>
                        <a:lnTo>
                          <a:pt x="583" y="1058"/>
                        </a:lnTo>
                        <a:lnTo>
                          <a:pt x="585" y="1058"/>
                        </a:lnTo>
                        <a:lnTo>
                          <a:pt x="586" y="1058"/>
                        </a:lnTo>
                        <a:lnTo>
                          <a:pt x="588" y="1058"/>
                        </a:lnTo>
                        <a:lnTo>
                          <a:pt x="588" y="1060"/>
                        </a:lnTo>
                        <a:lnTo>
                          <a:pt x="590" y="1060"/>
                        </a:lnTo>
                        <a:lnTo>
                          <a:pt x="590" y="1058"/>
                        </a:lnTo>
                        <a:lnTo>
                          <a:pt x="591" y="1056"/>
                        </a:lnTo>
                        <a:lnTo>
                          <a:pt x="591" y="1055"/>
                        </a:lnTo>
                        <a:lnTo>
                          <a:pt x="593" y="1055"/>
                        </a:lnTo>
                        <a:lnTo>
                          <a:pt x="596" y="1055"/>
                        </a:lnTo>
                        <a:lnTo>
                          <a:pt x="598" y="1055"/>
                        </a:lnTo>
                        <a:lnTo>
                          <a:pt x="599" y="1053"/>
                        </a:lnTo>
                        <a:lnTo>
                          <a:pt x="601" y="1053"/>
                        </a:lnTo>
                        <a:lnTo>
                          <a:pt x="602" y="1053"/>
                        </a:lnTo>
                        <a:lnTo>
                          <a:pt x="604" y="1053"/>
                        </a:lnTo>
                        <a:lnTo>
                          <a:pt x="605" y="1055"/>
                        </a:lnTo>
                        <a:lnTo>
                          <a:pt x="607" y="1056"/>
                        </a:lnTo>
                        <a:lnTo>
                          <a:pt x="607" y="1058"/>
                        </a:lnTo>
                        <a:lnTo>
                          <a:pt x="605" y="1060"/>
                        </a:lnTo>
                        <a:lnTo>
                          <a:pt x="604" y="1060"/>
                        </a:lnTo>
                        <a:lnTo>
                          <a:pt x="604" y="1061"/>
                        </a:lnTo>
                        <a:lnTo>
                          <a:pt x="604" y="1063"/>
                        </a:lnTo>
                        <a:lnTo>
                          <a:pt x="604" y="1064"/>
                        </a:lnTo>
                        <a:lnTo>
                          <a:pt x="604" y="1066"/>
                        </a:lnTo>
                        <a:lnTo>
                          <a:pt x="605" y="1068"/>
                        </a:lnTo>
                        <a:lnTo>
                          <a:pt x="607" y="1068"/>
                        </a:lnTo>
                        <a:lnTo>
                          <a:pt x="609" y="1069"/>
                        </a:lnTo>
                        <a:lnTo>
                          <a:pt x="610" y="1069"/>
                        </a:lnTo>
                        <a:lnTo>
                          <a:pt x="612" y="1068"/>
                        </a:lnTo>
                        <a:lnTo>
                          <a:pt x="613" y="1066"/>
                        </a:lnTo>
                        <a:lnTo>
                          <a:pt x="615" y="1064"/>
                        </a:lnTo>
                        <a:lnTo>
                          <a:pt x="618" y="1066"/>
                        </a:lnTo>
                        <a:lnTo>
                          <a:pt x="621" y="1069"/>
                        </a:lnTo>
                        <a:lnTo>
                          <a:pt x="621" y="1071"/>
                        </a:lnTo>
                        <a:lnTo>
                          <a:pt x="620" y="1071"/>
                        </a:lnTo>
                        <a:lnTo>
                          <a:pt x="618" y="1072"/>
                        </a:lnTo>
                        <a:lnTo>
                          <a:pt x="618" y="1074"/>
                        </a:lnTo>
                        <a:lnTo>
                          <a:pt x="618" y="1075"/>
                        </a:lnTo>
                        <a:lnTo>
                          <a:pt x="620" y="1075"/>
                        </a:lnTo>
                        <a:lnTo>
                          <a:pt x="621" y="1077"/>
                        </a:lnTo>
                        <a:lnTo>
                          <a:pt x="623" y="1079"/>
                        </a:lnTo>
                        <a:lnTo>
                          <a:pt x="624" y="1079"/>
                        </a:lnTo>
                        <a:lnTo>
                          <a:pt x="626" y="1079"/>
                        </a:lnTo>
                        <a:lnTo>
                          <a:pt x="628" y="1079"/>
                        </a:lnTo>
                        <a:lnTo>
                          <a:pt x="629" y="1079"/>
                        </a:lnTo>
                        <a:lnTo>
                          <a:pt x="632" y="1077"/>
                        </a:lnTo>
                        <a:lnTo>
                          <a:pt x="634" y="1075"/>
                        </a:lnTo>
                        <a:lnTo>
                          <a:pt x="636" y="1075"/>
                        </a:lnTo>
                        <a:lnTo>
                          <a:pt x="637" y="1074"/>
                        </a:lnTo>
                        <a:lnTo>
                          <a:pt x="640" y="1074"/>
                        </a:lnTo>
                        <a:lnTo>
                          <a:pt x="642" y="1074"/>
                        </a:lnTo>
                        <a:lnTo>
                          <a:pt x="644" y="1075"/>
                        </a:lnTo>
                        <a:lnTo>
                          <a:pt x="645" y="1077"/>
                        </a:lnTo>
                        <a:lnTo>
                          <a:pt x="645" y="1079"/>
                        </a:lnTo>
                        <a:lnTo>
                          <a:pt x="648" y="1079"/>
                        </a:lnTo>
                        <a:lnTo>
                          <a:pt x="648" y="1077"/>
                        </a:lnTo>
                        <a:lnTo>
                          <a:pt x="650" y="1077"/>
                        </a:lnTo>
                        <a:lnTo>
                          <a:pt x="651" y="1077"/>
                        </a:lnTo>
                        <a:lnTo>
                          <a:pt x="653" y="1077"/>
                        </a:lnTo>
                        <a:lnTo>
                          <a:pt x="655" y="1075"/>
                        </a:lnTo>
                        <a:lnTo>
                          <a:pt x="656" y="1075"/>
                        </a:lnTo>
                        <a:lnTo>
                          <a:pt x="658" y="1075"/>
                        </a:lnTo>
                        <a:lnTo>
                          <a:pt x="659" y="1075"/>
                        </a:lnTo>
                        <a:lnTo>
                          <a:pt x="661" y="1075"/>
                        </a:lnTo>
                        <a:lnTo>
                          <a:pt x="661" y="1077"/>
                        </a:lnTo>
                        <a:lnTo>
                          <a:pt x="663" y="1077"/>
                        </a:lnTo>
                        <a:lnTo>
                          <a:pt x="663" y="1079"/>
                        </a:lnTo>
                        <a:lnTo>
                          <a:pt x="661" y="1079"/>
                        </a:lnTo>
                        <a:lnTo>
                          <a:pt x="661" y="1080"/>
                        </a:lnTo>
                        <a:lnTo>
                          <a:pt x="661" y="1082"/>
                        </a:lnTo>
                        <a:lnTo>
                          <a:pt x="659" y="1082"/>
                        </a:lnTo>
                        <a:lnTo>
                          <a:pt x="659" y="1083"/>
                        </a:lnTo>
                        <a:lnTo>
                          <a:pt x="656" y="1083"/>
                        </a:lnTo>
                        <a:lnTo>
                          <a:pt x="656" y="1087"/>
                        </a:lnTo>
                        <a:lnTo>
                          <a:pt x="656" y="1088"/>
                        </a:lnTo>
                        <a:lnTo>
                          <a:pt x="658" y="1090"/>
                        </a:lnTo>
                        <a:lnTo>
                          <a:pt x="661" y="1091"/>
                        </a:lnTo>
                        <a:lnTo>
                          <a:pt x="663" y="1093"/>
                        </a:lnTo>
                        <a:lnTo>
                          <a:pt x="664" y="1094"/>
                        </a:lnTo>
                        <a:lnTo>
                          <a:pt x="666" y="1096"/>
                        </a:lnTo>
                        <a:lnTo>
                          <a:pt x="667" y="1096"/>
                        </a:lnTo>
                        <a:lnTo>
                          <a:pt x="667" y="1098"/>
                        </a:lnTo>
                        <a:lnTo>
                          <a:pt x="667" y="1099"/>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88" name="Freeform 87"/>
                  <p:cNvSpPr>
                    <a:spLocks/>
                  </p:cNvSpPr>
                  <p:nvPr/>
                </p:nvSpPr>
                <p:spPr bwMode="auto">
                  <a:xfrm>
                    <a:off x="3232" y="2016"/>
                    <a:ext cx="931" cy="1150"/>
                  </a:xfrm>
                  <a:custGeom>
                    <a:avLst/>
                    <a:gdLst>
                      <a:gd name="T0" fmla="*/ 922 w 931"/>
                      <a:gd name="T1" fmla="*/ 1107 h 1150"/>
                      <a:gd name="T2" fmla="*/ 930 w 931"/>
                      <a:gd name="T3" fmla="*/ 1107 h 1150"/>
                      <a:gd name="T4" fmla="*/ 922 w 931"/>
                      <a:gd name="T5" fmla="*/ 1123 h 1150"/>
                      <a:gd name="T6" fmla="*/ 827 w 931"/>
                      <a:gd name="T7" fmla="*/ 1134 h 1150"/>
                      <a:gd name="T8" fmla="*/ 748 w 931"/>
                      <a:gd name="T9" fmla="*/ 1148 h 1150"/>
                      <a:gd name="T10" fmla="*/ 613 w 931"/>
                      <a:gd name="T11" fmla="*/ 1147 h 1150"/>
                      <a:gd name="T12" fmla="*/ 481 w 931"/>
                      <a:gd name="T13" fmla="*/ 1148 h 1150"/>
                      <a:gd name="T14" fmla="*/ 390 w 931"/>
                      <a:gd name="T15" fmla="*/ 1144 h 1150"/>
                      <a:gd name="T16" fmla="*/ 244 w 931"/>
                      <a:gd name="T17" fmla="*/ 1142 h 1150"/>
                      <a:gd name="T18" fmla="*/ 138 w 931"/>
                      <a:gd name="T19" fmla="*/ 1137 h 1150"/>
                      <a:gd name="T20" fmla="*/ 154 w 931"/>
                      <a:gd name="T21" fmla="*/ 1109 h 1150"/>
                      <a:gd name="T22" fmla="*/ 184 w 931"/>
                      <a:gd name="T23" fmla="*/ 1102 h 1150"/>
                      <a:gd name="T24" fmla="*/ 198 w 931"/>
                      <a:gd name="T25" fmla="*/ 1063 h 1150"/>
                      <a:gd name="T26" fmla="*/ 171 w 931"/>
                      <a:gd name="T27" fmla="*/ 1039 h 1150"/>
                      <a:gd name="T28" fmla="*/ 144 w 931"/>
                      <a:gd name="T29" fmla="*/ 1012 h 1150"/>
                      <a:gd name="T30" fmla="*/ 122 w 931"/>
                      <a:gd name="T31" fmla="*/ 1031 h 1150"/>
                      <a:gd name="T32" fmla="*/ 87 w 931"/>
                      <a:gd name="T33" fmla="*/ 1044 h 1150"/>
                      <a:gd name="T34" fmla="*/ 81 w 931"/>
                      <a:gd name="T35" fmla="*/ 1011 h 1150"/>
                      <a:gd name="T36" fmla="*/ 76 w 931"/>
                      <a:gd name="T37" fmla="*/ 977 h 1150"/>
                      <a:gd name="T38" fmla="*/ 92 w 931"/>
                      <a:gd name="T39" fmla="*/ 947 h 1150"/>
                      <a:gd name="T40" fmla="*/ 125 w 931"/>
                      <a:gd name="T41" fmla="*/ 925 h 1150"/>
                      <a:gd name="T42" fmla="*/ 185 w 931"/>
                      <a:gd name="T43" fmla="*/ 931 h 1150"/>
                      <a:gd name="T44" fmla="*/ 190 w 931"/>
                      <a:gd name="T45" fmla="*/ 904 h 1150"/>
                      <a:gd name="T46" fmla="*/ 214 w 931"/>
                      <a:gd name="T47" fmla="*/ 904 h 1150"/>
                      <a:gd name="T48" fmla="*/ 230 w 931"/>
                      <a:gd name="T49" fmla="*/ 901 h 1150"/>
                      <a:gd name="T50" fmla="*/ 255 w 931"/>
                      <a:gd name="T51" fmla="*/ 882 h 1150"/>
                      <a:gd name="T52" fmla="*/ 231 w 931"/>
                      <a:gd name="T53" fmla="*/ 866 h 1150"/>
                      <a:gd name="T54" fmla="*/ 179 w 931"/>
                      <a:gd name="T55" fmla="*/ 843 h 1150"/>
                      <a:gd name="T56" fmla="*/ 162 w 931"/>
                      <a:gd name="T57" fmla="*/ 793 h 1150"/>
                      <a:gd name="T58" fmla="*/ 136 w 931"/>
                      <a:gd name="T59" fmla="*/ 760 h 1150"/>
                      <a:gd name="T60" fmla="*/ 128 w 931"/>
                      <a:gd name="T61" fmla="*/ 708 h 1150"/>
                      <a:gd name="T62" fmla="*/ 98 w 931"/>
                      <a:gd name="T63" fmla="*/ 679 h 1150"/>
                      <a:gd name="T64" fmla="*/ 79 w 931"/>
                      <a:gd name="T65" fmla="*/ 665 h 1150"/>
                      <a:gd name="T66" fmla="*/ 49 w 931"/>
                      <a:gd name="T67" fmla="*/ 670 h 1150"/>
                      <a:gd name="T68" fmla="*/ 21 w 931"/>
                      <a:gd name="T69" fmla="*/ 662 h 1150"/>
                      <a:gd name="T70" fmla="*/ 8 w 931"/>
                      <a:gd name="T71" fmla="*/ 632 h 1150"/>
                      <a:gd name="T72" fmla="*/ 38 w 931"/>
                      <a:gd name="T73" fmla="*/ 629 h 1150"/>
                      <a:gd name="T74" fmla="*/ 57 w 931"/>
                      <a:gd name="T75" fmla="*/ 608 h 1150"/>
                      <a:gd name="T76" fmla="*/ 59 w 931"/>
                      <a:gd name="T77" fmla="*/ 581 h 1150"/>
                      <a:gd name="T78" fmla="*/ 30 w 931"/>
                      <a:gd name="T79" fmla="*/ 561 h 1150"/>
                      <a:gd name="T80" fmla="*/ 51 w 931"/>
                      <a:gd name="T81" fmla="*/ 531 h 1150"/>
                      <a:gd name="T82" fmla="*/ 33 w 931"/>
                      <a:gd name="T83" fmla="*/ 512 h 1150"/>
                      <a:gd name="T84" fmla="*/ 13 w 931"/>
                      <a:gd name="T85" fmla="*/ 499 h 1150"/>
                      <a:gd name="T86" fmla="*/ 2 w 931"/>
                      <a:gd name="T87" fmla="*/ 477 h 1150"/>
                      <a:gd name="T88" fmla="*/ 22 w 931"/>
                      <a:gd name="T89" fmla="*/ 461 h 1150"/>
                      <a:gd name="T90" fmla="*/ 54 w 931"/>
                      <a:gd name="T91" fmla="*/ 461 h 1150"/>
                      <a:gd name="T92" fmla="*/ 74 w 931"/>
                      <a:gd name="T93" fmla="*/ 478 h 1150"/>
                      <a:gd name="T94" fmla="*/ 85 w 931"/>
                      <a:gd name="T95" fmla="*/ 445 h 1150"/>
                      <a:gd name="T96" fmla="*/ 68 w 931"/>
                      <a:gd name="T97" fmla="*/ 420 h 1150"/>
                      <a:gd name="T98" fmla="*/ 65 w 931"/>
                      <a:gd name="T99" fmla="*/ 393 h 1150"/>
                      <a:gd name="T100" fmla="*/ 47 w 931"/>
                      <a:gd name="T101" fmla="*/ 369 h 1150"/>
                      <a:gd name="T102" fmla="*/ 27 w 931"/>
                      <a:gd name="T103" fmla="*/ 350 h 1150"/>
                      <a:gd name="T104" fmla="*/ 40 w 931"/>
                      <a:gd name="T105" fmla="*/ 318 h 1150"/>
                      <a:gd name="T106" fmla="*/ 63 w 931"/>
                      <a:gd name="T107" fmla="*/ 309 h 1150"/>
                      <a:gd name="T108" fmla="*/ 57 w 931"/>
                      <a:gd name="T109" fmla="*/ 282 h 1150"/>
                      <a:gd name="T110" fmla="*/ 100 w 931"/>
                      <a:gd name="T111" fmla="*/ 241 h 1150"/>
                      <a:gd name="T112" fmla="*/ 125 w 931"/>
                      <a:gd name="T113" fmla="*/ 196 h 1150"/>
                      <a:gd name="T114" fmla="*/ 106 w 931"/>
                      <a:gd name="T115" fmla="*/ 127 h 1150"/>
                      <a:gd name="T116" fmla="*/ 130 w 931"/>
                      <a:gd name="T117" fmla="*/ 98 h 1150"/>
                      <a:gd name="T118" fmla="*/ 152 w 931"/>
                      <a:gd name="T119" fmla="*/ 78 h 1150"/>
                      <a:gd name="T120" fmla="*/ 222 w 931"/>
                      <a:gd name="T121" fmla="*/ 19 h 1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31" h="1150">
                        <a:moveTo>
                          <a:pt x="901" y="1099"/>
                        </a:moveTo>
                        <a:lnTo>
                          <a:pt x="903" y="1099"/>
                        </a:lnTo>
                        <a:lnTo>
                          <a:pt x="904" y="1101"/>
                        </a:lnTo>
                        <a:lnTo>
                          <a:pt x="908" y="1104"/>
                        </a:lnTo>
                        <a:lnTo>
                          <a:pt x="909" y="1106"/>
                        </a:lnTo>
                        <a:lnTo>
                          <a:pt x="911" y="1106"/>
                        </a:lnTo>
                        <a:lnTo>
                          <a:pt x="912" y="1106"/>
                        </a:lnTo>
                        <a:lnTo>
                          <a:pt x="914" y="1107"/>
                        </a:lnTo>
                        <a:lnTo>
                          <a:pt x="916" y="1109"/>
                        </a:lnTo>
                        <a:lnTo>
                          <a:pt x="916" y="1110"/>
                        </a:lnTo>
                        <a:lnTo>
                          <a:pt x="917" y="1110"/>
                        </a:lnTo>
                        <a:lnTo>
                          <a:pt x="920" y="1109"/>
                        </a:lnTo>
                        <a:lnTo>
                          <a:pt x="922" y="1109"/>
                        </a:lnTo>
                        <a:lnTo>
                          <a:pt x="922" y="1107"/>
                        </a:lnTo>
                        <a:lnTo>
                          <a:pt x="923" y="1106"/>
                        </a:lnTo>
                        <a:lnTo>
                          <a:pt x="923" y="1104"/>
                        </a:lnTo>
                        <a:lnTo>
                          <a:pt x="923" y="1102"/>
                        </a:lnTo>
                        <a:lnTo>
                          <a:pt x="923" y="1101"/>
                        </a:lnTo>
                        <a:lnTo>
                          <a:pt x="927" y="1099"/>
                        </a:lnTo>
                        <a:lnTo>
                          <a:pt x="928" y="1099"/>
                        </a:lnTo>
                        <a:lnTo>
                          <a:pt x="930" y="1099"/>
                        </a:lnTo>
                        <a:lnTo>
                          <a:pt x="930" y="1101"/>
                        </a:lnTo>
                        <a:lnTo>
                          <a:pt x="931" y="1101"/>
                        </a:lnTo>
                        <a:lnTo>
                          <a:pt x="931" y="1102"/>
                        </a:lnTo>
                        <a:lnTo>
                          <a:pt x="930" y="1102"/>
                        </a:lnTo>
                        <a:lnTo>
                          <a:pt x="928" y="1102"/>
                        </a:lnTo>
                        <a:lnTo>
                          <a:pt x="928" y="1104"/>
                        </a:lnTo>
                        <a:lnTo>
                          <a:pt x="930" y="1107"/>
                        </a:lnTo>
                        <a:lnTo>
                          <a:pt x="930" y="1109"/>
                        </a:lnTo>
                        <a:lnTo>
                          <a:pt x="930" y="1110"/>
                        </a:lnTo>
                        <a:lnTo>
                          <a:pt x="927" y="1112"/>
                        </a:lnTo>
                        <a:lnTo>
                          <a:pt x="925" y="1112"/>
                        </a:lnTo>
                        <a:lnTo>
                          <a:pt x="923" y="1113"/>
                        </a:lnTo>
                        <a:lnTo>
                          <a:pt x="922" y="1115"/>
                        </a:lnTo>
                        <a:lnTo>
                          <a:pt x="922" y="1117"/>
                        </a:lnTo>
                        <a:lnTo>
                          <a:pt x="923" y="1118"/>
                        </a:lnTo>
                        <a:lnTo>
                          <a:pt x="925" y="1118"/>
                        </a:lnTo>
                        <a:lnTo>
                          <a:pt x="925" y="1120"/>
                        </a:lnTo>
                        <a:lnTo>
                          <a:pt x="927" y="1121"/>
                        </a:lnTo>
                        <a:lnTo>
                          <a:pt x="925" y="1126"/>
                        </a:lnTo>
                        <a:lnTo>
                          <a:pt x="923" y="1125"/>
                        </a:lnTo>
                        <a:lnTo>
                          <a:pt x="922" y="1123"/>
                        </a:lnTo>
                        <a:lnTo>
                          <a:pt x="919" y="1123"/>
                        </a:lnTo>
                        <a:lnTo>
                          <a:pt x="911" y="1123"/>
                        </a:lnTo>
                        <a:lnTo>
                          <a:pt x="904" y="1123"/>
                        </a:lnTo>
                        <a:lnTo>
                          <a:pt x="897" y="1125"/>
                        </a:lnTo>
                        <a:lnTo>
                          <a:pt x="889" y="1125"/>
                        </a:lnTo>
                        <a:lnTo>
                          <a:pt x="885" y="1125"/>
                        </a:lnTo>
                        <a:lnTo>
                          <a:pt x="874" y="1123"/>
                        </a:lnTo>
                        <a:lnTo>
                          <a:pt x="866" y="1125"/>
                        </a:lnTo>
                        <a:lnTo>
                          <a:pt x="860" y="1123"/>
                        </a:lnTo>
                        <a:lnTo>
                          <a:pt x="827" y="1123"/>
                        </a:lnTo>
                        <a:lnTo>
                          <a:pt x="825" y="1126"/>
                        </a:lnTo>
                        <a:lnTo>
                          <a:pt x="825" y="1129"/>
                        </a:lnTo>
                        <a:lnTo>
                          <a:pt x="827" y="1132"/>
                        </a:lnTo>
                        <a:lnTo>
                          <a:pt x="827" y="1134"/>
                        </a:lnTo>
                        <a:lnTo>
                          <a:pt x="825" y="1137"/>
                        </a:lnTo>
                        <a:lnTo>
                          <a:pt x="825" y="1140"/>
                        </a:lnTo>
                        <a:lnTo>
                          <a:pt x="824" y="1142"/>
                        </a:lnTo>
                        <a:lnTo>
                          <a:pt x="813" y="1140"/>
                        </a:lnTo>
                        <a:lnTo>
                          <a:pt x="808" y="1140"/>
                        </a:lnTo>
                        <a:lnTo>
                          <a:pt x="806" y="1142"/>
                        </a:lnTo>
                        <a:lnTo>
                          <a:pt x="800" y="1139"/>
                        </a:lnTo>
                        <a:lnTo>
                          <a:pt x="790" y="1136"/>
                        </a:lnTo>
                        <a:lnTo>
                          <a:pt x="787" y="1136"/>
                        </a:lnTo>
                        <a:lnTo>
                          <a:pt x="782" y="1137"/>
                        </a:lnTo>
                        <a:lnTo>
                          <a:pt x="757" y="1144"/>
                        </a:lnTo>
                        <a:lnTo>
                          <a:pt x="756" y="1145"/>
                        </a:lnTo>
                        <a:lnTo>
                          <a:pt x="751" y="1147"/>
                        </a:lnTo>
                        <a:lnTo>
                          <a:pt x="748" y="1148"/>
                        </a:lnTo>
                        <a:lnTo>
                          <a:pt x="732" y="1150"/>
                        </a:lnTo>
                        <a:lnTo>
                          <a:pt x="729" y="1148"/>
                        </a:lnTo>
                        <a:lnTo>
                          <a:pt x="727" y="1148"/>
                        </a:lnTo>
                        <a:lnTo>
                          <a:pt x="722" y="1145"/>
                        </a:lnTo>
                        <a:lnTo>
                          <a:pt x="714" y="1145"/>
                        </a:lnTo>
                        <a:lnTo>
                          <a:pt x="702" y="1145"/>
                        </a:lnTo>
                        <a:lnTo>
                          <a:pt x="691" y="1145"/>
                        </a:lnTo>
                        <a:lnTo>
                          <a:pt x="686" y="1147"/>
                        </a:lnTo>
                        <a:lnTo>
                          <a:pt x="678" y="1145"/>
                        </a:lnTo>
                        <a:lnTo>
                          <a:pt x="645" y="1145"/>
                        </a:lnTo>
                        <a:lnTo>
                          <a:pt x="638" y="1145"/>
                        </a:lnTo>
                        <a:lnTo>
                          <a:pt x="635" y="1145"/>
                        </a:lnTo>
                        <a:lnTo>
                          <a:pt x="632" y="1145"/>
                        </a:lnTo>
                        <a:lnTo>
                          <a:pt x="613" y="1147"/>
                        </a:lnTo>
                        <a:lnTo>
                          <a:pt x="592" y="1148"/>
                        </a:lnTo>
                        <a:lnTo>
                          <a:pt x="586" y="1147"/>
                        </a:lnTo>
                        <a:lnTo>
                          <a:pt x="575" y="1147"/>
                        </a:lnTo>
                        <a:lnTo>
                          <a:pt x="569" y="1147"/>
                        </a:lnTo>
                        <a:lnTo>
                          <a:pt x="543" y="1148"/>
                        </a:lnTo>
                        <a:lnTo>
                          <a:pt x="542" y="1148"/>
                        </a:lnTo>
                        <a:lnTo>
                          <a:pt x="540" y="1148"/>
                        </a:lnTo>
                        <a:lnTo>
                          <a:pt x="539" y="1148"/>
                        </a:lnTo>
                        <a:lnTo>
                          <a:pt x="535" y="1148"/>
                        </a:lnTo>
                        <a:lnTo>
                          <a:pt x="527" y="1148"/>
                        </a:lnTo>
                        <a:lnTo>
                          <a:pt x="513" y="1148"/>
                        </a:lnTo>
                        <a:lnTo>
                          <a:pt x="507" y="1148"/>
                        </a:lnTo>
                        <a:lnTo>
                          <a:pt x="491" y="1148"/>
                        </a:lnTo>
                        <a:lnTo>
                          <a:pt x="481" y="1148"/>
                        </a:lnTo>
                        <a:lnTo>
                          <a:pt x="475" y="1148"/>
                        </a:lnTo>
                        <a:lnTo>
                          <a:pt x="459" y="1147"/>
                        </a:lnTo>
                        <a:lnTo>
                          <a:pt x="455" y="1145"/>
                        </a:lnTo>
                        <a:lnTo>
                          <a:pt x="451" y="1145"/>
                        </a:lnTo>
                        <a:lnTo>
                          <a:pt x="447" y="1145"/>
                        </a:lnTo>
                        <a:lnTo>
                          <a:pt x="439" y="1144"/>
                        </a:lnTo>
                        <a:lnTo>
                          <a:pt x="434" y="1144"/>
                        </a:lnTo>
                        <a:lnTo>
                          <a:pt x="428" y="1144"/>
                        </a:lnTo>
                        <a:lnTo>
                          <a:pt x="418" y="1142"/>
                        </a:lnTo>
                        <a:lnTo>
                          <a:pt x="415" y="1142"/>
                        </a:lnTo>
                        <a:lnTo>
                          <a:pt x="412" y="1142"/>
                        </a:lnTo>
                        <a:lnTo>
                          <a:pt x="412" y="1144"/>
                        </a:lnTo>
                        <a:lnTo>
                          <a:pt x="402" y="1144"/>
                        </a:lnTo>
                        <a:lnTo>
                          <a:pt x="390" y="1144"/>
                        </a:lnTo>
                        <a:lnTo>
                          <a:pt x="382" y="1144"/>
                        </a:lnTo>
                        <a:lnTo>
                          <a:pt x="366" y="1145"/>
                        </a:lnTo>
                        <a:lnTo>
                          <a:pt x="352" y="1145"/>
                        </a:lnTo>
                        <a:lnTo>
                          <a:pt x="350" y="1145"/>
                        </a:lnTo>
                        <a:lnTo>
                          <a:pt x="345" y="1144"/>
                        </a:lnTo>
                        <a:lnTo>
                          <a:pt x="344" y="1144"/>
                        </a:lnTo>
                        <a:lnTo>
                          <a:pt x="333" y="1144"/>
                        </a:lnTo>
                        <a:lnTo>
                          <a:pt x="323" y="1144"/>
                        </a:lnTo>
                        <a:lnTo>
                          <a:pt x="306" y="1144"/>
                        </a:lnTo>
                        <a:lnTo>
                          <a:pt x="298" y="1144"/>
                        </a:lnTo>
                        <a:lnTo>
                          <a:pt x="261" y="1145"/>
                        </a:lnTo>
                        <a:lnTo>
                          <a:pt x="252" y="1144"/>
                        </a:lnTo>
                        <a:lnTo>
                          <a:pt x="245" y="1142"/>
                        </a:lnTo>
                        <a:lnTo>
                          <a:pt x="244" y="1142"/>
                        </a:lnTo>
                        <a:lnTo>
                          <a:pt x="233" y="1142"/>
                        </a:lnTo>
                        <a:lnTo>
                          <a:pt x="230" y="1142"/>
                        </a:lnTo>
                        <a:lnTo>
                          <a:pt x="217" y="1140"/>
                        </a:lnTo>
                        <a:lnTo>
                          <a:pt x="215" y="1139"/>
                        </a:lnTo>
                        <a:lnTo>
                          <a:pt x="214" y="1139"/>
                        </a:lnTo>
                        <a:lnTo>
                          <a:pt x="206" y="1139"/>
                        </a:lnTo>
                        <a:lnTo>
                          <a:pt x="198" y="1137"/>
                        </a:lnTo>
                        <a:lnTo>
                          <a:pt x="196" y="1137"/>
                        </a:lnTo>
                        <a:lnTo>
                          <a:pt x="182" y="1137"/>
                        </a:lnTo>
                        <a:lnTo>
                          <a:pt x="158" y="1139"/>
                        </a:lnTo>
                        <a:lnTo>
                          <a:pt x="155" y="1139"/>
                        </a:lnTo>
                        <a:lnTo>
                          <a:pt x="143" y="1137"/>
                        </a:lnTo>
                        <a:lnTo>
                          <a:pt x="141" y="1137"/>
                        </a:lnTo>
                        <a:lnTo>
                          <a:pt x="138" y="1137"/>
                        </a:lnTo>
                        <a:lnTo>
                          <a:pt x="133" y="1137"/>
                        </a:lnTo>
                        <a:lnTo>
                          <a:pt x="131" y="1137"/>
                        </a:lnTo>
                        <a:lnTo>
                          <a:pt x="131" y="1132"/>
                        </a:lnTo>
                        <a:lnTo>
                          <a:pt x="133" y="1129"/>
                        </a:lnTo>
                        <a:lnTo>
                          <a:pt x="135" y="1128"/>
                        </a:lnTo>
                        <a:lnTo>
                          <a:pt x="136" y="1125"/>
                        </a:lnTo>
                        <a:lnTo>
                          <a:pt x="138" y="1123"/>
                        </a:lnTo>
                        <a:lnTo>
                          <a:pt x="141" y="1121"/>
                        </a:lnTo>
                        <a:lnTo>
                          <a:pt x="146" y="1120"/>
                        </a:lnTo>
                        <a:lnTo>
                          <a:pt x="147" y="1118"/>
                        </a:lnTo>
                        <a:lnTo>
                          <a:pt x="150" y="1115"/>
                        </a:lnTo>
                        <a:lnTo>
                          <a:pt x="152" y="1112"/>
                        </a:lnTo>
                        <a:lnTo>
                          <a:pt x="152" y="1110"/>
                        </a:lnTo>
                        <a:lnTo>
                          <a:pt x="154" y="1109"/>
                        </a:lnTo>
                        <a:lnTo>
                          <a:pt x="154" y="1107"/>
                        </a:lnTo>
                        <a:lnTo>
                          <a:pt x="154" y="1106"/>
                        </a:lnTo>
                        <a:lnTo>
                          <a:pt x="154" y="1102"/>
                        </a:lnTo>
                        <a:lnTo>
                          <a:pt x="155" y="1102"/>
                        </a:lnTo>
                        <a:lnTo>
                          <a:pt x="158" y="1101"/>
                        </a:lnTo>
                        <a:lnTo>
                          <a:pt x="160" y="1101"/>
                        </a:lnTo>
                        <a:lnTo>
                          <a:pt x="165" y="1101"/>
                        </a:lnTo>
                        <a:lnTo>
                          <a:pt x="168" y="1101"/>
                        </a:lnTo>
                        <a:lnTo>
                          <a:pt x="171" y="1101"/>
                        </a:lnTo>
                        <a:lnTo>
                          <a:pt x="173" y="1101"/>
                        </a:lnTo>
                        <a:lnTo>
                          <a:pt x="176" y="1101"/>
                        </a:lnTo>
                        <a:lnTo>
                          <a:pt x="179" y="1102"/>
                        </a:lnTo>
                        <a:lnTo>
                          <a:pt x="182" y="1102"/>
                        </a:lnTo>
                        <a:lnTo>
                          <a:pt x="184" y="1102"/>
                        </a:lnTo>
                        <a:lnTo>
                          <a:pt x="187" y="1102"/>
                        </a:lnTo>
                        <a:lnTo>
                          <a:pt x="188" y="1101"/>
                        </a:lnTo>
                        <a:lnTo>
                          <a:pt x="190" y="1099"/>
                        </a:lnTo>
                        <a:lnTo>
                          <a:pt x="192" y="1096"/>
                        </a:lnTo>
                        <a:lnTo>
                          <a:pt x="192" y="1093"/>
                        </a:lnTo>
                        <a:lnTo>
                          <a:pt x="193" y="1090"/>
                        </a:lnTo>
                        <a:lnTo>
                          <a:pt x="195" y="1087"/>
                        </a:lnTo>
                        <a:lnTo>
                          <a:pt x="196" y="1083"/>
                        </a:lnTo>
                        <a:lnTo>
                          <a:pt x="196" y="1080"/>
                        </a:lnTo>
                        <a:lnTo>
                          <a:pt x="198" y="1074"/>
                        </a:lnTo>
                        <a:lnTo>
                          <a:pt x="198" y="1071"/>
                        </a:lnTo>
                        <a:lnTo>
                          <a:pt x="198" y="1068"/>
                        </a:lnTo>
                        <a:lnTo>
                          <a:pt x="200" y="1066"/>
                        </a:lnTo>
                        <a:lnTo>
                          <a:pt x="198" y="1063"/>
                        </a:lnTo>
                        <a:lnTo>
                          <a:pt x="198" y="1061"/>
                        </a:lnTo>
                        <a:lnTo>
                          <a:pt x="198" y="1060"/>
                        </a:lnTo>
                        <a:lnTo>
                          <a:pt x="196" y="1058"/>
                        </a:lnTo>
                        <a:lnTo>
                          <a:pt x="195" y="1056"/>
                        </a:lnTo>
                        <a:lnTo>
                          <a:pt x="193" y="1055"/>
                        </a:lnTo>
                        <a:lnTo>
                          <a:pt x="192" y="1055"/>
                        </a:lnTo>
                        <a:lnTo>
                          <a:pt x="192" y="1053"/>
                        </a:lnTo>
                        <a:lnTo>
                          <a:pt x="188" y="1053"/>
                        </a:lnTo>
                        <a:lnTo>
                          <a:pt x="187" y="1052"/>
                        </a:lnTo>
                        <a:lnTo>
                          <a:pt x="185" y="1052"/>
                        </a:lnTo>
                        <a:lnTo>
                          <a:pt x="184" y="1049"/>
                        </a:lnTo>
                        <a:lnTo>
                          <a:pt x="177" y="1045"/>
                        </a:lnTo>
                        <a:lnTo>
                          <a:pt x="173" y="1042"/>
                        </a:lnTo>
                        <a:lnTo>
                          <a:pt x="171" y="1039"/>
                        </a:lnTo>
                        <a:lnTo>
                          <a:pt x="168" y="1036"/>
                        </a:lnTo>
                        <a:lnTo>
                          <a:pt x="168" y="1033"/>
                        </a:lnTo>
                        <a:lnTo>
                          <a:pt x="166" y="1031"/>
                        </a:lnTo>
                        <a:lnTo>
                          <a:pt x="165" y="1030"/>
                        </a:lnTo>
                        <a:lnTo>
                          <a:pt x="163" y="1028"/>
                        </a:lnTo>
                        <a:lnTo>
                          <a:pt x="162" y="1026"/>
                        </a:lnTo>
                        <a:lnTo>
                          <a:pt x="160" y="1026"/>
                        </a:lnTo>
                        <a:lnTo>
                          <a:pt x="157" y="1025"/>
                        </a:lnTo>
                        <a:lnTo>
                          <a:pt x="152" y="1020"/>
                        </a:lnTo>
                        <a:lnTo>
                          <a:pt x="150" y="1017"/>
                        </a:lnTo>
                        <a:lnTo>
                          <a:pt x="147" y="1015"/>
                        </a:lnTo>
                        <a:lnTo>
                          <a:pt x="147" y="1014"/>
                        </a:lnTo>
                        <a:lnTo>
                          <a:pt x="146" y="1014"/>
                        </a:lnTo>
                        <a:lnTo>
                          <a:pt x="144" y="1012"/>
                        </a:lnTo>
                        <a:lnTo>
                          <a:pt x="143" y="1011"/>
                        </a:lnTo>
                        <a:lnTo>
                          <a:pt x="138" y="1011"/>
                        </a:lnTo>
                        <a:lnTo>
                          <a:pt x="135" y="1009"/>
                        </a:lnTo>
                        <a:lnTo>
                          <a:pt x="131" y="1009"/>
                        </a:lnTo>
                        <a:lnTo>
                          <a:pt x="128" y="1011"/>
                        </a:lnTo>
                        <a:lnTo>
                          <a:pt x="125" y="1011"/>
                        </a:lnTo>
                        <a:lnTo>
                          <a:pt x="124" y="1011"/>
                        </a:lnTo>
                        <a:lnTo>
                          <a:pt x="122" y="1012"/>
                        </a:lnTo>
                        <a:lnTo>
                          <a:pt x="120" y="1014"/>
                        </a:lnTo>
                        <a:lnTo>
                          <a:pt x="119" y="1015"/>
                        </a:lnTo>
                        <a:lnTo>
                          <a:pt x="119" y="1020"/>
                        </a:lnTo>
                        <a:lnTo>
                          <a:pt x="120" y="1025"/>
                        </a:lnTo>
                        <a:lnTo>
                          <a:pt x="122" y="1028"/>
                        </a:lnTo>
                        <a:lnTo>
                          <a:pt x="122" y="1031"/>
                        </a:lnTo>
                        <a:lnTo>
                          <a:pt x="124" y="1033"/>
                        </a:lnTo>
                        <a:lnTo>
                          <a:pt x="124" y="1034"/>
                        </a:lnTo>
                        <a:lnTo>
                          <a:pt x="124" y="1036"/>
                        </a:lnTo>
                        <a:lnTo>
                          <a:pt x="122" y="1037"/>
                        </a:lnTo>
                        <a:lnTo>
                          <a:pt x="119" y="1037"/>
                        </a:lnTo>
                        <a:lnTo>
                          <a:pt x="109" y="1041"/>
                        </a:lnTo>
                        <a:lnTo>
                          <a:pt x="101" y="1044"/>
                        </a:lnTo>
                        <a:lnTo>
                          <a:pt x="97" y="1047"/>
                        </a:lnTo>
                        <a:lnTo>
                          <a:pt x="93" y="1047"/>
                        </a:lnTo>
                        <a:lnTo>
                          <a:pt x="90" y="1049"/>
                        </a:lnTo>
                        <a:lnTo>
                          <a:pt x="87" y="1050"/>
                        </a:lnTo>
                        <a:lnTo>
                          <a:pt x="87" y="1049"/>
                        </a:lnTo>
                        <a:lnTo>
                          <a:pt x="87" y="1045"/>
                        </a:lnTo>
                        <a:lnTo>
                          <a:pt x="87" y="1044"/>
                        </a:lnTo>
                        <a:lnTo>
                          <a:pt x="87" y="1042"/>
                        </a:lnTo>
                        <a:lnTo>
                          <a:pt x="85" y="1037"/>
                        </a:lnTo>
                        <a:lnTo>
                          <a:pt x="85" y="1034"/>
                        </a:lnTo>
                        <a:lnTo>
                          <a:pt x="84" y="1031"/>
                        </a:lnTo>
                        <a:lnTo>
                          <a:pt x="82" y="1028"/>
                        </a:lnTo>
                        <a:lnTo>
                          <a:pt x="82" y="1026"/>
                        </a:lnTo>
                        <a:lnTo>
                          <a:pt x="82" y="1023"/>
                        </a:lnTo>
                        <a:lnTo>
                          <a:pt x="82" y="1022"/>
                        </a:lnTo>
                        <a:lnTo>
                          <a:pt x="82" y="1020"/>
                        </a:lnTo>
                        <a:lnTo>
                          <a:pt x="82" y="1018"/>
                        </a:lnTo>
                        <a:lnTo>
                          <a:pt x="82" y="1015"/>
                        </a:lnTo>
                        <a:lnTo>
                          <a:pt x="81" y="1014"/>
                        </a:lnTo>
                        <a:lnTo>
                          <a:pt x="81" y="1012"/>
                        </a:lnTo>
                        <a:lnTo>
                          <a:pt x="81" y="1011"/>
                        </a:lnTo>
                        <a:lnTo>
                          <a:pt x="81" y="1009"/>
                        </a:lnTo>
                        <a:lnTo>
                          <a:pt x="81" y="1004"/>
                        </a:lnTo>
                        <a:lnTo>
                          <a:pt x="81" y="1003"/>
                        </a:lnTo>
                        <a:lnTo>
                          <a:pt x="81" y="999"/>
                        </a:lnTo>
                        <a:lnTo>
                          <a:pt x="81" y="998"/>
                        </a:lnTo>
                        <a:lnTo>
                          <a:pt x="79" y="991"/>
                        </a:lnTo>
                        <a:lnTo>
                          <a:pt x="78" y="990"/>
                        </a:lnTo>
                        <a:lnTo>
                          <a:pt x="78" y="988"/>
                        </a:lnTo>
                        <a:lnTo>
                          <a:pt x="76" y="987"/>
                        </a:lnTo>
                        <a:lnTo>
                          <a:pt x="74" y="985"/>
                        </a:lnTo>
                        <a:lnTo>
                          <a:pt x="74" y="984"/>
                        </a:lnTo>
                        <a:lnTo>
                          <a:pt x="74" y="982"/>
                        </a:lnTo>
                        <a:lnTo>
                          <a:pt x="76" y="980"/>
                        </a:lnTo>
                        <a:lnTo>
                          <a:pt x="76" y="977"/>
                        </a:lnTo>
                        <a:lnTo>
                          <a:pt x="76" y="976"/>
                        </a:lnTo>
                        <a:lnTo>
                          <a:pt x="76" y="974"/>
                        </a:lnTo>
                        <a:lnTo>
                          <a:pt x="74" y="972"/>
                        </a:lnTo>
                        <a:lnTo>
                          <a:pt x="74" y="971"/>
                        </a:lnTo>
                        <a:lnTo>
                          <a:pt x="74" y="968"/>
                        </a:lnTo>
                        <a:lnTo>
                          <a:pt x="76" y="968"/>
                        </a:lnTo>
                        <a:lnTo>
                          <a:pt x="78" y="963"/>
                        </a:lnTo>
                        <a:lnTo>
                          <a:pt x="78" y="961"/>
                        </a:lnTo>
                        <a:lnTo>
                          <a:pt x="78" y="960"/>
                        </a:lnTo>
                        <a:lnTo>
                          <a:pt x="81" y="958"/>
                        </a:lnTo>
                        <a:lnTo>
                          <a:pt x="84" y="957"/>
                        </a:lnTo>
                        <a:lnTo>
                          <a:pt x="89" y="952"/>
                        </a:lnTo>
                        <a:lnTo>
                          <a:pt x="90" y="950"/>
                        </a:lnTo>
                        <a:lnTo>
                          <a:pt x="92" y="947"/>
                        </a:lnTo>
                        <a:lnTo>
                          <a:pt x="93" y="942"/>
                        </a:lnTo>
                        <a:lnTo>
                          <a:pt x="93" y="941"/>
                        </a:lnTo>
                        <a:lnTo>
                          <a:pt x="95" y="936"/>
                        </a:lnTo>
                        <a:lnTo>
                          <a:pt x="98" y="933"/>
                        </a:lnTo>
                        <a:lnTo>
                          <a:pt x="101" y="930"/>
                        </a:lnTo>
                        <a:lnTo>
                          <a:pt x="106" y="927"/>
                        </a:lnTo>
                        <a:lnTo>
                          <a:pt x="111" y="923"/>
                        </a:lnTo>
                        <a:lnTo>
                          <a:pt x="114" y="922"/>
                        </a:lnTo>
                        <a:lnTo>
                          <a:pt x="116" y="920"/>
                        </a:lnTo>
                        <a:lnTo>
                          <a:pt x="117" y="920"/>
                        </a:lnTo>
                        <a:lnTo>
                          <a:pt x="119" y="922"/>
                        </a:lnTo>
                        <a:lnTo>
                          <a:pt x="120" y="922"/>
                        </a:lnTo>
                        <a:lnTo>
                          <a:pt x="124" y="923"/>
                        </a:lnTo>
                        <a:lnTo>
                          <a:pt x="125" y="925"/>
                        </a:lnTo>
                        <a:lnTo>
                          <a:pt x="130" y="927"/>
                        </a:lnTo>
                        <a:lnTo>
                          <a:pt x="131" y="927"/>
                        </a:lnTo>
                        <a:lnTo>
                          <a:pt x="138" y="930"/>
                        </a:lnTo>
                        <a:lnTo>
                          <a:pt x="141" y="933"/>
                        </a:lnTo>
                        <a:lnTo>
                          <a:pt x="147" y="931"/>
                        </a:lnTo>
                        <a:lnTo>
                          <a:pt x="155" y="931"/>
                        </a:lnTo>
                        <a:lnTo>
                          <a:pt x="165" y="933"/>
                        </a:lnTo>
                        <a:lnTo>
                          <a:pt x="168" y="933"/>
                        </a:lnTo>
                        <a:lnTo>
                          <a:pt x="171" y="933"/>
                        </a:lnTo>
                        <a:lnTo>
                          <a:pt x="174" y="933"/>
                        </a:lnTo>
                        <a:lnTo>
                          <a:pt x="177" y="933"/>
                        </a:lnTo>
                        <a:lnTo>
                          <a:pt x="184" y="934"/>
                        </a:lnTo>
                        <a:lnTo>
                          <a:pt x="185" y="933"/>
                        </a:lnTo>
                        <a:lnTo>
                          <a:pt x="185" y="931"/>
                        </a:lnTo>
                        <a:lnTo>
                          <a:pt x="185" y="930"/>
                        </a:lnTo>
                        <a:lnTo>
                          <a:pt x="185" y="928"/>
                        </a:lnTo>
                        <a:lnTo>
                          <a:pt x="187" y="927"/>
                        </a:lnTo>
                        <a:lnTo>
                          <a:pt x="187" y="925"/>
                        </a:lnTo>
                        <a:lnTo>
                          <a:pt x="187" y="922"/>
                        </a:lnTo>
                        <a:lnTo>
                          <a:pt x="187" y="920"/>
                        </a:lnTo>
                        <a:lnTo>
                          <a:pt x="187" y="919"/>
                        </a:lnTo>
                        <a:lnTo>
                          <a:pt x="187" y="915"/>
                        </a:lnTo>
                        <a:lnTo>
                          <a:pt x="187" y="912"/>
                        </a:lnTo>
                        <a:lnTo>
                          <a:pt x="188" y="911"/>
                        </a:lnTo>
                        <a:lnTo>
                          <a:pt x="188" y="909"/>
                        </a:lnTo>
                        <a:lnTo>
                          <a:pt x="190" y="908"/>
                        </a:lnTo>
                        <a:lnTo>
                          <a:pt x="190" y="906"/>
                        </a:lnTo>
                        <a:lnTo>
                          <a:pt x="190" y="904"/>
                        </a:lnTo>
                        <a:lnTo>
                          <a:pt x="192" y="904"/>
                        </a:lnTo>
                        <a:lnTo>
                          <a:pt x="193" y="904"/>
                        </a:lnTo>
                        <a:lnTo>
                          <a:pt x="195" y="904"/>
                        </a:lnTo>
                        <a:lnTo>
                          <a:pt x="196" y="906"/>
                        </a:lnTo>
                        <a:lnTo>
                          <a:pt x="198" y="904"/>
                        </a:lnTo>
                        <a:lnTo>
                          <a:pt x="201" y="904"/>
                        </a:lnTo>
                        <a:lnTo>
                          <a:pt x="203" y="904"/>
                        </a:lnTo>
                        <a:lnTo>
                          <a:pt x="204" y="904"/>
                        </a:lnTo>
                        <a:lnTo>
                          <a:pt x="206" y="904"/>
                        </a:lnTo>
                        <a:lnTo>
                          <a:pt x="207" y="904"/>
                        </a:lnTo>
                        <a:lnTo>
                          <a:pt x="209" y="904"/>
                        </a:lnTo>
                        <a:lnTo>
                          <a:pt x="211" y="904"/>
                        </a:lnTo>
                        <a:lnTo>
                          <a:pt x="212" y="904"/>
                        </a:lnTo>
                        <a:lnTo>
                          <a:pt x="214" y="904"/>
                        </a:lnTo>
                        <a:lnTo>
                          <a:pt x="215" y="904"/>
                        </a:lnTo>
                        <a:lnTo>
                          <a:pt x="215" y="906"/>
                        </a:lnTo>
                        <a:lnTo>
                          <a:pt x="217" y="906"/>
                        </a:lnTo>
                        <a:lnTo>
                          <a:pt x="219" y="906"/>
                        </a:lnTo>
                        <a:lnTo>
                          <a:pt x="220" y="904"/>
                        </a:lnTo>
                        <a:lnTo>
                          <a:pt x="222" y="904"/>
                        </a:lnTo>
                        <a:lnTo>
                          <a:pt x="222" y="903"/>
                        </a:lnTo>
                        <a:lnTo>
                          <a:pt x="223" y="903"/>
                        </a:lnTo>
                        <a:lnTo>
                          <a:pt x="223" y="904"/>
                        </a:lnTo>
                        <a:lnTo>
                          <a:pt x="225" y="903"/>
                        </a:lnTo>
                        <a:lnTo>
                          <a:pt x="226" y="904"/>
                        </a:lnTo>
                        <a:lnTo>
                          <a:pt x="228" y="904"/>
                        </a:lnTo>
                        <a:lnTo>
                          <a:pt x="230" y="903"/>
                        </a:lnTo>
                        <a:lnTo>
                          <a:pt x="230" y="901"/>
                        </a:lnTo>
                        <a:lnTo>
                          <a:pt x="230" y="900"/>
                        </a:lnTo>
                        <a:lnTo>
                          <a:pt x="231" y="898"/>
                        </a:lnTo>
                        <a:lnTo>
                          <a:pt x="233" y="898"/>
                        </a:lnTo>
                        <a:lnTo>
                          <a:pt x="234" y="896"/>
                        </a:lnTo>
                        <a:lnTo>
                          <a:pt x="238" y="896"/>
                        </a:lnTo>
                        <a:lnTo>
                          <a:pt x="238" y="895"/>
                        </a:lnTo>
                        <a:lnTo>
                          <a:pt x="241" y="892"/>
                        </a:lnTo>
                        <a:lnTo>
                          <a:pt x="244" y="892"/>
                        </a:lnTo>
                        <a:lnTo>
                          <a:pt x="245" y="890"/>
                        </a:lnTo>
                        <a:lnTo>
                          <a:pt x="247" y="889"/>
                        </a:lnTo>
                        <a:lnTo>
                          <a:pt x="249" y="889"/>
                        </a:lnTo>
                        <a:lnTo>
                          <a:pt x="250" y="885"/>
                        </a:lnTo>
                        <a:lnTo>
                          <a:pt x="253" y="882"/>
                        </a:lnTo>
                        <a:lnTo>
                          <a:pt x="255" y="882"/>
                        </a:lnTo>
                        <a:lnTo>
                          <a:pt x="253" y="881"/>
                        </a:lnTo>
                        <a:lnTo>
                          <a:pt x="252" y="877"/>
                        </a:lnTo>
                        <a:lnTo>
                          <a:pt x="250" y="877"/>
                        </a:lnTo>
                        <a:lnTo>
                          <a:pt x="250" y="876"/>
                        </a:lnTo>
                        <a:lnTo>
                          <a:pt x="249" y="874"/>
                        </a:lnTo>
                        <a:lnTo>
                          <a:pt x="247" y="873"/>
                        </a:lnTo>
                        <a:lnTo>
                          <a:pt x="245" y="873"/>
                        </a:lnTo>
                        <a:lnTo>
                          <a:pt x="244" y="873"/>
                        </a:lnTo>
                        <a:lnTo>
                          <a:pt x="242" y="871"/>
                        </a:lnTo>
                        <a:lnTo>
                          <a:pt x="242" y="870"/>
                        </a:lnTo>
                        <a:lnTo>
                          <a:pt x="241" y="870"/>
                        </a:lnTo>
                        <a:lnTo>
                          <a:pt x="238" y="868"/>
                        </a:lnTo>
                        <a:lnTo>
                          <a:pt x="236" y="866"/>
                        </a:lnTo>
                        <a:lnTo>
                          <a:pt x="231" y="866"/>
                        </a:lnTo>
                        <a:lnTo>
                          <a:pt x="228" y="866"/>
                        </a:lnTo>
                        <a:lnTo>
                          <a:pt x="222" y="865"/>
                        </a:lnTo>
                        <a:lnTo>
                          <a:pt x="217" y="863"/>
                        </a:lnTo>
                        <a:lnTo>
                          <a:pt x="215" y="862"/>
                        </a:lnTo>
                        <a:lnTo>
                          <a:pt x="212" y="858"/>
                        </a:lnTo>
                        <a:lnTo>
                          <a:pt x="203" y="852"/>
                        </a:lnTo>
                        <a:lnTo>
                          <a:pt x="201" y="851"/>
                        </a:lnTo>
                        <a:lnTo>
                          <a:pt x="200" y="849"/>
                        </a:lnTo>
                        <a:lnTo>
                          <a:pt x="198" y="849"/>
                        </a:lnTo>
                        <a:lnTo>
                          <a:pt x="195" y="849"/>
                        </a:lnTo>
                        <a:lnTo>
                          <a:pt x="193" y="849"/>
                        </a:lnTo>
                        <a:lnTo>
                          <a:pt x="190" y="847"/>
                        </a:lnTo>
                        <a:lnTo>
                          <a:pt x="184" y="844"/>
                        </a:lnTo>
                        <a:lnTo>
                          <a:pt x="179" y="843"/>
                        </a:lnTo>
                        <a:lnTo>
                          <a:pt x="171" y="838"/>
                        </a:lnTo>
                        <a:lnTo>
                          <a:pt x="168" y="835"/>
                        </a:lnTo>
                        <a:lnTo>
                          <a:pt x="163" y="832"/>
                        </a:lnTo>
                        <a:lnTo>
                          <a:pt x="160" y="828"/>
                        </a:lnTo>
                        <a:lnTo>
                          <a:pt x="158" y="827"/>
                        </a:lnTo>
                        <a:lnTo>
                          <a:pt x="158" y="824"/>
                        </a:lnTo>
                        <a:lnTo>
                          <a:pt x="157" y="822"/>
                        </a:lnTo>
                        <a:lnTo>
                          <a:pt x="157" y="820"/>
                        </a:lnTo>
                        <a:lnTo>
                          <a:pt x="158" y="817"/>
                        </a:lnTo>
                        <a:lnTo>
                          <a:pt x="158" y="814"/>
                        </a:lnTo>
                        <a:lnTo>
                          <a:pt x="160" y="811"/>
                        </a:lnTo>
                        <a:lnTo>
                          <a:pt x="162" y="803"/>
                        </a:lnTo>
                        <a:lnTo>
                          <a:pt x="162" y="800"/>
                        </a:lnTo>
                        <a:lnTo>
                          <a:pt x="162" y="793"/>
                        </a:lnTo>
                        <a:lnTo>
                          <a:pt x="162" y="789"/>
                        </a:lnTo>
                        <a:lnTo>
                          <a:pt x="160" y="784"/>
                        </a:lnTo>
                        <a:lnTo>
                          <a:pt x="160" y="781"/>
                        </a:lnTo>
                        <a:lnTo>
                          <a:pt x="158" y="779"/>
                        </a:lnTo>
                        <a:lnTo>
                          <a:pt x="158" y="776"/>
                        </a:lnTo>
                        <a:lnTo>
                          <a:pt x="155" y="773"/>
                        </a:lnTo>
                        <a:lnTo>
                          <a:pt x="154" y="771"/>
                        </a:lnTo>
                        <a:lnTo>
                          <a:pt x="152" y="768"/>
                        </a:lnTo>
                        <a:lnTo>
                          <a:pt x="149" y="767"/>
                        </a:lnTo>
                        <a:lnTo>
                          <a:pt x="147" y="765"/>
                        </a:lnTo>
                        <a:lnTo>
                          <a:pt x="144" y="763"/>
                        </a:lnTo>
                        <a:lnTo>
                          <a:pt x="141" y="762"/>
                        </a:lnTo>
                        <a:lnTo>
                          <a:pt x="139" y="762"/>
                        </a:lnTo>
                        <a:lnTo>
                          <a:pt x="136" y="760"/>
                        </a:lnTo>
                        <a:lnTo>
                          <a:pt x="136" y="759"/>
                        </a:lnTo>
                        <a:lnTo>
                          <a:pt x="135" y="757"/>
                        </a:lnTo>
                        <a:lnTo>
                          <a:pt x="135" y="755"/>
                        </a:lnTo>
                        <a:lnTo>
                          <a:pt x="135" y="752"/>
                        </a:lnTo>
                        <a:lnTo>
                          <a:pt x="133" y="746"/>
                        </a:lnTo>
                        <a:lnTo>
                          <a:pt x="133" y="740"/>
                        </a:lnTo>
                        <a:lnTo>
                          <a:pt x="131" y="730"/>
                        </a:lnTo>
                        <a:lnTo>
                          <a:pt x="130" y="724"/>
                        </a:lnTo>
                        <a:lnTo>
                          <a:pt x="130" y="721"/>
                        </a:lnTo>
                        <a:lnTo>
                          <a:pt x="130" y="719"/>
                        </a:lnTo>
                        <a:lnTo>
                          <a:pt x="130" y="716"/>
                        </a:lnTo>
                        <a:lnTo>
                          <a:pt x="128" y="713"/>
                        </a:lnTo>
                        <a:lnTo>
                          <a:pt x="128" y="711"/>
                        </a:lnTo>
                        <a:lnTo>
                          <a:pt x="128" y="708"/>
                        </a:lnTo>
                        <a:lnTo>
                          <a:pt x="127" y="706"/>
                        </a:lnTo>
                        <a:lnTo>
                          <a:pt x="125" y="703"/>
                        </a:lnTo>
                        <a:lnTo>
                          <a:pt x="124" y="702"/>
                        </a:lnTo>
                        <a:lnTo>
                          <a:pt x="120" y="698"/>
                        </a:lnTo>
                        <a:lnTo>
                          <a:pt x="117" y="695"/>
                        </a:lnTo>
                        <a:lnTo>
                          <a:pt x="112" y="692"/>
                        </a:lnTo>
                        <a:lnTo>
                          <a:pt x="111" y="691"/>
                        </a:lnTo>
                        <a:lnTo>
                          <a:pt x="109" y="689"/>
                        </a:lnTo>
                        <a:lnTo>
                          <a:pt x="106" y="686"/>
                        </a:lnTo>
                        <a:lnTo>
                          <a:pt x="103" y="684"/>
                        </a:lnTo>
                        <a:lnTo>
                          <a:pt x="101" y="683"/>
                        </a:lnTo>
                        <a:lnTo>
                          <a:pt x="101" y="681"/>
                        </a:lnTo>
                        <a:lnTo>
                          <a:pt x="100" y="681"/>
                        </a:lnTo>
                        <a:lnTo>
                          <a:pt x="98" y="679"/>
                        </a:lnTo>
                        <a:lnTo>
                          <a:pt x="97" y="678"/>
                        </a:lnTo>
                        <a:lnTo>
                          <a:pt x="95" y="678"/>
                        </a:lnTo>
                        <a:lnTo>
                          <a:pt x="95" y="676"/>
                        </a:lnTo>
                        <a:lnTo>
                          <a:pt x="93" y="675"/>
                        </a:lnTo>
                        <a:lnTo>
                          <a:pt x="92" y="673"/>
                        </a:lnTo>
                        <a:lnTo>
                          <a:pt x="90" y="672"/>
                        </a:lnTo>
                        <a:lnTo>
                          <a:pt x="89" y="672"/>
                        </a:lnTo>
                        <a:lnTo>
                          <a:pt x="87" y="670"/>
                        </a:lnTo>
                        <a:lnTo>
                          <a:pt x="85" y="668"/>
                        </a:lnTo>
                        <a:lnTo>
                          <a:pt x="84" y="668"/>
                        </a:lnTo>
                        <a:lnTo>
                          <a:pt x="84" y="667"/>
                        </a:lnTo>
                        <a:lnTo>
                          <a:pt x="82" y="667"/>
                        </a:lnTo>
                        <a:lnTo>
                          <a:pt x="81" y="667"/>
                        </a:lnTo>
                        <a:lnTo>
                          <a:pt x="79" y="665"/>
                        </a:lnTo>
                        <a:lnTo>
                          <a:pt x="78" y="665"/>
                        </a:lnTo>
                        <a:lnTo>
                          <a:pt x="76" y="665"/>
                        </a:lnTo>
                        <a:lnTo>
                          <a:pt x="74" y="665"/>
                        </a:lnTo>
                        <a:lnTo>
                          <a:pt x="73" y="667"/>
                        </a:lnTo>
                        <a:lnTo>
                          <a:pt x="71" y="667"/>
                        </a:lnTo>
                        <a:lnTo>
                          <a:pt x="70" y="667"/>
                        </a:lnTo>
                        <a:lnTo>
                          <a:pt x="66" y="667"/>
                        </a:lnTo>
                        <a:lnTo>
                          <a:pt x="62" y="668"/>
                        </a:lnTo>
                        <a:lnTo>
                          <a:pt x="59" y="667"/>
                        </a:lnTo>
                        <a:lnTo>
                          <a:pt x="57" y="667"/>
                        </a:lnTo>
                        <a:lnTo>
                          <a:pt x="57" y="668"/>
                        </a:lnTo>
                        <a:lnTo>
                          <a:pt x="54" y="668"/>
                        </a:lnTo>
                        <a:lnTo>
                          <a:pt x="52" y="670"/>
                        </a:lnTo>
                        <a:lnTo>
                          <a:pt x="49" y="670"/>
                        </a:lnTo>
                        <a:lnTo>
                          <a:pt x="46" y="672"/>
                        </a:lnTo>
                        <a:lnTo>
                          <a:pt x="44" y="670"/>
                        </a:lnTo>
                        <a:lnTo>
                          <a:pt x="43" y="670"/>
                        </a:lnTo>
                        <a:lnTo>
                          <a:pt x="41" y="670"/>
                        </a:lnTo>
                        <a:lnTo>
                          <a:pt x="40" y="672"/>
                        </a:lnTo>
                        <a:lnTo>
                          <a:pt x="38" y="672"/>
                        </a:lnTo>
                        <a:lnTo>
                          <a:pt x="36" y="672"/>
                        </a:lnTo>
                        <a:lnTo>
                          <a:pt x="33" y="672"/>
                        </a:lnTo>
                        <a:lnTo>
                          <a:pt x="32" y="670"/>
                        </a:lnTo>
                        <a:lnTo>
                          <a:pt x="30" y="670"/>
                        </a:lnTo>
                        <a:lnTo>
                          <a:pt x="28" y="668"/>
                        </a:lnTo>
                        <a:lnTo>
                          <a:pt x="25" y="667"/>
                        </a:lnTo>
                        <a:lnTo>
                          <a:pt x="22" y="664"/>
                        </a:lnTo>
                        <a:lnTo>
                          <a:pt x="21" y="662"/>
                        </a:lnTo>
                        <a:lnTo>
                          <a:pt x="17" y="660"/>
                        </a:lnTo>
                        <a:lnTo>
                          <a:pt x="16" y="659"/>
                        </a:lnTo>
                        <a:lnTo>
                          <a:pt x="9" y="656"/>
                        </a:lnTo>
                        <a:lnTo>
                          <a:pt x="6" y="653"/>
                        </a:lnTo>
                        <a:lnTo>
                          <a:pt x="5" y="651"/>
                        </a:lnTo>
                        <a:lnTo>
                          <a:pt x="5" y="648"/>
                        </a:lnTo>
                        <a:lnTo>
                          <a:pt x="5" y="646"/>
                        </a:lnTo>
                        <a:lnTo>
                          <a:pt x="5" y="645"/>
                        </a:lnTo>
                        <a:lnTo>
                          <a:pt x="3" y="641"/>
                        </a:lnTo>
                        <a:lnTo>
                          <a:pt x="3" y="638"/>
                        </a:lnTo>
                        <a:lnTo>
                          <a:pt x="5" y="635"/>
                        </a:lnTo>
                        <a:lnTo>
                          <a:pt x="5" y="634"/>
                        </a:lnTo>
                        <a:lnTo>
                          <a:pt x="6" y="634"/>
                        </a:lnTo>
                        <a:lnTo>
                          <a:pt x="8" y="632"/>
                        </a:lnTo>
                        <a:lnTo>
                          <a:pt x="9" y="632"/>
                        </a:lnTo>
                        <a:lnTo>
                          <a:pt x="13" y="632"/>
                        </a:lnTo>
                        <a:lnTo>
                          <a:pt x="14" y="632"/>
                        </a:lnTo>
                        <a:lnTo>
                          <a:pt x="16" y="632"/>
                        </a:lnTo>
                        <a:lnTo>
                          <a:pt x="17" y="632"/>
                        </a:lnTo>
                        <a:lnTo>
                          <a:pt x="22" y="634"/>
                        </a:lnTo>
                        <a:lnTo>
                          <a:pt x="24" y="634"/>
                        </a:lnTo>
                        <a:lnTo>
                          <a:pt x="25" y="634"/>
                        </a:lnTo>
                        <a:lnTo>
                          <a:pt x="28" y="634"/>
                        </a:lnTo>
                        <a:lnTo>
                          <a:pt x="30" y="634"/>
                        </a:lnTo>
                        <a:lnTo>
                          <a:pt x="32" y="632"/>
                        </a:lnTo>
                        <a:lnTo>
                          <a:pt x="33" y="632"/>
                        </a:lnTo>
                        <a:lnTo>
                          <a:pt x="36" y="629"/>
                        </a:lnTo>
                        <a:lnTo>
                          <a:pt x="38" y="629"/>
                        </a:lnTo>
                        <a:lnTo>
                          <a:pt x="40" y="629"/>
                        </a:lnTo>
                        <a:lnTo>
                          <a:pt x="40" y="627"/>
                        </a:lnTo>
                        <a:lnTo>
                          <a:pt x="43" y="627"/>
                        </a:lnTo>
                        <a:lnTo>
                          <a:pt x="44" y="626"/>
                        </a:lnTo>
                        <a:lnTo>
                          <a:pt x="49" y="624"/>
                        </a:lnTo>
                        <a:lnTo>
                          <a:pt x="51" y="624"/>
                        </a:lnTo>
                        <a:lnTo>
                          <a:pt x="52" y="622"/>
                        </a:lnTo>
                        <a:lnTo>
                          <a:pt x="54" y="619"/>
                        </a:lnTo>
                        <a:lnTo>
                          <a:pt x="55" y="618"/>
                        </a:lnTo>
                        <a:lnTo>
                          <a:pt x="55" y="616"/>
                        </a:lnTo>
                        <a:lnTo>
                          <a:pt x="55" y="613"/>
                        </a:lnTo>
                        <a:lnTo>
                          <a:pt x="55" y="611"/>
                        </a:lnTo>
                        <a:lnTo>
                          <a:pt x="55" y="610"/>
                        </a:lnTo>
                        <a:lnTo>
                          <a:pt x="57" y="608"/>
                        </a:lnTo>
                        <a:lnTo>
                          <a:pt x="57" y="607"/>
                        </a:lnTo>
                        <a:lnTo>
                          <a:pt x="59" y="605"/>
                        </a:lnTo>
                        <a:lnTo>
                          <a:pt x="60" y="603"/>
                        </a:lnTo>
                        <a:lnTo>
                          <a:pt x="62" y="602"/>
                        </a:lnTo>
                        <a:lnTo>
                          <a:pt x="63" y="599"/>
                        </a:lnTo>
                        <a:lnTo>
                          <a:pt x="65" y="597"/>
                        </a:lnTo>
                        <a:lnTo>
                          <a:pt x="65" y="595"/>
                        </a:lnTo>
                        <a:lnTo>
                          <a:pt x="65" y="591"/>
                        </a:lnTo>
                        <a:lnTo>
                          <a:pt x="65" y="588"/>
                        </a:lnTo>
                        <a:lnTo>
                          <a:pt x="63" y="588"/>
                        </a:lnTo>
                        <a:lnTo>
                          <a:pt x="63" y="586"/>
                        </a:lnTo>
                        <a:lnTo>
                          <a:pt x="63" y="584"/>
                        </a:lnTo>
                        <a:lnTo>
                          <a:pt x="60" y="583"/>
                        </a:lnTo>
                        <a:lnTo>
                          <a:pt x="59" y="581"/>
                        </a:lnTo>
                        <a:lnTo>
                          <a:pt x="55" y="578"/>
                        </a:lnTo>
                        <a:lnTo>
                          <a:pt x="55" y="576"/>
                        </a:lnTo>
                        <a:lnTo>
                          <a:pt x="52" y="576"/>
                        </a:lnTo>
                        <a:lnTo>
                          <a:pt x="49" y="573"/>
                        </a:lnTo>
                        <a:lnTo>
                          <a:pt x="47" y="572"/>
                        </a:lnTo>
                        <a:lnTo>
                          <a:pt x="46" y="570"/>
                        </a:lnTo>
                        <a:lnTo>
                          <a:pt x="44" y="570"/>
                        </a:lnTo>
                        <a:lnTo>
                          <a:pt x="43" y="569"/>
                        </a:lnTo>
                        <a:lnTo>
                          <a:pt x="41" y="569"/>
                        </a:lnTo>
                        <a:lnTo>
                          <a:pt x="36" y="569"/>
                        </a:lnTo>
                        <a:lnTo>
                          <a:pt x="35" y="567"/>
                        </a:lnTo>
                        <a:lnTo>
                          <a:pt x="33" y="564"/>
                        </a:lnTo>
                        <a:lnTo>
                          <a:pt x="32" y="562"/>
                        </a:lnTo>
                        <a:lnTo>
                          <a:pt x="30" y="561"/>
                        </a:lnTo>
                        <a:lnTo>
                          <a:pt x="30" y="557"/>
                        </a:lnTo>
                        <a:lnTo>
                          <a:pt x="30" y="556"/>
                        </a:lnTo>
                        <a:lnTo>
                          <a:pt x="32" y="554"/>
                        </a:lnTo>
                        <a:lnTo>
                          <a:pt x="32" y="553"/>
                        </a:lnTo>
                        <a:lnTo>
                          <a:pt x="33" y="551"/>
                        </a:lnTo>
                        <a:lnTo>
                          <a:pt x="36" y="548"/>
                        </a:lnTo>
                        <a:lnTo>
                          <a:pt x="40" y="545"/>
                        </a:lnTo>
                        <a:lnTo>
                          <a:pt x="41" y="543"/>
                        </a:lnTo>
                        <a:lnTo>
                          <a:pt x="43" y="542"/>
                        </a:lnTo>
                        <a:lnTo>
                          <a:pt x="44" y="540"/>
                        </a:lnTo>
                        <a:lnTo>
                          <a:pt x="47" y="537"/>
                        </a:lnTo>
                        <a:lnTo>
                          <a:pt x="49" y="537"/>
                        </a:lnTo>
                        <a:lnTo>
                          <a:pt x="49" y="535"/>
                        </a:lnTo>
                        <a:lnTo>
                          <a:pt x="51" y="531"/>
                        </a:lnTo>
                        <a:lnTo>
                          <a:pt x="51" y="529"/>
                        </a:lnTo>
                        <a:lnTo>
                          <a:pt x="51" y="527"/>
                        </a:lnTo>
                        <a:lnTo>
                          <a:pt x="49" y="526"/>
                        </a:lnTo>
                        <a:lnTo>
                          <a:pt x="49" y="524"/>
                        </a:lnTo>
                        <a:lnTo>
                          <a:pt x="47" y="523"/>
                        </a:lnTo>
                        <a:lnTo>
                          <a:pt x="47" y="521"/>
                        </a:lnTo>
                        <a:lnTo>
                          <a:pt x="46" y="521"/>
                        </a:lnTo>
                        <a:lnTo>
                          <a:pt x="46" y="519"/>
                        </a:lnTo>
                        <a:lnTo>
                          <a:pt x="46" y="518"/>
                        </a:lnTo>
                        <a:lnTo>
                          <a:pt x="40" y="513"/>
                        </a:lnTo>
                        <a:lnTo>
                          <a:pt x="36" y="513"/>
                        </a:lnTo>
                        <a:lnTo>
                          <a:pt x="35" y="513"/>
                        </a:lnTo>
                        <a:lnTo>
                          <a:pt x="33" y="513"/>
                        </a:lnTo>
                        <a:lnTo>
                          <a:pt x="33" y="512"/>
                        </a:lnTo>
                        <a:lnTo>
                          <a:pt x="32" y="512"/>
                        </a:lnTo>
                        <a:lnTo>
                          <a:pt x="30" y="512"/>
                        </a:lnTo>
                        <a:lnTo>
                          <a:pt x="28" y="512"/>
                        </a:lnTo>
                        <a:lnTo>
                          <a:pt x="27" y="512"/>
                        </a:lnTo>
                        <a:lnTo>
                          <a:pt x="25" y="510"/>
                        </a:lnTo>
                        <a:lnTo>
                          <a:pt x="24" y="510"/>
                        </a:lnTo>
                        <a:lnTo>
                          <a:pt x="22" y="508"/>
                        </a:lnTo>
                        <a:lnTo>
                          <a:pt x="21" y="507"/>
                        </a:lnTo>
                        <a:lnTo>
                          <a:pt x="19" y="505"/>
                        </a:lnTo>
                        <a:lnTo>
                          <a:pt x="17" y="505"/>
                        </a:lnTo>
                        <a:lnTo>
                          <a:pt x="16" y="504"/>
                        </a:lnTo>
                        <a:lnTo>
                          <a:pt x="13" y="502"/>
                        </a:lnTo>
                        <a:lnTo>
                          <a:pt x="13" y="500"/>
                        </a:lnTo>
                        <a:lnTo>
                          <a:pt x="13" y="499"/>
                        </a:lnTo>
                        <a:lnTo>
                          <a:pt x="13" y="497"/>
                        </a:lnTo>
                        <a:lnTo>
                          <a:pt x="11" y="496"/>
                        </a:lnTo>
                        <a:lnTo>
                          <a:pt x="9" y="491"/>
                        </a:lnTo>
                        <a:lnTo>
                          <a:pt x="8" y="489"/>
                        </a:lnTo>
                        <a:lnTo>
                          <a:pt x="6" y="489"/>
                        </a:lnTo>
                        <a:lnTo>
                          <a:pt x="5" y="488"/>
                        </a:lnTo>
                        <a:lnTo>
                          <a:pt x="5" y="486"/>
                        </a:lnTo>
                        <a:lnTo>
                          <a:pt x="3" y="485"/>
                        </a:lnTo>
                        <a:lnTo>
                          <a:pt x="2" y="485"/>
                        </a:lnTo>
                        <a:lnTo>
                          <a:pt x="0" y="483"/>
                        </a:lnTo>
                        <a:lnTo>
                          <a:pt x="0" y="481"/>
                        </a:lnTo>
                        <a:lnTo>
                          <a:pt x="0" y="480"/>
                        </a:lnTo>
                        <a:lnTo>
                          <a:pt x="0" y="478"/>
                        </a:lnTo>
                        <a:lnTo>
                          <a:pt x="2" y="477"/>
                        </a:lnTo>
                        <a:lnTo>
                          <a:pt x="2" y="474"/>
                        </a:lnTo>
                        <a:lnTo>
                          <a:pt x="3" y="474"/>
                        </a:lnTo>
                        <a:lnTo>
                          <a:pt x="3" y="472"/>
                        </a:lnTo>
                        <a:lnTo>
                          <a:pt x="5" y="472"/>
                        </a:lnTo>
                        <a:lnTo>
                          <a:pt x="6" y="470"/>
                        </a:lnTo>
                        <a:lnTo>
                          <a:pt x="8" y="470"/>
                        </a:lnTo>
                        <a:lnTo>
                          <a:pt x="8" y="469"/>
                        </a:lnTo>
                        <a:lnTo>
                          <a:pt x="9" y="467"/>
                        </a:lnTo>
                        <a:lnTo>
                          <a:pt x="11" y="467"/>
                        </a:lnTo>
                        <a:lnTo>
                          <a:pt x="11" y="466"/>
                        </a:lnTo>
                        <a:lnTo>
                          <a:pt x="14" y="464"/>
                        </a:lnTo>
                        <a:lnTo>
                          <a:pt x="16" y="462"/>
                        </a:lnTo>
                        <a:lnTo>
                          <a:pt x="19" y="461"/>
                        </a:lnTo>
                        <a:lnTo>
                          <a:pt x="22" y="461"/>
                        </a:lnTo>
                        <a:lnTo>
                          <a:pt x="24" y="461"/>
                        </a:lnTo>
                        <a:lnTo>
                          <a:pt x="25" y="459"/>
                        </a:lnTo>
                        <a:lnTo>
                          <a:pt x="28" y="459"/>
                        </a:lnTo>
                        <a:lnTo>
                          <a:pt x="30" y="458"/>
                        </a:lnTo>
                        <a:lnTo>
                          <a:pt x="32" y="456"/>
                        </a:lnTo>
                        <a:lnTo>
                          <a:pt x="35" y="456"/>
                        </a:lnTo>
                        <a:lnTo>
                          <a:pt x="36" y="456"/>
                        </a:lnTo>
                        <a:lnTo>
                          <a:pt x="38" y="456"/>
                        </a:lnTo>
                        <a:lnTo>
                          <a:pt x="41" y="456"/>
                        </a:lnTo>
                        <a:lnTo>
                          <a:pt x="43" y="458"/>
                        </a:lnTo>
                        <a:lnTo>
                          <a:pt x="47" y="459"/>
                        </a:lnTo>
                        <a:lnTo>
                          <a:pt x="49" y="459"/>
                        </a:lnTo>
                        <a:lnTo>
                          <a:pt x="52" y="461"/>
                        </a:lnTo>
                        <a:lnTo>
                          <a:pt x="54" y="461"/>
                        </a:lnTo>
                        <a:lnTo>
                          <a:pt x="55" y="464"/>
                        </a:lnTo>
                        <a:lnTo>
                          <a:pt x="57" y="466"/>
                        </a:lnTo>
                        <a:lnTo>
                          <a:pt x="59" y="467"/>
                        </a:lnTo>
                        <a:lnTo>
                          <a:pt x="59" y="469"/>
                        </a:lnTo>
                        <a:lnTo>
                          <a:pt x="60" y="470"/>
                        </a:lnTo>
                        <a:lnTo>
                          <a:pt x="62" y="472"/>
                        </a:lnTo>
                        <a:lnTo>
                          <a:pt x="63" y="472"/>
                        </a:lnTo>
                        <a:lnTo>
                          <a:pt x="63" y="474"/>
                        </a:lnTo>
                        <a:lnTo>
                          <a:pt x="63" y="475"/>
                        </a:lnTo>
                        <a:lnTo>
                          <a:pt x="65" y="477"/>
                        </a:lnTo>
                        <a:lnTo>
                          <a:pt x="70" y="480"/>
                        </a:lnTo>
                        <a:lnTo>
                          <a:pt x="71" y="478"/>
                        </a:lnTo>
                        <a:lnTo>
                          <a:pt x="73" y="478"/>
                        </a:lnTo>
                        <a:lnTo>
                          <a:pt x="74" y="478"/>
                        </a:lnTo>
                        <a:lnTo>
                          <a:pt x="76" y="477"/>
                        </a:lnTo>
                        <a:lnTo>
                          <a:pt x="78" y="475"/>
                        </a:lnTo>
                        <a:lnTo>
                          <a:pt x="78" y="474"/>
                        </a:lnTo>
                        <a:lnTo>
                          <a:pt x="78" y="467"/>
                        </a:lnTo>
                        <a:lnTo>
                          <a:pt x="78" y="466"/>
                        </a:lnTo>
                        <a:lnTo>
                          <a:pt x="78" y="461"/>
                        </a:lnTo>
                        <a:lnTo>
                          <a:pt x="78" y="459"/>
                        </a:lnTo>
                        <a:lnTo>
                          <a:pt x="79" y="459"/>
                        </a:lnTo>
                        <a:lnTo>
                          <a:pt x="79" y="456"/>
                        </a:lnTo>
                        <a:lnTo>
                          <a:pt x="81" y="455"/>
                        </a:lnTo>
                        <a:lnTo>
                          <a:pt x="84" y="450"/>
                        </a:lnTo>
                        <a:lnTo>
                          <a:pt x="84" y="448"/>
                        </a:lnTo>
                        <a:lnTo>
                          <a:pt x="85" y="447"/>
                        </a:lnTo>
                        <a:lnTo>
                          <a:pt x="85" y="445"/>
                        </a:lnTo>
                        <a:lnTo>
                          <a:pt x="85" y="443"/>
                        </a:lnTo>
                        <a:lnTo>
                          <a:pt x="85" y="442"/>
                        </a:lnTo>
                        <a:lnTo>
                          <a:pt x="84" y="440"/>
                        </a:lnTo>
                        <a:lnTo>
                          <a:pt x="84" y="439"/>
                        </a:lnTo>
                        <a:lnTo>
                          <a:pt x="82" y="437"/>
                        </a:lnTo>
                        <a:lnTo>
                          <a:pt x="82" y="436"/>
                        </a:lnTo>
                        <a:lnTo>
                          <a:pt x="81" y="434"/>
                        </a:lnTo>
                        <a:lnTo>
                          <a:pt x="79" y="432"/>
                        </a:lnTo>
                        <a:lnTo>
                          <a:pt x="79" y="431"/>
                        </a:lnTo>
                        <a:lnTo>
                          <a:pt x="78" y="429"/>
                        </a:lnTo>
                        <a:lnTo>
                          <a:pt x="76" y="428"/>
                        </a:lnTo>
                        <a:lnTo>
                          <a:pt x="73" y="426"/>
                        </a:lnTo>
                        <a:lnTo>
                          <a:pt x="70" y="424"/>
                        </a:lnTo>
                        <a:lnTo>
                          <a:pt x="68" y="420"/>
                        </a:lnTo>
                        <a:lnTo>
                          <a:pt x="68" y="418"/>
                        </a:lnTo>
                        <a:lnTo>
                          <a:pt x="68" y="416"/>
                        </a:lnTo>
                        <a:lnTo>
                          <a:pt x="68" y="415"/>
                        </a:lnTo>
                        <a:lnTo>
                          <a:pt x="70" y="410"/>
                        </a:lnTo>
                        <a:lnTo>
                          <a:pt x="68" y="409"/>
                        </a:lnTo>
                        <a:lnTo>
                          <a:pt x="68" y="407"/>
                        </a:lnTo>
                        <a:lnTo>
                          <a:pt x="66" y="404"/>
                        </a:lnTo>
                        <a:lnTo>
                          <a:pt x="65" y="402"/>
                        </a:lnTo>
                        <a:lnTo>
                          <a:pt x="65" y="401"/>
                        </a:lnTo>
                        <a:lnTo>
                          <a:pt x="65" y="399"/>
                        </a:lnTo>
                        <a:lnTo>
                          <a:pt x="65" y="397"/>
                        </a:lnTo>
                        <a:lnTo>
                          <a:pt x="63" y="396"/>
                        </a:lnTo>
                        <a:lnTo>
                          <a:pt x="65" y="394"/>
                        </a:lnTo>
                        <a:lnTo>
                          <a:pt x="65" y="393"/>
                        </a:lnTo>
                        <a:lnTo>
                          <a:pt x="63" y="393"/>
                        </a:lnTo>
                        <a:lnTo>
                          <a:pt x="63" y="390"/>
                        </a:lnTo>
                        <a:lnTo>
                          <a:pt x="63" y="388"/>
                        </a:lnTo>
                        <a:lnTo>
                          <a:pt x="62" y="388"/>
                        </a:lnTo>
                        <a:lnTo>
                          <a:pt x="62" y="386"/>
                        </a:lnTo>
                        <a:lnTo>
                          <a:pt x="60" y="383"/>
                        </a:lnTo>
                        <a:lnTo>
                          <a:pt x="60" y="382"/>
                        </a:lnTo>
                        <a:lnTo>
                          <a:pt x="59" y="380"/>
                        </a:lnTo>
                        <a:lnTo>
                          <a:pt x="57" y="378"/>
                        </a:lnTo>
                        <a:lnTo>
                          <a:pt x="55" y="377"/>
                        </a:lnTo>
                        <a:lnTo>
                          <a:pt x="54" y="375"/>
                        </a:lnTo>
                        <a:lnTo>
                          <a:pt x="52" y="375"/>
                        </a:lnTo>
                        <a:lnTo>
                          <a:pt x="49" y="371"/>
                        </a:lnTo>
                        <a:lnTo>
                          <a:pt x="47" y="369"/>
                        </a:lnTo>
                        <a:lnTo>
                          <a:pt x="46" y="367"/>
                        </a:lnTo>
                        <a:lnTo>
                          <a:pt x="43" y="367"/>
                        </a:lnTo>
                        <a:lnTo>
                          <a:pt x="41" y="366"/>
                        </a:lnTo>
                        <a:lnTo>
                          <a:pt x="40" y="364"/>
                        </a:lnTo>
                        <a:lnTo>
                          <a:pt x="38" y="364"/>
                        </a:lnTo>
                        <a:lnTo>
                          <a:pt x="36" y="364"/>
                        </a:lnTo>
                        <a:lnTo>
                          <a:pt x="35" y="363"/>
                        </a:lnTo>
                        <a:lnTo>
                          <a:pt x="33" y="361"/>
                        </a:lnTo>
                        <a:lnTo>
                          <a:pt x="32" y="359"/>
                        </a:lnTo>
                        <a:lnTo>
                          <a:pt x="30" y="358"/>
                        </a:lnTo>
                        <a:lnTo>
                          <a:pt x="28" y="356"/>
                        </a:lnTo>
                        <a:lnTo>
                          <a:pt x="28" y="355"/>
                        </a:lnTo>
                        <a:lnTo>
                          <a:pt x="27" y="352"/>
                        </a:lnTo>
                        <a:lnTo>
                          <a:pt x="27" y="350"/>
                        </a:lnTo>
                        <a:lnTo>
                          <a:pt x="27" y="348"/>
                        </a:lnTo>
                        <a:lnTo>
                          <a:pt x="27" y="347"/>
                        </a:lnTo>
                        <a:lnTo>
                          <a:pt x="28" y="342"/>
                        </a:lnTo>
                        <a:lnTo>
                          <a:pt x="30" y="337"/>
                        </a:lnTo>
                        <a:lnTo>
                          <a:pt x="30" y="334"/>
                        </a:lnTo>
                        <a:lnTo>
                          <a:pt x="30" y="333"/>
                        </a:lnTo>
                        <a:lnTo>
                          <a:pt x="32" y="331"/>
                        </a:lnTo>
                        <a:lnTo>
                          <a:pt x="35" y="326"/>
                        </a:lnTo>
                        <a:lnTo>
                          <a:pt x="35" y="325"/>
                        </a:lnTo>
                        <a:lnTo>
                          <a:pt x="35" y="323"/>
                        </a:lnTo>
                        <a:lnTo>
                          <a:pt x="36" y="321"/>
                        </a:lnTo>
                        <a:lnTo>
                          <a:pt x="38" y="320"/>
                        </a:lnTo>
                        <a:lnTo>
                          <a:pt x="38" y="318"/>
                        </a:lnTo>
                        <a:lnTo>
                          <a:pt x="40" y="318"/>
                        </a:lnTo>
                        <a:lnTo>
                          <a:pt x="43" y="315"/>
                        </a:lnTo>
                        <a:lnTo>
                          <a:pt x="46" y="312"/>
                        </a:lnTo>
                        <a:lnTo>
                          <a:pt x="47" y="312"/>
                        </a:lnTo>
                        <a:lnTo>
                          <a:pt x="47" y="310"/>
                        </a:lnTo>
                        <a:lnTo>
                          <a:pt x="47" y="309"/>
                        </a:lnTo>
                        <a:lnTo>
                          <a:pt x="49" y="309"/>
                        </a:lnTo>
                        <a:lnTo>
                          <a:pt x="51" y="307"/>
                        </a:lnTo>
                        <a:lnTo>
                          <a:pt x="52" y="307"/>
                        </a:lnTo>
                        <a:lnTo>
                          <a:pt x="54" y="307"/>
                        </a:lnTo>
                        <a:lnTo>
                          <a:pt x="54" y="309"/>
                        </a:lnTo>
                        <a:lnTo>
                          <a:pt x="59" y="310"/>
                        </a:lnTo>
                        <a:lnTo>
                          <a:pt x="60" y="310"/>
                        </a:lnTo>
                        <a:lnTo>
                          <a:pt x="62" y="310"/>
                        </a:lnTo>
                        <a:lnTo>
                          <a:pt x="63" y="309"/>
                        </a:lnTo>
                        <a:lnTo>
                          <a:pt x="65" y="307"/>
                        </a:lnTo>
                        <a:lnTo>
                          <a:pt x="65" y="306"/>
                        </a:lnTo>
                        <a:lnTo>
                          <a:pt x="65" y="304"/>
                        </a:lnTo>
                        <a:lnTo>
                          <a:pt x="65" y="301"/>
                        </a:lnTo>
                        <a:lnTo>
                          <a:pt x="65" y="299"/>
                        </a:lnTo>
                        <a:lnTo>
                          <a:pt x="65" y="298"/>
                        </a:lnTo>
                        <a:lnTo>
                          <a:pt x="65" y="296"/>
                        </a:lnTo>
                        <a:lnTo>
                          <a:pt x="65" y="295"/>
                        </a:lnTo>
                        <a:lnTo>
                          <a:pt x="63" y="291"/>
                        </a:lnTo>
                        <a:lnTo>
                          <a:pt x="63" y="288"/>
                        </a:lnTo>
                        <a:lnTo>
                          <a:pt x="62" y="287"/>
                        </a:lnTo>
                        <a:lnTo>
                          <a:pt x="60" y="285"/>
                        </a:lnTo>
                        <a:lnTo>
                          <a:pt x="59" y="283"/>
                        </a:lnTo>
                        <a:lnTo>
                          <a:pt x="57" y="282"/>
                        </a:lnTo>
                        <a:lnTo>
                          <a:pt x="55" y="282"/>
                        </a:lnTo>
                        <a:lnTo>
                          <a:pt x="52" y="282"/>
                        </a:lnTo>
                        <a:lnTo>
                          <a:pt x="51" y="280"/>
                        </a:lnTo>
                        <a:lnTo>
                          <a:pt x="49" y="280"/>
                        </a:lnTo>
                        <a:lnTo>
                          <a:pt x="54" y="276"/>
                        </a:lnTo>
                        <a:lnTo>
                          <a:pt x="60" y="272"/>
                        </a:lnTo>
                        <a:lnTo>
                          <a:pt x="68" y="266"/>
                        </a:lnTo>
                        <a:lnTo>
                          <a:pt x="82" y="255"/>
                        </a:lnTo>
                        <a:lnTo>
                          <a:pt x="89" y="250"/>
                        </a:lnTo>
                        <a:lnTo>
                          <a:pt x="93" y="245"/>
                        </a:lnTo>
                        <a:lnTo>
                          <a:pt x="93" y="247"/>
                        </a:lnTo>
                        <a:lnTo>
                          <a:pt x="95" y="247"/>
                        </a:lnTo>
                        <a:lnTo>
                          <a:pt x="98" y="242"/>
                        </a:lnTo>
                        <a:lnTo>
                          <a:pt x="100" y="241"/>
                        </a:lnTo>
                        <a:lnTo>
                          <a:pt x="101" y="237"/>
                        </a:lnTo>
                        <a:lnTo>
                          <a:pt x="106" y="234"/>
                        </a:lnTo>
                        <a:lnTo>
                          <a:pt x="108" y="233"/>
                        </a:lnTo>
                        <a:lnTo>
                          <a:pt x="108" y="231"/>
                        </a:lnTo>
                        <a:lnTo>
                          <a:pt x="109" y="230"/>
                        </a:lnTo>
                        <a:lnTo>
                          <a:pt x="109" y="225"/>
                        </a:lnTo>
                        <a:lnTo>
                          <a:pt x="108" y="223"/>
                        </a:lnTo>
                        <a:lnTo>
                          <a:pt x="108" y="222"/>
                        </a:lnTo>
                        <a:lnTo>
                          <a:pt x="109" y="220"/>
                        </a:lnTo>
                        <a:lnTo>
                          <a:pt x="112" y="217"/>
                        </a:lnTo>
                        <a:lnTo>
                          <a:pt x="119" y="212"/>
                        </a:lnTo>
                        <a:lnTo>
                          <a:pt x="128" y="204"/>
                        </a:lnTo>
                        <a:lnTo>
                          <a:pt x="127" y="201"/>
                        </a:lnTo>
                        <a:lnTo>
                          <a:pt x="125" y="196"/>
                        </a:lnTo>
                        <a:lnTo>
                          <a:pt x="124" y="192"/>
                        </a:lnTo>
                        <a:lnTo>
                          <a:pt x="119" y="184"/>
                        </a:lnTo>
                        <a:lnTo>
                          <a:pt x="116" y="176"/>
                        </a:lnTo>
                        <a:lnTo>
                          <a:pt x="109" y="165"/>
                        </a:lnTo>
                        <a:lnTo>
                          <a:pt x="101" y="150"/>
                        </a:lnTo>
                        <a:lnTo>
                          <a:pt x="98" y="141"/>
                        </a:lnTo>
                        <a:lnTo>
                          <a:pt x="98" y="139"/>
                        </a:lnTo>
                        <a:lnTo>
                          <a:pt x="100" y="139"/>
                        </a:lnTo>
                        <a:lnTo>
                          <a:pt x="100" y="138"/>
                        </a:lnTo>
                        <a:lnTo>
                          <a:pt x="100" y="136"/>
                        </a:lnTo>
                        <a:lnTo>
                          <a:pt x="101" y="133"/>
                        </a:lnTo>
                        <a:lnTo>
                          <a:pt x="103" y="131"/>
                        </a:lnTo>
                        <a:lnTo>
                          <a:pt x="104" y="128"/>
                        </a:lnTo>
                        <a:lnTo>
                          <a:pt x="106" y="127"/>
                        </a:lnTo>
                        <a:lnTo>
                          <a:pt x="106" y="125"/>
                        </a:lnTo>
                        <a:lnTo>
                          <a:pt x="109" y="122"/>
                        </a:lnTo>
                        <a:lnTo>
                          <a:pt x="112" y="120"/>
                        </a:lnTo>
                        <a:lnTo>
                          <a:pt x="114" y="119"/>
                        </a:lnTo>
                        <a:lnTo>
                          <a:pt x="116" y="117"/>
                        </a:lnTo>
                        <a:lnTo>
                          <a:pt x="117" y="116"/>
                        </a:lnTo>
                        <a:lnTo>
                          <a:pt x="120" y="114"/>
                        </a:lnTo>
                        <a:lnTo>
                          <a:pt x="122" y="112"/>
                        </a:lnTo>
                        <a:lnTo>
                          <a:pt x="122" y="111"/>
                        </a:lnTo>
                        <a:lnTo>
                          <a:pt x="125" y="108"/>
                        </a:lnTo>
                        <a:lnTo>
                          <a:pt x="128" y="104"/>
                        </a:lnTo>
                        <a:lnTo>
                          <a:pt x="128" y="101"/>
                        </a:lnTo>
                        <a:lnTo>
                          <a:pt x="130" y="100"/>
                        </a:lnTo>
                        <a:lnTo>
                          <a:pt x="130" y="98"/>
                        </a:lnTo>
                        <a:lnTo>
                          <a:pt x="131" y="98"/>
                        </a:lnTo>
                        <a:lnTo>
                          <a:pt x="131" y="97"/>
                        </a:lnTo>
                        <a:lnTo>
                          <a:pt x="138" y="97"/>
                        </a:lnTo>
                        <a:lnTo>
                          <a:pt x="139" y="95"/>
                        </a:lnTo>
                        <a:lnTo>
                          <a:pt x="141" y="93"/>
                        </a:lnTo>
                        <a:lnTo>
                          <a:pt x="143" y="92"/>
                        </a:lnTo>
                        <a:lnTo>
                          <a:pt x="146" y="92"/>
                        </a:lnTo>
                        <a:lnTo>
                          <a:pt x="149" y="93"/>
                        </a:lnTo>
                        <a:lnTo>
                          <a:pt x="149" y="92"/>
                        </a:lnTo>
                        <a:lnTo>
                          <a:pt x="150" y="90"/>
                        </a:lnTo>
                        <a:lnTo>
                          <a:pt x="150" y="85"/>
                        </a:lnTo>
                        <a:lnTo>
                          <a:pt x="150" y="81"/>
                        </a:lnTo>
                        <a:lnTo>
                          <a:pt x="152" y="79"/>
                        </a:lnTo>
                        <a:lnTo>
                          <a:pt x="152" y="78"/>
                        </a:lnTo>
                        <a:lnTo>
                          <a:pt x="154" y="76"/>
                        </a:lnTo>
                        <a:lnTo>
                          <a:pt x="155" y="74"/>
                        </a:lnTo>
                        <a:lnTo>
                          <a:pt x="158" y="73"/>
                        </a:lnTo>
                        <a:lnTo>
                          <a:pt x="162" y="71"/>
                        </a:lnTo>
                        <a:lnTo>
                          <a:pt x="165" y="68"/>
                        </a:lnTo>
                        <a:lnTo>
                          <a:pt x="168" y="65"/>
                        </a:lnTo>
                        <a:lnTo>
                          <a:pt x="173" y="60"/>
                        </a:lnTo>
                        <a:lnTo>
                          <a:pt x="176" y="58"/>
                        </a:lnTo>
                        <a:lnTo>
                          <a:pt x="177" y="57"/>
                        </a:lnTo>
                        <a:lnTo>
                          <a:pt x="177" y="55"/>
                        </a:lnTo>
                        <a:lnTo>
                          <a:pt x="185" y="49"/>
                        </a:lnTo>
                        <a:lnTo>
                          <a:pt x="200" y="38"/>
                        </a:lnTo>
                        <a:lnTo>
                          <a:pt x="211" y="28"/>
                        </a:lnTo>
                        <a:lnTo>
                          <a:pt x="222" y="19"/>
                        </a:lnTo>
                        <a:lnTo>
                          <a:pt x="223" y="16"/>
                        </a:lnTo>
                        <a:lnTo>
                          <a:pt x="225" y="14"/>
                        </a:lnTo>
                        <a:lnTo>
                          <a:pt x="225" y="13"/>
                        </a:lnTo>
                        <a:lnTo>
                          <a:pt x="225" y="11"/>
                        </a:lnTo>
                        <a:lnTo>
                          <a:pt x="226" y="8"/>
                        </a:lnTo>
                        <a:lnTo>
                          <a:pt x="230" y="6"/>
                        </a:lnTo>
                        <a:lnTo>
                          <a:pt x="231" y="5"/>
                        </a:lnTo>
                        <a:lnTo>
                          <a:pt x="231" y="3"/>
                        </a:lnTo>
                        <a:lnTo>
                          <a:pt x="233" y="1"/>
                        </a:lnTo>
                        <a:lnTo>
                          <a:pt x="233" y="0"/>
                        </a:lnTo>
                        <a:lnTo>
                          <a:pt x="234"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89" name="Freeform 88"/>
                  <p:cNvSpPr>
                    <a:spLocks/>
                  </p:cNvSpPr>
                  <p:nvPr/>
                </p:nvSpPr>
                <p:spPr bwMode="auto">
                  <a:xfrm>
                    <a:off x="1649" y="2469"/>
                    <a:ext cx="1643" cy="885"/>
                  </a:xfrm>
                  <a:custGeom>
                    <a:avLst/>
                    <a:gdLst>
                      <a:gd name="T0" fmla="*/ 655 w 1643"/>
                      <a:gd name="T1" fmla="*/ 81 h 885"/>
                      <a:gd name="T2" fmla="*/ 628 w 1643"/>
                      <a:gd name="T3" fmla="*/ 187 h 885"/>
                      <a:gd name="T4" fmla="*/ 683 w 1643"/>
                      <a:gd name="T5" fmla="*/ 219 h 885"/>
                      <a:gd name="T6" fmla="*/ 745 w 1643"/>
                      <a:gd name="T7" fmla="*/ 203 h 885"/>
                      <a:gd name="T8" fmla="*/ 785 w 1643"/>
                      <a:gd name="T9" fmla="*/ 109 h 885"/>
                      <a:gd name="T10" fmla="*/ 937 w 1643"/>
                      <a:gd name="T11" fmla="*/ 120 h 885"/>
                      <a:gd name="T12" fmla="*/ 979 w 1643"/>
                      <a:gd name="T13" fmla="*/ 150 h 885"/>
                      <a:gd name="T14" fmla="*/ 1014 w 1643"/>
                      <a:gd name="T15" fmla="*/ 200 h 885"/>
                      <a:gd name="T16" fmla="*/ 1079 w 1643"/>
                      <a:gd name="T17" fmla="*/ 230 h 885"/>
                      <a:gd name="T18" fmla="*/ 1141 w 1643"/>
                      <a:gd name="T19" fmla="*/ 207 h 885"/>
                      <a:gd name="T20" fmla="*/ 1203 w 1643"/>
                      <a:gd name="T21" fmla="*/ 220 h 885"/>
                      <a:gd name="T22" fmla="*/ 1253 w 1643"/>
                      <a:gd name="T23" fmla="*/ 234 h 885"/>
                      <a:gd name="T24" fmla="*/ 1312 w 1643"/>
                      <a:gd name="T25" fmla="*/ 252 h 885"/>
                      <a:gd name="T26" fmla="*/ 1284 w 1643"/>
                      <a:gd name="T27" fmla="*/ 306 h 885"/>
                      <a:gd name="T28" fmla="*/ 1344 w 1643"/>
                      <a:gd name="T29" fmla="*/ 337 h 885"/>
                      <a:gd name="T30" fmla="*/ 1364 w 1643"/>
                      <a:gd name="T31" fmla="*/ 382 h 885"/>
                      <a:gd name="T32" fmla="*/ 1425 w 1643"/>
                      <a:gd name="T33" fmla="*/ 371 h 885"/>
                      <a:gd name="T34" fmla="*/ 1478 w 1643"/>
                      <a:gd name="T35" fmla="*/ 347 h 885"/>
                      <a:gd name="T36" fmla="*/ 1520 w 1643"/>
                      <a:gd name="T37" fmla="*/ 325 h 885"/>
                      <a:gd name="T38" fmla="*/ 1556 w 1643"/>
                      <a:gd name="T39" fmla="*/ 345 h 885"/>
                      <a:gd name="T40" fmla="*/ 1607 w 1643"/>
                      <a:gd name="T41" fmla="*/ 350 h 885"/>
                      <a:gd name="T42" fmla="*/ 1629 w 1643"/>
                      <a:gd name="T43" fmla="*/ 391 h 885"/>
                      <a:gd name="T44" fmla="*/ 1637 w 1643"/>
                      <a:gd name="T45" fmla="*/ 494 h 885"/>
                      <a:gd name="T46" fmla="*/ 1532 w 1643"/>
                      <a:gd name="T47" fmla="*/ 459 h 885"/>
                      <a:gd name="T48" fmla="*/ 1466 w 1643"/>
                      <a:gd name="T49" fmla="*/ 472 h 885"/>
                      <a:gd name="T50" fmla="*/ 1406 w 1643"/>
                      <a:gd name="T51" fmla="*/ 467 h 885"/>
                      <a:gd name="T52" fmla="*/ 1360 w 1643"/>
                      <a:gd name="T53" fmla="*/ 527 h 885"/>
                      <a:gd name="T54" fmla="*/ 1336 w 1643"/>
                      <a:gd name="T55" fmla="*/ 550 h 885"/>
                      <a:gd name="T56" fmla="*/ 1276 w 1643"/>
                      <a:gd name="T57" fmla="*/ 570 h 885"/>
                      <a:gd name="T58" fmla="*/ 1230 w 1643"/>
                      <a:gd name="T59" fmla="*/ 602 h 885"/>
                      <a:gd name="T60" fmla="*/ 1198 w 1643"/>
                      <a:gd name="T61" fmla="*/ 630 h 885"/>
                      <a:gd name="T62" fmla="*/ 1173 w 1643"/>
                      <a:gd name="T63" fmla="*/ 660 h 885"/>
                      <a:gd name="T64" fmla="*/ 1160 w 1643"/>
                      <a:gd name="T65" fmla="*/ 706 h 885"/>
                      <a:gd name="T66" fmla="*/ 1141 w 1643"/>
                      <a:gd name="T67" fmla="*/ 749 h 885"/>
                      <a:gd name="T68" fmla="*/ 1095 w 1643"/>
                      <a:gd name="T69" fmla="*/ 763 h 885"/>
                      <a:gd name="T70" fmla="*/ 1059 w 1643"/>
                      <a:gd name="T71" fmla="*/ 775 h 885"/>
                      <a:gd name="T72" fmla="*/ 1017 w 1643"/>
                      <a:gd name="T73" fmla="*/ 841 h 885"/>
                      <a:gd name="T74" fmla="*/ 984 w 1643"/>
                      <a:gd name="T75" fmla="*/ 871 h 885"/>
                      <a:gd name="T76" fmla="*/ 932 w 1643"/>
                      <a:gd name="T77" fmla="*/ 858 h 885"/>
                      <a:gd name="T78" fmla="*/ 886 w 1643"/>
                      <a:gd name="T79" fmla="*/ 830 h 885"/>
                      <a:gd name="T80" fmla="*/ 840 w 1643"/>
                      <a:gd name="T81" fmla="*/ 832 h 885"/>
                      <a:gd name="T82" fmla="*/ 775 w 1643"/>
                      <a:gd name="T83" fmla="*/ 862 h 885"/>
                      <a:gd name="T84" fmla="*/ 726 w 1643"/>
                      <a:gd name="T85" fmla="*/ 841 h 885"/>
                      <a:gd name="T86" fmla="*/ 674 w 1643"/>
                      <a:gd name="T87" fmla="*/ 819 h 885"/>
                      <a:gd name="T88" fmla="*/ 640 w 1643"/>
                      <a:gd name="T89" fmla="*/ 760 h 885"/>
                      <a:gd name="T90" fmla="*/ 582 w 1643"/>
                      <a:gd name="T91" fmla="*/ 768 h 885"/>
                      <a:gd name="T92" fmla="*/ 525 w 1643"/>
                      <a:gd name="T93" fmla="*/ 813 h 885"/>
                      <a:gd name="T94" fmla="*/ 468 w 1643"/>
                      <a:gd name="T95" fmla="*/ 790 h 885"/>
                      <a:gd name="T96" fmla="*/ 416 w 1643"/>
                      <a:gd name="T97" fmla="*/ 756 h 885"/>
                      <a:gd name="T98" fmla="*/ 351 w 1643"/>
                      <a:gd name="T99" fmla="*/ 757 h 885"/>
                      <a:gd name="T100" fmla="*/ 305 w 1643"/>
                      <a:gd name="T101" fmla="*/ 784 h 885"/>
                      <a:gd name="T102" fmla="*/ 233 w 1643"/>
                      <a:gd name="T103" fmla="*/ 794 h 885"/>
                      <a:gd name="T104" fmla="*/ 173 w 1643"/>
                      <a:gd name="T105" fmla="*/ 789 h 885"/>
                      <a:gd name="T106" fmla="*/ 143 w 1643"/>
                      <a:gd name="T107" fmla="*/ 740 h 885"/>
                      <a:gd name="T108" fmla="*/ 69 w 1643"/>
                      <a:gd name="T109" fmla="*/ 689 h 885"/>
                      <a:gd name="T110" fmla="*/ 108 w 1643"/>
                      <a:gd name="T111" fmla="*/ 558 h 885"/>
                      <a:gd name="T112" fmla="*/ 181 w 1643"/>
                      <a:gd name="T113" fmla="*/ 356 h 885"/>
                      <a:gd name="T114" fmla="*/ 135 w 1643"/>
                      <a:gd name="T115" fmla="*/ 212 h 885"/>
                      <a:gd name="T116" fmla="*/ 75 w 1643"/>
                      <a:gd name="T117" fmla="*/ 166 h 885"/>
                      <a:gd name="T118" fmla="*/ 170 w 1643"/>
                      <a:gd name="T119" fmla="*/ 138 h 885"/>
                      <a:gd name="T120" fmla="*/ 270 w 1643"/>
                      <a:gd name="T121" fmla="*/ 79 h 885"/>
                      <a:gd name="T122" fmla="*/ 455 w 1643"/>
                      <a:gd name="T123" fmla="*/ 62 h 885"/>
                      <a:gd name="T124" fmla="*/ 599 w 1643"/>
                      <a:gd name="T125" fmla="*/ 14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43" h="885">
                        <a:moveTo>
                          <a:pt x="625" y="6"/>
                        </a:moveTo>
                        <a:lnTo>
                          <a:pt x="628" y="9"/>
                        </a:lnTo>
                        <a:lnTo>
                          <a:pt x="628" y="8"/>
                        </a:lnTo>
                        <a:lnTo>
                          <a:pt x="629" y="8"/>
                        </a:lnTo>
                        <a:lnTo>
                          <a:pt x="631" y="9"/>
                        </a:lnTo>
                        <a:lnTo>
                          <a:pt x="633" y="11"/>
                        </a:lnTo>
                        <a:lnTo>
                          <a:pt x="634" y="13"/>
                        </a:lnTo>
                        <a:lnTo>
                          <a:pt x="636" y="17"/>
                        </a:lnTo>
                        <a:lnTo>
                          <a:pt x="637" y="17"/>
                        </a:lnTo>
                        <a:lnTo>
                          <a:pt x="639" y="21"/>
                        </a:lnTo>
                        <a:lnTo>
                          <a:pt x="639" y="22"/>
                        </a:lnTo>
                        <a:lnTo>
                          <a:pt x="639" y="24"/>
                        </a:lnTo>
                        <a:lnTo>
                          <a:pt x="639" y="25"/>
                        </a:lnTo>
                        <a:lnTo>
                          <a:pt x="637" y="28"/>
                        </a:lnTo>
                        <a:lnTo>
                          <a:pt x="637" y="33"/>
                        </a:lnTo>
                        <a:lnTo>
                          <a:pt x="636" y="36"/>
                        </a:lnTo>
                        <a:lnTo>
                          <a:pt x="634" y="38"/>
                        </a:lnTo>
                        <a:lnTo>
                          <a:pt x="631" y="40"/>
                        </a:lnTo>
                        <a:lnTo>
                          <a:pt x="631" y="41"/>
                        </a:lnTo>
                        <a:lnTo>
                          <a:pt x="629" y="43"/>
                        </a:lnTo>
                        <a:lnTo>
                          <a:pt x="629" y="46"/>
                        </a:lnTo>
                        <a:lnTo>
                          <a:pt x="631" y="49"/>
                        </a:lnTo>
                        <a:lnTo>
                          <a:pt x="629" y="52"/>
                        </a:lnTo>
                        <a:lnTo>
                          <a:pt x="629" y="54"/>
                        </a:lnTo>
                        <a:lnTo>
                          <a:pt x="628" y="55"/>
                        </a:lnTo>
                        <a:lnTo>
                          <a:pt x="628" y="60"/>
                        </a:lnTo>
                        <a:lnTo>
                          <a:pt x="628" y="62"/>
                        </a:lnTo>
                        <a:lnTo>
                          <a:pt x="629" y="63"/>
                        </a:lnTo>
                        <a:lnTo>
                          <a:pt x="631" y="63"/>
                        </a:lnTo>
                        <a:lnTo>
                          <a:pt x="636" y="65"/>
                        </a:lnTo>
                        <a:lnTo>
                          <a:pt x="637" y="65"/>
                        </a:lnTo>
                        <a:lnTo>
                          <a:pt x="639" y="63"/>
                        </a:lnTo>
                        <a:lnTo>
                          <a:pt x="640" y="63"/>
                        </a:lnTo>
                        <a:lnTo>
                          <a:pt x="642" y="63"/>
                        </a:lnTo>
                        <a:lnTo>
                          <a:pt x="644" y="63"/>
                        </a:lnTo>
                        <a:lnTo>
                          <a:pt x="647" y="63"/>
                        </a:lnTo>
                        <a:lnTo>
                          <a:pt x="648" y="65"/>
                        </a:lnTo>
                        <a:lnTo>
                          <a:pt x="652" y="65"/>
                        </a:lnTo>
                        <a:lnTo>
                          <a:pt x="653" y="65"/>
                        </a:lnTo>
                        <a:lnTo>
                          <a:pt x="656" y="65"/>
                        </a:lnTo>
                        <a:lnTo>
                          <a:pt x="659" y="65"/>
                        </a:lnTo>
                        <a:lnTo>
                          <a:pt x="659" y="68"/>
                        </a:lnTo>
                        <a:lnTo>
                          <a:pt x="659" y="70"/>
                        </a:lnTo>
                        <a:lnTo>
                          <a:pt x="659" y="71"/>
                        </a:lnTo>
                        <a:lnTo>
                          <a:pt x="658" y="73"/>
                        </a:lnTo>
                        <a:lnTo>
                          <a:pt x="656" y="76"/>
                        </a:lnTo>
                        <a:lnTo>
                          <a:pt x="656" y="78"/>
                        </a:lnTo>
                        <a:lnTo>
                          <a:pt x="655" y="79"/>
                        </a:lnTo>
                        <a:lnTo>
                          <a:pt x="655" y="81"/>
                        </a:lnTo>
                        <a:lnTo>
                          <a:pt x="653" y="82"/>
                        </a:lnTo>
                        <a:lnTo>
                          <a:pt x="652" y="82"/>
                        </a:lnTo>
                        <a:lnTo>
                          <a:pt x="648" y="84"/>
                        </a:lnTo>
                        <a:lnTo>
                          <a:pt x="647" y="84"/>
                        </a:lnTo>
                        <a:lnTo>
                          <a:pt x="645" y="84"/>
                        </a:lnTo>
                        <a:lnTo>
                          <a:pt x="645" y="85"/>
                        </a:lnTo>
                        <a:lnTo>
                          <a:pt x="647" y="87"/>
                        </a:lnTo>
                        <a:lnTo>
                          <a:pt x="647" y="89"/>
                        </a:lnTo>
                        <a:lnTo>
                          <a:pt x="650" y="89"/>
                        </a:lnTo>
                        <a:lnTo>
                          <a:pt x="650" y="92"/>
                        </a:lnTo>
                        <a:lnTo>
                          <a:pt x="650" y="95"/>
                        </a:lnTo>
                        <a:lnTo>
                          <a:pt x="650" y="97"/>
                        </a:lnTo>
                        <a:lnTo>
                          <a:pt x="650" y="100"/>
                        </a:lnTo>
                        <a:lnTo>
                          <a:pt x="648" y="101"/>
                        </a:lnTo>
                        <a:lnTo>
                          <a:pt x="647" y="103"/>
                        </a:lnTo>
                        <a:lnTo>
                          <a:pt x="645" y="106"/>
                        </a:lnTo>
                        <a:lnTo>
                          <a:pt x="645" y="108"/>
                        </a:lnTo>
                        <a:lnTo>
                          <a:pt x="645" y="109"/>
                        </a:lnTo>
                        <a:lnTo>
                          <a:pt x="647" y="109"/>
                        </a:lnTo>
                        <a:lnTo>
                          <a:pt x="650" y="111"/>
                        </a:lnTo>
                        <a:lnTo>
                          <a:pt x="652" y="111"/>
                        </a:lnTo>
                        <a:lnTo>
                          <a:pt x="652" y="112"/>
                        </a:lnTo>
                        <a:lnTo>
                          <a:pt x="652" y="116"/>
                        </a:lnTo>
                        <a:lnTo>
                          <a:pt x="650" y="117"/>
                        </a:lnTo>
                        <a:lnTo>
                          <a:pt x="648" y="119"/>
                        </a:lnTo>
                        <a:lnTo>
                          <a:pt x="648" y="120"/>
                        </a:lnTo>
                        <a:lnTo>
                          <a:pt x="647" y="122"/>
                        </a:lnTo>
                        <a:lnTo>
                          <a:pt x="647" y="125"/>
                        </a:lnTo>
                        <a:lnTo>
                          <a:pt x="647" y="131"/>
                        </a:lnTo>
                        <a:lnTo>
                          <a:pt x="647" y="136"/>
                        </a:lnTo>
                        <a:lnTo>
                          <a:pt x="647" y="141"/>
                        </a:lnTo>
                        <a:lnTo>
                          <a:pt x="645" y="144"/>
                        </a:lnTo>
                        <a:lnTo>
                          <a:pt x="645" y="149"/>
                        </a:lnTo>
                        <a:lnTo>
                          <a:pt x="645" y="152"/>
                        </a:lnTo>
                        <a:lnTo>
                          <a:pt x="645" y="157"/>
                        </a:lnTo>
                        <a:lnTo>
                          <a:pt x="645" y="160"/>
                        </a:lnTo>
                        <a:lnTo>
                          <a:pt x="644" y="163"/>
                        </a:lnTo>
                        <a:lnTo>
                          <a:pt x="642" y="166"/>
                        </a:lnTo>
                        <a:lnTo>
                          <a:pt x="642" y="169"/>
                        </a:lnTo>
                        <a:lnTo>
                          <a:pt x="642" y="173"/>
                        </a:lnTo>
                        <a:lnTo>
                          <a:pt x="640" y="176"/>
                        </a:lnTo>
                        <a:lnTo>
                          <a:pt x="640" y="177"/>
                        </a:lnTo>
                        <a:lnTo>
                          <a:pt x="640" y="179"/>
                        </a:lnTo>
                        <a:lnTo>
                          <a:pt x="639" y="179"/>
                        </a:lnTo>
                        <a:lnTo>
                          <a:pt x="637" y="179"/>
                        </a:lnTo>
                        <a:lnTo>
                          <a:pt x="636" y="181"/>
                        </a:lnTo>
                        <a:lnTo>
                          <a:pt x="634" y="181"/>
                        </a:lnTo>
                        <a:lnTo>
                          <a:pt x="633" y="182"/>
                        </a:lnTo>
                        <a:lnTo>
                          <a:pt x="628" y="187"/>
                        </a:lnTo>
                        <a:lnTo>
                          <a:pt x="626" y="188"/>
                        </a:lnTo>
                        <a:lnTo>
                          <a:pt x="625" y="188"/>
                        </a:lnTo>
                        <a:lnTo>
                          <a:pt x="623" y="190"/>
                        </a:lnTo>
                        <a:lnTo>
                          <a:pt x="620" y="192"/>
                        </a:lnTo>
                        <a:lnTo>
                          <a:pt x="621" y="193"/>
                        </a:lnTo>
                        <a:lnTo>
                          <a:pt x="620" y="195"/>
                        </a:lnTo>
                        <a:lnTo>
                          <a:pt x="621" y="198"/>
                        </a:lnTo>
                        <a:lnTo>
                          <a:pt x="621" y="201"/>
                        </a:lnTo>
                        <a:lnTo>
                          <a:pt x="621" y="203"/>
                        </a:lnTo>
                        <a:lnTo>
                          <a:pt x="621" y="204"/>
                        </a:lnTo>
                        <a:lnTo>
                          <a:pt x="621" y="207"/>
                        </a:lnTo>
                        <a:lnTo>
                          <a:pt x="623" y="209"/>
                        </a:lnTo>
                        <a:lnTo>
                          <a:pt x="623" y="212"/>
                        </a:lnTo>
                        <a:lnTo>
                          <a:pt x="625" y="215"/>
                        </a:lnTo>
                        <a:lnTo>
                          <a:pt x="625" y="219"/>
                        </a:lnTo>
                        <a:lnTo>
                          <a:pt x="625" y="220"/>
                        </a:lnTo>
                        <a:lnTo>
                          <a:pt x="625" y="223"/>
                        </a:lnTo>
                        <a:lnTo>
                          <a:pt x="626" y="225"/>
                        </a:lnTo>
                        <a:lnTo>
                          <a:pt x="628" y="228"/>
                        </a:lnTo>
                        <a:lnTo>
                          <a:pt x="629" y="228"/>
                        </a:lnTo>
                        <a:lnTo>
                          <a:pt x="634" y="231"/>
                        </a:lnTo>
                        <a:lnTo>
                          <a:pt x="636" y="234"/>
                        </a:lnTo>
                        <a:lnTo>
                          <a:pt x="637" y="234"/>
                        </a:lnTo>
                        <a:lnTo>
                          <a:pt x="640" y="238"/>
                        </a:lnTo>
                        <a:lnTo>
                          <a:pt x="642" y="239"/>
                        </a:lnTo>
                        <a:lnTo>
                          <a:pt x="645" y="241"/>
                        </a:lnTo>
                        <a:lnTo>
                          <a:pt x="647" y="241"/>
                        </a:lnTo>
                        <a:lnTo>
                          <a:pt x="648" y="244"/>
                        </a:lnTo>
                        <a:lnTo>
                          <a:pt x="650" y="245"/>
                        </a:lnTo>
                        <a:lnTo>
                          <a:pt x="652" y="245"/>
                        </a:lnTo>
                        <a:lnTo>
                          <a:pt x="653" y="244"/>
                        </a:lnTo>
                        <a:lnTo>
                          <a:pt x="653" y="242"/>
                        </a:lnTo>
                        <a:lnTo>
                          <a:pt x="655" y="241"/>
                        </a:lnTo>
                        <a:lnTo>
                          <a:pt x="655" y="239"/>
                        </a:lnTo>
                        <a:lnTo>
                          <a:pt x="656" y="236"/>
                        </a:lnTo>
                        <a:lnTo>
                          <a:pt x="659" y="233"/>
                        </a:lnTo>
                        <a:lnTo>
                          <a:pt x="661" y="231"/>
                        </a:lnTo>
                        <a:lnTo>
                          <a:pt x="663" y="230"/>
                        </a:lnTo>
                        <a:lnTo>
                          <a:pt x="664" y="230"/>
                        </a:lnTo>
                        <a:lnTo>
                          <a:pt x="666" y="226"/>
                        </a:lnTo>
                        <a:lnTo>
                          <a:pt x="667" y="223"/>
                        </a:lnTo>
                        <a:lnTo>
                          <a:pt x="669" y="220"/>
                        </a:lnTo>
                        <a:lnTo>
                          <a:pt x="671" y="219"/>
                        </a:lnTo>
                        <a:lnTo>
                          <a:pt x="672" y="217"/>
                        </a:lnTo>
                        <a:lnTo>
                          <a:pt x="675" y="217"/>
                        </a:lnTo>
                        <a:lnTo>
                          <a:pt x="678" y="217"/>
                        </a:lnTo>
                        <a:lnTo>
                          <a:pt x="680" y="217"/>
                        </a:lnTo>
                        <a:lnTo>
                          <a:pt x="682" y="217"/>
                        </a:lnTo>
                        <a:lnTo>
                          <a:pt x="683" y="219"/>
                        </a:lnTo>
                        <a:lnTo>
                          <a:pt x="683" y="220"/>
                        </a:lnTo>
                        <a:lnTo>
                          <a:pt x="685" y="220"/>
                        </a:lnTo>
                        <a:lnTo>
                          <a:pt x="688" y="220"/>
                        </a:lnTo>
                        <a:lnTo>
                          <a:pt x="690" y="219"/>
                        </a:lnTo>
                        <a:lnTo>
                          <a:pt x="691" y="219"/>
                        </a:lnTo>
                        <a:lnTo>
                          <a:pt x="693" y="220"/>
                        </a:lnTo>
                        <a:lnTo>
                          <a:pt x="694" y="222"/>
                        </a:lnTo>
                        <a:lnTo>
                          <a:pt x="696" y="222"/>
                        </a:lnTo>
                        <a:lnTo>
                          <a:pt x="697" y="222"/>
                        </a:lnTo>
                        <a:lnTo>
                          <a:pt x="699" y="222"/>
                        </a:lnTo>
                        <a:lnTo>
                          <a:pt x="701" y="222"/>
                        </a:lnTo>
                        <a:lnTo>
                          <a:pt x="702" y="222"/>
                        </a:lnTo>
                        <a:lnTo>
                          <a:pt x="702" y="223"/>
                        </a:lnTo>
                        <a:lnTo>
                          <a:pt x="702" y="225"/>
                        </a:lnTo>
                        <a:lnTo>
                          <a:pt x="705" y="226"/>
                        </a:lnTo>
                        <a:lnTo>
                          <a:pt x="707" y="230"/>
                        </a:lnTo>
                        <a:lnTo>
                          <a:pt x="707" y="233"/>
                        </a:lnTo>
                        <a:lnTo>
                          <a:pt x="709" y="234"/>
                        </a:lnTo>
                        <a:lnTo>
                          <a:pt x="709" y="236"/>
                        </a:lnTo>
                        <a:lnTo>
                          <a:pt x="710" y="236"/>
                        </a:lnTo>
                        <a:lnTo>
                          <a:pt x="712" y="236"/>
                        </a:lnTo>
                        <a:lnTo>
                          <a:pt x="713" y="236"/>
                        </a:lnTo>
                        <a:lnTo>
                          <a:pt x="715" y="234"/>
                        </a:lnTo>
                        <a:lnTo>
                          <a:pt x="716" y="234"/>
                        </a:lnTo>
                        <a:lnTo>
                          <a:pt x="718" y="233"/>
                        </a:lnTo>
                        <a:lnTo>
                          <a:pt x="718" y="231"/>
                        </a:lnTo>
                        <a:lnTo>
                          <a:pt x="720" y="231"/>
                        </a:lnTo>
                        <a:lnTo>
                          <a:pt x="721" y="233"/>
                        </a:lnTo>
                        <a:lnTo>
                          <a:pt x="723" y="233"/>
                        </a:lnTo>
                        <a:lnTo>
                          <a:pt x="724" y="231"/>
                        </a:lnTo>
                        <a:lnTo>
                          <a:pt x="724" y="230"/>
                        </a:lnTo>
                        <a:lnTo>
                          <a:pt x="728" y="228"/>
                        </a:lnTo>
                        <a:lnTo>
                          <a:pt x="729" y="226"/>
                        </a:lnTo>
                        <a:lnTo>
                          <a:pt x="731" y="226"/>
                        </a:lnTo>
                        <a:lnTo>
                          <a:pt x="731" y="225"/>
                        </a:lnTo>
                        <a:lnTo>
                          <a:pt x="732" y="225"/>
                        </a:lnTo>
                        <a:lnTo>
                          <a:pt x="734" y="225"/>
                        </a:lnTo>
                        <a:lnTo>
                          <a:pt x="735" y="223"/>
                        </a:lnTo>
                        <a:lnTo>
                          <a:pt x="739" y="223"/>
                        </a:lnTo>
                        <a:lnTo>
                          <a:pt x="740" y="222"/>
                        </a:lnTo>
                        <a:lnTo>
                          <a:pt x="742" y="220"/>
                        </a:lnTo>
                        <a:lnTo>
                          <a:pt x="742" y="219"/>
                        </a:lnTo>
                        <a:lnTo>
                          <a:pt x="743" y="217"/>
                        </a:lnTo>
                        <a:lnTo>
                          <a:pt x="745" y="214"/>
                        </a:lnTo>
                        <a:lnTo>
                          <a:pt x="745" y="212"/>
                        </a:lnTo>
                        <a:lnTo>
                          <a:pt x="743" y="209"/>
                        </a:lnTo>
                        <a:lnTo>
                          <a:pt x="743" y="207"/>
                        </a:lnTo>
                        <a:lnTo>
                          <a:pt x="745" y="206"/>
                        </a:lnTo>
                        <a:lnTo>
                          <a:pt x="745" y="203"/>
                        </a:lnTo>
                        <a:lnTo>
                          <a:pt x="747" y="203"/>
                        </a:lnTo>
                        <a:lnTo>
                          <a:pt x="748" y="203"/>
                        </a:lnTo>
                        <a:lnTo>
                          <a:pt x="750" y="203"/>
                        </a:lnTo>
                        <a:lnTo>
                          <a:pt x="750" y="200"/>
                        </a:lnTo>
                        <a:lnTo>
                          <a:pt x="750" y="198"/>
                        </a:lnTo>
                        <a:lnTo>
                          <a:pt x="751" y="198"/>
                        </a:lnTo>
                        <a:lnTo>
                          <a:pt x="753" y="196"/>
                        </a:lnTo>
                        <a:lnTo>
                          <a:pt x="751" y="196"/>
                        </a:lnTo>
                        <a:lnTo>
                          <a:pt x="753" y="196"/>
                        </a:lnTo>
                        <a:lnTo>
                          <a:pt x="754" y="195"/>
                        </a:lnTo>
                        <a:lnTo>
                          <a:pt x="754" y="193"/>
                        </a:lnTo>
                        <a:lnTo>
                          <a:pt x="756" y="192"/>
                        </a:lnTo>
                        <a:lnTo>
                          <a:pt x="756" y="190"/>
                        </a:lnTo>
                        <a:lnTo>
                          <a:pt x="758" y="190"/>
                        </a:lnTo>
                        <a:lnTo>
                          <a:pt x="758" y="188"/>
                        </a:lnTo>
                        <a:lnTo>
                          <a:pt x="758" y="187"/>
                        </a:lnTo>
                        <a:lnTo>
                          <a:pt x="758" y="185"/>
                        </a:lnTo>
                        <a:lnTo>
                          <a:pt x="759" y="185"/>
                        </a:lnTo>
                        <a:lnTo>
                          <a:pt x="761" y="185"/>
                        </a:lnTo>
                        <a:lnTo>
                          <a:pt x="761" y="184"/>
                        </a:lnTo>
                        <a:lnTo>
                          <a:pt x="761" y="182"/>
                        </a:lnTo>
                        <a:lnTo>
                          <a:pt x="759" y="181"/>
                        </a:lnTo>
                        <a:lnTo>
                          <a:pt x="759" y="179"/>
                        </a:lnTo>
                        <a:lnTo>
                          <a:pt x="759" y="176"/>
                        </a:lnTo>
                        <a:lnTo>
                          <a:pt x="761" y="171"/>
                        </a:lnTo>
                        <a:lnTo>
                          <a:pt x="761" y="168"/>
                        </a:lnTo>
                        <a:lnTo>
                          <a:pt x="761" y="165"/>
                        </a:lnTo>
                        <a:lnTo>
                          <a:pt x="761" y="163"/>
                        </a:lnTo>
                        <a:lnTo>
                          <a:pt x="761" y="161"/>
                        </a:lnTo>
                        <a:lnTo>
                          <a:pt x="762" y="160"/>
                        </a:lnTo>
                        <a:lnTo>
                          <a:pt x="764" y="158"/>
                        </a:lnTo>
                        <a:lnTo>
                          <a:pt x="766" y="157"/>
                        </a:lnTo>
                        <a:lnTo>
                          <a:pt x="767" y="155"/>
                        </a:lnTo>
                        <a:lnTo>
                          <a:pt x="767" y="152"/>
                        </a:lnTo>
                        <a:lnTo>
                          <a:pt x="770" y="147"/>
                        </a:lnTo>
                        <a:lnTo>
                          <a:pt x="770" y="144"/>
                        </a:lnTo>
                        <a:lnTo>
                          <a:pt x="772" y="141"/>
                        </a:lnTo>
                        <a:lnTo>
                          <a:pt x="772" y="138"/>
                        </a:lnTo>
                        <a:lnTo>
                          <a:pt x="772" y="133"/>
                        </a:lnTo>
                        <a:lnTo>
                          <a:pt x="774" y="128"/>
                        </a:lnTo>
                        <a:lnTo>
                          <a:pt x="774" y="123"/>
                        </a:lnTo>
                        <a:lnTo>
                          <a:pt x="775" y="122"/>
                        </a:lnTo>
                        <a:lnTo>
                          <a:pt x="775" y="119"/>
                        </a:lnTo>
                        <a:lnTo>
                          <a:pt x="775" y="116"/>
                        </a:lnTo>
                        <a:lnTo>
                          <a:pt x="777" y="112"/>
                        </a:lnTo>
                        <a:lnTo>
                          <a:pt x="777" y="111"/>
                        </a:lnTo>
                        <a:lnTo>
                          <a:pt x="777" y="109"/>
                        </a:lnTo>
                        <a:lnTo>
                          <a:pt x="778" y="109"/>
                        </a:lnTo>
                        <a:lnTo>
                          <a:pt x="785" y="109"/>
                        </a:lnTo>
                        <a:lnTo>
                          <a:pt x="791" y="108"/>
                        </a:lnTo>
                        <a:lnTo>
                          <a:pt x="799" y="106"/>
                        </a:lnTo>
                        <a:lnTo>
                          <a:pt x="810" y="106"/>
                        </a:lnTo>
                        <a:lnTo>
                          <a:pt x="819" y="106"/>
                        </a:lnTo>
                        <a:lnTo>
                          <a:pt x="829" y="104"/>
                        </a:lnTo>
                        <a:lnTo>
                          <a:pt x="838" y="103"/>
                        </a:lnTo>
                        <a:lnTo>
                          <a:pt x="845" y="103"/>
                        </a:lnTo>
                        <a:lnTo>
                          <a:pt x="851" y="103"/>
                        </a:lnTo>
                        <a:lnTo>
                          <a:pt x="853" y="103"/>
                        </a:lnTo>
                        <a:lnTo>
                          <a:pt x="853" y="101"/>
                        </a:lnTo>
                        <a:lnTo>
                          <a:pt x="854" y="101"/>
                        </a:lnTo>
                        <a:lnTo>
                          <a:pt x="857" y="98"/>
                        </a:lnTo>
                        <a:lnTo>
                          <a:pt x="859" y="95"/>
                        </a:lnTo>
                        <a:lnTo>
                          <a:pt x="865" y="92"/>
                        </a:lnTo>
                        <a:lnTo>
                          <a:pt x="867" y="90"/>
                        </a:lnTo>
                        <a:lnTo>
                          <a:pt x="873" y="90"/>
                        </a:lnTo>
                        <a:lnTo>
                          <a:pt x="880" y="90"/>
                        </a:lnTo>
                        <a:lnTo>
                          <a:pt x="884" y="90"/>
                        </a:lnTo>
                        <a:lnTo>
                          <a:pt x="889" y="90"/>
                        </a:lnTo>
                        <a:lnTo>
                          <a:pt x="892" y="92"/>
                        </a:lnTo>
                        <a:lnTo>
                          <a:pt x="899" y="93"/>
                        </a:lnTo>
                        <a:lnTo>
                          <a:pt x="907" y="95"/>
                        </a:lnTo>
                        <a:lnTo>
                          <a:pt x="908" y="97"/>
                        </a:lnTo>
                        <a:lnTo>
                          <a:pt x="911" y="97"/>
                        </a:lnTo>
                        <a:lnTo>
                          <a:pt x="913" y="98"/>
                        </a:lnTo>
                        <a:lnTo>
                          <a:pt x="916" y="100"/>
                        </a:lnTo>
                        <a:lnTo>
                          <a:pt x="919" y="100"/>
                        </a:lnTo>
                        <a:lnTo>
                          <a:pt x="922" y="103"/>
                        </a:lnTo>
                        <a:lnTo>
                          <a:pt x="926" y="103"/>
                        </a:lnTo>
                        <a:lnTo>
                          <a:pt x="927" y="103"/>
                        </a:lnTo>
                        <a:lnTo>
                          <a:pt x="929" y="103"/>
                        </a:lnTo>
                        <a:lnTo>
                          <a:pt x="930" y="103"/>
                        </a:lnTo>
                        <a:lnTo>
                          <a:pt x="932" y="103"/>
                        </a:lnTo>
                        <a:lnTo>
                          <a:pt x="933" y="103"/>
                        </a:lnTo>
                        <a:lnTo>
                          <a:pt x="935" y="103"/>
                        </a:lnTo>
                        <a:lnTo>
                          <a:pt x="937" y="103"/>
                        </a:lnTo>
                        <a:lnTo>
                          <a:pt x="938" y="103"/>
                        </a:lnTo>
                        <a:lnTo>
                          <a:pt x="938" y="104"/>
                        </a:lnTo>
                        <a:lnTo>
                          <a:pt x="937" y="106"/>
                        </a:lnTo>
                        <a:lnTo>
                          <a:pt x="937" y="108"/>
                        </a:lnTo>
                        <a:lnTo>
                          <a:pt x="937" y="109"/>
                        </a:lnTo>
                        <a:lnTo>
                          <a:pt x="935" y="111"/>
                        </a:lnTo>
                        <a:lnTo>
                          <a:pt x="935" y="112"/>
                        </a:lnTo>
                        <a:lnTo>
                          <a:pt x="935" y="114"/>
                        </a:lnTo>
                        <a:lnTo>
                          <a:pt x="935" y="116"/>
                        </a:lnTo>
                        <a:lnTo>
                          <a:pt x="935" y="117"/>
                        </a:lnTo>
                        <a:lnTo>
                          <a:pt x="935" y="119"/>
                        </a:lnTo>
                        <a:lnTo>
                          <a:pt x="937" y="119"/>
                        </a:lnTo>
                        <a:lnTo>
                          <a:pt x="937" y="120"/>
                        </a:lnTo>
                        <a:lnTo>
                          <a:pt x="938" y="120"/>
                        </a:lnTo>
                        <a:lnTo>
                          <a:pt x="938" y="122"/>
                        </a:lnTo>
                        <a:lnTo>
                          <a:pt x="940" y="122"/>
                        </a:lnTo>
                        <a:lnTo>
                          <a:pt x="940" y="123"/>
                        </a:lnTo>
                        <a:lnTo>
                          <a:pt x="941" y="123"/>
                        </a:lnTo>
                        <a:lnTo>
                          <a:pt x="941" y="125"/>
                        </a:lnTo>
                        <a:lnTo>
                          <a:pt x="941" y="127"/>
                        </a:lnTo>
                        <a:lnTo>
                          <a:pt x="941" y="128"/>
                        </a:lnTo>
                        <a:lnTo>
                          <a:pt x="943" y="128"/>
                        </a:lnTo>
                        <a:lnTo>
                          <a:pt x="943" y="130"/>
                        </a:lnTo>
                        <a:lnTo>
                          <a:pt x="943" y="131"/>
                        </a:lnTo>
                        <a:lnTo>
                          <a:pt x="943" y="133"/>
                        </a:lnTo>
                        <a:lnTo>
                          <a:pt x="943" y="135"/>
                        </a:lnTo>
                        <a:lnTo>
                          <a:pt x="945" y="135"/>
                        </a:lnTo>
                        <a:lnTo>
                          <a:pt x="945" y="136"/>
                        </a:lnTo>
                        <a:lnTo>
                          <a:pt x="946" y="138"/>
                        </a:lnTo>
                        <a:lnTo>
                          <a:pt x="948" y="138"/>
                        </a:lnTo>
                        <a:lnTo>
                          <a:pt x="949" y="139"/>
                        </a:lnTo>
                        <a:lnTo>
                          <a:pt x="949" y="141"/>
                        </a:lnTo>
                        <a:lnTo>
                          <a:pt x="949" y="142"/>
                        </a:lnTo>
                        <a:lnTo>
                          <a:pt x="949" y="144"/>
                        </a:lnTo>
                        <a:lnTo>
                          <a:pt x="951" y="146"/>
                        </a:lnTo>
                        <a:lnTo>
                          <a:pt x="951" y="147"/>
                        </a:lnTo>
                        <a:lnTo>
                          <a:pt x="951" y="149"/>
                        </a:lnTo>
                        <a:lnTo>
                          <a:pt x="953" y="150"/>
                        </a:lnTo>
                        <a:lnTo>
                          <a:pt x="954" y="150"/>
                        </a:lnTo>
                        <a:lnTo>
                          <a:pt x="956" y="150"/>
                        </a:lnTo>
                        <a:lnTo>
                          <a:pt x="957" y="150"/>
                        </a:lnTo>
                        <a:lnTo>
                          <a:pt x="957" y="149"/>
                        </a:lnTo>
                        <a:lnTo>
                          <a:pt x="959" y="149"/>
                        </a:lnTo>
                        <a:lnTo>
                          <a:pt x="959" y="147"/>
                        </a:lnTo>
                        <a:lnTo>
                          <a:pt x="960" y="147"/>
                        </a:lnTo>
                        <a:lnTo>
                          <a:pt x="962" y="146"/>
                        </a:lnTo>
                        <a:lnTo>
                          <a:pt x="964" y="146"/>
                        </a:lnTo>
                        <a:lnTo>
                          <a:pt x="964" y="144"/>
                        </a:lnTo>
                        <a:lnTo>
                          <a:pt x="965" y="144"/>
                        </a:lnTo>
                        <a:lnTo>
                          <a:pt x="967" y="144"/>
                        </a:lnTo>
                        <a:lnTo>
                          <a:pt x="968" y="144"/>
                        </a:lnTo>
                        <a:lnTo>
                          <a:pt x="970" y="144"/>
                        </a:lnTo>
                        <a:lnTo>
                          <a:pt x="972" y="144"/>
                        </a:lnTo>
                        <a:lnTo>
                          <a:pt x="973" y="144"/>
                        </a:lnTo>
                        <a:lnTo>
                          <a:pt x="973" y="146"/>
                        </a:lnTo>
                        <a:lnTo>
                          <a:pt x="975" y="146"/>
                        </a:lnTo>
                        <a:lnTo>
                          <a:pt x="976" y="146"/>
                        </a:lnTo>
                        <a:lnTo>
                          <a:pt x="978" y="146"/>
                        </a:lnTo>
                        <a:lnTo>
                          <a:pt x="978" y="147"/>
                        </a:lnTo>
                        <a:lnTo>
                          <a:pt x="978" y="149"/>
                        </a:lnTo>
                        <a:lnTo>
                          <a:pt x="979" y="149"/>
                        </a:lnTo>
                        <a:lnTo>
                          <a:pt x="979" y="150"/>
                        </a:lnTo>
                        <a:lnTo>
                          <a:pt x="979" y="152"/>
                        </a:lnTo>
                        <a:lnTo>
                          <a:pt x="979" y="154"/>
                        </a:lnTo>
                        <a:lnTo>
                          <a:pt x="979" y="155"/>
                        </a:lnTo>
                        <a:lnTo>
                          <a:pt x="979" y="157"/>
                        </a:lnTo>
                        <a:lnTo>
                          <a:pt x="978" y="157"/>
                        </a:lnTo>
                        <a:lnTo>
                          <a:pt x="978" y="158"/>
                        </a:lnTo>
                        <a:lnTo>
                          <a:pt x="978" y="160"/>
                        </a:lnTo>
                        <a:lnTo>
                          <a:pt x="976" y="161"/>
                        </a:lnTo>
                        <a:lnTo>
                          <a:pt x="975" y="163"/>
                        </a:lnTo>
                        <a:lnTo>
                          <a:pt x="975" y="165"/>
                        </a:lnTo>
                        <a:lnTo>
                          <a:pt x="976" y="165"/>
                        </a:lnTo>
                        <a:lnTo>
                          <a:pt x="976" y="166"/>
                        </a:lnTo>
                        <a:lnTo>
                          <a:pt x="978" y="166"/>
                        </a:lnTo>
                        <a:lnTo>
                          <a:pt x="979" y="166"/>
                        </a:lnTo>
                        <a:lnTo>
                          <a:pt x="981" y="166"/>
                        </a:lnTo>
                        <a:lnTo>
                          <a:pt x="981" y="168"/>
                        </a:lnTo>
                        <a:lnTo>
                          <a:pt x="983" y="168"/>
                        </a:lnTo>
                        <a:lnTo>
                          <a:pt x="984" y="169"/>
                        </a:lnTo>
                        <a:lnTo>
                          <a:pt x="986" y="169"/>
                        </a:lnTo>
                        <a:lnTo>
                          <a:pt x="987" y="169"/>
                        </a:lnTo>
                        <a:lnTo>
                          <a:pt x="989" y="169"/>
                        </a:lnTo>
                        <a:lnTo>
                          <a:pt x="991" y="169"/>
                        </a:lnTo>
                        <a:lnTo>
                          <a:pt x="992" y="169"/>
                        </a:lnTo>
                        <a:lnTo>
                          <a:pt x="994" y="169"/>
                        </a:lnTo>
                        <a:lnTo>
                          <a:pt x="995" y="171"/>
                        </a:lnTo>
                        <a:lnTo>
                          <a:pt x="997" y="171"/>
                        </a:lnTo>
                        <a:lnTo>
                          <a:pt x="998" y="171"/>
                        </a:lnTo>
                        <a:lnTo>
                          <a:pt x="1000" y="173"/>
                        </a:lnTo>
                        <a:lnTo>
                          <a:pt x="1002" y="173"/>
                        </a:lnTo>
                        <a:lnTo>
                          <a:pt x="1003" y="173"/>
                        </a:lnTo>
                        <a:lnTo>
                          <a:pt x="1003" y="174"/>
                        </a:lnTo>
                        <a:lnTo>
                          <a:pt x="1005" y="174"/>
                        </a:lnTo>
                        <a:lnTo>
                          <a:pt x="1005" y="176"/>
                        </a:lnTo>
                        <a:lnTo>
                          <a:pt x="1005" y="177"/>
                        </a:lnTo>
                        <a:lnTo>
                          <a:pt x="1005" y="179"/>
                        </a:lnTo>
                        <a:lnTo>
                          <a:pt x="1006" y="181"/>
                        </a:lnTo>
                        <a:lnTo>
                          <a:pt x="1006" y="182"/>
                        </a:lnTo>
                        <a:lnTo>
                          <a:pt x="1006" y="184"/>
                        </a:lnTo>
                        <a:lnTo>
                          <a:pt x="1006" y="185"/>
                        </a:lnTo>
                        <a:lnTo>
                          <a:pt x="1006" y="187"/>
                        </a:lnTo>
                        <a:lnTo>
                          <a:pt x="1005" y="188"/>
                        </a:lnTo>
                        <a:lnTo>
                          <a:pt x="1005" y="190"/>
                        </a:lnTo>
                        <a:lnTo>
                          <a:pt x="1006" y="192"/>
                        </a:lnTo>
                        <a:lnTo>
                          <a:pt x="1008" y="193"/>
                        </a:lnTo>
                        <a:lnTo>
                          <a:pt x="1010" y="195"/>
                        </a:lnTo>
                        <a:lnTo>
                          <a:pt x="1010" y="196"/>
                        </a:lnTo>
                        <a:lnTo>
                          <a:pt x="1011" y="198"/>
                        </a:lnTo>
                        <a:lnTo>
                          <a:pt x="1013" y="200"/>
                        </a:lnTo>
                        <a:lnTo>
                          <a:pt x="1014" y="200"/>
                        </a:lnTo>
                        <a:lnTo>
                          <a:pt x="1016" y="201"/>
                        </a:lnTo>
                        <a:lnTo>
                          <a:pt x="1017" y="201"/>
                        </a:lnTo>
                        <a:lnTo>
                          <a:pt x="1017" y="203"/>
                        </a:lnTo>
                        <a:lnTo>
                          <a:pt x="1019" y="203"/>
                        </a:lnTo>
                        <a:lnTo>
                          <a:pt x="1019" y="204"/>
                        </a:lnTo>
                        <a:lnTo>
                          <a:pt x="1019" y="206"/>
                        </a:lnTo>
                        <a:lnTo>
                          <a:pt x="1019" y="207"/>
                        </a:lnTo>
                        <a:lnTo>
                          <a:pt x="1019" y="209"/>
                        </a:lnTo>
                        <a:lnTo>
                          <a:pt x="1019" y="211"/>
                        </a:lnTo>
                        <a:lnTo>
                          <a:pt x="1021" y="211"/>
                        </a:lnTo>
                        <a:lnTo>
                          <a:pt x="1019" y="212"/>
                        </a:lnTo>
                        <a:lnTo>
                          <a:pt x="1019" y="214"/>
                        </a:lnTo>
                        <a:lnTo>
                          <a:pt x="1019" y="215"/>
                        </a:lnTo>
                        <a:lnTo>
                          <a:pt x="1017" y="217"/>
                        </a:lnTo>
                        <a:lnTo>
                          <a:pt x="1036" y="220"/>
                        </a:lnTo>
                        <a:lnTo>
                          <a:pt x="1038" y="220"/>
                        </a:lnTo>
                        <a:lnTo>
                          <a:pt x="1038" y="222"/>
                        </a:lnTo>
                        <a:lnTo>
                          <a:pt x="1040" y="222"/>
                        </a:lnTo>
                        <a:lnTo>
                          <a:pt x="1041" y="222"/>
                        </a:lnTo>
                        <a:lnTo>
                          <a:pt x="1043" y="222"/>
                        </a:lnTo>
                        <a:lnTo>
                          <a:pt x="1044" y="222"/>
                        </a:lnTo>
                        <a:lnTo>
                          <a:pt x="1046" y="222"/>
                        </a:lnTo>
                        <a:lnTo>
                          <a:pt x="1048" y="222"/>
                        </a:lnTo>
                        <a:lnTo>
                          <a:pt x="1048" y="223"/>
                        </a:lnTo>
                        <a:lnTo>
                          <a:pt x="1049" y="223"/>
                        </a:lnTo>
                        <a:lnTo>
                          <a:pt x="1051" y="225"/>
                        </a:lnTo>
                        <a:lnTo>
                          <a:pt x="1052" y="225"/>
                        </a:lnTo>
                        <a:lnTo>
                          <a:pt x="1054" y="225"/>
                        </a:lnTo>
                        <a:lnTo>
                          <a:pt x="1054" y="226"/>
                        </a:lnTo>
                        <a:lnTo>
                          <a:pt x="1054" y="228"/>
                        </a:lnTo>
                        <a:lnTo>
                          <a:pt x="1055" y="228"/>
                        </a:lnTo>
                        <a:lnTo>
                          <a:pt x="1055" y="230"/>
                        </a:lnTo>
                        <a:lnTo>
                          <a:pt x="1057" y="230"/>
                        </a:lnTo>
                        <a:lnTo>
                          <a:pt x="1059" y="230"/>
                        </a:lnTo>
                        <a:lnTo>
                          <a:pt x="1060" y="230"/>
                        </a:lnTo>
                        <a:lnTo>
                          <a:pt x="1060" y="231"/>
                        </a:lnTo>
                        <a:lnTo>
                          <a:pt x="1062" y="231"/>
                        </a:lnTo>
                        <a:lnTo>
                          <a:pt x="1063" y="231"/>
                        </a:lnTo>
                        <a:lnTo>
                          <a:pt x="1065" y="231"/>
                        </a:lnTo>
                        <a:lnTo>
                          <a:pt x="1067" y="231"/>
                        </a:lnTo>
                        <a:lnTo>
                          <a:pt x="1068" y="231"/>
                        </a:lnTo>
                        <a:lnTo>
                          <a:pt x="1068" y="230"/>
                        </a:lnTo>
                        <a:lnTo>
                          <a:pt x="1070" y="230"/>
                        </a:lnTo>
                        <a:lnTo>
                          <a:pt x="1071" y="230"/>
                        </a:lnTo>
                        <a:lnTo>
                          <a:pt x="1073" y="230"/>
                        </a:lnTo>
                        <a:lnTo>
                          <a:pt x="1074" y="230"/>
                        </a:lnTo>
                        <a:lnTo>
                          <a:pt x="1076" y="228"/>
                        </a:lnTo>
                        <a:lnTo>
                          <a:pt x="1078" y="230"/>
                        </a:lnTo>
                        <a:lnTo>
                          <a:pt x="1079" y="230"/>
                        </a:lnTo>
                        <a:lnTo>
                          <a:pt x="1081" y="230"/>
                        </a:lnTo>
                        <a:lnTo>
                          <a:pt x="1081" y="231"/>
                        </a:lnTo>
                        <a:lnTo>
                          <a:pt x="1082" y="231"/>
                        </a:lnTo>
                        <a:lnTo>
                          <a:pt x="1084" y="231"/>
                        </a:lnTo>
                        <a:lnTo>
                          <a:pt x="1086" y="231"/>
                        </a:lnTo>
                        <a:lnTo>
                          <a:pt x="1087" y="233"/>
                        </a:lnTo>
                        <a:lnTo>
                          <a:pt x="1089" y="234"/>
                        </a:lnTo>
                        <a:lnTo>
                          <a:pt x="1090" y="234"/>
                        </a:lnTo>
                        <a:lnTo>
                          <a:pt x="1092" y="234"/>
                        </a:lnTo>
                        <a:lnTo>
                          <a:pt x="1092" y="233"/>
                        </a:lnTo>
                        <a:lnTo>
                          <a:pt x="1093" y="231"/>
                        </a:lnTo>
                        <a:lnTo>
                          <a:pt x="1095" y="231"/>
                        </a:lnTo>
                        <a:lnTo>
                          <a:pt x="1097" y="230"/>
                        </a:lnTo>
                        <a:lnTo>
                          <a:pt x="1098" y="228"/>
                        </a:lnTo>
                        <a:lnTo>
                          <a:pt x="1100" y="226"/>
                        </a:lnTo>
                        <a:lnTo>
                          <a:pt x="1100" y="225"/>
                        </a:lnTo>
                        <a:lnTo>
                          <a:pt x="1101" y="223"/>
                        </a:lnTo>
                        <a:lnTo>
                          <a:pt x="1103" y="222"/>
                        </a:lnTo>
                        <a:lnTo>
                          <a:pt x="1105" y="222"/>
                        </a:lnTo>
                        <a:lnTo>
                          <a:pt x="1105" y="220"/>
                        </a:lnTo>
                        <a:lnTo>
                          <a:pt x="1106" y="220"/>
                        </a:lnTo>
                        <a:lnTo>
                          <a:pt x="1106" y="219"/>
                        </a:lnTo>
                        <a:lnTo>
                          <a:pt x="1108" y="217"/>
                        </a:lnTo>
                        <a:lnTo>
                          <a:pt x="1109" y="217"/>
                        </a:lnTo>
                        <a:lnTo>
                          <a:pt x="1109" y="215"/>
                        </a:lnTo>
                        <a:lnTo>
                          <a:pt x="1111" y="215"/>
                        </a:lnTo>
                        <a:lnTo>
                          <a:pt x="1112" y="214"/>
                        </a:lnTo>
                        <a:lnTo>
                          <a:pt x="1114" y="212"/>
                        </a:lnTo>
                        <a:lnTo>
                          <a:pt x="1114" y="211"/>
                        </a:lnTo>
                        <a:lnTo>
                          <a:pt x="1116" y="209"/>
                        </a:lnTo>
                        <a:lnTo>
                          <a:pt x="1116" y="207"/>
                        </a:lnTo>
                        <a:lnTo>
                          <a:pt x="1117" y="206"/>
                        </a:lnTo>
                        <a:lnTo>
                          <a:pt x="1119" y="204"/>
                        </a:lnTo>
                        <a:lnTo>
                          <a:pt x="1119" y="203"/>
                        </a:lnTo>
                        <a:lnTo>
                          <a:pt x="1120" y="201"/>
                        </a:lnTo>
                        <a:lnTo>
                          <a:pt x="1122" y="201"/>
                        </a:lnTo>
                        <a:lnTo>
                          <a:pt x="1124" y="201"/>
                        </a:lnTo>
                        <a:lnTo>
                          <a:pt x="1125" y="203"/>
                        </a:lnTo>
                        <a:lnTo>
                          <a:pt x="1127" y="203"/>
                        </a:lnTo>
                        <a:lnTo>
                          <a:pt x="1128" y="204"/>
                        </a:lnTo>
                        <a:lnTo>
                          <a:pt x="1130" y="204"/>
                        </a:lnTo>
                        <a:lnTo>
                          <a:pt x="1131" y="204"/>
                        </a:lnTo>
                        <a:lnTo>
                          <a:pt x="1133" y="206"/>
                        </a:lnTo>
                        <a:lnTo>
                          <a:pt x="1135" y="206"/>
                        </a:lnTo>
                        <a:lnTo>
                          <a:pt x="1136" y="206"/>
                        </a:lnTo>
                        <a:lnTo>
                          <a:pt x="1136" y="207"/>
                        </a:lnTo>
                        <a:lnTo>
                          <a:pt x="1138" y="207"/>
                        </a:lnTo>
                        <a:lnTo>
                          <a:pt x="1139" y="207"/>
                        </a:lnTo>
                        <a:lnTo>
                          <a:pt x="1141" y="207"/>
                        </a:lnTo>
                        <a:lnTo>
                          <a:pt x="1143" y="207"/>
                        </a:lnTo>
                        <a:lnTo>
                          <a:pt x="1144" y="207"/>
                        </a:lnTo>
                        <a:lnTo>
                          <a:pt x="1144" y="209"/>
                        </a:lnTo>
                        <a:lnTo>
                          <a:pt x="1146" y="209"/>
                        </a:lnTo>
                        <a:lnTo>
                          <a:pt x="1147" y="209"/>
                        </a:lnTo>
                        <a:lnTo>
                          <a:pt x="1149" y="209"/>
                        </a:lnTo>
                        <a:lnTo>
                          <a:pt x="1151" y="209"/>
                        </a:lnTo>
                        <a:lnTo>
                          <a:pt x="1152" y="209"/>
                        </a:lnTo>
                        <a:lnTo>
                          <a:pt x="1154" y="209"/>
                        </a:lnTo>
                        <a:lnTo>
                          <a:pt x="1155" y="209"/>
                        </a:lnTo>
                        <a:lnTo>
                          <a:pt x="1157" y="209"/>
                        </a:lnTo>
                        <a:lnTo>
                          <a:pt x="1158" y="211"/>
                        </a:lnTo>
                        <a:lnTo>
                          <a:pt x="1160" y="211"/>
                        </a:lnTo>
                        <a:lnTo>
                          <a:pt x="1162" y="209"/>
                        </a:lnTo>
                        <a:lnTo>
                          <a:pt x="1163" y="211"/>
                        </a:lnTo>
                        <a:lnTo>
                          <a:pt x="1165" y="209"/>
                        </a:lnTo>
                        <a:lnTo>
                          <a:pt x="1166" y="209"/>
                        </a:lnTo>
                        <a:lnTo>
                          <a:pt x="1168" y="209"/>
                        </a:lnTo>
                        <a:lnTo>
                          <a:pt x="1170" y="209"/>
                        </a:lnTo>
                        <a:lnTo>
                          <a:pt x="1171" y="209"/>
                        </a:lnTo>
                        <a:lnTo>
                          <a:pt x="1173" y="209"/>
                        </a:lnTo>
                        <a:lnTo>
                          <a:pt x="1174" y="209"/>
                        </a:lnTo>
                        <a:lnTo>
                          <a:pt x="1176" y="209"/>
                        </a:lnTo>
                        <a:lnTo>
                          <a:pt x="1177" y="209"/>
                        </a:lnTo>
                        <a:lnTo>
                          <a:pt x="1179" y="207"/>
                        </a:lnTo>
                        <a:lnTo>
                          <a:pt x="1181" y="207"/>
                        </a:lnTo>
                        <a:lnTo>
                          <a:pt x="1181" y="206"/>
                        </a:lnTo>
                        <a:lnTo>
                          <a:pt x="1182" y="206"/>
                        </a:lnTo>
                        <a:lnTo>
                          <a:pt x="1184" y="206"/>
                        </a:lnTo>
                        <a:lnTo>
                          <a:pt x="1185" y="206"/>
                        </a:lnTo>
                        <a:lnTo>
                          <a:pt x="1185" y="207"/>
                        </a:lnTo>
                        <a:lnTo>
                          <a:pt x="1187" y="206"/>
                        </a:lnTo>
                        <a:lnTo>
                          <a:pt x="1189" y="206"/>
                        </a:lnTo>
                        <a:lnTo>
                          <a:pt x="1190" y="206"/>
                        </a:lnTo>
                        <a:lnTo>
                          <a:pt x="1190" y="207"/>
                        </a:lnTo>
                        <a:lnTo>
                          <a:pt x="1192" y="207"/>
                        </a:lnTo>
                        <a:lnTo>
                          <a:pt x="1192" y="209"/>
                        </a:lnTo>
                        <a:lnTo>
                          <a:pt x="1192" y="211"/>
                        </a:lnTo>
                        <a:lnTo>
                          <a:pt x="1193" y="212"/>
                        </a:lnTo>
                        <a:lnTo>
                          <a:pt x="1195" y="214"/>
                        </a:lnTo>
                        <a:lnTo>
                          <a:pt x="1196" y="214"/>
                        </a:lnTo>
                        <a:lnTo>
                          <a:pt x="1198" y="214"/>
                        </a:lnTo>
                        <a:lnTo>
                          <a:pt x="1198" y="215"/>
                        </a:lnTo>
                        <a:lnTo>
                          <a:pt x="1198" y="217"/>
                        </a:lnTo>
                        <a:lnTo>
                          <a:pt x="1200" y="217"/>
                        </a:lnTo>
                        <a:lnTo>
                          <a:pt x="1201" y="217"/>
                        </a:lnTo>
                        <a:lnTo>
                          <a:pt x="1201" y="219"/>
                        </a:lnTo>
                        <a:lnTo>
                          <a:pt x="1203" y="219"/>
                        </a:lnTo>
                        <a:lnTo>
                          <a:pt x="1203" y="220"/>
                        </a:lnTo>
                        <a:lnTo>
                          <a:pt x="1203" y="222"/>
                        </a:lnTo>
                        <a:lnTo>
                          <a:pt x="1204" y="220"/>
                        </a:lnTo>
                        <a:lnTo>
                          <a:pt x="1206" y="220"/>
                        </a:lnTo>
                        <a:lnTo>
                          <a:pt x="1208" y="220"/>
                        </a:lnTo>
                        <a:lnTo>
                          <a:pt x="1208" y="222"/>
                        </a:lnTo>
                        <a:lnTo>
                          <a:pt x="1209" y="222"/>
                        </a:lnTo>
                        <a:lnTo>
                          <a:pt x="1209" y="223"/>
                        </a:lnTo>
                        <a:lnTo>
                          <a:pt x="1208" y="223"/>
                        </a:lnTo>
                        <a:lnTo>
                          <a:pt x="1209" y="225"/>
                        </a:lnTo>
                        <a:lnTo>
                          <a:pt x="1209" y="223"/>
                        </a:lnTo>
                        <a:lnTo>
                          <a:pt x="1211" y="223"/>
                        </a:lnTo>
                        <a:lnTo>
                          <a:pt x="1212" y="225"/>
                        </a:lnTo>
                        <a:lnTo>
                          <a:pt x="1212" y="226"/>
                        </a:lnTo>
                        <a:lnTo>
                          <a:pt x="1214" y="228"/>
                        </a:lnTo>
                        <a:lnTo>
                          <a:pt x="1215" y="228"/>
                        </a:lnTo>
                        <a:lnTo>
                          <a:pt x="1217" y="228"/>
                        </a:lnTo>
                        <a:lnTo>
                          <a:pt x="1217" y="230"/>
                        </a:lnTo>
                        <a:lnTo>
                          <a:pt x="1219" y="230"/>
                        </a:lnTo>
                        <a:lnTo>
                          <a:pt x="1220" y="230"/>
                        </a:lnTo>
                        <a:lnTo>
                          <a:pt x="1220" y="228"/>
                        </a:lnTo>
                        <a:lnTo>
                          <a:pt x="1222" y="228"/>
                        </a:lnTo>
                        <a:lnTo>
                          <a:pt x="1223" y="228"/>
                        </a:lnTo>
                        <a:lnTo>
                          <a:pt x="1225" y="228"/>
                        </a:lnTo>
                        <a:lnTo>
                          <a:pt x="1223" y="230"/>
                        </a:lnTo>
                        <a:lnTo>
                          <a:pt x="1223" y="231"/>
                        </a:lnTo>
                        <a:lnTo>
                          <a:pt x="1225" y="231"/>
                        </a:lnTo>
                        <a:lnTo>
                          <a:pt x="1227" y="231"/>
                        </a:lnTo>
                        <a:lnTo>
                          <a:pt x="1227" y="230"/>
                        </a:lnTo>
                        <a:lnTo>
                          <a:pt x="1228" y="230"/>
                        </a:lnTo>
                        <a:lnTo>
                          <a:pt x="1230" y="231"/>
                        </a:lnTo>
                        <a:lnTo>
                          <a:pt x="1231" y="231"/>
                        </a:lnTo>
                        <a:lnTo>
                          <a:pt x="1233" y="231"/>
                        </a:lnTo>
                        <a:lnTo>
                          <a:pt x="1234" y="231"/>
                        </a:lnTo>
                        <a:lnTo>
                          <a:pt x="1236" y="231"/>
                        </a:lnTo>
                        <a:lnTo>
                          <a:pt x="1236" y="233"/>
                        </a:lnTo>
                        <a:lnTo>
                          <a:pt x="1234" y="234"/>
                        </a:lnTo>
                        <a:lnTo>
                          <a:pt x="1236" y="234"/>
                        </a:lnTo>
                        <a:lnTo>
                          <a:pt x="1238" y="236"/>
                        </a:lnTo>
                        <a:lnTo>
                          <a:pt x="1239" y="236"/>
                        </a:lnTo>
                        <a:lnTo>
                          <a:pt x="1241" y="236"/>
                        </a:lnTo>
                        <a:lnTo>
                          <a:pt x="1242" y="234"/>
                        </a:lnTo>
                        <a:lnTo>
                          <a:pt x="1244" y="234"/>
                        </a:lnTo>
                        <a:lnTo>
                          <a:pt x="1244" y="233"/>
                        </a:lnTo>
                        <a:lnTo>
                          <a:pt x="1246" y="233"/>
                        </a:lnTo>
                        <a:lnTo>
                          <a:pt x="1247" y="233"/>
                        </a:lnTo>
                        <a:lnTo>
                          <a:pt x="1249" y="233"/>
                        </a:lnTo>
                        <a:lnTo>
                          <a:pt x="1250" y="233"/>
                        </a:lnTo>
                        <a:lnTo>
                          <a:pt x="1252" y="234"/>
                        </a:lnTo>
                        <a:lnTo>
                          <a:pt x="1253" y="234"/>
                        </a:lnTo>
                        <a:lnTo>
                          <a:pt x="1255" y="236"/>
                        </a:lnTo>
                        <a:lnTo>
                          <a:pt x="1257" y="236"/>
                        </a:lnTo>
                        <a:lnTo>
                          <a:pt x="1258" y="236"/>
                        </a:lnTo>
                        <a:lnTo>
                          <a:pt x="1260" y="236"/>
                        </a:lnTo>
                        <a:lnTo>
                          <a:pt x="1261" y="238"/>
                        </a:lnTo>
                        <a:lnTo>
                          <a:pt x="1261" y="236"/>
                        </a:lnTo>
                        <a:lnTo>
                          <a:pt x="1263" y="238"/>
                        </a:lnTo>
                        <a:lnTo>
                          <a:pt x="1265" y="238"/>
                        </a:lnTo>
                        <a:lnTo>
                          <a:pt x="1263" y="238"/>
                        </a:lnTo>
                        <a:lnTo>
                          <a:pt x="1261" y="239"/>
                        </a:lnTo>
                        <a:lnTo>
                          <a:pt x="1263" y="239"/>
                        </a:lnTo>
                        <a:lnTo>
                          <a:pt x="1263" y="241"/>
                        </a:lnTo>
                        <a:lnTo>
                          <a:pt x="1265" y="241"/>
                        </a:lnTo>
                        <a:lnTo>
                          <a:pt x="1266" y="241"/>
                        </a:lnTo>
                        <a:lnTo>
                          <a:pt x="1266" y="239"/>
                        </a:lnTo>
                        <a:lnTo>
                          <a:pt x="1268" y="239"/>
                        </a:lnTo>
                        <a:lnTo>
                          <a:pt x="1268" y="241"/>
                        </a:lnTo>
                        <a:lnTo>
                          <a:pt x="1269" y="241"/>
                        </a:lnTo>
                        <a:lnTo>
                          <a:pt x="1271" y="241"/>
                        </a:lnTo>
                        <a:lnTo>
                          <a:pt x="1272" y="242"/>
                        </a:lnTo>
                        <a:lnTo>
                          <a:pt x="1274" y="242"/>
                        </a:lnTo>
                        <a:lnTo>
                          <a:pt x="1276" y="242"/>
                        </a:lnTo>
                        <a:lnTo>
                          <a:pt x="1276" y="244"/>
                        </a:lnTo>
                        <a:lnTo>
                          <a:pt x="1277" y="244"/>
                        </a:lnTo>
                        <a:lnTo>
                          <a:pt x="1279" y="244"/>
                        </a:lnTo>
                        <a:lnTo>
                          <a:pt x="1280" y="245"/>
                        </a:lnTo>
                        <a:lnTo>
                          <a:pt x="1282" y="245"/>
                        </a:lnTo>
                        <a:lnTo>
                          <a:pt x="1284" y="245"/>
                        </a:lnTo>
                        <a:lnTo>
                          <a:pt x="1284" y="247"/>
                        </a:lnTo>
                        <a:lnTo>
                          <a:pt x="1285" y="245"/>
                        </a:lnTo>
                        <a:lnTo>
                          <a:pt x="1287" y="244"/>
                        </a:lnTo>
                        <a:lnTo>
                          <a:pt x="1288" y="244"/>
                        </a:lnTo>
                        <a:lnTo>
                          <a:pt x="1290" y="245"/>
                        </a:lnTo>
                        <a:lnTo>
                          <a:pt x="1291" y="245"/>
                        </a:lnTo>
                        <a:lnTo>
                          <a:pt x="1293" y="245"/>
                        </a:lnTo>
                        <a:lnTo>
                          <a:pt x="1293" y="247"/>
                        </a:lnTo>
                        <a:lnTo>
                          <a:pt x="1295" y="249"/>
                        </a:lnTo>
                        <a:lnTo>
                          <a:pt x="1296" y="250"/>
                        </a:lnTo>
                        <a:lnTo>
                          <a:pt x="1298" y="252"/>
                        </a:lnTo>
                        <a:lnTo>
                          <a:pt x="1299" y="253"/>
                        </a:lnTo>
                        <a:lnTo>
                          <a:pt x="1301" y="253"/>
                        </a:lnTo>
                        <a:lnTo>
                          <a:pt x="1303" y="253"/>
                        </a:lnTo>
                        <a:lnTo>
                          <a:pt x="1304" y="253"/>
                        </a:lnTo>
                        <a:lnTo>
                          <a:pt x="1306" y="253"/>
                        </a:lnTo>
                        <a:lnTo>
                          <a:pt x="1307" y="253"/>
                        </a:lnTo>
                        <a:lnTo>
                          <a:pt x="1309" y="253"/>
                        </a:lnTo>
                        <a:lnTo>
                          <a:pt x="1309" y="252"/>
                        </a:lnTo>
                        <a:lnTo>
                          <a:pt x="1310" y="252"/>
                        </a:lnTo>
                        <a:lnTo>
                          <a:pt x="1312" y="252"/>
                        </a:lnTo>
                        <a:lnTo>
                          <a:pt x="1314" y="252"/>
                        </a:lnTo>
                        <a:lnTo>
                          <a:pt x="1314" y="253"/>
                        </a:lnTo>
                        <a:lnTo>
                          <a:pt x="1315" y="253"/>
                        </a:lnTo>
                        <a:lnTo>
                          <a:pt x="1314" y="255"/>
                        </a:lnTo>
                        <a:lnTo>
                          <a:pt x="1314" y="257"/>
                        </a:lnTo>
                        <a:lnTo>
                          <a:pt x="1312" y="258"/>
                        </a:lnTo>
                        <a:lnTo>
                          <a:pt x="1312" y="260"/>
                        </a:lnTo>
                        <a:lnTo>
                          <a:pt x="1310" y="260"/>
                        </a:lnTo>
                        <a:lnTo>
                          <a:pt x="1310" y="261"/>
                        </a:lnTo>
                        <a:lnTo>
                          <a:pt x="1309" y="261"/>
                        </a:lnTo>
                        <a:lnTo>
                          <a:pt x="1309" y="263"/>
                        </a:lnTo>
                        <a:lnTo>
                          <a:pt x="1307" y="264"/>
                        </a:lnTo>
                        <a:lnTo>
                          <a:pt x="1306" y="264"/>
                        </a:lnTo>
                        <a:lnTo>
                          <a:pt x="1306" y="266"/>
                        </a:lnTo>
                        <a:lnTo>
                          <a:pt x="1304" y="266"/>
                        </a:lnTo>
                        <a:lnTo>
                          <a:pt x="1303" y="268"/>
                        </a:lnTo>
                        <a:lnTo>
                          <a:pt x="1303" y="269"/>
                        </a:lnTo>
                        <a:lnTo>
                          <a:pt x="1301" y="271"/>
                        </a:lnTo>
                        <a:lnTo>
                          <a:pt x="1299" y="271"/>
                        </a:lnTo>
                        <a:lnTo>
                          <a:pt x="1299" y="272"/>
                        </a:lnTo>
                        <a:lnTo>
                          <a:pt x="1299" y="274"/>
                        </a:lnTo>
                        <a:lnTo>
                          <a:pt x="1298" y="274"/>
                        </a:lnTo>
                        <a:lnTo>
                          <a:pt x="1298" y="276"/>
                        </a:lnTo>
                        <a:lnTo>
                          <a:pt x="1296" y="277"/>
                        </a:lnTo>
                        <a:lnTo>
                          <a:pt x="1296" y="279"/>
                        </a:lnTo>
                        <a:lnTo>
                          <a:pt x="1296" y="280"/>
                        </a:lnTo>
                        <a:lnTo>
                          <a:pt x="1296" y="282"/>
                        </a:lnTo>
                        <a:lnTo>
                          <a:pt x="1296" y="283"/>
                        </a:lnTo>
                        <a:lnTo>
                          <a:pt x="1296" y="285"/>
                        </a:lnTo>
                        <a:lnTo>
                          <a:pt x="1296" y="287"/>
                        </a:lnTo>
                        <a:lnTo>
                          <a:pt x="1296" y="288"/>
                        </a:lnTo>
                        <a:lnTo>
                          <a:pt x="1295" y="290"/>
                        </a:lnTo>
                        <a:lnTo>
                          <a:pt x="1293" y="291"/>
                        </a:lnTo>
                        <a:lnTo>
                          <a:pt x="1291" y="291"/>
                        </a:lnTo>
                        <a:lnTo>
                          <a:pt x="1291" y="293"/>
                        </a:lnTo>
                        <a:lnTo>
                          <a:pt x="1290" y="295"/>
                        </a:lnTo>
                        <a:lnTo>
                          <a:pt x="1290" y="296"/>
                        </a:lnTo>
                        <a:lnTo>
                          <a:pt x="1288" y="298"/>
                        </a:lnTo>
                        <a:lnTo>
                          <a:pt x="1287" y="298"/>
                        </a:lnTo>
                        <a:lnTo>
                          <a:pt x="1285" y="298"/>
                        </a:lnTo>
                        <a:lnTo>
                          <a:pt x="1284" y="298"/>
                        </a:lnTo>
                        <a:lnTo>
                          <a:pt x="1282" y="298"/>
                        </a:lnTo>
                        <a:lnTo>
                          <a:pt x="1280" y="298"/>
                        </a:lnTo>
                        <a:lnTo>
                          <a:pt x="1280" y="299"/>
                        </a:lnTo>
                        <a:lnTo>
                          <a:pt x="1280" y="301"/>
                        </a:lnTo>
                        <a:lnTo>
                          <a:pt x="1282" y="302"/>
                        </a:lnTo>
                        <a:lnTo>
                          <a:pt x="1282" y="304"/>
                        </a:lnTo>
                        <a:lnTo>
                          <a:pt x="1284" y="304"/>
                        </a:lnTo>
                        <a:lnTo>
                          <a:pt x="1284" y="306"/>
                        </a:lnTo>
                        <a:lnTo>
                          <a:pt x="1285" y="307"/>
                        </a:lnTo>
                        <a:lnTo>
                          <a:pt x="1285" y="309"/>
                        </a:lnTo>
                        <a:lnTo>
                          <a:pt x="1287" y="309"/>
                        </a:lnTo>
                        <a:lnTo>
                          <a:pt x="1287" y="310"/>
                        </a:lnTo>
                        <a:lnTo>
                          <a:pt x="1288" y="312"/>
                        </a:lnTo>
                        <a:lnTo>
                          <a:pt x="1290" y="312"/>
                        </a:lnTo>
                        <a:lnTo>
                          <a:pt x="1291" y="314"/>
                        </a:lnTo>
                        <a:lnTo>
                          <a:pt x="1293" y="314"/>
                        </a:lnTo>
                        <a:lnTo>
                          <a:pt x="1293" y="315"/>
                        </a:lnTo>
                        <a:lnTo>
                          <a:pt x="1295" y="315"/>
                        </a:lnTo>
                        <a:lnTo>
                          <a:pt x="1296" y="317"/>
                        </a:lnTo>
                        <a:lnTo>
                          <a:pt x="1296" y="318"/>
                        </a:lnTo>
                        <a:lnTo>
                          <a:pt x="1298" y="318"/>
                        </a:lnTo>
                        <a:lnTo>
                          <a:pt x="1299" y="320"/>
                        </a:lnTo>
                        <a:lnTo>
                          <a:pt x="1301" y="320"/>
                        </a:lnTo>
                        <a:lnTo>
                          <a:pt x="1301" y="321"/>
                        </a:lnTo>
                        <a:lnTo>
                          <a:pt x="1303" y="321"/>
                        </a:lnTo>
                        <a:lnTo>
                          <a:pt x="1304" y="323"/>
                        </a:lnTo>
                        <a:lnTo>
                          <a:pt x="1304" y="325"/>
                        </a:lnTo>
                        <a:lnTo>
                          <a:pt x="1303" y="326"/>
                        </a:lnTo>
                        <a:lnTo>
                          <a:pt x="1303" y="328"/>
                        </a:lnTo>
                        <a:lnTo>
                          <a:pt x="1303" y="329"/>
                        </a:lnTo>
                        <a:lnTo>
                          <a:pt x="1304" y="329"/>
                        </a:lnTo>
                        <a:lnTo>
                          <a:pt x="1306" y="331"/>
                        </a:lnTo>
                        <a:lnTo>
                          <a:pt x="1307" y="331"/>
                        </a:lnTo>
                        <a:lnTo>
                          <a:pt x="1309" y="331"/>
                        </a:lnTo>
                        <a:lnTo>
                          <a:pt x="1310" y="333"/>
                        </a:lnTo>
                        <a:lnTo>
                          <a:pt x="1312" y="333"/>
                        </a:lnTo>
                        <a:lnTo>
                          <a:pt x="1314" y="333"/>
                        </a:lnTo>
                        <a:lnTo>
                          <a:pt x="1315" y="334"/>
                        </a:lnTo>
                        <a:lnTo>
                          <a:pt x="1318" y="334"/>
                        </a:lnTo>
                        <a:lnTo>
                          <a:pt x="1320" y="334"/>
                        </a:lnTo>
                        <a:lnTo>
                          <a:pt x="1322" y="334"/>
                        </a:lnTo>
                        <a:lnTo>
                          <a:pt x="1323" y="334"/>
                        </a:lnTo>
                        <a:lnTo>
                          <a:pt x="1325" y="334"/>
                        </a:lnTo>
                        <a:lnTo>
                          <a:pt x="1326" y="334"/>
                        </a:lnTo>
                        <a:lnTo>
                          <a:pt x="1328" y="334"/>
                        </a:lnTo>
                        <a:lnTo>
                          <a:pt x="1330" y="334"/>
                        </a:lnTo>
                        <a:lnTo>
                          <a:pt x="1331" y="334"/>
                        </a:lnTo>
                        <a:lnTo>
                          <a:pt x="1333" y="334"/>
                        </a:lnTo>
                        <a:lnTo>
                          <a:pt x="1334" y="334"/>
                        </a:lnTo>
                        <a:lnTo>
                          <a:pt x="1336" y="334"/>
                        </a:lnTo>
                        <a:lnTo>
                          <a:pt x="1337" y="333"/>
                        </a:lnTo>
                        <a:lnTo>
                          <a:pt x="1337" y="334"/>
                        </a:lnTo>
                        <a:lnTo>
                          <a:pt x="1339" y="336"/>
                        </a:lnTo>
                        <a:lnTo>
                          <a:pt x="1341" y="336"/>
                        </a:lnTo>
                        <a:lnTo>
                          <a:pt x="1341" y="337"/>
                        </a:lnTo>
                        <a:lnTo>
                          <a:pt x="1342" y="336"/>
                        </a:lnTo>
                        <a:lnTo>
                          <a:pt x="1344" y="337"/>
                        </a:lnTo>
                        <a:lnTo>
                          <a:pt x="1345" y="337"/>
                        </a:lnTo>
                        <a:lnTo>
                          <a:pt x="1347" y="337"/>
                        </a:lnTo>
                        <a:lnTo>
                          <a:pt x="1349" y="336"/>
                        </a:lnTo>
                        <a:lnTo>
                          <a:pt x="1350" y="336"/>
                        </a:lnTo>
                        <a:lnTo>
                          <a:pt x="1352" y="336"/>
                        </a:lnTo>
                        <a:lnTo>
                          <a:pt x="1353" y="336"/>
                        </a:lnTo>
                        <a:lnTo>
                          <a:pt x="1355" y="336"/>
                        </a:lnTo>
                        <a:lnTo>
                          <a:pt x="1356" y="336"/>
                        </a:lnTo>
                        <a:lnTo>
                          <a:pt x="1358" y="336"/>
                        </a:lnTo>
                        <a:lnTo>
                          <a:pt x="1356" y="337"/>
                        </a:lnTo>
                        <a:lnTo>
                          <a:pt x="1356" y="339"/>
                        </a:lnTo>
                        <a:lnTo>
                          <a:pt x="1356" y="340"/>
                        </a:lnTo>
                        <a:lnTo>
                          <a:pt x="1356" y="342"/>
                        </a:lnTo>
                        <a:lnTo>
                          <a:pt x="1356" y="344"/>
                        </a:lnTo>
                        <a:lnTo>
                          <a:pt x="1356" y="345"/>
                        </a:lnTo>
                        <a:lnTo>
                          <a:pt x="1356" y="347"/>
                        </a:lnTo>
                        <a:lnTo>
                          <a:pt x="1355" y="347"/>
                        </a:lnTo>
                        <a:lnTo>
                          <a:pt x="1355" y="348"/>
                        </a:lnTo>
                        <a:lnTo>
                          <a:pt x="1355" y="350"/>
                        </a:lnTo>
                        <a:lnTo>
                          <a:pt x="1353" y="350"/>
                        </a:lnTo>
                        <a:lnTo>
                          <a:pt x="1353" y="352"/>
                        </a:lnTo>
                        <a:lnTo>
                          <a:pt x="1353" y="353"/>
                        </a:lnTo>
                        <a:lnTo>
                          <a:pt x="1353" y="355"/>
                        </a:lnTo>
                        <a:lnTo>
                          <a:pt x="1355" y="355"/>
                        </a:lnTo>
                        <a:lnTo>
                          <a:pt x="1355" y="356"/>
                        </a:lnTo>
                        <a:lnTo>
                          <a:pt x="1355" y="358"/>
                        </a:lnTo>
                        <a:lnTo>
                          <a:pt x="1356" y="358"/>
                        </a:lnTo>
                        <a:lnTo>
                          <a:pt x="1356" y="360"/>
                        </a:lnTo>
                        <a:lnTo>
                          <a:pt x="1356" y="361"/>
                        </a:lnTo>
                        <a:lnTo>
                          <a:pt x="1355" y="361"/>
                        </a:lnTo>
                        <a:lnTo>
                          <a:pt x="1355" y="363"/>
                        </a:lnTo>
                        <a:lnTo>
                          <a:pt x="1353" y="363"/>
                        </a:lnTo>
                        <a:lnTo>
                          <a:pt x="1352" y="363"/>
                        </a:lnTo>
                        <a:lnTo>
                          <a:pt x="1352" y="364"/>
                        </a:lnTo>
                        <a:lnTo>
                          <a:pt x="1350" y="364"/>
                        </a:lnTo>
                        <a:lnTo>
                          <a:pt x="1350" y="366"/>
                        </a:lnTo>
                        <a:lnTo>
                          <a:pt x="1350" y="367"/>
                        </a:lnTo>
                        <a:lnTo>
                          <a:pt x="1350" y="369"/>
                        </a:lnTo>
                        <a:lnTo>
                          <a:pt x="1352" y="371"/>
                        </a:lnTo>
                        <a:lnTo>
                          <a:pt x="1353" y="372"/>
                        </a:lnTo>
                        <a:lnTo>
                          <a:pt x="1353" y="374"/>
                        </a:lnTo>
                        <a:lnTo>
                          <a:pt x="1355" y="374"/>
                        </a:lnTo>
                        <a:lnTo>
                          <a:pt x="1356" y="375"/>
                        </a:lnTo>
                        <a:lnTo>
                          <a:pt x="1358" y="375"/>
                        </a:lnTo>
                        <a:lnTo>
                          <a:pt x="1360" y="377"/>
                        </a:lnTo>
                        <a:lnTo>
                          <a:pt x="1361" y="379"/>
                        </a:lnTo>
                        <a:lnTo>
                          <a:pt x="1361" y="380"/>
                        </a:lnTo>
                        <a:lnTo>
                          <a:pt x="1363" y="382"/>
                        </a:lnTo>
                        <a:lnTo>
                          <a:pt x="1364" y="382"/>
                        </a:lnTo>
                        <a:lnTo>
                          <a:pt x="1366" y="383"/>
                        </a:lnTo>
                        <a:lnTo>
                          <a:pt x="1368" y="383"/>
                        </a:lnTo>
                        <a:lnTo>
                          <a:pt x="1369" y="383"/>
                        </a:lnTo>
                        <a:lnTo>
                          <a:pt x="1371" y="383"/>
                        </a:lnTo>
                        <a:lnTo>
                          <a:pt x="1372" y="383"/>
                        </a:lnTo>
                        <a:lnTo>
                          <a:pt x="1374" y="383"/>
                        </a:lnTo>
                        <a:lnTo>
                          <a:pt x="1375" y="383"/>
                        </a:lnTo>
                        <a:lnTo>
                          <a:pt x="1377" y="383"/>
                        </a:lnTo>
                        <a:lnTo>
                          <a:pt x="1379" y="383"/>
                        </a:lnTo>
                        <a:lnTo>
                          <a:pt x="1380" y="383"/>
                        </a:lnTo>
                        <a:lnTo>
                          <a:pt x="1380" y="385"/>
                        </a:lnTo>
                        <a:lnTo>
                          <a:pt x="1382" y="385"/>
                        </a:lnTo>
                        <a:lnTo>
                          <a:pt x="1382" y="383"/>
                        </a:lnTo>
                        <a:lnTo>
                          <a:pt x="1383" y="383"/>
                        </a:lnTo>
                        <a:lnTo>
                          <a:pt x="1385" y="383"/>
                        </a:lnTo>
                        <a:lnTo>
                          <a:pt x="1385" y="382"/>
                        </a:lnTo>
                        <a:lnTo>
                          <a:pt x="1387" y="382"/>
                        </a:lnTo>
                        <a:lnTo>
                          <a:pt x="1388" y="380"/>
                        </a:lnTo>
                        <a:lnTo>
                          <a:pt x="1390" y="380"/>
                        </a:lnTo>
                        <a:lnTo>
                          <a:pt x="1390" y="379"/>
                        </a:lnTo>
                        <a:lnTo>
                          <a:pt x="1391" y="377"/>
                        </a:lnTo>
                        <a:lnTo>
                          <a:pt x="1393" y="377"/>
                        </a:lnTo>
                        <a:lnTo>
                          <a:pt x="1394" y="375"/>
                        </a:lnTo>
                        <a:lnTo>
                          <a:pt x="1396" y="375"/>
                        </a:lnTo>
                        <a:lnTo>
                          <a:pt x="1396" y="374"/>
                        </a:lnTo>
                        <a:lnTo>
                          <a:pt x="1398" y="374"/>
                        </a:lnTo>
                        <a:lnTo>
                          <a:pt x="1398" y="372"/>
                        </a:lnTo>
                        <a:lnTo>
                          <a:pt x="1399" y="372"/>
                        </a:lnTo>
                        <a:lnTo>
                          <a:pt x="1401" y="371"/>
                        </a:lnTo>
                        <a:lnTo>
                          <a:pt x="1402" y="371"/>
                        </a:lnTo>
                        <a:lnTo>
                          <a:pt x="1402" y="372"/>
                        </a:lnTo>
                        <a:lnTo>
                          <a:pt x="1404" y="372"/>
                        </a:lnTo>
                        <a:lnTo>
                          <a:pt x="1406" y="372"/>
                        </a:lnTo>
                        <a:lnTo>
                          <a:pt x="1407" y="374"/>
                        </a:lnTo>
                        <a:lnTo>
                          <a:pt x="1407" y="375"/>
                        </a:lnTo>
                        <a:lnTo>
                          <a:pt x="1409" y="375"/>
                        </a:lnTo>
                        <a:lnTo>
                          <a:pt x="1410" y="374"/>
                        </a:lnTo>
                        <a:lnTo>
                          <a:pt x="1412" y="375"/>
                        </a:lnTo>
                        <a:lnTo>
                          <a:pt x="1413" y="375"/>
                        </a:lnTo>
                        <a:lnTo>
                          <a:pt x="1415" y="375"/>
                        </a:lnTo>
                        <a:lnTo>
                          <a:pt x="1417" y="375"/>
                        </a:lnTo>
                        <a:lnTo>
                          <a:pt x="1418" y="375"/>
                        </a:lnTo>
                        <a:lnTo>
                          <a:pt x="1420" y="375"/>
                        </a:lnTo>
                        <a:lnTo>
                          <a:pt x="1421" y="375"/>
                        </a:lnTo>
                        <a:lnTo>
                          <a:pt x="1421" y="374"/>
                        </a:lnTo>
                        <a:lnTo>
                          <a:pt x="1423" y="374"/>
                        </a:lnTo>
                        <a:lnTo>
                          <a:pt x="1423" y="372"/>
                        </a:lnTo>
                        <a:lnTo>
                          <a:pt x="1425" y="372"/>
                        </a:lnTo>
                        <a:lnTo>
                          <a:pt x="1425" y="371"/>
                        </a:lnTo>
                        <a:lnTo>
                          <a:pt x="1426" y="371"/>
                        </a:lnTo>
                        <a:lnTo>
                          <a:pt x="1426" y="369"/>
                        </a:lnTo>
                        <a:lnTo>
                          <a:pt x="1428" y="369"/>
                        </a:lnTo>
                        <a:lnTo>
                          <a:pt x="1429" y="369"/>
                        </a:lnTo>
                        <a:lnTo>
                          <a:pt x="1431" y="367"/>
                        </a:lnTo>
                        <a:lnTo>
                          <a:pt x="1432" y="367"/>
                        </a:lnTo>
                        <a:lnTo>
                          <a:pt x="1434" y="367"/>
                        </a:lnTo>
                        <a:lnTo>
                          <a:pt x="1434" y="366"/>
                        </a:lnTo>
                        <a:lnTo>
                          <a:pt x="1436" y="366"/>
                        </a:lnTo>
                        <a:lnTo>
                          <a:pt x="1436" y="364"/>
                        </a:lnTo>
                        <a:lnTo>
                          <a:pt x="1437" y="364"/>
                        </a:lnTo>
                        <a:lnTo>
                          <a:pt x="1439" y="364"/>
                        </a:lnTo>
                        <a:lnTo>
                          <a:pt x="1440" y="363"/>
                        </a:lnTo>
                        <a:lnTo>
                          <a:pt x="1442" y="364"/>
                        </a:lnTo>
                        <a:lnTo>
                          <a:pt x="1442" y="363"/>
                        </a:lnTo>
                        <a:lnTo>
                          <a:pt x="1444" y="363"/>
                        </a:lnTo>
                        <a:lnTo>
                          <a:pt x="1445" y="363"/>
                        </a:lnTo>
                        <a:lnTo>
                          <a:pt x="1447" y="363"/>
                        </a:lnTo>
                        <a:lnTo>
                          <a:pt x="1447" y="361"/>
                        </a:lnTo>
                        <a:lnTo>
                          <a:pt x="1448" y="361"/>
                        </a:lnTo>
                        <a:lnTo>
                          <a:pt x="1450" y="361"/>
                        </a:lnTo>
                        <a:lnTo>
                          <a:pt x="1450" y="360"/>
                        </a:lnTo>
                        <a:lnTo>
                          <a:pt x="1451" y="360"/>
                        </a:lnTo>
                        <a:lnTo>
                          <a:pt x="1453" y="360"/>
                        </a:lnTo>
                        <a:lnTo>
                          <a:pt x="1455" y="358"/>
                        </a:lnTo>
                        <a:lnTo>
                          <a:pt x="1456" y="358"/>
                        </a:lnTo>
                        <a:lnTo>
                          <a:pt x="1458" y="358"/>
                        </a:lnTo>
                        <a:lnTo>
                          <a:pt x="1459" y="358"/>
                        </a:lnTo>
                        <a:lnTo>
                          <a:pt x="1459" y="360"/>
                        </a:lnTo>
                        <a:lnTo>
                          <a:pt x="1461" y="360"/>
                        </a:lnTo>
                        <a:lnTo>
                          <a:pt x="1461" y="358"/>
                        </a:lnTo>
                        <a:lnTo>
                          <a:pt x="1463" y="358"/>
                        </a:lnTo>
                        <a:lnTo>
                          <a:pt x="1463" y="356"/>
                        </a:lnTo>
                        <a:lnTo>
                          <a:pt x="1464" y="356"/>
                        </a:lnTo>
                        <a:lnTo>
                          <a:pt x="1464" y="355"/>
                        </a:lnTo>
                        <a:lnTo>
                          <a:pt x="1466" y="355"/>
                        </a:lnTo>
                        <a:lnTo>
                          <a:pt x="1467" y="353"/>
                        </a:lnTo>
                        <a:lnTo>
                          <a:pt x="1469" y="353"/>
                        </a:lnTo>
                        <a:lnTo>
                          <a:pt x="1470" y="353"/>
                        </a:lnTo>
                        <a:lnTo>
                          <a:pt x="1472" y="353"/>
                        </a:lnTo>
                        <a:lnTo>
                          <a:pt x="1474" y="353"/>
                        </a:lnTo>
                        <a:lnTo>
                          <a:pt x="1474" y="352"/>
                        </a:lnTo>
                        <a:lnTo>
                          <a:pt x="1472" y="352"/>
                        </a:lnTo>
                        <a:lnTo>
                          <a:pt x="1474" y="350"/>
                        </a:lnTo>
                        <a:lnTo>
                          <a:pt x="1475" y="350"/>
                        </a:lnTo>
                        <a:lnTo>
                          <a:pt x="1477" y="350"/>
                        </a:lnTo>
                        <a:lnTo>
                          <a:pt x="1478" y="350"/>
                        </a:lnTo>
                        <a:lnTo>
                          <a:pt x="1480" y="348"/>
                        </a:lnTo>
                        <a:lnTo>
                          <a:pt x="1478" y="347"/>
                        </a:lnTo>
                        <a:lnTo>
                          <a:pt x="1480" y="347"/>
                        </a:lnTo>
                        <a:lnTo>
                          <a:pt x="1480" y="345"/>
                        </a:lnTo>
                        <a:lnTo>
                          <a:pt x="1482" y="345"/>
                        </a:lnTo>
                        <a:lnTo>
                          <a:pt x="1483" y="345"/>
                        </a:lnTo>
                        <a:lnTo>
                          <a:pt x="1483" y="344"/>
                        </a:lnTo>
                        <a:lnTo>
                          <a:pt x="1483" y="342"/>
                        </a:lnTo>
                        <a:lnTo>
                          <a:pt x="1483" y="340"/>
                        </a:lnTo>
                        <a:lnTo>
                          <a:pt x="1485" y="339"/>
                        </a:lnTo>
                        <a:lnTo>
                          <a:pt x="1486" y="339"/>
                        </a:lnTo>
                        <a:lnTo>
                          <a:pt x="1486" y="337"/>
                        </a:lnTo>
                        <a:lnTo>
                          <a:pt x="1488" y="336"/>
                        </a:lnTo>
                        <a:lnTo>
                          <a:pt x="1486" y="334"/>
                        </a:lnTo>
                        <a:lnTo>
                          <a:pt x="1488" y="334"/>
                        </a:lnTo>
                        <a:lnTo>
                          <a:pt x="1489" y="334"/>
                        </a:lnTo>
                        <a:lnTo>
                          <a:pt x="1489" y="336"/>
                        </a:lnTo>
                        <a:lnTo>
                          <a:pt x="1491" y="334"/>
                        </a:lnTo>
                        <a:lnTo>
                          <a:pt x="1493" y="334"/>
                        </a:lnTo>
                        <a:lnTo>
                          <a:pt x="1494" y="334"/>
                        </a:lnTo>
                        <a:lnTo>
                          <a:pt x="1496" y="334"/>
                        </a:lnTo>
                        <a:lnTo>
                          <a:pt x="1496" y="333"/>
                        </a:lnTo>
                        <a:lnTo>
                          <a:pt x="1496" y="331"/>
                        </a:lnTo>
                        <a:lnTo>
                          <a:pt x="1496" y="329"/>
                        </a:lnTo>
                        <a:lnTo>
                          <a:pt x="1494" y="328"/>
                        </a:lnTo>
                        <a:lnTo>
                          <a:pt x="1494" y="326"/>
                        </a:lnTo>
                        <a:lnTo>
                          <a:pt x="1493" y="326"/>
                        </a:lnTo>
                        <a:lnTo>
                          <a:pt x="1494" y="325"/>
                        </a:lnTo>
                        <a:lnTo>
                          <a:pt x="1496" y="325"/>
                        </a:lnTo>
                        <a:lnTo>
                          <a:pt x="1497" y="325"/>
                        </a:lnTo>
                        <a:lnTo>
                          <a:pt x="1499" y="323"/>
                        </a:lnTo>
                        <a:lnTo>
                          <a:pt x="1501" y="325"/>
                        </a:lnTo>
                        <a:lnTo>
                          <a:pt x="1502" y="325"/>
                        </a:lnTo>
                        <a:lnTo>
                          <a:pt x="1504" y="325"/>
                        </a:lnTo>
                        <a:lnTo>
                          <a:pt x="1504" y="323"/>
                        </a:lnTo>
                        <a:lnTo>
                          <a:pt x="1505" y="323"/>
                        </a:lnTo>
                        <a:lnTo>
                          <a:pt x="1505" y="321"/>
                        </a:lnTo>
                        <a:lnTo>
                          <a:pt x="1507" y="321"/>
                        </a:lnTo>
                        <a:lnTo>
                          <a:pt x="1507" y="320"/>
                        </a:lnTo>
                        <a:lnTo>
                          <a:pt x="1508" y="321"/>
                        </a:lnTo>
                        <a:lnTo>
                          <a:pt x="1510" y="323"/>
                        </a:lnTo>
                        <a:lnTo>
                          <a:pt x="1510" y="325"/>
                        </a:lnTo>
                        <a:lnTo>
                          <a:pt x="1512" y="326"/>
                        </a:lnTo>
                        <a:lnTo>
                          <a:pt x="1513" y="328"/>
                        </a:lnTo>
                        <a:lnTo>
                          <a:pt x="1513" y="326"/>
                        </a:lnTo>
                        <a:lnTo>
                          <a:pt x="1515" y="326"/>
                        </a:lnTo>
                        <a:lnTo>
                          <a:pt x="1515" y="325"/>
                        </a:lnTo>
                        <a:lnTo>
                          <a:pt x="1516" y="325"/>
                        </a:lnTo>
                        <a:lnTo>
                          <a:pt x="1516" y="323"/>
                        </a:lnTo>
                        <a:lnTo>
                          <a:pt x="1518" y="325"/>
                        </a:lnTo>
                        <a:lnTo>
                          <a:pt x="1520" y="325"/>
                        </a:lnTo>
                        <a:lnTo>
                          <a:pt x="1521" y="325"/>
                        </a:lnTo>
                        <a:lnTo>
                          <a:pt x="1521" y="326"/>
                        </a:lnTo>
                        <a:lnTo>
                          <a:pt x="1521" y="328"/>
                        </a:lnTo>
                        <a:lnTo>
                          <a:pt x="1523" y="328"/>
                        </a:lnTo>
                        <a:lnTo>
                          <a:pt x="1523" y="329"/>
                        </a:lnTo>
                        <a:lnTo>
                          <a:pt x="1524" y="331"/>
                        </a:lnTo>
                        <a:lnTo>
                          <a:pt x="1526" y="331"/>
                        </a:lnTo>
                        <a:lnTo>
                          <a:pt x="1528" y="329"/>
                        </a:lnTo>
                        <a:lnTo>
                          <a:pt x="1528" y="331"/>
                        </a:lnTo>
                        <a:lnTo>
                          <a:pt x="1529" y="329"/>
                        </a:lnTo>
                        <a:lnTo>
                          <a:pt x="1531" y="329"/>
                        </a:lnTo>
                        <a:lnTo>
                          <a:pt x="1532" y="331"/>
                        </a:lnTo>
                        <a:lnTo>
                          <a:pt x="1531" y="331"/>
                        </a:lnTo>
                        <a:lnTo>
                          <a:pt x="1531" y="333"/>
                        </a:lnTo>
                        <a:lnTo>
                          <a:pt x="1529" y="334"/>
                        </a:lnTo>
                        <a:lnTo>
                          <a:pt x="1528" y="334"/>
                        </a:lnTo>
                        <a:lnTo>
                          <a:pt x="1528" y="336"/>
                        </a:lnTo>
                        <a:lnTo>
                          <a:pt x="1526" y="336"/>
                        </a:lnTo>
                        <a:lnTo>
                          <a:pt x="1526" y="337"/>
                        </a:lnTo>
                        <a:lnTo>
                          <a:pt x="1526" y="339"/>
                        </a:lnTo>
                        <a:lnTo>
                          <a:pt x="1528" y="339"/>
                        </a:lnTo>
                        <a:lnTo>
                          <a:pt x="1528" y="340"/>
                        </a:lnTo>
                        <a:lnTo>
                          <a:pt x="1528" y="342"/>
                        </a:lnTo>
                        <a:lnTo>
                          <a:pt x="1528" y="344"/>
                        </a:lnTo>
                        <a:lnTo>
                          <a:pt x="1529" y="344"/>
                        </a:lnTo>
                        <a:lnTo>
                          <a:pt x="1529" y="345"/>
                        </a:lnTo>
                        <a:lnTo>
                          <a:pt x="1531" y="345"/>
                        </a:lnTo>
                        <a:lnTo>
                          <a:pt x="1532" y="344"/>
                        </a:lnTo>
                        <a:lnTo>
                          <a:pt x="1534" y="345"/>
                        </a:lnTo>
                        <a:lnTo>
                          <a:pt x="1535" y="345"/>
                        </a:lnTo>
                        <a:lnTo>
                          <a:pt x="1537" y="344"/>
                        </a:lnTo>
                        <a:lnTo>
                          <a:pt x="1539" y="345"/>
                        </a:lnTo>
                        <a:lnTo>
                          <a:pt x="1543" y="347"/>
                        </a:lnTo>
                        <a:lnTo>
                          <a:pt x="1543" y="350"/>
                        </a:lnTo>
                        <a:lnTo>
                          <a:pt x="1545" y="352"/>
                        </a:lnTo>
                        <a:lnTo>
                          <a:pt x="1547" y="352"/>
                        </a:lnTo>
                        <a:lnTo>
                          <a:pt x="1547" y="353"/>
                        </a:lnTo>
                        <a:lnTo>
                          <a:pt x="1548" y="355"/>
                        </a:lnTo>
                        <a:lnTo>
                          <a:pt x="1548" y="353"/>
                        </a:lnTo>
                        <a:lnTo>
                          <a:pt x="1548" y="352"/>
                        </a:lnTo>
                        <a:lnTo>
                          <a:pt x="1548" y="350"/>
                        </a:lnTo>
                        <a:lnTo>
                          <a:pt x="1550" y="350"/>
                        </a:lnTo>
                        <a:lnTo>
                          <a:pt x="1551" y="350"/>
                        </a:lnTo>
                        <a:lnTo>
                          <a:pt x="1551" y="348"/>
                        </a:lnTo>
                        <a:lnTo>
                          <a:pt x="1553" y="348"/>
                        </a:lnTo>
                        <a:lnTo>
                          <a:pt x="1553" y="347"/>
                        </a:lnTo>
                        <a:lnTo>
                          <a:pt x="1553" y="345"/>
                        </a:lnTo>
                        <a:lnTo>
                          <a:pt x="1554" y="345"/>
                        </a:lnTo>
                        <a:lnTo>
                          <a:pt x="1556" y="345"/>
                        </a:lnTo>
                        <a:lnTo>
                          <a:pt x="1558" y="345"/>
                        </a:lnTo>
                        <a:lnTo>
                          <a:pt x="1559" y="344"/>
                        </a:lnTo>
                        <a:lnTo>
                          <a:pt x="1561" y="342"/>
                        </a:lnTo>
                        <a:lnTo>
                          <a:pt x="1562" y="340"/>
                        </a:lnTo>
                        <a:lnTo>
                          <a:pt x="1566" y="340"/>
                        </a:lnTo>
                        <a:lnTo>
                          <a:pt x="1567" y="340"/>
                        </a:lnTo>
                        <a:lnTo>
                          <a:pt x="1569" y="342"/>
                        </a:lnTo>
                        <a:lnTo>
                          <a:pt x="1570" y="342"/>
                        </a:lnTo>
                        <a:lnTo>
                          <a:pt x="1572" y="342"/>
                        </a:lnTo>
                        <a:lnTo>
                          <a:pt x="1573" y="344"/>
                        </a:lnTo>
                        <a:lnTo>
                          <a:pt x="1575" y="345"/>
                        </a:lnTo>
                        <a:lnTo>
                          <a:pt x="1577" y="345"/>
                        </a:lnTo>
                        <a:lnTo>
                          <a:pt x="1577" y="344"/>
                        </a:lnTo>
                        <a:lnTo>
                          <a:pt x="1575" y="344"/>
                        </a:lnTo>
                        <a:lnTo>
                          <a:pt x="1575" y="342"/>
                        </a:lnTo>
                        <a:lnTo>
                          <a:pt x="1575" y="340"/>
                        </a:lnTo>
                        <a:lnTo>
                          <a:pt x="1573" y="339"/>
                        </a:lnTo>
                        <a:lnTo>
                          <a:pt x="1573" y="337"/>
                        </a:lnTo>
                        <a:lnTo>
                          <a:pt x="1575" y="337"/>
                        </a:lnTo>
                        <a:lnTo>
                          <a:pt x="1577" y="337"/>
                        </a:lnTo>
                        <a:lnTo>
                          <a:pt x="1580" y="337"/>
                        </a:lnTo>
                        <a:lnTo>
                          <a:pt x="1580" y="339"/>
                        </a:lnTo>
                        <a:lnTo>
                          <a:pt x="1581" y="340"/>
                        </a:lnTo>
                        <a:lnTo>
                          <a:pt x="1583" y="342"/>
                        </a:lnTo>
                        <a:lnTo>
                          <a:pt x="1585" y="342"/>
                        </a:lnTo>
                        <a:lnTo>
                          <a:pt x="1586" y="344"/>
                        </a:lnTo>
                        <a:lnTo>
                          <a:pt x="1588" y="344"/>
                        </a:lnTo>
                        <a:lnTo>
                          <a:pt x="1588" y="347"/>
                        </a:lnTo>
                        <a:lnTo>
                          <a:pt x="1589" y="348"/>
                        </a:lnTo>
                        <a:lnTo>
                          <a:pt x="1589" y="350"/>
                        </a:lnTo>
                        <a:lnTo>
                          <a:pt x="1591" y="352"/>
                        </a:lnTo>
                        <a:lnTo>
                          <a:pt x="1592" y="352"/>
                        </a:lnTo>
                        <a:lnTo>
                          <a:pt x="1592" y="353"/>
                        </a:lnTo>
                        <a:lnTo>
                          <a:pt x="1594" y="353"/>
                        </a:lnTo>
                        <a:lnTo>
                          <a:pt x="1596" y="353"/>
                        </a:lnTo>
                        <a:lnTo>
                          <a:pt x="1597" y="355"/>
                        </a:lnTo>
                        <a:lnTo>
                          <a:pt x="1599" y="355"/>
                        </a:lnTo>
                        <a:lnTo>
                          <a:pt x="1599" y="356"/>
                        </a:lnTo>
                        <a:lnTo>
                          <a:pt x="1600" y="358"/>
                        </a:lnTo>
                        <a:lnTo>
                          <a:pt x="1602" y="356"/>
                        </a:lnTo>
                        <a:lnTo>
                          <a:pt x="1604" y="356"/>
                        </a:lnTo>
                        <a:lnTo>
                          <a:pt x="1605" y="356"/>
                        </a:lnTo>
                        <a:lnTo>
                          <a:pt x="1607" y="358"/>
                        </a:lnTo>
                        <a:lnTo>
                          <a:pt x="1608" y="356"/>
                        </a:lnTo>
                        <a:lnTo>
                          <a:pt x="1608" y="355"/>
                        </a:lnTo>
                        <a:lnTo>
                          <a:pt x="1610" y="355"/>
                        </a:lnTo>
                        <a:lnTo>
                          <a:pt x="1610" y="353"/>
                        </a:lnTo>
                        <a:lnTo>
                          <a:pt x="1608" y="352"/>
                        </a:lnTo>
                        <a:lnTo>
                          <a:pt x="1607" y="350"/>
                        </a:lnTo>
                        <a:lnTo>
                          <a:pt x="1607" y="348"/>
                        </a:lnTo>
                        <a:lnTo>
                          <a:pt x="1605" y="348"/>
                        </a:lnTo>
                        <a:lnTo>
                          <a:pt x="1605" y="347"/>
                        </a:lnTo>
                        <a:lnTo>
                          <a:pt x="1605" y="345"/>
                        </a:lnTo>
                        <a:lnTo>
                          <a:pt x="1607" y="344"/>
                        </a:lnTo>
                        <a:lnTo>
                          <a:pt x="1608" y="344"/>
                        </a:lnTo>
                        <a:lnTo>
                          <a:pt x="1610" y="344"/>
                        </a:lnTo>
                        <a:lnTo>
                          <a:pt x="1611" y="344"/>
                        </a:lnTo>
                        <a:lnTo>
                          <a:pt x="1613" y="345"/>
                        </a:lnTo>
                        <a:lnTo>
                          <a:pt x="1615" y="345"/>
                        </a:lnTo>
                        <a:lnTo>
                          <a:pt x="1616" y="347"/>
                        </a:lnTo>
                        <a:lnTo>
                          <a:pt x="1616" y="348"/>
                        </a:lnTo>
                        <a:lnTo>
                          <a:pt x="1618" y="350"/>
                        </a:lnTo>
                        <a:lnTo>
                          <a:pt x="1619" y="350"/>
                        </a:lnTo>
                        <a:lnTo>
                          <a:pt x="1621" y="350"/>
                        </a:lnTo>
                        <a:lnTo>
                          <a:pt x="1623" y="350"/>
                        </a:lnTo>
                        <a:lnTo>
                          <a:pt x="1624" y="350"/>
                        </a:lnTo>
                        <a:lnTo>
                          <a:pt x="1626" y="348"/>
                        </a:lnTo>
                        <a:lnTo>
                          <a:pt x="1627" y="347"/>
                        </a:lnTo>
                        <a:lnTo>
                          <a:pt x="1629" y="347"/>
                        </a:lnTo>
                        <a:lnTo>
                          <a:pt x="1629" y="348"/>
                        </a:lnTo>
                        <a:lnTo>
                          <a:pt x="1630" y="348"/>
                        </a:lnTo>
                        <a:lnTo>
                          <a:pt x="1630" y="350"/>
                        </a:lnTo>
                        <a:lnTo>
                          <a:pt x="1632" y="350"/>
                        </a:lnTo>
                        <a:lnTo>
                          <a:pt x="1632" y="348"/>
                        </a:lnTo>
                        <a:lnTo>
                          <a:pt x="1634" y="350"/>
                        </a:lnTo>
                        <a:lnTo>
                          <a:pt x="1635" y="350"/>
                        </a:lnTo>
                        <a:lnTo>
                          <a:pt x="1637" y="352"/>
                        </a:lnTo>
                        <a:lnTo>
                          <a:pt x="1637" y="353"/>
                        </a:lnTo>
                        <a:lnTo>
                          <a:pt x="1638" y="355"/>
                        </a:lnTo>
                        <a:lnTo>
                          <a:pt x="1638" y="356"/>
                        </a:lnTo>
                        <a:lnTo>
                          <a:pt x="1640" y="358"/>
                        </a:lnTo>
                        <a:lnTo>
                          <a:pt x="1642" y="360"/>
                        </a:lnTo>
                        <a:lnTo>
                          <a:pt x="1643" y="363"/>
                        </a:lnTo>
                        <a:lnTo>
                          <a:pt x="1642" y="367"/>
                        </a:lnTo>
                        <a:lnTo>
                          <a:pt x="1642" y="371"/>
                        </a:lnTo>
                        <a:lnTo>
                          <a:pt x="1642" y="372"/>
                        </a:lnTo>
                        <a:lnTo>
                          <a:pt x="1640" y="374"/>
                        </a:lnTo>
                        <a:lnTo>
                          <a:pt x="1640" y="375"/>
                        </a:lnTo>
                        <a:lnTo>
                          <a:pt x="1637" y="377"/>
                        </a:lnTo>
                        <a:lnTo>
                          <a:pt x="1637" y="379"/>
                        </a:lnTo>
                        <a:lnTo>
                          <a:pt x="1635" y="380"/>
                        </a:lnTo>
                        <a:lnTo>
                          <a:pt x="1634" y="382"/>
                        </a:lnTo>
                        <a:lnTo>
                          <a:pt x="1629" y="385"/>
                        </a:lnTo>
                        <a:lnTo>
                          <a:pt x="1627" y="386"/>
                        </a:lnTo>
                        <a:lnTo>
                          <a:pt x="1627" y="388"/>
                        </a:lnTo>
                        <a:lnTo>
                          <a:pt x="1627" y="390"/>
                        </a:lnTo>
                        <a:lnTo>
                          <a:pt x="1627" y="391"/>
                        </a:lnTo>
                        <a:lnTo>
                          <a:pt x="1629" y="391"/>
                        </a:lnTo>
                        <a:lnTo>
                          <a:pt x="1629" y="393"/>
                        </a:lnTo>
                        <a:lnTo>
                          <a:pt x="1630" y="393"/>
                        </a:lnTo>
                        <a:lnTo>
                          <a:pt x="1632" y="393"/>
                        </a:lnTo>
                        <a:lnTo>
                          <a:pt x="1634" y="393"/>
                        </a:lnTo>
                        <a:lnTo>
                          <a:pt x="1637" y="393"/>
                        </a:lnTo>
                        <a:lnTo>
                          <a:pt x="1638" y="393"/>
                        </a:lnTo>
                        <a:lnTo>
                          <a:pt x="1640" y="394"/>
                        </a:lnTo>
                        <a:lnTo>
                          <a:pt x="1642" y="396"/>
                        </a:lnTo>
                        <a:lnTo>
                          <a:pt x="1643" y="399"/>
                        </a:lnTo>
                        <a:lnTo>
                          <a:pt x="1642" y="401"/>
                        </a:lnTo>
                        <a:lnTo>
                          <a:pt x="1642" y="402"/>
                        </a:lnTo>
                        <a:lnTo>
                          <a:pt x="1642" y="405"/>
                        </a:lnTo>
                        <a:lnTo>
                          <a:pt x="1642" y="407"/>
                        </a:lnTo>
                        <a:lnTo>
                          <a:pt x="1642" y="409"/>
                        </a:lnTo>
                        <a:lnTo>
                          <a:pt x="1642" y="412"/>
                        </a:lnTo>
                        <a:lnTo>
                          <a:pt x="1642" y="413"/>
                        </a:lnTo>
                        <a:lnTo>
                          <a:pt x="1643" y="417"/>
                        </a:lnTo>
                        <a:lnTo>
                          <a:pt x="1643" y="420"/>
                        </a:lnTo>
                        <a:lnTo>
                          <a:pt x="1643" y="423"/>
                        </a:lnTo>
                        <a:lnTo>
                          <a:pt x="1643" y="424"/>
                        </a:lnTo>
                        <a:lnTo>
                          <a:pt x="1643" y="428"/>
                        </a:lnTo>
                        <a:lnTo>
                          <a:pt x="1643" y="429"/>
                        </a:lnTo>
                        <a:lnTo>
                          <a:pt x="1643" y="431"/>
                        </a:lnTo>
                        <a:lnTo>
                          <a:pt x="1643" y="436"/>
                        </a:lnTo>
                        <a:lnTo>
                          <a:pt x="1642" y="437"/>
                        </a:lnTo>
                        <a:lnTo>
                          <a:pt x="1642" y="440"/>
                        </a:lnTo>
                        <a:lnTo>
                          <a:pt x="1640" y="442"/>
                        </a:lnTo>
                        <a:lnTo>
                          <a:pt x="1640" y="443"/>
                        </a:lnTo>
                        <a:lnTo>
                          <a:pt x="1640" y="445"/>
                        </a:lnTo>
                        <a:lnTo>
                          <a:pt x="1640" y="447"/>
                        </a:lnTo>
                        <a:lnTo>
                          <a:pt x="1640" y="448"/>
                        </a:lnTo>
                        <a:lnTo>
                          <a:pt x="1638" y="451"/>
                        </a:lnTo>
                        <a:lnTo>
                          <a:pt x="1638" y="453"/>
                        </a:lnTo>
                        <a:lnTo>
                          <a:pt x="1638" y="455"/>
                        </a:lnTo>
                        <a:lnTo>
                          <a:pt x="1638" y="456"/>
                        </a:lnTo>
                        <a:lnTo>
                          <a:pt x="1637" y="458"/>
                        </a:lnTo>
                        <a:lnTo>
                          <a:pt x="1637" y="461"/>
                        </a:lnTo>
                        <a:lnTo>
                          <a:pt x="1635" y="462"/>
                        </a:lnTo>
                        <a:lnTo>
                          <a:pt x="1635" y="464"/>
                        </a:lnTo>
                        <a:lnTo>
                          <a:pt x="1635" y="469"/>
                        </a:lnTo>
                        <a:lnTo>
                          <a:pt x="1635" y="472"/>
                        </a:lnTo>
                        <a:lnTo>
                          <a:pt x="1635" y="474"/>
                        </a:lnTo>
                        <a:lnTo>
                          <a:pt x="1637" y="478"/>
                        </a:lnTo>
                        <a:lnTo>
                          <a:pt x="1637" y="483"/>
                        </a:lnTo>
                        <a:lnTo>
                          <a:pt x="1637" y="486"/>
                        </a:lnTo>
                        <a:lnTo>
                          <a:pt x="1638" y="491"/>
                        </a:lnTo>
                        <a:lnTo>
                          <a:pt x="1637" y="491"/>
                        </a:lnTo>
                        <a:lnTo>
                          <a:pt x="1637" y="493"/>
                        </a:lnTo>
                        <a:lnTo>
                          <a:pt x="1637" y="494"/>
                        </a:lnTo>
                        <a:lnTo>
                          <a:pt x="1635" y="496"/>
                        </a:lnTo>
                        <a:lnTo>
                          <a:pt x="1634" y="497"/>
                        </a:lnTo>
                        <a:lnTo>
                          <a:pt x="1632" y="497"/>
                        </a:lnTo>
                        <a:lnTo>
                          <a:pt x="1632" y="499"/>
                        </a:lnTo>
                        <a:lnTo>
                          <a:pt x="1632" y="497"/>
                        </a:lnTo>
                        <a:lnTo>
                          <a:pt x="1630" y="497"/>
                        </a:lnTo>
                        <a:lnTo>
                          <a:pt x="1629" y="499"/>
                        </a:lnTo>
                        <a:lnTo>
                          <a:pt x="1626" y="499"/>
                        </a:lnTo>
                        <a:lnTo>
                          <a:pt x="1623" y="497"/>
                        </a:lnTo>
                        <a:lnTo>
                          <a:pt x="1621" y="497"/>
                        </a:lnTo>
                        <a:lnTo>
                          <a:pt x="1619" y="497"/>
                        </a:lnTo>
                        <a:lnTo>
                          <a:pt x="1616" y="497"/>
                        </a:lnTo>
                        <a:lnTo>
                          <a:pt x="1613" y="497"/>
                        </a:lnTo>
                        <a:lnTo>
                          <a:pt x="1611" y="496"/>
                        </a:lnTo>
                        <a:lnTo>
                          <a:pt x="1610" y="496"/>
                        </a:lnTo>
                        <a:lnTo>
                          <a:pt x="1607" y="494"/>
                        </a:lnTo>
                        <a:lnTo>
                          <a:pt x="1605" y="494"/>
                        </a:lnTo>
                        <a:lnTo>
                          <a:pt x="1602" y="493"/>
                        </a:lnTo>
                        <a:lnTo>
                          <a:pt x="1599" y="491"/>
                        </a:lnTo>
                        <a:lnTo>
                          <a:pt x="1596" y="489"/>
                        </a:lnTo>
                        <a:lnTo>
                          <a:pt x="1592" y="488"/>
                        </a:lnTo>
                        <a:lnTo>
                          <a:pt x="1591" y="488"/>
                        </a:lnTo>
                        <a:lnTo>
                          <a:pt x="1589" y="486"/>
                        </a:lnTo>
                        <a:lnTo>
                          <a:pt x="1588" y="485"/>
                        </a:lnTo>
                        <a:lnTo>
                          <a:pt x="1586" y="485"/>
                        </a:lnTo>
                        <a:lnTo>
                          <a:pt x="1583" y="483"/>
                        </a:lnTo>
                        <a:lnTo>
                          <a:pt x="1583" y="481"/>
                        </a:lnTo>
                        <a:lnTo>
                          <a:pt x="1581" y="481"/>
                        </a:lnTo>
                        <a:lnTo>
                          <a:pt x="1578" y="481"/>
                        </a:lnTo>
                        <a:lnTo>
                          <a:pt x="1575" y="480"/>
                        </a:lnTo>
                        <a:lnTo>
                          <a:pt x="1573" y="478"/>
                        </a:lnTo>
                        <a:lnTo>
                          <a:pt x="1572" y="478"/>
                        </a:lnTo>
                        <a:lnTo>
                          <a:pt x="1570" y="477"/>
                        </a:lnTo>
                        <a:lnTo>
                          <a:pt x="1564" y="474"/>
                        </a:lnTo>
                        <a:lnTo>
                          <a:pt x="1559" y="472"/>
                        </a:lnTo>
                        <a:lnTo>
                          <a:pt x="1554" y="470"/>
                        </a:lnTo>
                        <a:lnTo>
                          <a:pt x="1550" y="469"/>
                        </a:lnTo>
                        <a:lnTo>
                          <a:pt x="1548" y="467"/>
                        </a:lnTo>
                        <a:lnTo>
                          <a:pt x="1545" y="466"/>
                        </a:lnTo>
                        <a:lnTo>
                          <a:pt x="1543" y="464"/>
                        </a:lnTo>
                        <a:lnTo>
                          <a:pt x="1542" y="462"/>
                        </a:lnTo>
                        <a:lnTo>
                          <a:pt x="1539" y="461"/>
                        </a:lnTo>
                        <a:lnTo>
                          <a:pt x="1539" y="462"/>
                        </a:lnTo>
                        <a:lnTo>
                          <a:pt x="1539" y="461"/>
                        </a:lnTo>
                        <a:lnTo>
                          <a:pt x="1537" y="461"/>
                        </a:lnTo>
                        <a:lnTo>
                          <a:pt x="1535" y="461"/>
                        </a:lnTo>
                        <a:lnTo>
                          <a:pt x="1535" y="459"/>
                        </a:lnTo>
                        <a:lnTo>
                          <a:pt x="1534" y="459"/>
                        </a:lnTo>
                        <a:lnTo>
                          <a:pt x="1532" y="459"/>
                        </a:lnTo>
                        <a:lnTo>
                          <a:pt x="1531" y="459"/>
                        </a:lnTo>
                        <a:lnTo>
                          <a:pt x="1529" y="459"/>
                        </a:lnTo>
                        <a:lnTo>
                          <a:pt x="1528" y="458"/>
                        </a:lnTo>
                        <a:lnTo>
                          <a:pt x="1526" y="458"/>
                        </a:lnTo>
                        <a:lnTo>
                          <a:pt x="1524" y="458"/>
                        </a:lnTo>
                        <a:lnTo>
                          <a:pt x="1523" y="458"/>
                        </a:lnTo>
                        <a:lnTo>
                          <a:pt x="1521" y="458"/>
                        </a:lnTo>
                        <a:lnTo>
                          <a:pt x="1520" y="458"/>
                        </a:lnTo>
                        <a:lnTo>
                          <a:pt x="1518" y="458"/>
                        </a:lnTo>
                        <a:lnTo>
                          <a:pt x="1516" y="459"/>
                        </a:lnTo>
                        <a:lnTo>
                          <a:pt x="1515" y="459"/>
                        </a:lnTo>
                        <a:lnTo>
                          <a:pt x="1513" y="461"/>
                        </a:lnTo>
                        <a:lnTo>
                          <a:pt x="1512" y="461"/>
                        </a:lnTo>
                        <a:lnTo>
                          <a:pt x="1512" y="462"/>
                        </a:lnTo>
                        <a:lnTo>
                          <a:pt x="1510" y="462"/>
                        </a:lnTo>
                        <a:lnTo>
                          <a:pt x="1508" y="464"/>
                        </a:lnTo>
                        <a:lnTo>
                          <a:pt x="1507" y="466"/>
                        </a:lnTo>
                        <a:lnTo>
                          <a:pt x="1507" y="467"/>
                        </a:lnTo>
                        <a:lnTo>
                          <a:pt x="1505" y="467"/>
                        </a:lnTo>
                        <a:lnTo>
                          <a:pt x="1505" y="469"/>
                        </a:lnTo>
                        <a:lnTo>
                          <a:pt x="1504" y="469"/>
                        </a:lnTo>
                        <a:lnTo>
                          <a:pt x="1502" y="469"/>
                        </a:lnTo>
                        <a:lnTo>
                          <a:pt x="1501" y="469"/>
                        </a:lnTo>
                        <a:lnTo>
                          <a:pt x="1499" y="470"/>
                        </a:lnTo>
                        <a:lnTo>
                          <a:pt x="1497" y="470"/>
                        </a:lnTo>
                        <a:lnTo>
                          <a:pt x="1496" y="470"/>
                        </a:lnTo>
                        <a:lnTo>
                          <a:pt x="1494" y="470"/>
                        </a:lnTo>
                        <a:lnTo>
                          <a:pt x="1493" y="470"/>
                        </a:lnTo>
                        <a:lnTo>
                          <a:pt x="1491" y="470"/>
                        </a:lnTo>
                        <a:lnTo>
                          <a:pt x="1489" y="470"/>
                        </a:lnTo>
                        <a:lnTo>
                          <a:pt x="1488" y="470"/>
                        </a:lnTo>
                        <a:lnTo>
                          <a:pt x="1486" y="470"/>
                        </a:lnTo>
                        <a:lnTo>
                          <a:pt x="1485" y="470"/>
                        </a:lnTo>
                        <a:lnTo>
                          <a:pt x="1483" y="470"/>
                        </a:lnTo>
                        <a:lnTo>
                          <a:pt x="1482" y="472"/>
                        </a:lnTo>
                        <a:lnTo>
                          <a:pt x="1480" y="472"/>
                        </a:lnTo>
                        <a:lnTo>
                          <a:pt x="1478" y="474"/>
                        </a:lnTo>
                        <a:lnTo>
                          <a:pt x="1477" y="474"/>
                        </a:lnTo>
                        <a:lnTo>
                          <a:pt x="1475" y="474"/>
                        </a:lnTo>
                        <a:lnTo>
                          <a:pt x="1474" y="474"/>
                        </a:lnTo>
                        <a:lnTo>
                          <a:pt x="1474" y="475"/>
                        </a:lnTo>
                        <a:lnTo>
                          <a:pt x="1472" y="475"/>
                        </a:lnTo>
                        <a:lnTo>
                          <a:pt x="1472" y="477"/>
                        </a:lnTo>
                        <a:lnTo>
                          <a:pt x="1470" y="477"/>
                        </a:lnTo>
                        <a:lnTo>
                          <a:pt x="1469" y="477"/>
                        </a:lnTo>
                        <a:lnTo>
                          <a:pt x="1469" y="475"/>
                        </a:lnTo>
                        <a:lnTo>
                          <a:pt x="1467" y="475"/>
                        </a:lnTo>
                        <a:lnTo>
                          <a:pt x="1467" y="474"/>
                        </a:lnTo>
                        <a:lnTo>
                          <a:pt x="1466" y="472"/>
                        </a:lnTo>
                        <a:lnTo>
                          <a:pt x="1466" y="470"/>
                        </a:lnTo>
                        <a:lnTo>
                          <a:pt x="1464" y="470"/>
                        </a:lnTo>
                        <a:lnTo>
                          <a:pt x="1464" y="469"/>
                        </a:lnTo>
                        <a:lnTo>
                          <a:pt x="1464" y="467"/>
                        </a:lnTo>
                        <a:lnTo>
                          <a:pt x="1463" y="467"/>
                        </a:lnTo>
                        <a:lnTo>
                          <a:pt x="1463" y="466"/>
                        </a:lnTo>
                        <a:lnTo>
                          <a:pt x="1461" y="466"/>
                        </a:lnTo>
                        <a:lnTo>
                          <a:pt x="1461" y="464"/>
                        </a:lnTo>
                        <a:lnTo>
                          <a:pt x="1459" y="464"/>
                        </a:lnTo>
                        <a:lnTo>
                          <a:pt x="1458" y="462"/>
                        </a:lnTo>
                        <a:lnTo>
                          <a:pt x="1458" y="461"/>
                        </a:lnTo>
                        <a:lnTo>
                          <a:pt x="1456" y="461"/>
                        </a:lnTo>
                        <a:lnTo>
                          <a:pt x="1456" y="459"/>
                        </a:lnTo>
                        <a:lnTo>
                          <a:pt x="1455" y="459"/>
                        </a:lnTo>
                        <a:lnTo>
                          <a:pt x="1455" y="458"/>
                        </a:lnTo>
                        <a:lnTo>
                          <a:pt x="1453" y="458"/>
                        </a:lnTo>
                        <a:lnTo>
                          <a:pt x="1451" y="456"/>
                        </a:lnTo>
                        <a:lnTo>
                          <a:pt x="1450" y="456"/>
                        </a:lnTo>
                        <a:lnTo>
                          <a:pt x="1450" y="455"/>
                        </a:lnTo>
                        <a:lnTo>
                          <a:pt x="1448" y="456"/>
                        </a:lnTo>
                        <a:lnTo>
                          <a:pt x="1447" y="458"/>
                        </a:lnTo>
                        <a:lnTo>
                          <a:pt x="1445" y="458"/>
                        </a:lnTo>
                        <a:lnTo>
                          <a:pt x="1444" y="459"/>
                        </a:lnTo>
                        <a:lnTo>
                          <a:pt x="1442" y="459"/>
                        </a:lnTo>
                        <a:lnTo>
                          <a:pt x="1442" y="461"/>
                        </a:lnTo>
                        <a:lnTo>
                          <a:pt x="1440" y="461"/>
                        </a:lnTo>
                        <a:lnTo>
                          <a:pt x="1439" y="462"/>
                        </a:lnTo>
                        <a:lnTo>
                          <a:pt x="1437" y="462"/>
                        </a:lnTo>
                        <a:lnTo>
                          <a:pt x="1436" y="462"/>
                        </a:lnTo>
                        <a:lnTo>
                          <a:pt x="1434" y="462"/>
                        </a:lnTo>
                        <a:lnTo>
                          <a:pt x="1432" y="462"/>
                        </a:lnTo>
                        <a:lnTo>
                          <a:pt x="1431" y="462"/>
                        </a:lnTo>
                        <a:lnTo>
                          <a:pt x="1429" y="462"/>
                        </a:lnTo>
                        <a:lnTo>
                          <a:pt x="1428" y="462"/>
                        </a:lnTo>
                        <a:lnTo>
                          <a:pt x="1426" y="462"/>
                        </a:lnTo>
                        <a:lnTo>
                          <a:pt x="1425" y="461"/>
                        </a:lnTo>
                        <a:lnTo>
                          <a:pt x="1423" y="461"/>
                        </a:lnTo>
                        <a:lnTo>
                          <a:pt x="1421" y="462"/>
                        </a:lnTo>
                        <a:lnTo>
                          <a:pt x="1420" y="462"/>
                        </a:lnTo>
                        <a:lnTo>
                          <a:pt x="1418" y="462"/>
                        </a:lnTo>
                        <a:lnTo>
                          <a:pt x="1417" y="462"/>
                        </a:lnTo>
                        <a:lnTo>
                          <a:pt x="1415" y="464"/>
                        </a:lnTo>
                        <a:lnTo>
                          <a:pt x="1413" y="464"/>
                        </a:lnTo>
                        <a:lnTo>
                          <a:pt x="1412" y="464"/>
                        </a:lnTo>
                        <a:lnTo>
                          <a:pt x="1412" y="466"/>
                        </a:lnTo>
                        <a:lnTo>
                          <a:pt x="1410" y="466"/>
                        </a:lnTo>
                        <a:lnTo>
                          <a:pt x="1409" y="466"/>
                        </a:lnTo>
                        <a:lnTo>
                          <a:pt x="1407" y="466"/>
                        </a:lnTo>
                        <a:lnTo>
                          <a:pt x="1406" y="467"/>
                        </a:lnTo>
                        <a:lnTo>
                          <a:pt x="1404" y="469"/>
                        </a:lnTo>
                        <a:lnTo>
                          <a:pt x="1402" y="469"/>
                        </a:lnTo>
                        <a:lnTo>
                          <a:pt x="1402" y="470"/>
                        </a:lnTo>
                        <a:lnTo>
                          <a:pt x="1401" y="470"/>
                        </a:lnTo>
                        <a:lnTo>
                          <a:pt x="1401" y="472"/>
                        </a:lnTo>
                        <a:lnTo>
                          <a:pt x="1399" y="474"/>
                        </a:lnTo>
                        <a:lnTo>
                          <a:pt x="1399" y="475"/>
                        </a:lnTo>
                        <a:lnTo>
                          <a:pt x="1398" y="477"/>
                        </a:lnTo>
                        <a:lnTo>
                          <a:pt x="1398" y="478"/>
                        </a:lnTo>
                        <a:lnTo>
                          <a:pt x="1396" y="480"/>
                        </a:lnTo>
                        <a:lnTo>
                          <a:pt x="1394" y="481"/>
                        </a:lnTo>
                        <a:lnTo>
                          <a:pt x="1394" y="483"/>
                        </a:lnTo>
                        <a:lnTo>
                          <a:pt x="1393" y="485"/>
                        </a:lnTo>
                        <a:lnTo>
                          <a:pt x="1393" y="486"/>
                        </a:lnTo>
                        <a:lnTo>
                          <a:pt x="1391" y="486"/>
                        </a:lnTo>
                        <a:lnTo>
                          <a:pt x="1391" y="488"/>
                        </a:lnTo>
                        <a:lnTo>
                          <a:pt x="1391" y="489"/>
                        </a:lnTo>
                        <a:lnTo>
                          <a:pt x="1390" y="489"/>
                        </a:lnTo>
                        <a:lnTo>
                          <a:pt x="1390" y="491"/>
                        </a:lnTo>
                        <a:lnTo>
                          <a:pt x="1390" y="493"/>
                        </a:lnTo>
                        <a:lnTo>
                          <a:pt x="1388" y="493"/>
                        </a:lnTo>
                        <a:lnTo>
                          <a:pt x="1388" y="494"/>
                        </a:lnTo>
                        <a:lnTo>
                          <a:pt x="1388" y="496"/>
                        </a:lnTo>
                        <a:lnTo>
                          <a:pt x="1387" y="497"/>
                        </a:lnTo>
                        <a:lnTo>
                          <a:pt x="1385" y="499"/>
                        </a:lnTo>
                        <a:lnTo>
                          <a:pt x="1385" y="500"/>
                        </a:lnTo>
                        <a:lnTo>
                          <a:pt x="1383" y="500"/>
                        </a:lnTo>
                        <a:lnTo>
                          <a:pt x="1383" y="502"/>
                        </a:lnTo>
                        <a:lnTo>
                          <a:pt x="1382" y="502"/>
                        </a:lnTo>
                        <a:lnTo>
                          <a:pt x="1382" y="504"/>
                        </a:lnTo>
                        <a:lnTo>
                          <a:pt x="1380" y="504"/>
                        </a:lnTo>
                        <a:lnTo>
                          <a:pt x="1380" y="505"/>
                        </a:lnTo>
                        <a:lnTo>
                          <a:pt x="1379" y="505"/>
                        </a:lnTo>
                        <a:lnTo>
                          <a:pt x="1379" y="507"/>
                        </a:lnTo>
                        <a:lnTo>
                          <a:pt x="1377" y="507"/>
                        </a:lnTo>
                        <a:lnTo>
                          <a:pt x="1375" y="508"/>
                        </a:lnTo>
                        <a:lnTo>
                          <a:pt x="1374" y="510"/>
                        </a:lnTo>
                        <a:lnTo>
                          <a:pt x="1372" y="512"/>
                        </a:lnTo>
                        <a:lnTo>
                          <a:pt x="1366" y="516"/>
                        </a:lnTo>
                        <a:lnTo>
                          <a:pt x="1366" y="518"/>
                        </a:lnTo>
                        <a:lnTo>
                          <a:pt x="1364" y="518"/>
                        </a:lnTo>
                        <a:lnTo>
                          <a:pt x="1364" y="519"/>
                        </a:lnTo>
                        <a:lnTo>
                          <a:pt x="1363" y="519"/>
                        </a:lnTo>
                        <a:lnTo>
                          <a:pt x="1363" y="521"/>
                        </a:lnTo>
                        <a:lnTo>
                          <a:pt x="1363" y="523"/>
                        </a:lnTo>
                        <a:lnTo>
                          <a:pt x="1361" y="523"/>
                        </a:lnTo>
                        <a:lnTo>
                          <a:pt x="1361" y="524"/>
                        </a:lnTo>
                        <a:lnTo>
                          <a:pt x="1361" y="526"/>
                        </a:lnTo>
                        <a:lnTo>
                          <a:pt x="1360" y="527"/>
                        </a:lnTo>
                        <a:lnTo>
                          <a:pt x="1360" y="529"/>
                        </a:lnTo>
                        <a:lnTo>
                          <a:pt x="1360" y="531"/>
                        </a:lnTo>
                        <a:lnTo>
                          <a:pt x="1360" y="532"/>
                        </a:lnTo>
                        <a:lnTo>
                          <a:pt x="1360" y="534"/>
                        </a:lnTo>
                        <a:lnTo>
                          <a:pt x="1360" y="535"/>
                        </a:lnTo>
                        <a:lnTo>
                          <a:pt x="1361" y="537"/>
                        </a:lnTo>
                        <a:lnTo>
                          <a:pt x="1361" y="538"/>
                        </a:lnTo>
                        <a:lnTo>
                          <a:pt x="1361" y="540"/>
                        </a:lnTo>
                        <a:lnTo>
                          <a:pt x="1363" y="542"/>
                        </a:lnTo>
                        <a:lnTo>
                          <a:pt x="1363" y="543"/>
                        </a:lnTo>
                        <a:lnTo>
                          <a:pt x="1363" y="545"/>
                        </a:lnTo>
                        <a:lnTo>
                          <a:pt x="1361" y="546"/>
                        </a:lnTo>
                        <a:lnTo>
                          <a:pt x="1363" y="546"/>
                        </a:lnTo>
                        <a:lnTo>
                          <a:pt x="1361" y="550"/>
                        </a:lnTo>
                        <a:lnTo>
                          <a:pt x="1361" y="551"/>
                        </a:lnTo>
                        <a:lnTo>
                          <a:pt x="1361" y="553"/>
                        </a:lnTo>
                        <a:lnTo>
                          <a:pt x="1360" y="554"/>
                        </a:lnTo>
                        <a:lnTo>
                          <a:pt x="1361" y="556"/>
                        </a:lnTo>
                        <a:lnTo>
                          <a:pt x="1361" y="558"/>
                        </a:lnTo>
                        <a:lnTo>
                          <a:pt x="1360" y="558"/>
                        </a:lnTo>
                        <a:lnTo>
                          <a:pt x="1360" y="556"/>
                        </a:lnTo>
                        <a:lnTo>
                          <a:pt x="1358" y="556"/>
                        </a:lnTo>
                        <a:lnTo>
                          <a:pt x="1356" y="556"/>
                        </a:lnTo>
                        <a:lnTo>
                          <a:pt x="1355" y="556"/>
                        </a:lnTo>
                        <a:lnTo>
                          <a:pt x="1353" y="556"/>
                        </a:lnTo>
                        <a:lnTo>
                          <a:pt x="1352" y="556"/>
                        </a:lnTo>
                        <a:lnTo>
                          <a:pt x="1352" y="558"/>
                        </a:lnTo>
                        <a:lnTo>
                          <a:pt x="1352" y="559"/>
                        </a:lnTo>
                        <a:lnTo>
                          <a:pt x="1350" y="559"/>
                        </a:lnTo>
                        <a:lnTo>
                          <a:pt x="1349" y="561"/>
                        </a:lnTo>
                        <a:lnTo>
                          <a:pt x="1349" y="562"/>
                        </a:lnTo>
                        <a:lnTo>
                          <a:pt x="1349" y="564"/>
                        </a:lnTo>
                        <a:lnTo>
                          <a:pt x="1347" y="564"/>
                        </a:lnTo>
                        <a:lnTo>
                          <a:pt x="1347" y="562"/>
                        </a:lnTo>
                        <a:lnTo>
                          <a:pt x="1345" y="562"/>
                        </a:lnTo>
                        <a:lnTo>
                          <a:pt x="1344" y="562"/>
                        </a:lnTo>
                        <a:lnTo>
                          <a:pt x="1342" y="561"/>
                        </a:lnTo>
                        <a:lnTo>
                          <a:pt x="1342" y="559"/>
                        </a:lnTo>
                        <a:lnTo>
                          <a:pt x="1341" y="558"/>
                        </a:lnTo>
                        <a:lnTo>
                          <a:pt x="1339" y="558"/>
                        </a:lnTo>
                        <a:lnTo>
                          <a:pt x="1339" y="556"/>
                        </a:lnTo>
                        <a:lnTo>
                          <a:pt x="1339" y="554"/>
                        </a:lnTo>
                        <a:lnTo>
                          <a:pt x="1341" y="554"/>
                        </a:lnTo>
                        <a:lnTo>
                          <a:pt x="1341" y="553"/>
                        </a:lnTo>
                        <a:lnTo>
                          <a:pt x="1339" y="553"/>
                        </a:lnTo>
                        <a:lnTo>
                          <a:pt x="1337" y="553"/>
                        </a:lnTo>
                        <a:lnTo>
                          <a:pt x="1337" y="551"/>
                        </a:lnTo>
                        <a:lnTo>
                          <a:pt x="1336" y="551"/>
                        </a:lnTo>
                        <a:lnTo>
                          <a:pt x="1336" y="550"/>
                        </a:lnTo>
                        <a:lnTo>
                          <a:pt x="1334" y="550"/>
                        </a:lnTo>
                        <a:lnTo>
                          <a:pt x="1333" y="550"/>
                        </a:lnTo>
                        <a:lnTo>
                          <a:pt x="1333" y="548"/>
                        </a:lnTo>
                        <a:lnTo>
                          <a:pt x="1331" y="548"/>
                        </a:lnTo>
                        <a:lnTo>
                          <a:pt x="1330" y="546"/>
                        </a:lnTo>
                        <a:lnTo>
                          <a:pt x="1328" y="545"/>
                        </a:lnTo>
                        <a:lnTo>
                          <a:pt x="1326" y="545"/>
                        </a:lnTo>
                        <a:lnTo>
                          <a:pt x="1325" y="545"/>
                        </a:lnTo>
                        <a:lnTo>
                          <a:pt x="1323" y="545"/>
                        </a:lnTo>
                        <a:lnTo>
                          <a:pt x="1323" y="546"/>
                        </a:lnTo>
                        <a:lnTo>
                          <a:pt x="1322" y="546"/>
                        </a:lnTo>
                        <a:lnTo>
                          <a:pt x="1322" y="548"/>
                        </a:lnTo>
                        <a:lnTo>
                          <a:pt x="1320" y="548"/>
                        </a:lnTo>
                        <a:lnTo>
                          <a:pt x="1320" y="550"/>
                        </a:lnTo>
                        <a:lnTo>
                          <a:pt x="1320" y="551"/>
                        </a:lnTo>
                        <a:lnTo>
                          <a:pt x="1318" y="551"/>
                        </a:lnTo>
                        <a:lnTo>
                          <a:pt x="1318" y="553"/>
                        </a:lnTo>
                        <a:lnTo>
                          <a:pt x="1318" y="554"/>
                        </a:lnTo>
                        <a:lnTo>
                          <a:pt x="1317" y="554"/>
                        </a:lnTo>
                        <a:lnTo>
                          <a:pt x="1315" y="556"/>
                        </a:lnTo>
                        <a:lnTo>
                          <a:pt x="1315" y="558"/>
                        </a:lnTo>
                        <a:lnTo>
                          <a:pt x="1314" y="558"/>
                        </a:lnTo>
                        <a:lnTo>
                          <a:pt x="1312" y="559"/>
                        </a:lnTo>
                        <a:lnTo>
                          <a:pt x="1310" y="561"/>
                        </a:lnTo>
                        <a:lnTo>
                          <a:pt x="1309" y="562"/>
                        </a:lnTo>
                        <a:lnTo>
                          <a:pt x="1307" y="562"/>
                        </a:lnTo>
                        <a:lnTo>
                          <a:pt x="1306" y="564"/>
                        </a:lnTo>
                        <a:lnTo>
                          <a:pt x="1304" y="565"/>
                        </a:lnTo>
                        <a:lnTo>
                          <a:pt x="1303" y="565"/>
                        </a:lnTo>
                        <a:lnTo>
                          <a:pt x="1303" y="567"/>
                        </a:lnTo>
                        <a:lnTo>
                          <a:pt x="1301" y="567"/>
                        </a:lnTo>
                        <a:lnTo>
                          <a:pt x="1299" y="567"/>
                        </a:lnTo>
                        <a:lnTo>
                          <a:pt x="1298" y="569"/>
                        </a:lnTo>
                        <a:lnTo>
                          <a:pt x="1296" y="569"/>
                        </a:lnTo>
                        <a:lnTo>
                          <a:pt x="1295" y="569"/>
                        </a:lnTo>
                        <a:lnTo>
                          <a:pt x="1295" y="570"/>
                        </a:lnTo>
                        <a:lnTo>
                          <a:pt x="1293" y="570"/>
                        </a:lnTo>
                        <a:lnTo>
                          <a:pt x="1291" y="570"/>
                        </a:lnTo>
                        <a:lnTo>
                          <a:pt x="1290" y="570"/>
                        </a:lnTo>
                        <a:lnTo>
                          <a:pt x="1290" y="572"/>
                        </a:lnTo>
                        <a:lnTo>
                          <a:pt x="1288" y="572"/>
                        </a:lnTo>
                        <a:lnTo>
                          <a:pt x="1287" y="572"/>
                        </a:lnTo>
                        <a:lnTo>
                          <a:pt x="1285" y="572"/>
                        </a:lnTo>
                        <a:lnTo>
                          <a:pt x="1284" y="570"/>
                        </a:lnTo>
                        <a:lnTo>
                          <a:pt x="1282" y="570"/>
                        </a:lnTo>
                        <a:lnTo>
                          <a:pt x="1280" y="570"/>
                        </a:lnTo>
                        <a:lnTo>
                          <a:pt x="1279" y="570"/>
                        </a:lnTo>
                        <a:lnTo>
                          <a:pt x="1277" y="570"/>
                        </a:lnTo>
                        <a:lnTo>
                          <a:pt x="1276" y="570"/>
                        </a:lnTo>
                        <a:lnTo>
                          <a:pt x="1274" y="570"/>
                        </a:lnTo>
                        <a:lnTo>
                          <a:pt x="1272" y="570"/>
                        </a:lnTo>
                        <a:lnTo>
                          <a:pt x="1271" y="570"/>
                        </a:lnTo>
                        <a:lnTo>
                          <a:pt x="1269" y="570"/>
                        </a:lnTo>
                        <a:lnTo>
                          <a:pt x="1269" y="572"/>
                        </a:lnTo>
                        <a:lnTo>
                          <a:pt x="1268" y="573"/>
                        </a:lnTo>
                        <a:lnTo>
                          <a:pt x="1268" y="575"/>
                        </a:lnTo>
                        <a:lnTo>
                          <a:pt x="1268" y="577"/>
                        </a:lnTo>
                        <a:lnTo>
                          <a:pt x="1266" y="578"/>
                        </a:lnTo>
                        <a:lnTo>
                          <a:pt x="1266" y="580"/>
                        </a:lnTo>
                        <a:lnTo>
                          <a:pt x="1265" y="581"/>
                        </a:lnTo>
                        <a:lnTo>
                          <a:pt x="1265" y="583"/>
                        </a:lnTo>
                        <a:lnTo>
                          <a:pt x="1263" y="583"/>
                        </a:lnTo>
                        <a:lnTo>
                          <a:pt x="1263" y="584"/>
                        </a:lnTo>
                        <a:lnTo>
                          <a:pt x="1261" y="584"/>
                        </a:lnTo>
                        <a:lnTo>
                          <a:pt x="1261" y="586"/>
                        </a:lnTo>
                        <a:lnTo>
                          <a:pt x="1261" y="588"/>
                        </a:lnTo>
                        <a:lnTo>
                          <a:pt x="1260" y="588"/>
                        </a:lnTo>
                        <a:lnTo>
                          <a:pt x="1258" y="589"/>
                        </a:lnTo>
                        <a:lnTo>
                          <a:pt x="1257" y="589"/>
                        </a:lnTo>
                        <a:lnTo>
                          <a:pt x="1255" y="589"/>
                        </a:lnTo>
                        <a:lnTo>
                          <a:pt x="1253" y="589"/>
                        </a:lnTo>
                        <a:lnTo>
                          <a:pt x="1252" y="589"/>
                        </a:lnTo>
                        <a:lnTo>
                          <a:pt x="1250" y="589"/>
                        </a:lnTo>
                        <a:lnTo>
                          <a:pt x="1249" y="589"/>
                        </a:lnTo>
                        <a:lnTo>
                          <a:pt x="1247" y="588"/>
                        </a:lnTo>
                        <a:lnTo>
                          <a:pt x="1246" y="586"/>
                        </a:lnTo>
                        <a:lnTo>
                          <a:pt x="1244" y="584"/>
                        </a:lnTo>
                        <a:lnTo>
                          <a:pt x="1242" y="583"/>
                        </a:lnTo>
                        <a:lnTo>
                          <a:pt x="1241" y="581"/>
                        </a:lnTo>
                        <a:lnTo>
                          <a:pt x="1239" y="581"/>
                        </a:lnTo>
                        <a:lnTo>
                          <a:pt x="1239" y="583"/>
                        </a:lnTo>
                        <a:lnTo>
                          <a:pt x="1238" y="583"/>
                        </a:lnTo>
                        <a:lnTo>
                          <a:pt x="1236" y="584"/>
                        </a:lnTo>
                        <a:lnTo>
                          <a:pt x="1234" y="584"/>
                        </a:lnTo>
                        <a:lnTo>
                          <a:pt x="1233" y="584"/>
                        </a:lnTo>
                        <a:lnTo>
                          <a:pt x="1233" y="586"/>
                        </a:lnTo>
                        <a:lnTo>
                          <a:pt x="1231" y="588"/>
                        </a:lnTo>
                        <a:lnTo>
                          <a:pt x="1231" y="589"/>
                        </a:lnTo>
                        <a:lnTo>
                          <a:pt x="1231" y="591"/>
                        </a:lnTo>
                        <a:lnTo>
                          <a:pt x="1231" y="592"/>
                        </a:lnTo>
                        <a:lnTo>
                          <a:pt x="1231" y="594"/>
                        </a:lnTo>
                        <a:lnTo>
                          <a:pt x="1233" y="594"/>
                        </a:lnTo>
                        <a:lnTo>
                          <a:pt x="1233" y="596"/>
                        </a:lnTo>
                        <a:lnTo>
                          <a:pt x="1233" y="597"/>
                        </a:lnTo>
                        <a:lnTo>
                          <a:pt x="1231" y="599"/>
                        </a:lnTo>
                        <a:lnTo>
                          <a:pt x="1230" y="599"/>
                        </a:lnTo>
                        <a:lnTo>
                          <a:pt x="1230" y="600"/>
                        </a:lnTo>
                        <a:lnTo>
                          <a:pt x="1230" y="602"/>
                        </a:lnTo>
                        <a:lnTo>
                          <a:pt x="1228" y="602"/>
                        </a:lnTo>
                        <a:lnTo>
                          <a:pt x="1228" y="603"/>
                        </a:lnTo>
                        <a:lnTo>
                          <a:pt x="1227" y="603"/>
                        </a:lnTo>
                        <a:lnTo>
                          <a:pt x="1227" y="605"/>
                        </a:lnTo>
                        <a:lnTo>
                          <a:pt x="1225" y="607"/>
                        </a:lnTo>
                        <a:lnTo>
                          <a:pt x="1225" y="608"/>
                        </a:lnTo>
                        <a:lnTo>
                          <a:pt x="1223" y="610"/>
                        </a:lnTo>
                        <a:lnTo>
                          <a:pt x="1222" y="611"/>
                        </a:lnTo>
                        <a:lnTo>
                          <a:pt x="1222" y="613"/>
                        </a:lnTo>
                        <a:lnTo>
                          <a:pt x="1220" y="613"/>
                        </a:lnTo>
                        <a:lnTo>
                          <a:pt x="1220" y="615"/>
                        </a:lnTo>
                        <a:lnTo>
                          <a:pt x="1219" y="615"/>
                        </a:lnTo>
                        <a:lnTo>
                          <a:pt x="1219" y="616"/>
                        </a:lnTo>
                        <a:lnTo>
                          <a:pt x="1217" y="616"/>
                        </a:lnTo>
                        <a:lnTo>
                          <a:pt x="1215" y="618"/>
                        </a:lnTo>
                        <a:lnTo>
                          <a:pt x="1214" y="618"/>
                        </a:lnTo>
                        <a:lnTo>
                          <a:pt x="1214" y="619"/>
                        </a:lnTo>
                        <a:lnTo>
                          <a:pt x="1212" y="621"/>
                        </a:lnTo>
                        <a:lnTo>
                          <a:pt x="1212" y="622"/>
                        </a:lnTo>
                        <a:lnTo>
                          <a:pt x="1211" y="622"/>
                        </a:lnTo>
                        <a:lnTo>
                          <a:pt x="1211" y="624"/>
                        </a:lnTo>
                        <a:lnTo>
                          <a:pt x="1209" y="624"/>
                        </a:lnTo>
                        <a:lnTo>
                          <a:pt x="1208" y="626"/>
                        </a:lnTo>
                        <a:lnTo>
                          <a:pt x="1208" y="627"/>
                        </a:lnTo>
                        <a:lnTo>
                          <a:pt x="1206" y="627"/>
                        </a:lnTo>
                        <a:lnTo>
                          <a:pt x="1206" y="629"/>
                        </a:lnTo>
                        <a:lnTo>
                          <a:pt x="1204" y="629"/>
                        </a:lnTo>
                        <a:lnTo>
                          <a:pt x="1204" y="630"/>
                        </a:lnTo>
                        <a:lnTo>
                          <a:pt x="1203" y="630"/>
                        </a:lnTo>
                        <a:lnTo>
                          <a:pt x="1203" y="632"/>
                        </a:lnTo>
                        <a:lnTo>
                          <a:pt x="1203" y="634"/>
                        </a:lnTo>
                        <a:lnTo>
                          <a:pt x="1203" y="635"/>
                        </a:lnTo>
                        <a:lnTo>
                          <a:pt x="1203" y="637"/>
                        </a:lnTo>
                        <a:lnTo>
                          <a:pt x="1203" y="638"/>
                        </a:lnTo>
                        <a:lnTo>
                          <a:pt x="1203" y="640"/>
                        </a:lnTo>
                        <a:lnTo>
                          <a:pt x="1201" y="641"/>
                        </a:lnTo>
                        <a:lnTo>
                          <a:pt x="1200" y="641"/>
                        </a:lnTo>
                        <a:lnTo>
                          <a:pt x="1198" y="641"/>
                        </a:lnTo>
                        <a:lnTo>
                          <a:pt x="1198" y="640"/>
                        </a:lnTo>
                        <a:lnTo>
                          <a:pt x="1198" y="638"/>
                        </a:lnTo>
                        <a:lnTo>
                          <a:pt x="1198" y="637"/>
                        </a:lnTo>
                        <a:lnTo>
                          <a:pt x="1198" y="635"/>
                        </a:lnTo>
                        <a:lnTo>
                          <a:pt x="1196" y="635"/>
                        </a:lnTo>
                        <a:lnTo>
                          <a:pt x="1196" y="634"/>
                        </a:lnTo>
                        <a:lnTo>
                          <a:pt x="1195" y="634"/>
                        </a:lnTo>
                        <a:lnTo>
                          <a:pt x="1195" y="632"/>
                        </a:lnTo>
                        <a:lnTo>
                          <a:pt x="1195" y="630"/>
                        </a:lnTo>
                        <a:lnTo>
                          <a:pt x="1196" y="630"/>
                        </a:lnTo>
                        <a:lnTo>
                          <a:pt x="1198" y="630"/>
                        </a:lnTo>
                        <a:lnTo>
                          <a:pt x="1198" y="629"/>
                        </a:lnTo>
                        <a:lnTo>
                          <a:pt x="1200" y="629"/>
                        </a:lnTo>
                        <a:lnTo>
                          <a:pt x="1198" y="627"/>
                        </a:lnTo>
                        <a:lnTo>
                          <a:pt x="1196" y="627"/>
                        </a:lnTo>
                        <a:lnTo>
                          <a:pt x="1195" y="627"/>
                        </a:lnTo>
                        <a:lnTo>
                          <a:pt x="1193" y="627"/>
                        </a:lnTo>
                        <a:lnTo>
                          <a:pt x="1193" y="629"/>
                        </a:lnTo>
                        <a:lnTo>
                          <a:pt x="1192" y="629"/>
                        </a:lnTo>
                        <a:lnTo>
                          <a:pt x="1190" y="629"/>
                        </a:lnTo>
                        <a:lnTo>
                          <a:pt x="1190" y="630"/>
                        </a:lnTo>
                        <a:lnTo>
                          <a:pt x="1189" y="632"/>
                        </a:lnTo>
                        <a:lnTo>
                          <a:pt x="1187" y="634"/>
                        </a:lnTo>
                        <a:lnTo>
                          <a:pt x="1185" y="635"/>
                        </a:lnTo>
                        <a:lnTo>
                          <a:pt x="1184" y="637"/>
                        </a:lnTo>
                        <a:lnTo>
                          <a:pt x="1184" y="638"/>
                        </a:lnTo>
                        <a:lnTo>
                          <a:pt x="1184" y="640"/>
                        </a:lnTo>
                        <a:lnTo>
                          <a:pt x="1185" y="641"/>
                        </a:lnTo>
                        <a:lnTo>
                          <a:pt x="1187" y="641"/>
                        </a:lnTo>
                        <a:lnTo>
                          <a:pt x="1187" y="643"/>
                        </a:lnTo>
                        <a:lnTo>
                          <a:pt x="1187" y="645"/>
                        </a:lnTo>
                        <a:lnTo>
                          <a:pt x="1189" y="645"/>
                        </a:lnTo>
                        <a:lnTo>
                          <a:pt x="1187" y="646"/>
                        </a:lnTo>
                        <a:lnTo>
                          <a:pt x="1185" y="646"/>
                        </a:lnTo>
                        <a:lnTo>
                          <a:pt x="1185" y="645"/>
                        </a:lnTo>
                        <a:lnTo>
                          <a:pt x="1184" y="646"/>
                        </a:lnTo>
                        <a:lnTo>
                          <a:pt x="1182" y="646"/>
                        </a:lnTo>
                        <a:lnTo>
                          <a:pt x="1181" y="646"/>
                        </a:lnTo>
                        <a:lnTo>
                          <a:pt x="1179" y="646"/>
                        </a:lnTo>
                        <a:lnTo>
                          <a:pt x="1177" y="646"/>
                        </a:lnTo>
                        <a:lnTo>
                          <a:pt x="1177" y="648"/>
                        </a:lnTo>
                        <a:lnTo>
                          <a:pt x="1177" y="646"/>
                        </a:lnTo>
                        <a:lnTo>
                          <a:pt x="1176" y="646"/>
                        </a:lnTo>
                        <a:lnTo>
                          <a:pt x="1174" y="648"/>
                        </a:lnTo>
                        <a:lnTo>
                          <a:pt x="1173" y="648"/>
                        </a:lnTo>
                        <a:lnTo>
                          <a:pt x="1173" y="649"/>
                        </a:lnTo>
                        <a:lnTo>
                          <a:pt x="1174" y="649"/>
                        </a:lnTo>
                        <a:lnTo>
                          <a:pt x="1174" y="651"/>
                        </a:lnTo>
                        <a:lnTo>
                          <a:pt x="1173" y="653"/>
                        </a:lnTo>
                        <a:lnTo>
                          <a:pt x="1171" y="653"/>
                        </a:lnTo>
                        <a:lnTo>
                          <a:pt x="1171" y="654"/>
                        </a:lnTo>
                        <a:lnTo>
                          <a:pt x="1170" y="654"/>
                        </a:lnTo>
                        <a:lnTo>
                          <a:pt x="1170" y="656"/>
                        </a:lnTo>
                        <a:lnTo>
                          <a:pt x="1168" y="656"/>
                        </a:lnTo>
                        <a:lnTo>
                          <a:pt x="1168" y="657"/>
                        </a:lnTo>
                        <a:lnTo>
                          <a:pt x="1170" y="657"/>
                        </a:lnTo>
                        <a:lnTo>
                          <a:pt x="1170" y="659"/>
                        </a:lnTo>
                        <a:lnTo>
                          <a:pt x="1171" y="659"/>
                        </a:lnTo>
                        <a:lnTo>
                          <a:pt x="1171" y="660"/>
                        </a:lnTo>
                        <a:lnTo>
                          <a:pt x="1173" y="660"/>
                        </a:lnTo>
                        <a:lnTo>
                          <a:pt x="1174" y="659"/>
                        </a:lnTo>
                        <a:lnTo>
                          <a:pt x="1176" y="659"/>
                        </a:lnTo>
                        <a:lnTo>
                          <a:pt x="1177" y="657"/>
                        </a:lnTo>
                        <a:lnTo>
                          <a:pt x="1177" y="656"/>
                        </a:lnTo>
                        <a:lnTo>
                          <a:pt x="1179" y="656"/>
                        </a:lnTo>
                        <a:lnTo>
                          <a:pt x="1179" y="657"/>
                        </a:lnTo>
                        <a:lnTo>
                          <a:pt x="1181" y="657"/>
                        </a:lnTo>
                        <a:lnTo>
                          <a:pt x="1181" y="659"/>
                        </a:lnTo>
                        <a:lnTo>
                          <a:pt x="1181" y="660"/>
                        </a:lnTo>
                        <a:lnTo>
                          <a:pt x="1182" y="662"/>
                        </a:lnTo>
                        <a:lnTo>
                          <a:pt x="1182" y="664"/>
                        </a:lnTo>
                        <a:lnTo>
                          <a:pt x="1182" y="665"/>
                        </a:lnTo>
                        <a:lnTo>
                          <a:pt x="1182" y="667"/>
                        </a:lnTo>
                        <a:lnTo>
                          <a:pt x="1182" y="668"/>
                        </a:lnTo>
                        <a:lnTo>
                          <a:pt x="1181" y="668"/>
                        </a:lnTo>
                        <a:lnTo>
                          <a:pt x="1179" y="670"/>
                        </a:lnTo>
                        <a:lnTo>
                          <a:pt x="1177" y="670"/>
                        </a:lnTo>
                        <a:lnTo>
                          <a:pt x="1177" y="672"/>
                        </a:lnTo>
                        <a:lnTo>
                          <a:pt x="1177" y="673"/>
                        </a:lnTo>
                        <a:lnTo>
                          <a:pt x="1177" y="675"/>
                        </a:lnTo>
                        <a:lnTo>
                          <a:pt x="1177" y="676"/>
                        </a:lnTo>
                        <a:lnTo>
                          <a:pt x="1176" y="676"/>
                        </a:lnTo>
                        <a:lnTo>
                          <a:pt x="1176" y="678"/>
                        </a:lnTo>
                        <a:lnTo>
                          <a:pt x="1174" y="678"/>
                        </a:lnTo>
                        <a:lnTo>
                          <a:pt x="1173" y="678"/>
                        </a:lnTo>
                        <a:lnTo>
                          <a:pt x="1171" y="679"/>
                        </a:lnTo>
                        <a:lnTo>
                          <a:pt x="1171" y="681"/>
                        </a:lnTo>
                        <a:lnTo>
                          <a:pt x="1173" y="681"/>
                        </a:lnTo>
                        <a:lnTo>
                          <a:pt x="1171" y="683"/>
                        </a:lnTo>
                        <a:lnTo>
                          <a:pt x="1168" y="684"/>
                        </a:lnTo>
                        <a:lnTo>
                          <a:pt x="1166" y="683"/>
                        </a:lnTo>
                        <a:lnTo>
                          <a:pt x="1165" y="683"/>
                        </a:lnTo>
                        <a:lnTo>
                          <a:pt x="1165" y="686"/>
                        </a:lnTo>
                        <a:lnTo>
                          <a:pt x="1166" y="687"/>
                        </a:lnTo>
                        <a:lnTo>
                          <a:pt x="1170" y="691"/>
                        </a:lnTo>
                        <a:lnTo>
                          <a:pt x="1168" y="692"/>
                        </a:lnTo>
                        <a:lnTo>
                          <a:pt x="1168" y="694"/>
                        </a:lnTo>
                        <a:lnTo>
                          <a:pt x="1168" y="695"/>
                        </a:lnTo>
                        <a:lnTo>
                          <a:pt x="1166" y="698"/>
                        </a:lnTo>
                        <a:lnTo>
                          <a:pt x="1166" y="697"/>
                        </a:lnTo>
                        <a:lnTo>
                          <a:pt x="1165" y="697"/>
                        </a:lnTo>
                        <a:lnTo>
                          <a:pt x="1162" y="695"/>
                        </a:lnTo>
                        <a:lnTo>
                          <a:pt x="1162" y="697"/>
                        </a:lnTo>
                        <a:lnTo>
                          <a:pt x="1160" y="697"/>
                        </a:lnTo>
                        <a:lnTo>
                          <a:pt x="1160" y="702"/>
                        </a:lnTo>
                        <a:lnTo>
                          <a:pt x="1160" y="703"/>
                        </a:lnTo>
                        <a:lnTo>
                          <a:pt x="1160" y="705"/>
                        </a:lnTo>
                        <a:lnTo>
                          <a:pt x="1158" y="706"/>
                        </a:lnTo>
                        <a:lnTo>
                          <a:pt x="1160" y="706"/>
                        </a:lnTo>
                        <a:lnTo>
                          <a:pt x="1160" y="708"/>
                        </a:lnTo>
                        <a:lnTo>
                          <a:pt x="1158" y="708"/>
                        </a:lnTo>
                        <a:lnTo>
                          <a:pt x="1154" y="708"/>
                        </a:lnTo>
                        <a:lnTo>
                          <a:pt x="1152" y="708"/>
                        </a:lnTo>
                        <a:lnTo>
                          <a:pt x="1147" y="708"/>
                        </a:lnTo>
                        <a:lnTo>
                          <a:pt x="1147" y="705"/>
                        </a:lnTo>
                        <a:lnTo>
                          <a:pt x="1147" y="703"/>
                        </a:lnTo>
                        <a:lnTo>
                          <a:pt x="1144" y="705"/>
                        </a:lnTo>
                        <a:lnTo>
                          <a:pt x="1143" y="705"/>
                        </a:lnTo>
                        <a:lnTo>
                          <a:pt x="1143" y="703"/>
                        </a:lnTo>
                        <a:lnTo>
                          <a:pt x="1141" y="702"/>
                        </a:lnTo>
                        <a:lnTo>
                          <a:pt x="1141" y="703"/>
                        </a:lnTo>
                        <a:lnTo>
                          <a:pt x="1139" y="705"/>
                        </a:lnTo>
                        <a:lnTo>
                          <a:pt x="1139" y="706"/>
                        </a:lnTo>
                        <a:lnTo>
                          <a:pt x="1139" y="708"/>
                        </a:lnTo>
                        <a:lnTo>
                          <a:pt x="1141" y="711"/>
                        </a:lnTo>
                        <a:lnTo>
                          <a:pt x="1141" y="713"/>
                        </a:lnTo>
                        <a:lnTo>
                          <a:pt x="1139" y="714"/>
                        </a:lnTo>
                        <a:lnTo>
                          <a:pt x="1138" y="716"/>
                        </a:lnTo>
                        <a:lnTo>
                          <a:pt x="1135" y="717"/>
                        </a:lnTo>
                        <a:lnTo>
                          <a:pt x="1133" y="719"/>
                        </a:lnTo>
                        <a:lnTo>
                          <a:pt x="1135" y="721"/>
                        </a:lnTo>
                        <a:lnTo>
                          <a:pt x="1135" y="719"/>
                        </a:lnTo>
                        <a:lnTo>
                          <a:pt x="1136" y="721"/>
                        </a:lnTo>
                        <a:lnTo>
                          <a:pt x="1136" y="724"/>
                        </a:lnTo>
                        <a:lnTo>
                          <a:pt x="1135" y="724"/>
                        </a:lnTo>
                        <a:lnTo>
                          <a:pt x="1135" y="727"/>
                        </a:lnTo>
                        <a:lnTo>
                          <a:pt x="1133" y="727"/>
                        </a:lnTo>
                        <a:lnTo>
                          <a:pt x="1131" y="725"/>
                        </a:lnTo>
                        <a:lnTo>
                          <a:pt x="1130" y="725"/>
                        </a:lnTo>
                        <a:lnTo>
                          <a:pt x="1130" y="727"/>
                        </a:lnTo>
                        <a:lnTo>
                          <a:pt x="1130" y="732"/>
                        </a:lnTo>
                        <a:lnTo>
                          <a:pt x="1133" y="735"/>
                        </a:lnTo>
                        <a:lnTo>
                          <a:pt x="1133" y="737"/>
                        </a:lnTo>
                        <a:lnTo>
                          <a:pt x="1135" y="737"/>
                        </a:lnTo>
                        <a:lnTo>
                          <a:pt x="1136" y="735"/>
                        </a:lnTo>
                        <a:lnTo>
                          <a:pt x="1136" y="733"/>
                        </a:lnTo>
                        <a:lnTo>
                          <a:pt x="1136" y="732"/>
                        </a:lnTo>
                        <a:lnTo>
                          <a:pt x="1138" y="732"/>
                        </a:lnTo>
                        <a:lnTo>
                          <a:pt x="1139" y="732"/>
                        </a:lnTo>
                        <a:lnTo>
                          <a:pt x="1138" y="735"/>
                        </a:lnTo>
                        <a:lnTo>
                          <a:pt x="1138" y="737"/>
                        </a:lnTo>
                        <a:lnTo>
                          <a:pt x="1138" y="740"/>
                        </a:lnTo>
                        <a:lnTo>
                          <a:pt x="1139" y="740"/>
                        </a:lnTo>
                        <a:lnTo>
                          <a:pt x="1139" y="741"/>
                        </a:lnTo>
                        <a:lnTo>
                          <a:pt x="1138" y="743"/>
                        </a:lnTo>
                        <a:lnTo>
                          <a:pt x="1138" y="744"/>
                        </a:lnTo>
                        <a:lnTo>
                          <a:pt x="1139" y="746"/>
                        </a:lnTo>
                        <a:lnTo>
                          <a:pt x="1141" y="749"/>
                        </a:lnTo>
                        <a:lnTo>
                          <a:pt x="1141" y="751"/>
                        </a:lnTo>
                        <a:lnTo>
                          <a:pt x="1139" y="752"/>
                        </a:lnTo>
                        <a:lnTo>
                          <a:pt x="1136" y="752"/>
                        </a:lnTo>
                        <a:lnTo>
                          <a:pt x="1135" y="752"/>
                        </a:lnTo>
                        <a:lnTo>
                          <a:pt x="1133" y="749"/>
                        </a:lnTo>
                        <a:lnTo>
                          <a:pt x="1131" y="749"/>
                        </a:lnTo>
                        <a:lnTo>
                          <a:pt x="1130" y="749"/>
                        </a:lnTo>
                        <a:lnTo>
                          <a:pt x="1128" y="749"/>
                        </a:lnTo>
                        <a:lnTo>
                          <a:pt x="1127" y="749"/>
                        </a:lnTo>
                        <a:lnTo>
                          <a:pt x="1125" y="749"/>
                        </a:lnTo>
                        <a:lnTo>
                          <a:pt x="1125" y="752"/>
                        </a:lnTo>
                        <a:lnTo>
                          <a:pt x="1125" y="756"/>
                        </a:lnTo>
                        <a:lnTo>
                          <a:pt x="1124" y="756"/>
                        </a:lnTo>
                        <a:lnTo>
                          <a:pt x="1122" y="756"/>
                        </a:lnTo>
                        <a:lnTo>
                          <a:pt x="1120" y="754"/>
                        </a:lnTo>
                        <a:lnTo>
                          <a:pt x="1119" y="754"/>
                        </a:lnTo>
                        <a:lnTo>
                          <a:pt x="1119" y="752"/>
                        </a:lnTo>
                        <a:lnTo>
                          <a:pt x="1119" y="751"/>
                        </a:lnTo>
                        <a:lnTo>
                          <a:pt x="1119" y="749"/>
                        </a:lnTo>
                        <a:lnTo>
                          <a:pt x="1119" y="748"/>
                        </a:lnTo>
                        <a:lnTo>
                          <a:pt x="1117" y="748"/>
                        </a:lnTo>
                        <a:lnTo>
                          <a:pt x="1116" y="746"/>
                        </a:lnTo>
                        <a:lnTo>
                          <a:pt x="1114" y="746"/>
                        </a:lnTo>
                        <a:lnTo>
                          <a:pt x="1114" y="748"/>
                        </a:lnTo>
                        <a:lnTo>
                          <a:pt x="1112" y="748"/>
                        </a:lnTo>
                        <a:lnTo>
                          <a:pt x="1112" y="749"/>
                        </a:lnTo>
                        <a:lnTo>
                          <a:pt x="1111" y="752"/>
                        </a:lnTo>
                        <a:lnTo>
                          <a:pt x="1109" y="754"/>
                        </a:lnTo>
                        <a:lnTo>
                          <a:pt x="1109" y="756"/>
                        </a:lnTo>
                        <a:lnTo>
                          <a:pt x="1109" y="759"/>
                        </a:lnTo>
                        <a:lnTo>
                          <a:pt x="1109" y="760"/>
                        </a:lnTo>
                        <a:lnTo>
                          <a:pt x="1108" y="760"/>
                        </a:lnTo>
                        <a:lnTo>
                          <a:pt x="1106" y="759"/>
                        </a:lnTo>
                        <a:lnTo>
                          <a:pt x="1105" y="757"/>
                        </a:lnTo>
                        <a:lnTo>
                          <a:pt x="1103" y="754"/>
                        </a:lnTo>
                        <a:lnTo>
                          <a:pt x="1101" y="752"/>
                        </a:lnTo>
                        <a:lnTo>
                          <a:pt x="1100" y="752"/>
                        </a:lnTo>
                        <a:lnTo>
                          <a:pt x="1100" y="751"/>
                        </a:lnTo>
                        <a:lnTo>
                          <a:pt x="1098" y="751"/>
                        </a:lnTo>
                        <a:lnTo>
                          <a:pt x="1097" y="751"/>
                        </a:lnTo>
                        <a:lnTo>
                          <a:pt x="1095" y="751"/>
                        </a:lnTo>
                        <a:lnTo>
                          <a:pt x="1095" y="752"/>
                        </a:lnTo>
                        <a:lnTo>
                          <a:pt x="1097" y="756"/>
                        </a:lnTo>
                        <a:lnTo>
                          <a:pt x="1098" y="756"/>
                        </a:lnTo>
                        <a:lnTo>
                          <a:pt x="1098" y="757"/>
                        </a:lnTo>
                        <a:lnTo>
                          <a:pt x="1098" y="759"/>
                        </a:lnTo>
                        <a:lnTo>
                          <a:pt x="1098" y="760"/>
                        </a:lnTo>
                        <a:lnTo>
                          <a:pt x="1097" y="762"/>
                        </a:lnTo>
                        <a:lnTo>
                          <a:pt x="1095" y="763"/>
                        </a:lnTo>
                        <a:lnTo>
                          <a:pt x="1093" y="763"/>
                        </a:lnTo>
                        <a:lnTo>
                          <a:pt x="1092" y="763"/>
                        </a:lnTo>
                        <a:lnTo>
                          <a:pt x="1090" y="762"/>
                        </a:lnTo>
                        <a:lnTo>
                          <a:pt x="1089" y="762"/>
                        </a:lnTo>
                        <a:lnTo>
                          <a:pt x="1087" y="763"/>
                        </a:lnTo>
                        <a:lnTo>
                          <a:pt x="1087" y="765"/>
                        </a:lnTo>
                        <a:lnTo>
                          <a:pt x="1089" y="765"/>
                        </a:lnTo>
                        <a:lnTo>
                          <a:pt x="1089" y="767"/>
                        </a:lnTo>
                        <a:lnTo>
                          <a:pt x="1090" y="768"/>
                        </a:lnTo>
                        <a:lnTo>
                          <a:pt x="1092" y="770"/>
                        </a:lnTo>
                        <a:lnTo>
                          <a:pt x="1093" y="770"/>
                        </a:lnTo>
                        <a:lnTo>
                          <a:pt x="1095" y="771"/>
                        </a:lnTo>
                        <a:lnTo>
                          <a:pt x="1097" y="773"/>
                        </a:lnTo>
                        <a:lnTo>
                          <a:pt x="1097" y="775"/>
                        </a:lnTo>
                        <a:lnTo>
                          <a:pt x="1097" y="776"/>
                        </a:lnTo>
                        <a:lnTo>
                          <a:pt x="1098" y="776"/>
                        </a:lnTo>
                        <a:lnTo>
                          <a:pt x="1100" y="778"/>
                        </a:lnTo>
                        <a:lnTo>
                          <a:pt x="1100" y="779"/>
                        </a:lnTo>
                        <a:lnTo>
                          <a:pt x="1100" y="781"/>
                        </a:lnTo>
                        <a:lnTo>
                          <a:pt x="1098" y="781"/>
                        </a:lnTo>
                        <a:lnTo>
                          <a:pt x="1097" y="781"/>
                        </a:lnTo>
                        <a:lnTo>
                          <a:pt x="1097" y="782"/>
                        </a:lnTo>
                        <a:lnTo>
                          <a:pt x="1095" y="782"/>
                        </a:lnTo>
                        <a:lnTo>
                          <a:pt x="1092" y="782"/>
                        </a:lnTo>
                        <a:lnTo>
                          <a:pt x="1092" y="784"/>
                        </a:lnTo>
                        <a:lnTo>
                          <a:pt x="1090" y="784"/>
                        </a:lnTo>
                        <a:lnTo>
                          <a:pt x="1089" y="784"/>
                        </a:lnTo>
                        <a:lnTo>
                          <a:pt x="1087" y="786"/>
                        </a:lnTo>
                        <a:lnTo>
                          <a:pt x="1086" y="786"/>
                        </a:lnTo>
                        <a:lnTo>
                          <a:pt x="1084" y="786"/>
                        </a:lnTo>
                        <a:lnTo>
                          <a:pt x="1082" y="786"/>
                        </a:lnTo>
                        <a:lnTo>
                          <a:pt x="1081" y="786"/>
                        </a:lnTo>
                        <a:lnTo>
                          <a:pt x="1079" y="786"/>
                        </a:lnTo>
                        <a:lnTo>
                          <a:pt x="1078" y="786"/>
                        </a:lnTo>
                        <a:lnTo>
                          <a:pt x="1076" y="784"/>
                        </a:lnTo>
                        <a:lnTo>
                          <a:pt x="1076" y="782"/>
                        </a:lnTo>
                        <a:lnTo>
                          <a:pt x="1076" y="781"/>
                        </a:lnTo>
                        <a:lnTo>
                          <a:pt x="1076" y="778"/>
                        </a:lnTo>
                        <a:lnTo>
                          <a:pt x="1076" y="775"/>
                        </a:lnTo>
                        <a:lnTo>
                          <a:pt x="1074" y="775"/>
                        </a:lnTo>
                        <a:lnTo>
                          <a:pt x="1073" y="775"/>
                        </a:lnTo>
                        <a:lnTo>
                          <a:pt x="1068" y="776"/>
                        </a:lnTo>
                        <a:lnTo>
                          <a:pt x="1067" y="776"/>
                        </a:lnTo>
                        <a:lnTo>
                          <a:pt x="1065" y="778"/>
                        </a:lnTo>
                        <a:lnTo>
                          <a:pt x="1063" y="778"/>
                        </a:lnTo>
                        <a:lnTo>
                          <a:pt x="1063" y="776"/>
                        </a:lnTo>
                        <a:lnTo>
                          <a:pt x="1062" y="775"/>
                        </a:lnTo>
                        <a:lnTo>
                          <a:pt x="1060" y="773"/>
                        </a:lnTo>
                        <a:lnTo>
                          <a:pt x="1059" y="775"/>
                        </a:lnTo>
                        <a:lnTo>
                          <a:pt x="1057" y="776"/>
                        </a:lnTo>
                        <a:lnTo>
                          <a:pt x="1055" y="778"/>
                        </a:lnTo>
                        <a:lnTo>
                          <a:pt x="1054" y="779"/>
                        </a:lnTo>
                        <a:lnTo>
                          <a:pt x="1054" y="781"/>
                        </a:lnTo>
                        <a:lnTo>
                          <a:pt x="1052" y="781"/>
                        </a:lnTo>
                        <a:lnTo>
                          <a:pt x="1052" y="779"/>
                        </a:lnTo>
                        <a:lnTo>
                          <a:pt x="1051" y="779"/>
                        </a:lnTo>
                        <a:lnTo>
                          <a:pt x="1051" y="781"/>
                        </a:lnTo>
                        <a:lnTo>
                          <a:pt x="1049" y="781"/>
                        </a:lnTo>
                        <a:lnTo>
                          <a:pt x="1049" y="782"/>
                        </a:lnTo>
                        <a:lnTo>
                          <a:pt x="1048" y="786"/>
                        </a:lnTo>
                        <a:lnTo>
                          <a:pt x="1049" y="786"/>
                        </a:lnTo>
                        <a:lnTo>
                          <a:pt x="1049" y="787"/>
                        </a:lnTo>
                        <a:lnTo>
                          <a:pt x="1049" y="790"/>
                        </a:lnTo>
                        <a:lnTo>
                          <a:pt x="1049" y="792"/>
                        </a:lnTo>
                        <a:lnTo>
                          <a:pt x="1046" y="794"/>
                        </a:lnTo>
                        <a:lnTo>
                          <a:pt x="1043" y="797"/>
                        </a:lnTo>
                        <a:lnTo>
                          <a:pt x="1043" y="798"/>
                        </a:lnTo>
                        <a:lnTo>
                          <a:pt x="1041" y="798"/>
                        </a:lnTo>
                        <a:lnTo>
                          <a:pt x="1040" y="800"/>
                        </a:lnTo>
                        <a:lnTo>
                          <a:pt x="1038" y="803"/>
                        </a:lnTo>
                        <a:lnTo>
                          <a:pt x="1038" y="806"/>
                        </a:lnTo>
                        <a:lnTo>
                          <a:pt x="1036" y="808"/>
                        </a:lnTo>
                        <a:lnTo>
                          <a:pt x="1036" y="809"/>
                        </a:lnTo>
                        <a:lnTo>
                          <a:pt x="1035" y="809"/>
                        </a:lnTo>
                        <a:lnTo>
                          <a:pt x="1032" y="813"/>
                        </a:lnTo>
                        <a:lnTo>
                          <a:pt x="1030" y="816"/>
                        </a:lnTo>
                        <a:lnTo>
                          <a:pt x="1030" y="817"/>
                        </a:lnTo>
                        <a:lnTo>
                          <a:pt x="1030" y="819"/>
                        </a:lnTo>
                        <a:lnTo>
                          <a:pt x="1032" y="820"/>
                        </a:lnTo>
                        <a:lnTo>
                          <a:pt x="1033" y="820"/>
                        </a:lnTo>
                        <a:lnTo>
                          <a:pt x="1033" y="822"/>
                        </a:lnTo>
                        <a:lnTo>
                          <a:pt x="1032" y="824"/>
                        </a:lnTo>
                        <a:lnTo>
                          <a:pt x="1029" y="827"/>
                        </a:lnTo>
                        <a:lnTo>
                          <a:pt x="1025" y="827"/>
                        </a:lnTo>
                        <a:lnTo>
                          <a:pt x="1025" y="828"/>
                        </a:lnTo>
                        <a:lnTo>
                          <a:pt x="1024" y="830"/>
                        </a:lnTo>
                        <a:lnTo>
                          <a:pt x="1022" y="830"/>
                        </a:lnTo>
                        <a:lnTo>
                          <a:pt x="1021" y="830"/>
                        </a:lnTo>
                        <a:lnTo>
                          <a:pt x="1019" y="830"/>
                        </a:lnTo>
                        <a:lnTo>
                          <a:pt x="1019" y="832"/>
                        </a:lnTo>
                        <a:lnTo>
                          <a:pt x="1019" y="833"/>
                        </a:lnTo>
                        <a:lnTo>
                          <a:pt x="1021" y="833"/>
                        </a:lnTo>
                        <a:lnTo>
                          <a:pt x="1022" y="835"/>
                        </a:lnTo>
                        <a:lnTo>
                          <a:pt x="1024" y="836"/>
                        </a:lnTo>
                        <a:lnTo>
                          <a:pt x="1022" y="838"/>
                        </a:lnTo>
                        <a:lnTo>
                          <a:pt x="1021" y="839"/>
                        </a:lnTo>
                        <a:lnTo>
                          <a:pt x="1019" y="839"/>
                        </a:lnTo>
                        <a:lnTo>
                          <a:pt x="1017" y="841"/>
                        </a:lnTo>
                        <a:lnTo>
                          <a:pt x="1021" y="844"/>
                        </a:lnTo>
                        <a:lnTo>
                          <a:pt x="1021" y="846"/>
                        </a:lnTo>
                        <a:lnTo>
                          <a:pt x="1022" y="846"/>
                        </a:lnTo>
                        <a:lnTo>
                          <a:pt x="1024" y="844"/>
                        </a:lnTo>
                        <a:lnTo>
                          <a:pt x="1025" y="844"/>
                        </a:lnTo>
                        <a:lnTo>
                          <a:pt x="1027" y="847"/>
                        </a:lnTo>
                        <a:lnTo>
                          <a:pt x="1025" y="849"/>
                        </a:lnTo>
                        <a:lnTo>
                          <a:pt x="1024" y="849"/>
                        </a:lnTo>
                        <a:lnTo>
                          <a:pt x="1022" y="849"/>
                        </a:lnTo>
                        <a:lnTo>
                          <a:pt x="1021" y="847"/>
                        </a:lnTo>
                        <a:lnTo>
                          <a:pt x="1019" y="847"/>
                        </a:lnTo>
                        <a:lnTo>
                          <a:pt x="1017" y="847"/>
                        </a:lnTo>
                        <a:lnTo>
                          <a:pt x="1016" y="849"/>
                        </a:lnTo>
                        <a:lnTo>
                          <a:pt x="1016" y="847"/>
                        </a:lnTo>
                        <a:lnTo>
                          <a:pt x="1014" y="847"/>
                        </a:lnTo>
                        <a:lnTo>
                          <a:pt x="1014" y="849"/>
                        </a:lnTo>
                        <a:lnTo>
                          <a:pt x="1013" y="851"/>
                        </a:lnTo>
                        <a:lnTo>
                          <a:pt x="1013" y="852"/>
                        </a:lnTo>
                        <a:lnTo>
                          <a:pt x="1014" y="852"/>
                        </a:lnTo>
                        <a:lnTo>
                          <a:pt x="1014" y="854"/>
                        </a:lnTo>
                        <a:lnTo>
                          <a:pt x="1016" y="854"/>
                        </a:lnTo>
                        <a:lnTo>
                          <a:pt x="1016" y="855"/>
                        </a:lnTo>
                        <a:lnTo>
                          <a:pt x="1016" y="857"/>
                        </a:lnTo>
                        <a:lnTo>
                          <a:pt x="1017" y="858"/>
                        </a:lnTo>
                        <a:lnTo>
                          <a:pt x="1017" y="860"/>
                        </a:lnTo>
                        <a:lnTo>
                          <a:pt x="1016" y="862"/>
                        </a:lnTo>
                        <a:lnTo>
                          <a:pt x="1013" y="865"/>
                        </a:lnTo>
                        <a:lnTo>
                          <a:pt x="1011" y="863"/>
                        </a:lnTo>
                        <a:lnTo>
                          <a:pt x="1010" y="863"/>
                        </a:lnTo>
                        <a:lnTo>
                          <a:pt x="1010" y="865"/>
                        </a:lnTo>
                        <a:lnTo>
                          <a:pt x="1008" y="865"/>
                        </a:lnTo>
                        <a:lnTo>
                          <a:pt x="1008" y="866"/>
                        </a:lnTo>
                        <a:lnTo>
                          <a:pt x="1008" y="868"/>
                        </a:lnTo>
                        <a:lnTo>
                          <a:pt x="1006" y="868"/>
                        </a:lnTo>
                        <a:lnTo>
                          <a:pt x="1005" y="868"/>
                        </a:lnTo>
                        <a:lnTo>
                          <a:pt x="1003" y="868"/>
                        </a:lnTo>
                        <a:lnTo>
                          <a:pt x="1002" y="866"/>
                        </a:lnTo>
                        <a:lnTo>
                          <a:pt x="1000" y="866"/>
                        </a:lnTo>
                        <a:lnTo>
                          <a:pt x="998" y="866"/>
                        </a:lnTo>
                        <a:lnTo>
                          <a:pt x="998" y="868"/>
                        </a:lnTo>
                        <a:lnTo>
                          <a:pt x="997" y="868"/>
                        </a:lnTo>
                        <a:lnTo>
                          <a:pt x="995" y="870"/>
                        </a:lnTo>
                        <a:lnTo>
                          <a:pt x="994" y="868"/>
                        </a:lnTo>
                        <a:lnTo>
                          <a:pt x="992" y="868"/>
                        </a:lnTo>
                        <a:lnTo>
                          <a:pt x="991" y="868"/>
                        </a:lnTo>
                        <a:lnTo>
                          <a:pt x="989" y="868"/>
                        </a:lnTo>
                        <a:lnTo>
                          <a:pt x="987" y="870"/>
                        </a:lnTo>
                        <a:lnTo>
                          <a:pt x="984" y="870"/>
                        </a:lnTo>
                        <a:lnTo>
                          <a:pt x="984" y="871"/>
                        </a:lnTo>
                        <a:lnTo>
                          <a:pt x="984" y="873"/>
                        </a:lnTo>
                        <a:lnTo>
                          <a:pt x="984" y="874"/>
                        </a:lnTo>
                        <a:lnTo>
                          <a:pt x="983" y="874"/>
                        </a:lnTo>
                        <a:lnTo>
                          <a:pt x="981" y="874"/>
                        </a:lnTo>
                        <a:lnTo>
                          <a:pt x="979" y="874"/>
                        </a:lnTo>
                        <a:lnTo>
                          <a:pt x="978" y="874"/>
                        </a:lnTo>
                        <a:lnTo>
                          <a:pt x="976" y="874"/>
                        </a:lnTo>
                        <a:lnTo>
                          <a:pt x="978" y="876"/>
                        </a:lnTo>
                        <a:lnTo>
                          <a:pt x="978" y="877"/>
                        </a:lnTo>
                        <a:lnTo>
                          <a:pt x="976" y="879"/>
                        </a:lnTo>
                        <a:lnTo>
                          <a:pt x="975" y="881"/>
                        </a:lnTo>
                        <a:lnTo>
                          <a:pt x="975" y="884"/>
                        </a:lnTo>
                        <a:lnTo>
                          <a:pt x="973" y="885"/>
                        </a:lnTo>
                        <a:lnTo>
                          <a:pt x="972" y="885"/>
                        </a:lnTo>
                        <a:lnTo>
                          <a:pt x="970" y="885"/>
                        </a:lnTo>
                        <a:lnTo>
                          <a:pt x="970" y="884"/>
                        </a:lnTo>
                        <a:lnTo>
                          <a:pt x="968" y="882"/>
                        </a:lnTo>
                        <a:lnTo>
                          <a:pt x="970" y="881"/>
                        </a:lnTo>
                        <a:lnTo>
                          <a:pt x="970" y="879"/>
                        </a:lnTo>
                        <a:lnTo>
                          <a:pt x="972" y="876"/>
                        </a:lnTo>
                        <a:lnTo>
                          <a:pt x="972" y="874"/>
                        </a:lnTo>
                        <a:lnTo>
                          <a:pt x="968" y="871"/>
                        </a:lnTo>
                        <a:lnTo>
                          <a:pt x="968" y="870"/>
                        </a:lnTo>
                        <a:lnTo>
                          <a:pt x="967" y="870"/>
                        </a:lnTo>
                        <a:lnTo>
                          <a:pt x="965" y="870"/>
                        </a:lnTo>
                        <a:lnTo>
                          <a:pt x="964" y="870"/>
                        </a:lnTo>
                        <a:lnTo>
                          <a:pt x="962" y="868"/>
                        </a:lnTo>
                        <a:lnTo>
                          <a:pt x="960" y="866"/>
                        </a:lnTo>
                        <a:lnTo>
                          <a:pt x="960" y="865"/>
                        </a:lnTo>
                        <a:lnTo>
                          <a:pt x="959" y="863"/>
                        </a:lnTo>
                        <a:lnTo>
                          <a:pt x="957" y="863"/>
                        </a:lnTo>
                        <a:lnTo>
                          <a:pt x="956" y="862"/>
                        </a:lnTo>
                        <a:lnTo>
                          <a:pt x="956" y="860"/>
                        </a:lnTo>
                        <a:lnTo>
                          <a:pt x="956" y="858"/>
                        </a:lnTo>
                        <a:lnTo>
                          <a:pt x="954" y="858"/>
                        </a:lnTo>
                        <a:lnTo>
                          <a:pt x="953" y="858"/>
                        </a:lnTo>
                        <a:lnTo>
                          <a:pt x="951" y="858"/>
                        </a:lnTo>
                        <a:lnTo>
                          <a:pt x="949" y="858"/>
                        </a:lnTo>
                        <a:lnTo>
                          <a:pt x="948" y="858"/>
                        </a:lnTo>
                        <a:lnTo>
                          <a:pt x="946" y="858"/>
                        </a:lnTo>
                        <a:lnTo>
                          <a:pt x="945" y="858"/>
                        </a:lnTo>
                        <a:lnTo>
                          <a:pt x="943" y="858"/>
                        </a:lnTo>
                        <a:lnTo>
                          <a:pt x="941" y="858"/>
                        </a:lnTo>
                        <a:lnTo>
                          <a:pt x="941" y="860"/>
                        </a:lnTo>
                        <a:lnTo>
                          <a:pt x="938" y="860"/>
                        </a:lnTo>
                        <a:lnTo>
                          <a:pt x="937" y="860"/>
                        </a:lnTo>
                        <a:lnTo>
                          <a:pt x="937" y="858"/>
                        </a:lnTo>
                        <a:lnTo>
                          <a:pt x="933" y="858"/>
                        </a:lnTo>
                        <a:lnTo>
                          <a:pt x="932" y="858"/>
                        </a:lnTo>
                        <a:lnTo>
                          <a:pt x="930" y="857"/>
                        </a:lnTo>
                        <a:lnTo>
                          <a:pt x="929" y="855"/>
                        </a:lnTo>
                        <a:lnTo>
                          <a:pt x="929" y="854"/>
                        </a:lnTo>
                        <a:lnTo>
                          <a:pt x="929" y="851"/>
                        </a:lnTo>
                        <a:lnTo>
                          <a:pt x="927" y="849"/>
                        </a:lnTo>
                        <a:lnTo>
                          <a:pt x="926" y="849"/>
                        </a:lnTo>
                        <a:lnTo>
                          <a:pt x="926" y="851"/>
                        </a:lnTo>
                        <a:lnTo>
                          <a:pt x="922" y="849"/>
                        </a:lnTo>
                        <a:lnTo>
                          <a:pt x="921" y="849"/>
                        </a:lnTo>
                        <a:lnTo>
                          <a:pt x="921" y="851"/>
                        </a:lnTo>
                        <a:lnTo>
                          <a:pt x="919" y="851"/>
                        </a:lnTo>
                        <a:lnTo>
                          <a:pt x="918" y="851"/>
                        </a:lnTo>
                        <a:lnTo>
                          <a:pt x="918" y="849"/>
                        </a:lnTo>
                        <a:lnTo>
                          <a:pt x="916" y="849"/>
                        </a:lnTo>
                        <a:lnTo>
                          <a:pt x="914" y="847"/>
                        </a:lnTo>
                        <a:lnTo>
                          <a:pt x="913" y="847"/>
                        </a:lnTo>
                        <a:lnTo>
                          <a:pt x="913" y="846"/>
                        </a:lnTo>
                        <a:lnTo>
                          <a:pt x="913" y="844"/>
                        </a:lnTo>
                        <a:lnTo>
                          <a:pt x="913" y="843"/>
                        </a:lnTo>
                        <a:lnTo>
                          <a:pt x="911" y="841"/>
                        </a:lnTo>
                        <a:lnTo>
                          <a:pt x="910" y="841"/>
                        </a:lnTo>
                        <a:lnTo>
                          <a:pt x="910" y="843"/>
                        </a:lnTo>
                        <a:lnTo>
                          <a:pt x="910" y="844"/>
                        </a:lnTo>
                        <a:lnTo>
                          <a:pt x="908" y="846"/>
                        </a:lnTo>
                        <a:lnTo>
                          <a:pt x="908" y="844"/>
                        </a:lnTo>
                        <a:lnTo>
                          <a:pt x="907" y="844"/>
                        </a:lnTo>
                        <a:lnTo>
                          <a:pt x="905" y="844"/>
                        </a:lnTo>
                        <a:lnTo>
                          <a:pt x="905" y="846"/>
                        </a:lnTo>
                        <a:lnTo>
                          <a:pt x="903" y="846"/>
                        </a:lnTo>
                        <a:lnTo>
                          <a:pt x="903" y="844"/>
                        </a:lnTo>
                        <a:lnTo>
                          <a:pt x="903" y="843"/>
                        </a:lnTo>
                        <a:lnTo>
                          <a:pt x="902" y="843"/>
                        </a:lnTo>
                        <a:lnTo>
                          <a:pt x="902" y="844"/>
                        </a:lnTo>
                        <a:lnTo>
                          <a:pt x="900" y="844"/>
                        </a:lnTo>
                        <a:lnTo>
                          <a:pt x="900" y="843"/>
                        </a:lnTo>
                        <a:lnTo>
                          <a:pt x="899" y="843"/>
                        </a:lnTo>
                        <a:lnTo>
                          <a:pt x="897" y="841"/>
                        </a:lnTo>
                        <a:lnTo>
                          <a:pt x="895" y="841"/>
                        </a:lnTo>
                        <a:lnTo>
                          <a:pt x="895" y="839"/>
                        </a:lnTo>
                        <a:lnTo>
                          <a:pt x="894" y="839"/>
                        </a:lnTo>
                        <a:lnTo>
                          <a:pt x="892" y="838"/>
                        </a:lnTo>
                        <a:lnTo>
                          <a:pt x="891" y="838"/>
                        </a:lnTo>
                        <a:lnTo>
                          <a:pt x="891" y="836"/>
                        </a:lnTo>
                        <a:lnTo>
                          <a:pt x="889" y="835"/>
                        </a:lnTo>
                        <a:lnTo>
                          <a:pt x="889" y="833"/>
                        </a:lnTo>
                        <a:lnTo>
                          <a:pt x="888" y="833"/>
                        </a:lnTo>
                        <a:lnTo>
                          <a:pt x="888" y="832"/>
                        </a:lnTo>
                        <a:lnTo>
                          <a:pt x="886" y="832"/>
                        </a:lnTo>
                        <a:lnTo>
                          <a:pt x="886" y="830"/>
                        </a:lnTo>
                        <a:lnTo>
                          <a:pt x="886" y="828"/>
                        </a:lnTo>
                        <a:lnTo>
                          <a:pt x="884" y="828"/>
                        </a:lnTo>
                        <a:lnTo>
                          <a:pt x="884" y="827"/>
                        </a:lnTo>
                        <a:lnTo>
                          <a:pt x="883" y="825"/>
                        </a:lnTo>
                        <a:lnTo>
                          <a:pt x="881" y="824"/>
                        </a:lnTo>
                        <a:lnTo>
                          <a:pt x="881" y="822"/>
                        </a:lnTo>
                        <a:lnTo>
                          <a:pt x="880" y="822"/>
                        </a:lnTo>
                        <a:lnTo>
                          <a:pt x="880" y="820"/>
                        </a:lnTo>
                        <a:lnTo>
                          <a:pt x="880" y="819"/>
                        </a:lnTo>
                        <a:lnTo>
                          <a:pt x="878" y="817"/>
                        </a:lnTo>
                        <a:lnTo>
                          <a:pt x="878" y="816"/>
                        </a:lnTo>
                        <a:lnTo>
                          <a:pt x="876" y="816"/>
                        </a:lnTo>
                        <a:lnTo>
                          <a:pt x="876" y="814"/>
                        </a:lnTo>
                        <a:lnTo>
                          <a:pt x="876" y="813"/>
                        </a:lnTo>
                        <a:lnTo>
                          <a:pt x="875" y="813"/>
                        </a:lnTo>
                        <a:lnTo>
                          <a:pt x="875" y="811"/>
                        </a:lnTo>
                        <a:lnTo>
                          <a:pt x="875" y="809"/>
                        </a:lnTo>
                        <a:lnTo>
                          <a:pt x="873" y="809"/>
                        </a:lnTo>
                        <a:lnTo>
                          <a:pt x="873" y="808"/>
                        </a:lnTo>
                        <a:lnTo>
                          <a:pt x="872" y="808"/>
                        </a:lnTo>
                        <a:lnTo>
                          <a:pt x="870" y="809"/>
                        </a:lnTo>
                        <a:lnTo>
                          <a:pt x="870" y="808"/>
                        </a:lnTo>
                        <a:lnTo>
                          <a:pt x="869" y="809"/>
                        </a:lnTo>
                        <a:lnTo>
                          <a:pt x="869" y="811"/>
                        </a:lnTo>
                        <a:lnTo>
                          <a:pt x="867" y="811"/>
                        </a:lnTo>
                        <a:lnTo>
                          <a:pt x="867" y="813"/>
                        </a:lnTo>
                        <a:lnTo>
                          <a:pt x="867" y="814"/>
                        </a:lnTo>
                        <a:lnTo>
                          <a:pt x="865" y="814"/>
                        </a:lnTo>
                        <a:lnTo>
                          <a:pt x="864" y="816"/>
                        </a:lnTo>
                        <a:lnTo>
                          <a:pt x="862" y="816"/>
                        </a:lnTo>
                        <a:lnTo>
                          <a:pt x="861" y="817"/>
                        </a:lnTo>
                        <a:lnTo>
                          <a:pt x="859" y="817"/>
                        </a:lnTo>
                        <a:lnTo>
                          <a:pt x="857" y="817"/>
                        </a:lnTo>
                        <a:lnTo>
                          <a:pt x="857" y="819"/>
                        </a:lnTo>
                        <a:lnTo>
                          <a:pt x="856" y="819"/>
                        </a:lnTo>
                        <a:lnTo>
                          <a:pt x="856" y="820"/>
                        </a:lnTo>
                        <a:lnTo>
                          <a:pt x="854" y="822"/>
                        </a:lnTo>
                        <a:lnTo>
                          <a:pt x="854" y="824"/>
                        </a:lnTo>
                        <a:lnTo>
                          <a:pt x="853" y="824"/>
                        </a:lnTo>
                        <a:lnTo>
                          <a:pt x="851" y="825"/>
                        </a:lnTo>
                        <a:lnTo>
                          <a:pt x="850" y="825"/>
                        </a:lnTo>
                        <a:lnTo>
                          <a:pt x="850" y="827"/>
                        </a:lnTo>
                        <a:lnTo>
                          <a:pt x="848" y="827"/>
                        </a:lnTo>
                        <a:lnTo>
                          <a:pt x="846" y="827"/>
                        </a:lnTo>
                        <a:lnTo>
                          <a:pt x="845" y="827"/>
                        </a:lnTo>
                        <a:lnTo>
                          <a:pt x="843" y="828"/>
                        </a:lnTo>
                        <a:lnTo>
                          <a:pt x="842" y="830"/>
                        </a:lnTo>
                        <a:lnTo>
                          <a:pt x="840" y="830"/>
                        </a:lnTo>
                        <a:lnTo>
                          <a:pt x="840" y="832"/>
                        </a:lnTo>
                        <a:lnTo>
                          <a:pt x="838" y="833"/>
                        </a:lnTo>
                        <a:lnTo>
                          <a:pt x="837" y="833"/>
                        </a:lnTo>
                        <a:lnTo>
                          <a:pt x="835" y="833"/>
                        </a:lnTo>
                        <a:lnTo>
                          <a:pt x="834" y="833"/>
                        </a:lnTo>
                        <a:lnTo>
                          <a:pt x="832" y="833"/>
                        </a:lnTo>
                        <a:lnTo>
                          <a:pt x="831" y="833"/>
                        </a:lnTo>
                        <a:lnTo>
                          <a:pt x="829" y="833"/>
                        </a:lnTo>
                        <a:lnTo>
                          <a:pt x="827" y="833"/>
                        </a:lnTo>
                        <a:lnTo>
                          <a:pt x="827" y="835"/>
                        </a:lnTo>
                        <a:lnTo>
                          <a:pt x="826" y="835"/>
                        </a:lnTo>
                        <a:lnTo>
                          <a:pt x="824" y="836"/>
                        </a:lnTo>
                        <a:lnTo>
                          <a:pt x="823" y="836"/>
                        </a:lnTo>
                        <a:lnTo>
                          <a:pt x="821" y="836"/>
                        </a:lnTo>
                        <a:lnTo>
                          <a:pt x="819" y="836"/>
                        </a:lnTo>
                        <a:lnTo>
                          <a:pt x="816" y="836"/>
                        </a:lnTo>
                        <a:lnTo>
                          <a:pt x="815" y="836"/>
                        </a:lnTo>
                        <a:lnTo>
                          <a:pt x="813" y="836"/>
                        </a:lnTo>
                        <a:lnTo>
                          <a:pt x="812" y="836"/>
                        </a:lnTo>
                        <a:lnTo>
                          <a:pt x="810" y="838"/>
                        </a:lnTo>
                        <a:lnTo>
                          <a:pt x="808" y="838"/>
                        </a:lnTo>
                        <a:lnTo>
                          <a:pt x="807" y="838"/>
                        </a:lnTo>
                        <a:lnTo>
                          <a:pt x="805" y="838"/>
                        </a:lnTo>
                        <a:lnTo>
                          <a:pt x="804" y="838"/>
                        </a:lnTo>
                        <a:lnTo>
                          <a:pt x="802" y="838"/>
                        </a:lnTo>
                        <a:lnTo>
                          <a:pt x="800" y="838"/>
                        </a:lnTo>
                        <a:lnTo>
                          <a:pt x="799" y="839"/>
                        </a:lnTo>
                        <a:lnTo>
                          <a:pt x="797" y="839"/>
                        </a:lnTo>
                        <a:lnTo>
                          <a:pt x="796" y="839"/>
                        </a:lnTo>
                        <a:lnTo>
                          <a:pt x="794" y="841"/>
                        </a:lnTo>
                        <a:lnTo>
                          <a:pt x="794" y="843"/>
                        </a:lnTo>
                        <a:lnTo>
                          <a:pt x="793" y="844"/>
                        </a:lnTo>
                        <a:lnTo>
                          <a:pt x="793" y="846"/>
                        </a:lnTo>
                        <a:lnTo>
                          <a:pt x="793" y="847"/>
                        </a:lnTo>
                        <a:lnTo>
                          <a:pt x="791" y="849"/>
                        </a:lnTo>
                        <a:lnTo>
                          <a:pt x="791" y="851"/>
                        </a:lnTo>
                        <a:lnTo>
                          <a:pt x="789" y="852"/>
                        </a:lnTo>
                        <a:lnTo>
                          <a:pt x="789" y="854"/>
                        </a:lnTo>
                        <a:lnTo>
                          <a:pt x="788" y="855"/>
                        </a:lnTo>
                        <a:lnTo>
                          <a:pt x="786" y="855"/>
                        </a:lnTo>
                        <a:lnTo>
                          <a:pt x="786" y="857"/>
                        </a:lnTo>
                        <a:lnTo>
                          <a:pt x="785" y="858"/>
                        </a:lnTo>
                        <a:lnTo>
                          <a:pt x="783" y="858"/>
                        </a:lnTo>
                        <a:lnTo>
                          <a:pt x="781" y="858"/>
                        </a:lnTo>
                        <a:lnTo>
                          <a:pt x="780" y="858"/>
                        </a:lnTo>
                        <a:lnTo>
                          <a:pt x="778" y="858"/>
                        </a:lnTo>
                        <a:lnTo>
                          <a:pt x="778" y="860"/>
                        </a:lnTo>
                        <a:lnTo>
                          <a:pt x="777" y="860"/>
                        </a:lnTo>
                        <a:lnTo>
                          <a:pt x="775" y="860"/>
                        </a:lnTo>
                        <a:lnTo>
                          <a:pt x="775" y="862"/>
                        </a:lnTo>
                        <a:lnTo>
                          <a:pt x="775" y="863"/>
                        </a:lnTo>
                        <a:lnTo>
                          <a:pt x="774" y="863"/>
                        </a:lnTo>
                        <a:lnTo>
                          <a:pt x="774" y="865"/>
                        </a:lnTo>
                        <a:lnTo>
                          <a:pt x="772" y="866"/>
                        </a:lnTo>
                        <a:lnTo>
                          <a:pt x="770" y="868"/>
                        </a:lnTo>
                        <a:lnTo>
                          <a:pt x="769" y="868"/>
                        </a:lnTo>
                        <a:lnTo>
                          <a:pt x="769" y="866"/>
                        </a:lnTo>
                        <a:lnTo>
                          <a:pt x="767" y="866"/>
                        </a:lnTo>
                        <a:lnTo>
                          <a:pt x="766" y="866"/>
                        </a:lnTo>
                        <a:lnTo>
                          <a:pt x="764" y="866"/>
                        </a:lnTo>
                        <a:lnTo>
                          <a:pt x="762" y="866"/>
                        </a:lnTo>
                        <a:lnTo>
                          <a:pt x="762" y="868"/>
                        </a:lnTo>
                        <a:lnTo>
                          <a:pt x="761" y="866"/>
                        </a:lnTo>
                        <a:lnTo>
                          <a:pt x="759" y="866"/>
                        </a:lnTo>
                        <a:lnTo>
                          <a:pt x="759" y="865"/>
                        </a:lnTo>
                        <a:lnTo>
                          <a:pt x="758" y="865"/>
                        </a:lnTo>
                        <a:lnTo>
                          <a:pt x="756" y="865"/>
                        </a:lnTo>
                        <a:lnTo>
                          <a:pt x="756" y="863"/>
                        </a:lnTo>
                        <a:lnTo>
                          <a:pt x="754" y="863"/>
                        </a:lnTo>
                        <a:lnTo>
                          <a:pt x="754" y="862"/>
                        </a:lnTo>
                        <a:lnTo>
                          <a:pt x="753" y="862"/>
                        </a:lnTo>
                        <a:lnTo>
                          <a:pt x="753" y="860"/>
                        </a:lnTo>
                        <a:lnTo>
                          <a:pt x="751" y="860"/>
                        </a:lnTo>
                        <a:lnTo>
                          <a:pt x="751" y="858"/>
                        </a:lnTo>
                        <a:lnTo>
                          <a:pt x="750" y="857"/>
                        </a:lnTo>
                        <a:lnTo>
                          <a:pt x="750" y="855"/>
                        </a:lnTo>
                        <a:lnTo>
                          <a:pt x="750" y="854"/>
                        </a:lnTo>
                        <a:lnTo>
                          <a:pt x="748" y="854"/>
                        </a:lnTo>
                        <a:lnTo>
                          <a:pt x="748" y="852"/>
                        </a:lnTo>
                        <a:lnTo>
                          <a:pt x="748" y="851"/>
                        </a:lnTo>
                        <a:lnTo>
                          <a:pt x="747" y="849"/>
                        </a:lnTo>
                        <a:lnTo>
                          <a:pt x="747" y="847"/>
                        </a:lnTo>
                        <a:lnTo>
                          <a:pt x="747" y="846"/>
                        </a:lnTo>
                        <a:lnTo>
                          <a:pt x="747" y="844"/>
                        </a:lnTo>
                        <a:lnTo>
                          <a:pt x="745" y="843"/>
                        </a:lnTo>
                        <a:lnTo>
                          <a:pt x="743" y="843"/>
                        </a:lnTo>
                        <a:lnTo>
                          <a:pt x="743" y="844"/>
                        </a:lnTo>
                        <a:lnTo>
                          <a:pt x="742" y="844"/>
                        </a:lnTo>
                        <a:lnTo>
                          <a:pt x="740" y="844"/>
                        </a:lnTo>
                        <a:lnTo>
                          <a:pt x="740" y="843"/>
                        </a:lnTo>
                        <a:lnTo>
                          <a:pt x="739" y="843"/>
                        </a:lnTo>
                        <a:lnTo>
                          <a:pt x="737" y="843"/>
                        </a:lnTo>
                        <a:lnTo>
                          <a:pt x="735" y="843"/>
                        </a:lnTo>
                        <a:lnTo>
                          <a:pt x="734" y="843"/>
                        </a:lnTo>
                        <a:lnTo>
                          <a:pt x="732" y="843"/>
                        </a:lnTo>
                        <a:lnTo>
                          <a:pt x="731" y="843"/>
                        </a:lnTo>
                        <a:lnTo>
                          <a:pt x="729" y="841"/>
                        </a:lnTo>
                        <a:lnTo>
                          <a:pt x="728" y="841"/>
                        </a:lnTo>
                        <a:lnTo>
                          <a:pt x="726" y="841"/>
                        </a:lnTo>
                        <a:lnTo>
                          <a:pt x="726" y="843"/>
                        </a:lnTo>
                        <a:lnTo>
                          <a:pt x="724" y="843"/>
                        </a:lnTo>
                        <a:lnTo>
                          <a:pt x="723" y="843"/>
                        </a:lnTo>
                        <a:lnTo>
                          <a:pt x="721" y="843"/>
                        </a:lnTo>
                        <a:lnTo>
                          <a:pt x="720" y="843"/>
                        </a:lnTo>
                        <a:lnTo>
                          <a:pt x="716" y="843"/>
                        </a:lnTo>
                        <a:lnTo>
                          <a:pt x="716" y="841"/>
                        </a:lnTo>
                        <a:lnTo>
                          <a:pt x="715" y="841"/>
                        </a:lnTo>
                        <a:lnTo>
                          <a:pt x="713" y="841"/>
                        </a:lnTo>
                        <a:lnTo>
                          <a:pt x="712" y="841"/>
                        </a:lnTo>
                        <a:lnTo>
                          <a:pt x="710" y="839"/>
                        </a:lnTo>
                        <a:lnTo>
                          <a:pt x="709" y="839"/>
                        </a:lnTo>
                        <a:lnTo>
                          <a:pt x="707" y="839"/>
                        </a:lnTo>
                        <a:lnTo>
                          <a:pt x="707" y="838"/>
                        </a:lnTo>
                        <a:lnTo>
                          <a:pt x="705" y="838"/>
                        </a:lnTo>
                        <a:lnTo>
                          <a:pt x="704" y="838"/>
                        </a:lnTo>
                        <a:lnTo>
                          <a:pt x="702" y="838"/>
                        </a:lnTo>
                        <a:lnTo>
                          <a:pt x="701" y="839"/>
                        </a:lnTo>
                        <a:lnTo>
                          <a:pt x="699" y="839"/>
                        </a:lnTo>
                        <a:lnTo>
                          <a:pt x="699" y="841"/>
                        </a:lnTo>
                        <a:lnTo>
                          <a:pt x="697" y="841"/>
                        </a:lnTo>
                        <a:lnTo>
                          <a:pt x="696" y="843"/>
                        </a:lnTo>
                        <a:lnTo>
                          <a:pt x="694" y="843"/>
                        </a:lnTo>
                        <a:lnTo>
                          <a:pt x="694" y="844"/>
                        </a:lnTo>
                        <a:lnTo>
                          <a:pt x="693" y="844"/>
                        </a:lnTo>
                        <a:lnTo>
                          <a:pt x="691" y="844"/>
                        </a:lnTo>
                        <a:lnTo>
                          <a:pt x="690" y="844"/>
                        </a:lnTo>
                        <a:lnTo>
                          <a:pt x="688" y="846"/>
                        </a:lnTo>
                        <a:lnTo>
                          <a:pt x="686" y="844"/>
                        </a:lnTo>
                        <a:lnTo>
                          <a:pt x="685" y="844"/>
                        </a:lnTo>
                        <a:lnTo>
                          <a:pt x="683" y="844"/>
                        </a:lnTo>
                        <a:lnTo>
                          <a:pt x="683" y="843"/>
                        </a:lnTo>
                        <a:lnTo>
                          <a:pt x="683" y="841"/>
                        </a:lnTo>
                        <a:lnTo>
                          <a:pt x="683" y="839"/>
                        </a:lnTo>
                        <a:lnTo>
                          <a:pt x="682" y="839"/>
                        </a:lnTo>
                        <a:lnTo>
                          <a:pt x="682" y="838"/>
                        </a:lnTo>
                        <a:lnTo>
                          <a:pt x="682" y="836"/>
                        </a:lnTo>
                        <a:lnTo>
                          <a:pt x="680" y="835"/>
                        </a:lnTo>
                        <a:lnTo>
                          <a:pt x="680" y="833"/>
                        </a:lnTo>
                        <a:lnTo>
                          <a:pt x="678" y="832"/>
                        </a:lnTo>
                        <a:lnTo>
                          <a:pt x="678" y="830"/>
                        </a:lnTo>
                        <a:lnTo>
                          <a:pt x="677" y="828"/>
                        </a:lnTo>
                        <a:lnTo>
                          <a:pt x="677" y="827"/>
                        </a:lnTo>
                        <a:lnTo>
                          <a:pt x="675" y="825"/>
                        </a:lnTo>
                        <a:lnTo>
                          <a:pt x="675" y="824"/>
                        </a:lnTo>
                        <a:lnTo>
                          <a:pt x="675" y="822"/>
                        </a:lnTo>
                        <a:lnTo>
                          <a:pt x="674" y="822"/>
                        </a:lnTo>
                        <a:lnTo>
                          <a:pt x="674" y="820"/>
                        </a:lnTo>
                        <a:lnTo>
                          <a:pt x="674" y="819"/>
                        </a:lnTo>
                        <a:lnTo>
                          <a:pt x="672" y="819"/>
                        </a:lnTo>
                        <a:lnTo>
                          <a:pt x="672" y="817"/>
                        </a:lnTo>
                        <a:lnTo>
                          <a:pt x="671" y="816"/>
                        </a:lnTo>
                        <a:lnTo>
                          <a:pt x="671" y="814"/>
                        </a:lnTo>
                        <a:lnTo>
                          <a:pt x="671" y="813"/>
                        </a:lnTo>
                        <a:lnTo>
                          <a:pt x="671" y="811"/>
                        </a:lnTo>
                        <a:lnTo>
                          <a:pt x="669" y="811"/>
                        </a:lnTo>
                        <a:lnTo>
                          <a:pt x="669" y="809"/>
                        </a:lnTo>
                        <a:lnTo>
                          <a:pt x="667" y="808"/>
                        </a:lnTo>
                        <a:lnTo>
                          <a:pt x="667" y="806"/>
                        </a:lnTo>
                        <a:lnTo>
                          <a:pt x="666" y="805"/>
                        </a:lnTo>
                        <a:lnTo>
                          <a:pt x="666" y="803"/>
                        </a:lnTo>
                        <a:lnTo>
                          <a:pt x="666" y="801"/>
                        </a:lnTo>
                        <a:lnTo>
                          <a:pt x="664" y="800"/>
                        </a:lnTo>
                        <a:lnTo>
                          <a:pt x="664" y="798"/>
                        </a:lnTo>
                        <a:lnTo>
                          <a:pt x="663" y="798"/>
                        </a:lnTo>
                        <a:lnTo>
                          <a:pt x="663" y="797"/>
                        </a:lnTo>
                        <a:lnTo>
                          <a:pt x="663" y="795"/>
                        </a:lnTo>
                        <a:lnTo>
                          <a:pt x="661" y="795"/>
                        </a:lnTo>
                        <a:lnTo>
                          <a:pt x="661" y="794"/>
                        </a:lnTo>
                        <a:lnTo>
                          <a:pt x="661" y="792"/>
                        </a:lnTo>
                        <a:lnTo>
                          <a:pt x="659" y="792"/>
                        </a:lnTo>
                        <a:lnTo>
                          <a:pt x="659" y="790"/>
                        </a:lnTo>
                        <a:lnTo>
                          <a:pt x="659" y="789"/>
                        </a:lnTo>
                        <a:lnTo>
                          <a:pt x="659" y="787"/>
                        </a:lnTo>
                        <a:lnTo>
                          <a:pt x="658" y="787"/>
                        </a:lnTo>
                        <a:lnTo>
                          <a:pt x="658" y="786"/>
                        </a:lnTo>
                        <a:lnTo>
                          <a:pt x="656" y="784"/>
                        </a:lnTo>
                        <a:lnTo>
                          <a:pt x="656" y="782"/>
                        </a:lnTo>
                        <a:lnTo>
                          <a:pt x="655" y="781"/>
                        </a:lnTo>
                        <a:lnTo>
                          <a:pt x="655" y="779"/>
                        </a:lnTo>
                        <a:lnTo>
                          <a:pt x="653" y="778"/>
                        </a:lnTo>
                        <a:lnTo>
                          <a:pt x="653" y="776"/>
                        </a:lnTo>
                        <a:lnTo>
                          <a:pt x="653" y="775"/>
                        </a:lnTo>
                        <a:lnTo>
                          <a:pt x="652" y="773"/>
                        </a:lnTo>
                        <a:lnTo>
                          <a:pt x="652" y="771"/>
                        </a:lnTo>
                        <a:lnTo>
                          <a:pt x="650" y="770"/>
                        </a:lnTo>
                        <a:lnTo>
                          <a:pt x="650" y="768"/>
                        </a:lnTo>
                        <a:lnTo>
                          <a:pt x="650" y="767"/>
                        </a:lnTo>
                        <a:lnTo>
                          <a:pt x="648" y="767"/>
                        </a:lnTo>
                        <a:lnTo>
                          <a:pt x="648" y="765"/>
                        </a:lnTo>
                        <a:lnTo>
                          <a:pt x="648" y="763"/>
                        </a:lnTo>
                        <a:lnTo>
                          <a:pt x="647" y="763"/>
                        </a:lnTo>
                        <a:lnTo>
                          <a:pt x="647" y="762"/>
                        </a:lnTo>
                        <a:lnTo>
                          <a:pt x="647" y="760"/>
                        </a:lnTo>
                        <a:lnTo>
                          <a:pt x="645" y="760"/>
                        </a:lnTo>
                        <a:lnTo>
                          <a:pt x="644" y="760"/>
                        </a:lnTo>
                        <a:lnTo>
                          <a:pt x="642" y="760"/>
                        </a:lnTo>
                        <a:lnTo>
                          <a:pt x="640" y="760"/>
                        </a:lnTo>
                        <a:lnTo>
                          <a:pt x="640" y="759"/>
                        </a:lnTo>
                        <a:lnTo>
                          <a:pt x="639" y="759"/>
                        </a:lnTo>
                        <a:lnTo>
                          <a:pt x="637" y="757"/>
                        </a:lnTo>
                        <a:lnTo>
                          <a:pt x="636" y="757"/>
                        </a:lnTo>
                        <a:lnTo>
                          <a:pt x="634" y="757"/>
                        </a:lnTo>
                        <a:lnTo>
                          <a:pt x="633" y="757"/>
                        </a:lnTo>
                        <a:lnTo>
                          <a:pt x="631" y="757"/>
                        </a:lnTo>
                        <a:lnTo>
                          <a:pt x="631" y="759"/>
                        </a:lnTo>
                        <a:lnTo>
                          <a:pt x="629" y="759"/>
                        </a:lnTo>
                        <a:lnTo>
                          <a:pt x="628" y="759"/>
                        </a:lnTo>
                        <a:lnTo>
                          <a:pt x="628" y="760"/>
                        </a:lnTo>
                        <a:lnTo>
                          <a:pt x="628" y="762"/>
                        </a:lnTo>
                        <a:lnTo>
                          <a:pt x="626" y="762"/>
                        </a:lnTo>
                        <a:lnTo>
                          <a:pt x="626" y="763"/>
                        </a:lnTo>
                        <a:lnTo>
                          <a:pt x="625" y="763"/>
                        </a:lnTo>
                        <a:lnTo>
                          <a:pt x="626" y="763"/>
                        </a:lnTo>
                        <a:lnTo>
                          <a:pt x="625" y="763"/>
                        </a:lnTo>
                        <a:lnTo>
                          <a:pt x="623" y="763"/>
                        </a:lnTo>
                        <a:lnTo>
                          <a:pt x="623" y="762"/>
                        </a:lnTo>
                        <a:lnTo>
                          <a:pt x="621" y="762"/>
                        </a:lnTo>
                        <a:lnTo>
                          <a:pt x="620" y="762"/>
                        </a:lnTo>
                        <a:lnTo>
                          <a:pt x="620" y="760"/>
                        </a:lnTo>
                        <a:lnTo>
                          <a:pt x="617" y="762"/>
                        </a:lnTo>
                        <a:lnTo>
                          <a:pt x="615" y="762"/>
                        </a:lnTo>
                        <a:lnTo>
                          <a:pt x="614" y="762"/>
                        </a:lnTo>
                        <a:lnTo>
                          <a:pt x="614" y="763"/>
                        </a:lnTo>
                        <a:lnTo>
                          <a:pt x="612" y="763"/>
                        </a:lnTo>
                        <a:lnTo>
                          <a:pt x="610" y="763"/>
                        </a:lnTo>
                        <a:lnTo>
                          <a:pt x="610" y="765"/>
                        </a:lnTo>
                        <a:lnTo>
                          <a:pt x="609" y="765"/>
                        </a:lnTo>
                        <a:lnTo>
                          <a:pt x="607" y="765"/>
                        </a:lnTo>
                        <a:lnTo>
                          <a:pt x="606" y="765"/>
                        </a:lnTo>
                        <a:lnTo>
                          <a:pt x="604" y="765"/>
                        </a:lnTo>
                        <a:lnTo>
                          <a:pt x="602" y="763"/>
                        </a:lnTo>
                        <a:lnTo>
                          <a:pt x="601" y="763"/>
                        </a:lnTo>
                        <a:lnTo>
                          <a:pt x="599" y="763"/>
                        </a:lnTo>
                        <a:lnTo>
                          <a:pt x="599" y="762"/>
                        </a:lnTo>
                        <a:lnTo>
                          <a:pt x="596" y="762"/>
                        </a:lnTo>
                        <a:lnTo>
                          <a:pt x="595" y="762"/>
                        </a:lnTo>
                        <a:lnTo>
                          <a:pt x="593" y="762"/>
                        </a:lnTo>
                        <a:lnTo>
                          <a:pt x="591" y="762"/>
                        </a:lnTo>
                        <a:lnTo>
                          <a:pt x="590" y="762"/>
                        </a:lnTo>
                        <a:lnTo>
                          <a:pt x="588" y="763"/>
                        </a:lnTo>
                        <a:lnTo>
                          <a:pt x="587" y="763"/>
                        </a:lnTo>
                        <a:lnTo>
                          <a:pt x="587" y="765"/>
                        </a:lnTo>
                        <a:lnTo>
                          <a:pt x="585" y="765"/>
                        </a:lnTo>
                        <a:lnTo>
                          <a:pt x="583" y="767"/>
                        </a:lnTo>
                        <a:lnTo>
                          <a:pt x="582" y="767"/>
                        </a:lnTo>
                        <a:lnTo>
                          <a:pt x="582" y="768"/>
                        </a:lnTo>
                        <a:lnTo>
                          <a:pt x="580" y="768"/>
                        </a:lnTo>
                        <a:lnTo>
                          <a:pt x="579" y="768"/>
                        </a:lnTo>
                        <a:lnTo>
                          <a:pt x="579" y="770"/>
                        </a:lnTo>
                        <a:lnTo>
                          <a:pt x="577" y="770"/>
                        </a:lnTo>
                        <a:lnTo>
                          <a:pt x="576" y="770"/>
                        </a:lnTo>
                        <a:lnTo>
                          <a:pt x="574" y="771"/>
                        </a:lnTo>
                        <a:lnTo>
                          <a:pt x="572" y="771"/>
                        </a:lnTo>
                        <a:lnTo>
                          <a:pt x="571" y="771"/>
                        </a:lnTo>
                        <a:lnTo>
                          <a:pt x="571" y="773"/>
                        </a:lnTo>
                        <a:lnTo>
                          <a:pt x="569" y="773"/>
                        </a:lnTo>
                        <a:lnTo>
                          <a:pt x="568" y="773"/>
                        </a:lnTo>
                        <a:lnTo>
                          <a:pt x="568" y="775"/>
                        </a:lnTo>
                        <a:lnTo>
                          <a:pt x="566" y="775"/>
                        </a:lnTo>
                        <a:lnTo>
                          <a:pt x="566" y="776"/>
                        </a:lnTo>
                        <a:lnTo>
                          <a:pt x="564" y="776"/>
                        </a:lnTo>
                        <a:lnTo>
                          <a:pt x="564" y="778"/>
                        </a:lnTo>
                        <a:lnTo>
                          <a:pt x="563" y="778"/>
                        </a:lnTo>
                        <a:lnTo>
                          <a:pt x="561" y="779"/>
                        </a:lnTo>
                        <a:lnTo>
                          <a:pt x="561" y="781"/>
                        </a:lnTo>
                        <a:lnTo>
                          <a:pt x="561" y="782"/>
                        </a:lnTo>
                        <a:lnTo>
                          <a:pt x="563" y="784"/>
                        </a:lnTo>
                        <a:lnTo>
                          <a:pt x="563" y="786"/>
                        </a:lnTo>
                        <a:lnTo>
                          <a:pt x="563" y="787"/>
                        </a:lnTo>
                        <a:lnTo>
                          <a:pt x="561" y="789"/>
                        </a:lnTo>
                        <a:lnTo>
                          <a:pt x="560" y="789"/>
                        </a:lnTo>
                        <a:lnTo>
                          <a:pt x="560" y="790"/>
                        </a:lnTo>
                        <a:lnTo>
                          <a:pt x="558" y="790"/>
                        </a:lnTo>
                        <a:lnTo>
                          <a:pt x="556" y="790"/>
                        </a:lnTo>
                        <a:lnTo>
                          <a:pt x="555" y="792"/>
                        </a:lnTo>
                        <a:lnTo>
                          <a:pt x="553" y="792"/>
                        </a:lnTo>
                        <a:lnTo>
                          <a:pt x="552" y="794"/>
                        </a:lnTo>
                        <a:lnTo>
                          <a:pt x="550" y="794"/>
                        </a:lnTo>
                        <a:lnTo>
                          <a:pt x="549" y="794"/>
                        </a:lnTo>
                        <a:lnTo>
                          <a:pt x="547" y="795"/>
                        </a:lnTo>
                        <a:lnTo>
                          <a:pt x="545" y="797"/>
                        </a:lnTo>
                        <a:lnTo>
                          <a:pt x="542" y="798"/>
                        </a:lnTo>
                        <a:lnTo>
                          <a:pt x="541" y="800"/>
                        </a:lnTo>
                        <a:lnTo>
                          <a:pt x="541" y="801"/>
                        </a:lnTo>
                        <a:lnTo>
                          <a:pt x="539" y="801"/>
                        </a:lnTo>
                        <a:lnTo>
                          <a:pt x="537" y="803"/>
                        </a:lnTo>
                        <a:lnTo>
                          <a:pt x="537" y="805"/>
                        </a:lnTo>
                        <a:lnTo>
                          <a:pt x="536" y="805"/>
                        </a:lnTo>
                        <a:lnTo>
                          <a:pt x="534" y="806"/>
                        </a:lnTo>
                        <a:lnTo>
                          <a:pt x="533" y="806"/>
                        </a:lnTo>
                        <a:lnTo>
                          <a:pt x="530" y="809"/>
                        </a:lnTo>
                        <a:lnTo>
                          <a:pt x="528" y="811"/>
                        </a:lnTo>
                        <a:lnTo>
                          <a:pt x="526" y="811"/>
                        </a:lnTo>
                        <a:lnTo>
                          <a:pt x="526" y="813"/>
                        </a:lnTo>
                        <a:lnTo>
                          <a:pt x="525" y="813"/>
                        </a:lnTo>
                        <a:lnTo>
                          <a:pt x="525" y="814"/>
                        </a:lnTo>
                        <a:lnTo>
                          <a:pt x="523" y="816"/>
                        </a:lnTo>
                        <a:lnTo>
                          <a:pt x="522" y="816"/>
                        </a:lnTo>
                        <a:lnTo>
                          <a:pt x="520" y="817"/>
                        </a:lnTo>
                        <a:lnTo>
                          <a:pt x="518" y="817"/>
                        </a:lnTo>
                        <a:lnTo>
                          <a:pt x="518" y="819"/>
                        </a:lnTo>
                        <a:lnTo>
                          <a:pt x="517" y="819"/>
                        </a:lnTo>
                        <a:lnTo>
                          <a:pt x="515" y="819"/>
                        </a:lnTo>
                        <a:lnTo>
                          <a:pt x="514" y="819"/>
                        </a:lnTo>
                        <a:lnTo>
                          <a:pt x="512" y="819"/>
                        </a:lnTo>
                        <a:lnTo>
                          <a:pt x="511" y="819"/>
                        </a:lnTo>
                        <a:lnTo>
                          <a:pt x="509" y="819"/>
                        </a:lnTo>
                        <a:lnTo>
                          <a:pt x="507" y="819"/>
                        </a:lnTo>
                        <a:lnTo>
                          <a:pt x="506" y="819"/>
                        </a:lnTo>
                        <a:lnTo>
                          <a:pt x="504" y="819"/>
                        </a:lnTo>
                        <a:lnTo>
                          <a:pt x="503" y="819"/>
                        </a:lnTo>
                        <a:lnTo>
                          <a:pt x="501" y="819"/>
                        </a:lnTo>
                        <a:lnTo>
                          <a:pt x="499" y="819"/>
                        </a:lnTo>
                        <a:lnTo>
                          <a:pt x="498" y="817"/>
                        </a:lnTo>
                        <a:lnTo>
                          <a:pt x="496" y="816"/>
                        </a:lnTo>
                        <a:lnTo>
                          <a:pt x="496" y="814"/>
                        </a:lnTo>
                        <a:lnTo>
                          <a:pt x="495" y="814"/>
                        </a:lnTo>
                        <a:lnTo>
                          <a:pt x="495" y="813"/>
                        </a:lnTo>
                        <a:lnTo>
                          <a:pt x="493" y="811"/>
                        </a:lnTo>
                        <a:lnTo>
                          <a:pt x="492" y="811"/>
                        </a:lnTo>
                        <a:lnTo>
                          <a:pt x="490" y="811"/>
                        </a:lnTo>
                        <a:lnTo>
                          <a:pt x="490" y="809"/>
                        </a:lnTo>
                        <a:lnTo>
                          <a:pt x="488" y="808"/>
                        </a:lnTo>
                        <a:lnTo>
                          <a:pt x="487" y="808"/>
                        </a:lnTo>
                        <a:lnTo>
                          <a:pt x="485" y="806"/>
                        </a:lnTo>
                        <a:lnTo>
                          <a:pt x="484" y="806"/>
                        </a:lnTo>
                        <a:lnTo>
                          <a:pt x="482" y="806"/>
                        </a:lnTo>
                        <a:lnTo>
                          <a:pt x="480" y="806"/>
                        </a:lnTo>
                        <a:lnTo>
                          <a:pt x="479" y="806"/>
                        </a:lnTo>
                        <a:lnTo>
                          <a:pt x="477" y="806"/>
                        </a:lnTo>
                        <a:lnTo>
                          <a:pt x="476" y="805"/>
                        </a:lnTo>
                        <a:lnTo>
                          <a:pt x="474" y="805"/>
                        </a:lnTo>
                        <a:lnTo>
                          <a:pt x="474" y="803"/>
                        </a:lnTo>
                        <a:lnTo>
                          <a:pt x="473" y="803"/>
                        </a:lnTo>
                        <a:lnTo>
                          <a:pt x="471" y="801"/>
                        </a:lnTo>
                        <a:lnTo>
                          <a:pt x="469" y="801"/>
                        </a:lnTo>
                        <a:lnTo>
                          <a:pt x="469" y="800"/>
                        </a:lnTo>
                        <a:lnTo>
                          <a:pt x="468" y="798"/>
                        </a:lnTo>
                        <a:lnTo>
                          <a:pt x="469" y="797"/>
                        </a:lnTo>
                        <a:lnTo>
                          <a:pt x="469" y="795"/>
                        </a:lnTo>
                        <a:lnTo>
                          <a:pt x="469" y="794"/>
                        </a:lnTo>
                        <a:lnTo>
                          <a:pt x="469" y="792"/>
                        </a:lnTo>
                        <a:lnTo>
                          <a:pt x="468" y="792"/>
                        </a:lnTo>
                        <a:lnTo>
                          <a:pt x="468" y="790"/>
                        </a:lnTo>
                        <a:lnTo>
                          <a:pt x="468" y="789"/>
                        </a:lnTo>
                        <a:lnTo>
                          <a:pt x="466" y="787"/>
                        </a:lnTo>
                        <a:lnTo>
                          <a:pt x="466" y="786"/>
                        </a:lnTo>
                        <a:lnTo>
                          <a:pt x="465" y="786"/>
                        </a:lnTo>
                        <a:lnTo>
                          <a:pt x="463" y="784"/>
                        </a:lnTo>
                        <a:lnTo>
                          <a:pt x="461" y="784"/>
                        </a:lnTo>
                        <a:lnTo>
                          <a:pt x="461" y="782"/>
                        </a:lnTo>
                        <a:lnTo>
                          <a:pt x="460" y="781"/>
                        </a:lnTo>
                        <a:lnTo>
                          <a:pt x="460" y="779"/>
                        </a:lnTo>
                        <a:lnTo>
                          <a:pt x="458" y="779"/>
                        </a:lnTo>
                        <a:lnTo>
                          <a:pt x="458" y="778"/>
                        </a:lnTo>
                        <a:lnTo>
                          <a:pt x="458" y="776"/>
                        </a:lnTo>
                        <a:lnTo>
                          <a:pt x="458" y="775"/>
                        </a:lnTo>
                        <a:lnTo>
                          <a:pt x="458" y="773"/>
                        </a:lnTo>
                        <a:lnTo>
                          <a:pt x="458" y="771"/>
                        </a:lnTo>
                        <a:lnTo>
                          <a:pt x="458" y="770"/>
                        </a:lnTo>
                        <a:lnTo>
                          <a:pt x="457" y="768"/>
                        </a:lnTo>
                        <a:lnTo>
                          <a:pt x="457" y="767"/>
                        </a:lnTo>
                        <a:lnTo>
                          <a:pt x="455" y="767"/>
                        </a:lnTo>
                        <a:lnTo>
                          <a:pt x="454" y="767"/>
                        </a:lnTo>
                        <a:lnTo>
                          <a:pt x="454" y="765"/>
                        </a:lnTo>
                        <a:lnTo>
                          <a:pt x="452" y="765"/>
                        </a:lnTo>
                        <a:lnTo>
                          <a:pt x="452" y="763"/>
                        </a:lnTo>
                        <a:lnTo>
                          <a:pt x="452" y="762"/>
                        </a:lnTo>
                        <a:lnTo>
                          <a:pt x="452" y="760"/>
                        </a:lnTo>
                        <a:lnTo>
                          <a:pt x="450" y="760"/>
                        </a:lnTo>
                        <a:lnTo>
                          <a:pt x="450" y="759"/>
                        </a:lnTo>
                        <a:lnTo>
                          <a:pt x="449" y="759"/>
                        </a:lnTo>
                        <a:lnTo>
                          <a:pt x="447" y="759"/>
                        </a:lnTo>
                        <a:lnTo>
                          <a:pt x="446" y="759"/>
                        </a:lnTo>
                        <a:lnTo>
                          <a:pt x="444" y="759"/>
                        </a:lnTo>
                        <a:lnTo>
                          <a:pt x="442" y="759"/>
                        </a:lnTo>
                        <a:lnTo>
                          <a:pt x="441" y="759"/>
                        </a:lnTo>
                        <a:lnTo>
                          <a:pt x="439" y="759"/>
                        </a:lnTo>
                        <a:lnTo>
                          <a:pt x="439" y="757"/>
                        </a:lnTo>
                        <a:lnTo>
                          <a:pt x="438" y="757"/>
                        </a:lnTo>
                        <a:lnTo>
                          <a:pt x="436" y="757"/>
                        </a:lnTo>
                        <a:lnTo>
                          <a:pt x="435" y="757"/>
                        </a:lnTo>
                        <a:lnTo>
                          <a:pt x="431" y="757"/>
                        </a:lnTo>
                        <a:lnTo>
                          <a:pt x="430" y="757"/>
                        </a:lnTo>
                        <a:lnTo>
                          <a:pt x="428" y="757"/>
                        </a:lnTo>
                        <a:lnTo>
                          <a:pt x="427" y="757"/>
                        </a:lnTo>
                        <a:lnTo>
                          <a:pt x="425" y="757"/>
                        </a:lnTo>
                        <a:lnTo>
                          <a:pt x="423" y="757"/>
                        </a:lnTo>
                        <a:lnTo>
                          <a:pt x="422" y="757"/>
                        </a:lnTo>
                        <a:lnTo>
                          <a:pt x="420" y="757"/>
                        </a:lnTo>
                        <a:lnTo>
                          <a:pt x="419" y="756"/>
                        </a:lnTo>
                        <a:lnTo>
                          <a:pt x="417" y="756"/>
                        </a:lnTo>
                        <a:lnTo>
                          <a:pt x="416" y="756"/>
                        </a:lnTo>
                        <a:lnTo>
                          <a:pt x="414" y="756"/>
                        </a:lnTo>
                        <a:lnTo>
                          <a:pt x="412" y="756"/>
                        </a:lnTo>
                        <a:lnTo>
                          <a:pt x="411" y="756"/>
                        </a:lnTo>
                        <a:lnTo>
                          <a:pt x="409" y="756"/>
                        </a:lnTo>
                        <a:lnTo>
                          <a:pt x="408" y="756"/>
                        </a:lnTo>
                        <a:lnTo>
                          <a:pt x="406" y="756"/>
                        </a:lnTo>
                        <a:lnTo>
                          <a:pt x="404" y="756"/>
                        </a:lnTo>
                        <a:lnTo>
                          <a:pt x="403" y="756"/>
                        </a:lnTo>
                        <a:lnTo>
                          <a:pt x="401" y="756"/>
                        </a:lnTo>
                        <a:lnTo>
                          <a:pt x="400" y="756"/>
                        </a:lnTo>
                        <a:lnTo>
                          <a:pt x="398" y="756"/>
                        </a:lnTo>
                        <a:lnTo>
                          <a:pt x="395" y="756"/>
                        </a:lnTo>
                        <a:lnTo>
                          <a:pt x="395" y="757"/>
                        </a:lnTo>
                        <a:lnTo>
                          <a:pt x="393" y="757"/>
                        </a:lnTo>
                        <a:lnTo>
                          <a:pt x="392" y="759"/>
                        </a:lnTo>
                        <a:lnTo>
                          <a:pt x="390" y="759"/>
                        </a:lnTo>
                        <a:lnTo>
                          <a:pt x="390" y="760"/>
                        </a:lnTo>
                        <a:lnTo>
                          <a:pt x="389" y="760"/>
                        </a:lnTo>
                        <a:lnTo>
                          <a:pt x="387" y="760"/>
                        </a:lnTo>
                        <a:lnTo>
                          <a:pt x="387" y="759"/>
                        </a:lnTo>
                        <a:lnTo>
                          <a:pt x="385" y="759"/>
                        </a:lnTo>
                        <a:lnTo>
                          <a:pt x="385" y="757"/>
                        </a:lnTo>
                        <a:lnTo>
                          <a:pt x="385" y="756"/>
                        </a:lnTo>
                        <a:lnTo>
                          <a:pt x="384" y="756"/>
                        </a:lnTo>
                        <a:lnTo>
                          <a:pt x="382" y="756"/>
                        </a:lnTo>
                        <a:lnTo>
                          <a:pt x="381" y="756"/>
                        </a:lnTo>
                        <a:lnTo>
                          <a:pt x="379" y="756"/>
                        </a:lnTo>
                        <a:lnTo>
                          <a:pt x="377" y="756"/>
                        </a:lnTo>
                        <a:lnTo>
                          <a:pt x="376" y="756"/>
                        </a:lnTo>
                        <a:lnTo>
                          <a:pt x="374" y="756"/>
                        </a:lnTo>
                        <a:lnTo>
                          <a:pt x="373" y="757"/>
                        </a:lnTo>
                        <a:lnTo>
                          <a:pt x="371" y="757"/>
                        </a:lnTo>
                        <a:lnTo>
                          <a:pt x="371" y="756"/>
                        </a:lnTo>
                        <a:lnTo>
                          <a:pt x="370" y="756"/>
                        </a:lnTo>
                        <a:lnTo>
                          <a:pt x="368" y="756"/>
                        </a:lnTo>
                        <a:lnTo>
                          <a:pt x="366" y="756"/>
                        </a:lnTo>
                        <a:lnTo>
                          <a:pt x="365" y="756"/>
                        </a:lnTo>
                        <a:lnTo>
                          <a:pt x="363" y="757"/>
                        </a:lnTo>
                        <a:lnTo>
                          <a:pt x="362" y="757"/>
                        </a:lnTo>
                        <a:lnTo>
                          <a:pt x="360" y="757"/>
                        </a:lnTo>
                        <a:lnTo>
                          <a:pt x="358" y="757"/>
                        </a:lnTo>
                        <a:lnTo>
                          <a:pt x="357" y="757"/>
                        </a:lnTo>
                        <a:lnTo>
                          <a:pt x="355" y="757"/>
                        </a:lnTo>
                        <a:lnTo>
                          <a:pt x="355" y="759"/>
                        </a:lnTo>
                        <a:lnTo>
                          <a:pt x="354" y="759"/>
                        </a:lnTo>
                        <a:lnTo>
                          <a:pt x="354" y="757"/>
                        </a:lnTo>
                        <a:lnTo>
                          <a:pt x="352" y="757"/>
                        </a:lnTo>
                        <a:lnTo>
                          <a:pt x="352" y="759"/>
                        </a:lnTo>
                        <a:lnTo>
                          <a:pt x="351" y="757"/>
                        </a:lnTo>
                        <a:lnTo>
                          <a:pt x="349" y="757"/>
                        </a:lnTo>
                        <a:lnTo>
                          <a:pt x="349" y="756"/>
                        </a:lnTo>
                        <a:lnTo>
                          <a:pt x="347" y="756"/>
                        </a:lnTo>
                        <a:lnTo>
                          <a:pt x="347" y="754"/>
                        </a:lnTo>
                        <a:lnTo>
                          <a:pt x="346" y="754"/>
                        </a:lnTo>
                        <a:lnTo>
                          <a:pt x="344" y="754"/>
                        </a:lnTo>
                        <a:lnTo>
                          <a:pt x="344" y="752"/>
                        </a:lnTo>
                        <a:lnTo>
                          <a:pt x="343" y="752"/>
                        </a:lnTo>
                        <a:lnTo>
                          <a:pt x="341" y="751"/>
                        </a:lnTo>
                        <a:lnTo>
                          <a:pt x="339" y="751"/>
                        </a:lnTo>
                        <a:lnTo>
                          <a:pt x="338" y="751"/>
                        </a:lnTo>
                        <a:lnTo>
                          <a:pt x="336" y="751"/>
                        </a:lnTo>
                        <a:lnTo>
                          <a:pt x="335" y="749"/>
                        </a:lnTo>
                        <a:lnTo>
                          <a:pt x="333" y="749"/>
                        </a:lnTo>
                        <a:lnTo>
                          <a:pt x="332" y="749"/>
                        </a:lnTo>
                        <a:lnTo>
                          <a:pt x="330" y="749"/>
                        </a:lnTo>
                        <a:lnTo>
                          <a:pt x="328" y="749"/>
                        </a:lnTo>
                        <a:lnTo>
                          <a:pt x="327" y="751"/>
                        </a:lnTo>
                        <a:lnTo>
                          <a:pt x="327" y="752"/>
                        </a:lnTo>
                        <a:lnTo>
                          <a:pt x="325" y="752"/>
                        </a:lnTo>
                        <a:lnTo>
                          <a:pt x="325" y="754"/>
                        </a:lnTo>
                        <a:lnTo>
                          <a:pt x="324" y="756"/>
                        </a:lnTo>
                        <a:lnTo>
                          <a:pt x="322" y="756"/>
                        </a:lnTo>
                        <a:lnTo>
                          <a:pt x="322" y="757"/>
                        </a:lnTo>
                        <a:lnTo>
                          <a:pt x="320" y="757"/>
                        </a:lnTo>
                        <a:lnTo>
                          <a:pt x="320" y="759"/>
                        </a:lnTo>
                        <a:lnTo>
                          <a:pt x="320" y="760"/>
                        </a:lnTo>
                        <a:lnTo>
                          <a:pt x="319" y="760"/>
                        </a:lnTo>
                        <a:lnTo>
                          <a:pt x="319" y="762"/>
                        </a:lnTo>
                        <a:lnTo>
                          <a:pt x="319" y="763"/>
                        </a:lnTo>
                        <a:lnTo>
                          <a:pt x="317" y="763"/>
                        </a:lnTo>
                        <a:lnTo>
                          <a:pt x="317" y="765"/>
                        </a:lnTo>
                        <a:lnTo>
                          <a:pt x="317" y="767"/>
                        </a:lnTo>
                        <a:lnTo>
                          <a:pt x="316" y="767"/>
                        </a:lnTo>
                        <a:lnTo>
                          <a:pt x="316" y="768"/>
                        </a:lnTo>
                        <a:lnTo>
                          <a:pt x="316" y="770"/>
                        </a:lnTo>
                        <a:lnTo>
                          <a:pt x="314" y="770"/>
                        </a:lnTo>
                        <a:lnTo>
                          <a:pt x="314" y="771"/>
                        </a:lnTo>
                        <a:lnTo>
                          <a:pt x="313" y="771"/>
                        </a:lnTo>
                        <a:lnTo>
                          <a:pt x="313" y="773"/>
                        </a:lnTo>
                        <a:lnTo>
                          <a:pt x="313" y="775"/>
                        </a:lnTo>
                        <a:lnTo>
                          <a:pt x="311" y="776"/>
                        </a:lnTo>
                        <a:lnTo>
                          <a:pt x="311" y="778"/>
                        </a:lnTo>
                        <a:lnTo>
                          <a:pt x="311" y="779"/>
                        </a:lnTo>
                        <a:lnTo>
                          <a:pt x="309" y="781"/>
                        </a:lnTo>
                        <a:lnTo>
                          <a:pt x="308" y="782"/>
                        </a:lnTo>
                        <a:lnTo>
                          <a:pt x="306" y="782"/>
                        </a:lnTo>
                        <a:lnTo>
                          <a:pt x="306" y="784"/>
                        </a:lnTo>
                        <a:lnTo>
                          <a:pt x="305" y="784"/>
                        </a:lnTo>
                        <a:lnTo>
                          <a:pt x="303" y="784"/>
                        </a:lnTo>
                        <a:lnTo>
                          <a:pt x="301" y="784"/>
                        </a:lnTo>
                        <a:lnTo>
                          <a:pt x="301" y="782"/>
                        </a:lnTo>
                        <a:lnTo>
                          <a:pt x="300" y="782"/>
                        </a:lnTo>
                        <a:lnTo>
                          <a:pt x="298" y="782"/>
                        </a:lnTo>
                        <a:lnTo>
                          <a:pt x="297" y="782"/>
                        </a:lnTo>
                        <a:lnTo>
                          <a:pt x="295" y="782"/>
                        </a:lnTo>
                        <a:lnTo>
                          <a:pt x="294" y="782"/>
                        </a:lnTo>
                        <a:lnTo>
                          <a:pt x="292" y="782"/>
                        </a:lnTo>
                        <a:lnTo>
                          <a:pt x="290" y="782"/>
                        </a:lnTo>
                        <a:lnTo>
                          <a:pt x="289" y="782"/>
                        </a:lnTo>
                        <a:lnTo>
                          <a:pt x="287" y="784"/>
                        </a:lnTo>
                        <a:lnTo>
                          <a:pt x="286" y="784"/>
                        </a:lnTo>
                        <a:lnTo>
                          <a:pt x="286" y="786"/>
                        </a:lnTo>
                        <a:lnTo>
                          <a:pt x="284" y="786"/>
                        </a:lnTo>
                        <a:lnTo>
                          <a:pt x="282" y="787"/>
                        </a:lnTo>
                        <a:lnTo>
                          <a:pt x="281" y="787"/>
                        </a:lnTo>
                        <a:lnTo>
                          <a:pt x="279" y="787"/>
                        </a:lnTo>
                        <a:lnTo>
                          <a:pt x="278" y="787"/>
                        </a:lnTo>
                        <a:lnTo>
                          <a:pt x="276" y="787"/>
                        </a:lnTo>
                        <a:lnTo>
                          <a:pt x="275" y="789"/>
                        </a:lnTo>
                        <a:lnTo>
                          <a:pt x="273" y="789"/>
                        </a:lnTo>
                        <a:lnTo>
                          <a:pt x="271" y="790"/>
                        </a:lnTo>
                        <a:lnTo>
                          <a:pt x="270" y="790"/>
                        </a:lnTo>
                        <a:lnTo>
                          <a:pt x="268" y="790"/>
                        </a:lnTo>
                        <a:lnTo>
                          <a:pt x="267" y="790"/>
                        </a:lnTo>
                        <a:lnTo>
                          <a:pt x="265" y="790"/>
                        </a:lnTo>
                        <a:lnTo>
                          <a:pt x="263" y="790"/>
                        </a:lnTo>
                        <a:lnTo>
                          <a:pt x="262" y="789"/>
                        </a:lnTo>
                        <a:lnTo>
                          <a:pt x="260" y="789"/>
                        </a:lnTo>
                        <a:lnTo>
                          <a:pt x="259" y="789"/>
                        </a:lnTo>
                        <a:lnTo>
                          <a:pt x="257" y="789"/>
                        </a:lnTo>
                        <a:lnTo>
                          <a:pt x="256" y="789"/>
                        </a:lnTo>
                        <a:lnTo>
                          <a:pt x="254" y="789"/>
                        </a:lnTo>
                        <a:lnTo>
                          <a:pt x="252" y="789"/>
                        </a:lnTo>
                        <a:lnTo>
                          <a:pt x="251" y="789"/>
                        </a:lnTo>
                        <a:lnTo>
                          <a:pt x="249" y="789"/>
                        </a:lnTo>
                        <a:lnTo>
                          <a:pt x="248" y="789"/>
                        </a:lnTo>
                        <a:lnTo>
                          <a:pt x="246" y="789"/>
                        </a:lnTo>
                        <a:lnTo>
                          <a:pt x="246" y="790"/>
                        </a:lnTo>
                        <a:lnTo>
                          <a:pt x="244" y="790"/>
                        </a:lnTo>
                        <a:lnTo>
                          <a:pt x="243" y="790"/>
                        </a:lnTo>
                        <a:lnTo>
                          <a:pt x="241" y="790"/>
                        </a:lnTo>
                        <a:lnTo>
                          <a:pt x="240" y="790"/>
                        </a:lnTo>
                        <a:lnTo>
                          <a:pt x="238" y="790"/>
                        </a:lnTo>
                        <a:lnTo>
                          <a:pt x="238" y="792"/>
                        </a:lnTo>
                        <a:lnTo>
                          <a:pt x="237" y="792"/>
                        </a:lnTo>
                        <a:lnTo>
                          <a:pt x="235" y="792"/>
                        </a:lnTo>
                        <a:lnTo>
                          <a:pt x="233" y="794"/>
                        </a:lnTo>
                        <a:lnTo>
                          <a:pt x="232" y="794"/>
                        </a:lnTo>
                        <a:lnTo>
                          <a:pt x="230" y="794"/>
                        </a:lnTo>
                        <a:lnTo>
                          <a:pt x="229" y="794"/>
                        </a:lnTo>
                        <a:lnTo>
                          <a:pt x="227" y="795"/>
                        </a:lnTo>
                        <a:lnTo>
                          <a:pt x="225" y="795"/>
                        </a:lnTo>
                        <a:lnTo>
                          <a:pt x="224" y="795"/>
                        </a:lnTo>
                        <a:lnTo>
                          <a:pt x="222" y="797"/>
                        </a:lnTo>
                        <a:lnTo>
                          <a:pt x="221" y="797"/>
                        </a:lnTo>
                        <a:lnTo>
                          <a:pt x="221" y="798"/>
                        </a:lnTo>
                        <a:lnTo>
                          <a:pt x="219" y="798"/>
                        </a:lnTo>
                        <a:lnTo>
                          <a:pt x="218" y="800"/>
                        </a:lnTo>
                        <a:lnTo>
                          <a:pt x="216" y="800"/>
                        </a:lnTo>
                        <a:lnTo>
                          <a:pt x="214" y="800"/>
                        </a:lnTo>
                        <a:lnTo>
                          <a:pt x="213" y="801"/>
                        </a:lnTo>
                        <a:lnTo>
                          <a:pt x="211" y="801"/>
                        </a:lnTo>
                        <a:lnTo>
                          <a:pt x="211" y="803"/>
                        </a:lnTo>
                        <a:lnTo>
                          <a:pt x="210" y="803"/>
                        </a:lnTo>
                        <a:lnTo>
                          <a:pt x="208" y="803"/>
                        </a:lnTo>
                        <a:lnTo>
                          <a:pt x="208" y="805"/>
                        </a:lnTo>
                        <a:lnTo>
                          <a:pt x="206" y="805"/>
                        </a:lnTo>
                        <a:lnTo>
                          <a:pt x="205" y="805"/>
                        </a:lnTo>
                        <a:lnTo>
                          <a:pt x="203" y="806"/>
                        </a:lnTo>
                        <a:lnTo>
                          <a:pt x="202" y="806"/>
                        </a:lnTo>
                        <a:lnTo>
                          <a:pt x="200" y="806"/>
                        </a:lnTo>
                        <a:lnTo>
                          <a:pt x="199" y="808"/>
                        </a:lnTo>
                        <a:lnTo>
                          <a:pt x="197" y="808"/>
                        </a:lnTo>
                        <a:lnTo>
                          <a:pt x="195" y="809"/>
                        </a:lnTo>
                        <a:lnTo>
                          <a:pt x="194" y="809"/>
                        </a:lnTo>
                        <a:lnTo>
                          <a:pt x="192" y="811"/>
                        </a:lnTo>
                        <a:lnTo>
                          <a:pt x="191" y="811"/>
                        </a:lnTo>
                        <a:lnTo>
                          <a:pt x="189" y="811"/>
                        </a:lnTo>
                        <a:lnTo>
                          <a:pt x="187" y="813"/>
                        </a:lnTo>
                        <a:lnTo>
                          <a:pt x="187" y="811"/>
                        </a:lnTo>
                        <a:lnTo>
                          <a:pt x="186" y="809"/>
                        </a:lnTo>
                        <a:lnTo>
                          <a:pt x="186" y="808"/>
                        </a:lnTo>
                        <a:lnTo>
                          <a:pt x="184" y="808"/>
                        </a:lnTo>
                        <a:lnTo>
                          <a:pt x="184" y="806"/>
                        </a:lnTo>
                        <a:lnTo>
                          <a:pt x="183" y="805"/>
                        </a:lnTo>
                        <a:lnTo>
                          <a:pt x="181" y="803"/>
                        </a:lnTo>
                        <a:lnTo>
                          <a:pt x="179" y="801"/>
                        </a:lnTo>
                        <a:lnTo>
                          <a:pt x="178" y="800"/>
                        </a:lnTo>
                        <a:lnTo>
                          <a:pt x="176" y="798"/>
                        </a:lnTo>
                        <a:lnTo>
                          <a:pt x="176" y="797"/>
                        </a:lnTo>
                        <a:lnTo>
                          <a:pt x="176" y="795"/>
                        </a:lnTo>
                        <a:lnTo>
                          <a:pt x="176" y="794"/>
                        </a:lnTo>
                        <a:lnTo>
                          <a:pt x="175" y="792"/>
                        </a:lnTo>
                        <a:lnTo>
                          <a:pt x="175" y="790"/>
                        </a:lnTo>
                        <a:lnTo>
                          <a:pt x="173" y="790"/>
                        </a:lnTo>
                        <a:lnTo>
                          <a:pt x="173" y="789"/>
                        </a:lnTo>
                        <a:lnTo>
                          <a:pt x="173" y="787"/>
                        </a:lnTo>
                        <a:lnTo>
                          <a:pt x="173" y="786"/>
                        </a:lnTo>
                        <a:lnTo>
                          <a:pt x="173" y="784"/>
                        </a:lnTo>
                        <a:lnTo>
                          <a:pt x="173" y="782"/>
                        </a:lnTo>
                        <a:lnTo>
                          <a:pt x="173" y="781"/>
                        </a:lnTo>
                        <a:lnTo>
                          <a:pt x="173" y="779"/>
                        </a:lnTo>
                        <a:lnTo>
                          <a:pt x="173" y="778"/>
                        </a:lnTo>
                        <a:lnTo>
                          <a:pt x="173" y="776"/>
                        </a:lnTo>
                        <a:lnTo>
                          <a:pt x="173" y="775"/>
                        </a:lnTo>
                        <a:lnTo>
                          <a:pt x="172" y="773"/>
                        </a:lnTo>
                        <a:lnTo>
                          <a:pt x="172" y="771"/>
                        </a:lnTo>
                        <a:lnTo>
                          <a:pt x="170" y="770"/>
                        </a:lnTo>
                        <a:lnTo>
                          <a:pt x="170" y="768"/>
                        </a:lnTo>
                        <a:lnTo>
                          <a:pt x="168" y="768"/>
                        </a:lnTo>
                        <a:lnTo>
                          <a:pt x="168" y="767"/>
                        </a:lnTo>
                        <a:lnTo>
                          <a:pt x="167" y="767"/>
                        </a:lnTo>
                        <a:lnTo>
                          <a:pt x="165" y="765"/>
                        </a:lnTo>
                        <a:lnTo>
                          <a:pt x="165" y="767"/>
                        </a:lnTo>
                        <a:lnTo>
                          <a:pt x="164" y="765"/>
                        </a:lnTo>
                        <a:lnTo>
                          <a:pt x="162" y="767"/>
                        </a:lnTo>
                        <a:lnTo>
                          <a:pt x="160" y="767"/>
                        </a:lnTo>
                        <a:lnTo>
                          <a:pt x="159" y="767"/>
                        </a:lnTo>
                        <a:lnTo>
                          <a:pt x="157" y="767"/>
                        </a:lnTo>
                        <a:lnTo>
                          <a:pt x="156" y="768"/>
                        </a:lnTo>
                        <a:lnTo>
                          <a:pt x="154" y="770"/>
                        </a:lnTo>
                        <a:lnTo>
                          <a:pt x="153" y="770"/>
                        </a:lnTo>
                        <a:lnTo>
                          <a:pt x="151" y="771"/>
                        </a:lnTo>
                        <a:lnTo>
                          <a:pt x="149" y="771"/>
                        </a:lnTo>
                        <a:lnTo>
                          <a:pt x="148" y="771"/>
                        </a:lnTo>
                        <a:lnTo>
                          <a:pt x="146" y="771"/>
                        </a:lnTo>
                        <a:lnTo>
                          <a:pt x="146" y="770"/>
                        </a:lnTo>
                        <a:lnTo>
                          <a:pt x="146" y="768"/>
                        </a:lnTo>
                        <a:lnTo>
                          <a:pt x="146" y="765"/>
                        </a:lnTo>
                        <a:lnTo>
                          <a:pt x="146" y="763"/>
                        </a:lnTo>
                        <a:lnTo>
                          <a:pt x="146" y="762"/>
                        </a:lnTo>
                        <a:lnTo>
                          <a:pt x="146" y="760"/>
                        </a:lnTo>
                        <a:lnTo>
                          <a:pt x="145" y="759"/>
                        </a:lnTo>
                        <a:lnTo>
                          <a:pt x="145" y="757"/>
                        </a:lnTo>
                        <a:lnTo>
                          <a:pt x="145" y="756"/>
                        </a:lnTo>
                        <a:lnTo>
                          <a:pt x="145" y="754"/>
                        </a:lnTo>
                        <a:lnTo>
                          <a:pt x="145" y="752"/>
                        </a:lnTo>
                        <a:lnTo>
                          <a:pt x="145" y="751"/>
                        </a:lnTo>
                        <a:lnTo>
                          <a:pt x="145" y="749"/>
                        </a:lnTo>
                        <a:lnTo>
                          <a:pt x="145" y="748"/>
                        </a:lnTo>
                        <a:lnTo>
                          <a:pt x="145" y="746"/>
                        </a:lnTo>
                        <a:lnTo>
                          <a:pt x="145" y="744"/>
                        </a:lnTo>
                        <a:lnTo>
                          <a:pt x="143" y="743"/>
                        </a:lnTo>
                        <a:lnTo>
                          <a:pt x="143" y="741"/>
                        </a:lnTo>
                        <a:lnTo>
                          <a:pt x="143" y="740"/>
                        </a:lnTo>
                        <a:lnTo>
                          <a:pt x="143" y="738"/>
                        </a:lnTo>
                        <a:lnTo>
                          <a:pt x="141" y="737"/>
                        </a:lnTo>
                        <a:lnTo>
                          <a:pt x="141" y="735"/>
                        </a:lnTo>
                        <a:lnTo>
                          <a:pt x="140" y="733"/>
                        </a:lnTo>
                        <a:lnTo>
                          <a:pt x="140" y="732"/>
                        </a:lnTo>
                        <a:lnTo>
                          <a:pt x="138" y="730"/>
                        </a:lnTo>
                        <a:lnTo>
                          <a:pt x="137" y="730"/>
                        </a:lnTo>
                        <a:lnTo>
                          <a:pt x="135" y="729"/>
                        </a:lnTo>
                        <a:lnTo>
                          <a:pt x="134" y="727"/>
                        </a:lnTo>
                        <a:lnTo>
                          <a:pt x="132" y="727"/>
                        </a:lnTo>
                        <a:lnTo>
                          <a:pt x="132" y="725"/>
                        </a:lnTo>
                        <a:lnTo>
                          <a:pt x="130" y="725"/>
                        </a:lnTo>
                        <a:lnTo>
                          <a:pt x="129" y="724"/>
                        </a:lnTo>
                        <a:lnTo>
                          <a:pt x="127" y="724"/>
                        </a:lnTo>
                        <a:lnTo>
                          <a:pt x="126" y="722"/>
                        </a:lnTo>
                        <a:lnTo>
                          <a:pt x="124" y="721"/>
                        </a:lnTo>
                        <a:lnTo>
                          <a:pt x="122" y="719"/>
                        </a:lnTo>
                        <a:lnTo>
                          <a:pt x="121" y="719"/>
                        </a:lnTo>
                        <a:lnTo>
                          <a:pt x="119" y="717"/>
                        </a:lnTo>
                        <a:lnTo>
                          <a:pt x="118" y="717"/>
                        </a:lnTo>
                        <a:lnTo>
                          <a:pt x="116" y="716"/>
                        </a:lnTo>
                        <a:lnTo>
                          <a:pt x="113" y="716"/>
                        </a:lnTo>
                        <a:lnTo>
                          <a:pt x="111" y="714"/>
                        </a:lnTo>
                        <a:lnTo>
                          <a:pt x="110" y="713"/>
                        </a:lnTo>
                        <a:lnTo>
                          <a:pt x="108" y="713"/>
                        </a:lnTo>
                        <a:lnTo>
                          <a:pt x="107" y="713"/>
                        </a:lnTo>
                        <a:lnTo>
                          <a:pt x="105" y="711"/>
                        </a:lnTo>
                        <a:lnTo>
                          <a:pt x="103" y="710"/>
                        </a:lnTo>
                        <a:lnTo>
                          <a:pt x="102" y="710"/>
                        </a:lnTo>
                        <a:lnTo>
                          <a:pt x="100" y="708"/>
                        </a:lnTo>
                        <a:lnTo>
                          <a:pt x="97" y="708"/>
                        </a:lnTo>
                        <a:lnTo>
                          <a:pt x="96" y="708"/>
                        </a:lnTo>
                        <a:lnTo>
                          <a:pt x="94" y="706"/>
                        </a:lnTo>
                        <a:lnTo>
                          <a:pt x="92" y="706"/>
                        </a:lnTo>
                        <a:lnTo>
                          <a:pt x="91" y="705"/>
                        </a:lnTo>
                        <a:lnTo>
                          <a:pt x="89" y="703"/>
                        </a:lnTo>
                        <a:lnTo>
                          <a:pt x="88" y="702"/>
                        </a:lnTo>
                        <a:lnTo>
                          <a:pt x="86" y="702"/>
                        </a:lnTo>
                        <a:lnTo>
                          <a:pt x="84" y="702"/>
                        </a:lnTo>
                        <a:lnTo>
                          <a:pt x="83" y="700"/>
                        </a:lnTo>
                        <a:lnTo>
                          <a:pt x="81" y="698"/>
                        </a:lnTo>
                        <a:lnTo>
                          <a:pt x="78" y="697"/>
                        </a:lnTo>
                        <a:lnTo>
                          <a:pt x="77" y="697"/>
                        </a:lnTo>
                        <a:lnTo>
                          <a:pt x="75" y="695"/>
                        </a:lnTo>
                        <a:lnTo>
                          <a:pt x="73" y="694"/>
                        </a:lnTo>
                        <a:lnTo>
                          <a:pt x="72" y="692"/>
                        </a:lnTo>
                        <a:lnTo>
                          <a:pt x="70" y="691"/>
                        </a:lnTo>
                        <a:lnTo>
                          <a:pt x="69" y="691"/>
                        </a:lnTo>
                        <a:lnTo>
                          <a:pt x="69" y="689"/>
                        </a:lnTo>
                        <a:lnTo>
                          <a:pt x="67" y="687"/>
                        </a:lnTo>
                        <a:lnTo>
                          <a:pt x="65" y="686"/>
                        </a:lnTo>
                        <a:lnTo>
                          <a:pt x="64" y="686"/>
                        </a:lnTo>
                        <a:lnTo>
                          <a:pt x="64" y="684"/>
                        </a:lnTo>
                        <a:lnTo>
                          <a:pt x="62" y="683"/>
                        </a:lnTo>
                        <a:lnTo>
                          <a:pt x="62" y="681"/>
                        </a:lnTo>
                        <a:lnTo>
                          <a:pt x="67" y="681"/>
                        </a:lnTo>
                        <a:lnTo>
                          <a:pt x="65" y="679"/>
                        </a:lnTo>
                        <a:lnTo>
                          <a:pt x="62" y="676"/>
                        </a:lnTo>
                        <a:lnTo>
                          <a:pt x="59" y="675"/>
                        </a:lnTo>
                        <a:lnTo>
                          <a:pt x="54" y="672"/>
                        </a:lnTo>
                        <a:lnTo>
                          <a:pt x="51" y="670"/>
                        </a:lnTo>
                        <a:lnTo>
                          <a:pt x="45" y="670"/>
                        </a:lnTo>
                        <a:lnTo>
                          <a:pt x="43" y="668"/>
                        </a:lnTo>
                        <a:lnTo>
                          <a:pt x="39" y="668"/>
                        </a:lnTo>
                        <a:lnTo>
                          <a:pt x="32" y="668"/>
                        </a:lnTo>
                        <a:lnTo>
                          <a:pt x="15" y="668"/>
                        </a:lnTo>
                        <a:lnTo>
                          <a:pt x="2" y="670"/>
                        </a:lnTo>
                        <a:lnTo>
                          <a:pt x="2" y="667"/>
                        </a:lnTo>
                        <a:lnTo>
                          <a:pt x="2" y="653"/>
                        </a:lnTo>
                        <a:lnTo>
                          <a:pt x="0" y="646"/>
                        </a:lnTo>
                        <a:lnTo>
                          <a:pt x="0" y="643"/>
                        </a:lnTo>
                        <a:lnTo>
                          <a:pt x="4" y="638"/>
                        </a:lnTo>
                        <a:lnTo>
                          <a:pt x="5" y="638"/>
                        </a:lnTo>
                        <a:lnTo>
                          <a:pt x="8" y="637"/>
                        </a:lnTo>
                        <a:lnTo>
                          <a:pt x="12" y="635"/>
                        </a:lnTo>
                        <a:lnTo>
                          <a:pt x="16" y="634"/>
                        </a:lnTo>
                        <a:lnTo>
                          <a:pt x="20" y="632"/>
                        </a:lnTo>
                        <a:lnTo>
                          <a:pt x="24" y="632"/>
                        </a:lnTo>
                        <a:lnTo>
                          <a:pt x="53" y="626"/>
                        </a:lnTo>
                        <a:lnTo>
                          <a:pt x="54" y="624"/>
                        </a:lnTo>
                        <a:lnTo>
                          <a:pt x="56" y="624"/>
                        </a:lnTo>
                        <a:lnTo>
                          <a:pt x="58" y="624"/>
                        </a:lnTo>
                        <a:lnTo>
                          <a:pt x="64" y="621"/>
                        </a:lnTo>
                        <a:lnTo>
                          <a:pt x="83" y="610"/>
                        </a:lnTo>
                        <a:lnTo>
                          <a:pt x="84" y="608"/>
                        </a:lnTo>
                        <a:lnTo>
                          <a:pt x="92" y="602"/>
                        </a:lnTo>
                        <a:lnTo>
                          <a:pt x="94" y="600"/>
                        </a:lnTo>
                        <a:lnTo>
                          <a:pt x="96" y="599"/>
                        </a:lnTo>
                        <a:lnTo>
                          <a:pt x="97" y="597"/>
                        </a:lnTo>
                        <a:lnTo>
                          <a:pt x="99" y="592"/>
                        </a:lnTo>
                        <a:lnTo>
                          <a:pt x="100" y="588"/>
                        </a:lnTo>
                        <a:lnTo>
                          <a:pt x="100" y="586"/>
                        </a:lnTo>
                        <a:lnTo>
                          <a:pt x="102" y="575"/>
                        </a:lnTo>
                        <a:lnTo>
                          <a:pt x="102" y="572"/>
                        </a:lnTo>
                        <a:lnTo>
                          <a:pt x="102" y="570"/>
                        </a:lnTo>
                        <a:lnTo>
                          <a:pt x="102" y="569"/>
                        </a:lnTo>
                        <a:lnTo>
                          <a:pt x="105" y="561"/>
                        </a:lnTo>
                        <a:lnTo>
                          <a:pt x="108" y="558"/>
                        </a:lnTo>
                        <a:lnTo>
                          <a:pt x="111" y="556"/>
                        </a:lnTo>
                        <a:lnTo>
                          <a:pt x="113" y="554"/>
                        </a:lnTo>
                        <a:lnTo>
                          <a:pt x="130" y="546"/>
                        </a:lnTo>
                        <a:lnTo>
                          <a:pt x="134" y="543"/>
                        </a:lnTo>
                        <a:lnTo>
                          <a:pt x="135" y="542"/>
                        </a:lnTo>
                        <a:lnTo>
                          <a:pt x="138" y="538"/>
                        </a:lnTo>
                        <a:lnTo>
                          <a:pt x="140" y="537"/>
                        </a:lnTo>
                        <a:lnTo>
                          <a:pt x="141" y="532"/>
                        </a:lnTo>
                        <a:lnTo>
                          <a:pt x="141" y="529"/>
                        </a:lnTo>
                        <a:lnTo>
                          <a:pt x="143" y="518"/>
                        </a:lnTo>
                        <a:lnTo>
                          <a:pt x="145" y="513"/>
                        </a:lnTo>
                        <a:lnTo>
                          <a:pt x="143" y="505"/>
                        </a:lnTo>
                        <a:lnTo>
                          <a:pt x="143" y="497"/>
                        </a:lnTo>
                        <a:lnTo>
                          <a:pt x="141" y="475"/>
                        </a:lnTo>
                        <a:lnTo>
                          <a:pt x="141" y="469"/>
                        </a:lnTo>
                        <a:lnTo>
                          <a:pt x="141" y="466"/>
                        </a:lnTo>
                        <a:lnTo>
                          <a:pt x="143" y="461"/>
                        </a:lnTo>
                        <a:lnTo>
                          <a:pt x="145" y="459"/>
                        </a:lnTo>
                        <a:lnTo>
                          <a:pt x="148" y="455"/>
                        </a:lnTo>
                        <a:lnTo>
                          <a:pt x="156" y="448"/>
                        </a:lnTo>
                        <a:lnTo>
                          <a:pt x="162" y="447"/>
                        </a:lnTo>
                        <a:lnTo>
                          <a:pt x="162" y="445"/>
                        </a:lnTo>
                        <a:lnTo>
                          <a:pt x="164" y="445"/>
                        </a:lnTo>
                        <a:lnTo>
                          <a:pt x="172" y="440"/>
                        </a:lnTo>
                        <a:lnTo>
                          <a:pt x="173" y="439"/>
                        </a:lnTo>
                        <a:lnTo>
                          <a:pt x="176" y="432"/>
                        </a:lnTo>
                        <a:lnTo>
                          <a:pt x="179" y="424"/>
                        </a:lnTo>
                        <a:lnTo>
                          <a:pt x="179" y="423"/>
                        </a:lnTo>
                        <a:lnTo>
                          <a:pt x="183" y="420"/>
                        </a:lnTo>
                        <a:lnTo>
                          <a:pt x="183" y="418"/>
                        </a:lnTo>
                        <a:lnTo>
                          <a:pt x="184" y="415"/>
                        </a:lnTo>
                        <a:lnTo>
                          <a:pt x="183" y="413"/>
                        </a:lnTo>
                        <a:lnTo>
                          <a:pt x="183" y="412"/>
                        </a:lnTo>
                        <a:lnTo>
                          <a:pt x="183" y="410"/>
                        </a:lnTo>
                        <a:lnTo>
                          <a:pt x="181" y="409"/>
                        </a:lnTo>
                        <a:lnTo>
                          <a:pt x="181" y="407"/>
                        </a:lnTo>
                        <a:lnTo>
                          <a:pt x="179" y="405"/>
                        </a:lnTo>
                        <a:lnTo>
                          <a:pt x="176" y="402"/>
                        </a:lnTo>
                        <a:lnTo>
                          <a:pt x="176" y="399"/>
                        </a:lnTo>
                        <a:lnTo>
                          <a:pt x="175" y="398"/>
                        </a:lnTo>
                        <a:lnTo>
                          <a:pt x="175" y="394"/>
                        </a:lnTo>
                        <a:lnTo>
                          <a:pt x="175" y="393"/>
                        </a:lnTo>
                        <a:lnTo>
                          <a:pt x="178" y="385"/>
                        </a:lnTo>
                        <a:lnTo>
                          <a:pt x="176" y="382"/>
                        </a:lnTo>
                        <a:lnTo>
                          <a:pt x="176" y="380"/>
                        </a:lnTo>
                        <a:lnTo>
                          <a:pt x="175" y="366"/>
                        </a:lnTo>
                        <a:lnTo>
                          <a:pt x="176" y="364"/>
                        </a:lnTo>
                        <a:lnTo>
                          <a:pt x="178" y="361"/>
                        </a:lnTo>
                        <a:lnTo>
                          <a:pt x="181" y="356"/>
                        </a:lnTo>
                        <a:lnTo>
                          <a:pt x="181" y="355"/>
                        </a:lnTo>
                        <a:lnTo>
                          <a:pt x="181" y="353"/>
                        </a:lnTo>
                        <a:lnTo>
                          <a:pt x="176" y="345"/>
                        </a:lnTo>
                        <a:lnTo>
                          <a:pt x="175" y="344"/>
                        </a:lnTo>
                        <a:lnTo>
                          <a:pt x="173" y="340"/>
                        </a:lnTo>
                        <a:lnTo>
                          <a:pt x="172" y="337"/>
                        </a:lnTo>
                        <a:lnTo>
                          <a:pt x="170" y="329"/>
                        </a:lnTo>
                        <a:lnTo>
                          <a:pt x="170" y="326"/>
                        </a:lnTo>
                        <a:lnTo>
                          <a:pt x="170" y="321"/>
                        </a:lnTo>
                        <a:lnTo>
                          <a:pt x="167" y="318"/>
                        </a:lnTo>
                        <a:lnTo>
                          <a:pt x="165" y="317"/>
                        </a:lnTo>
                        <a:lnTo>
                          <a:pt x="162" y="315"/>
                        </a:lnTo>
                        <a:lnTo>
                          <a:pt x="159" y="310"/>
                        </a:lnTo>
                        <a:lnTo>
                          <a:pt x="159" y="309"/>
                        </a:lnTo>
                        <a:lnTo>
                          <a:pt x="154" y="309"/>
                        </a:lnTo>
                        <a:lnTo>
                          <a:pt x="149" y="309"/>
                        </a:lnTo>
                        <a:lnTo>
                          <a:pt x="145" y="309"/>
                        </a:lnTo>
                        <a:lnTo>
                          <a:pt x="135" y="310"/>
                        </a:lnTo>
                        <a:lnTo>
                          <a:pt x="132" y="309"/>
                        </a:lnTo>
                        <a:lnTo>
                          <a:pt x="130" y="307"/>
                        </a:lnTo>
                        <a:lnTo>
                          <a:pt x="126" y="306"/>
                        </a:lnTo>
                        <a:lnTo>
                          <a:pt x="122" y="301"/>
                        </a:lnTo>
                        <a:lnTo>
                          <a:pt x="122" y="299"/>
                        </a:lnTo>
                        <a:lnTo>
                          <a:pt x="122" y="296"/>
                        </a:lnTo>
                        <a:lnTo>
                          <a:pt x="126" y="290"/>
                        </a:lnTo>
                        <a:lnTo>
                          <a:pt x="127" y="285"/>
                        </a:lnTo>
                        <a:lnTo>
                          <a:pt x="129" y="283"/>
                        </a:lnTo>
                        <a:lnTo>
                          <a:pt x="129" y="282"/>
                        </a:lnTo>
                        <a:lnTo>
                          <a:pt x="137" y="266"/>
                        </a:lnTo>
                        <a:lnTo>
                          <a:pt x="140" y="260"/>
                        </a:lnTo>
                        <a:lnTo>
                          <a:pt x="140" y="258"/>
                        </a:lnTo>
                        <a:lnTo>
                          <a:pt x="140" y="255"/>
                        </a:lnTo>
                        <a:lnTo>
                          <a:pt x="138" y="252"/>
                        </a:lnTo>
                        <a:lnTo>
                          <a:pt x="138" y="250"/>
                        </a:lnTo>
                        <a:lnTo>
                          <a:pt x="137" y="244"/>
                        </a:lnTo>
                        <a:lnTo>
                          <a:pt x="138" y="241"/>
                        </a:lnTo>
                        <a:lnTo>
                          <a:pt x="140" y="238"/>
                        </a:lnTo>
                        <a:lnTo>
                          <a:pt x="140" y="233"/>
                        </a:lnTo>
                        <a:lnTo>
                          <a:pt x="140" y="231"/>
                        </a:lnTo>
                        <a:lnTo>
                          <a:pt x="141" y="226"/>
                        </a:lnTo>
                        <a:lnTo>
                          <a:pt x="143" y="223"/>
                        </a:lnTo>
                        <a:lnTo>
                          <a:pt x="143" y="222"/>
                        </a:lnTo>
                        <a:lnTo>
                          <a:pt x="143" y="220"/>
                        </a:lnTo>
                        <a:lnTo>
                          <a:pt x="141" y="217"/>
                        </a:lnTo>
                        <a:lnTo>
                          <a:pt x="145" y="211"/>
                        </a:lnTo>
                        <a:lnTo>
                          <a:pt x="141" y="211"/>
                        </a:lnTo>
                        <a:lnTo>
                          <a:pt x="140" y="209"/>
                        </a:lnTo>
                        <a:lnTo>
                          <a:pt x="138" y="211"/>
                        </a:lnTo>
                        <a:lnTo>
                          <a:pt x="135" y="212"/>
                        </a:lnTo>
                        <a:lnTo>
                          <a:pt x="134" y="214"/>
                        </a:lnTo>
                        <a:lnTo>
                          <a:pt x="130" y="214"/>
                        </a:lnTo>
                        <a:lnTo>
                          <a:pt x="129" y="212"/>
                        </a:lnTo>
                        <a:lnTo>
                          <a:pt x="124" y="207"/>
                        </a:lnTo>
                        <a:lnTo>
                          <a:pt x="126" y="204"/>
                        </a:lnTo>
                        <a:lnTo>
                          <a:pt x="124" y="201"/>
                        </a:lnTo>
                        <a:lnTo>
                          <a:pt x="124" y="200"/>
                        </a:lnTo>
                        <a:lnTo>
                          <a:pt x="122" y="198"/>
                        </a:lnTo>
                        <a:lnTo>
                          <a:pt x="121" y="198"/>
                        </a:lnTo>
                        <a:lnTo>
                          <a:pt x="116" y="198"/>
                        </a:lnTo>
                        <a:lnTo>
                          <a:pt x="115" y="196"/>
                        </a:lnTo>
                        <a:lnTo>
                          <a:pt x="113" y="193"/>
                        </a:lnTo>
                        <a:lnTo>
                          <a:pt x="107" y="193"/>
                        </a:lnTo>
                        <a:lnTo>
                          <a:pt x="100" y="190"/>
                        </a:lnTo>
                        <a:lnTo>
                          <a:pt x="100" y="188"/>
                        </a:lnTo>
                        <a:lnTo>
                          <a:pt x="99" y="188"/>
                        </a:lnTo>
                        <a:lnTo>
                          <a:pt x="92" y="187"/>
                        </a:lnTo>
                        <a:lnTo>
                          <a:pt x="91" y="185"/>
                        </a:lnTo>
                        <a:lnTo>
                          <a:pt x="89" y="187"/>
                        </a:lnTo>
                        <a:lnTo>
                          <a:pt x="88" y="190"/>
                        </a:lnTo>
                        <a:lnTo>
                          <a:pt x="86" y="192"/>
                        </a:lnTo>
                        <a:lnTo>
                          <a:pt x="84" y="190"/>
                        </a:lnTo>
                        <a:lnTo>
                          <a:pt x="83" y="188"/>
                        </a:lnTo>
                        <a:lnTo>
                          <a:pt x="81" y="187"/>
                        </a:lnTo>
                        <a:lnTo>
                          <a:pt x="80" y="187"/>
                        </a:lnTo>
                        <a:lnTo>
                          <a:pt x="77" y="182"/>
                        </a:lnTo>
                        <a:lnTo>
                          <a:pt x="72" y="181"/>
                        </a:lnTo>
                        <a:lnTo>
                          <a:pt x="70" y="181"/>
                        </a:lnTo>
                        <a:lnTo>
                          <a:pt x="69" y="179"/>
                        </a:lnTo>
                        <a:lnTo>
                          <a:pt x="67" y="177"/>
                        </a:lnTo>
                        <a:lnTo>
                          <a:pt x="65" y="179"/>
                        </a:lnTo>
                        <a:lnTo>
                          <a:pt x="64" y="179"/>
                        </a:lnTo>
                        <a:lnTo>
                          <a:pt x="64" y="181"/>
                        </a:lnTo>
                        <a:lnTo>
                          <a:pt x="62" y="181"/>
                        </a:lnTo>
                        <a:lnTo>
                          <a:pt x="62" y="179"/>
                        </a:lnTo>
                        <a:lnTo>
                          <a:pt x="61" y="177"/>
                        </a:lnTo>
                        <a:lnTo>
                          <a:pt x="56" y="174"/>
                        </a:lnTo>
                        <a:lnTo>
                          <a:pt x="54" y="173"/>
                        </a:lnTo>
                        <a:lnTo>
                          <a:pt x="54" y="171"/>
                        </a:lnTo>
                        <a:lnTo>
                          <a:pt x="54" y="169"/>
                        </a:lnTo>
                        <a:lnTo>
                          <a:pt x="56" y="168"/>
                        </a:lnTo>
                        <a:lnTo>
                          <a:pt x="56" y="166"/>
                        </a:lnTo>
                        <a:lnTo>
                          <a:pt x="58" y="166"/>
                        </a:lnTo>
                        <a:lnTo>
                          <a:pt x="62" y="166"/>
                        </a:lnTo>
                        <a:lnTo>
                          <a:pt x="67" y="165"/>
                        </a:lnTo>
                        <a:lnTo>
                          <a:pt x="67" y="163"/>
                        </a:lnTo>
                        <a:lnTo>
                          <a:pt x="72" y="163"/>
                        </a:lnTo>
                        <a:lnTo>
                          <a:pt x="73" y="166"/>
                        </a:lnTo>
                        <a:lnTo>
                          <a:pt x="75" y="166"/>
                        </a:lnTo>
                        <a:lnTo>
                          <a:pt x="77" y="166"/>
                        </a:lnTo>
                        <a:lnTo>
                          <a:pt x="80" y="168"/>
                        </a:lnTo>
                        <a:lnTo>
                          <a:pt x="81" y="169"/>
                        </a:lnTo>
                        <a:lnTo>
                          <a:pt x="84" y="174"/>
                        </a:lnTo>
                        <a:lnTo>
                          <a:pt x="86" y="174"/>
                        </a:lnTo>
                        <a:lnTo>
                          <a:pt x="89" y="174"/>
                        </a:lnTo>
                        <a:lnTo>
                          <a:pt x="92" y="173"/>
                        </a:lnTo>
                        <a:lnTo>
                          <a:pt x="100" y="166"/>
                        </a:lnTo>
                        <a:lnTo>
                          <a:pt x="102" y="166"/>
                        </a:lnTo>
                        <a:lnTo>
                          <a:pt x="102" y="165"/>
                        </a:lnTo>
                        <a:lnTo>
                          <a:pt x="105" y="161"/>
                        </a:lnTo>
                        <a:lnTo>
                          <a:pt x="107" y="163"/>
                        </a:lnTo>
                        <a:lnTo>
                          <a:pt x="108" y="163"/>
                        </a:lnTo>
                        <a:lnTo>
                          <a:pt x="108" y="165"/>
                        </a:lnTo>
                        <a:lnTo>
                          <a:pt x="113" y="165"/>
                        </a:lnTo>
                        <a:lnTo>
                          <a:pt x="116" y="165"/>
                        </a:lnTo>
                        <a:lnTo>
                          <a:pt x="118" y="165"/>
                        </a:lnTo>
                        <a:lnTo>
                          <a:pt x="119" y="160"/>
                        </a:lnTo>
                        <a:lnTo>
                          <a:pt x="121" y="158"/>
                        </a:lnTo>
                        <a:lnTo>
                          <a:pt x="122" y="158"/>
                        </a:lnTo>
                        <a:lnTo>
                          <a:pt x="126" y="155"/>
                        </a:lnTo>
                        <a:lnTo>
                          <a:pt x="127" y="155"/>
                        </a:lnTo>
                        <a:lnTo>
                          <a:pt x="130" y="155"/>
                        </a:lnTo>
                        <a:lnTo>
                          <a:pt x="132" y="157"/>
                        </a:lnTo>
                        <a:lnTo>
                          <a:pt x="132" y="158"/>
                        </a:lnTo>
                        <a:lnTo>
                          <a:pt x="132" y="160"/>
                        </a:lnTo>
                        <a:lnTo>
                          <a:pt x="132" y="161"/>
                        </a:lnTo>
                        <a:lnTo>
                          <a:pt x="134" y="163"/>
                        </a:lnTo>
                        <a:lnTo>
                          <a:pt x="135" y="163"/>
                        </a:lnTo>
                        <a:lnTo>
                          <a:pt x="135" y="165"/>
                        </a:lnTo>
                        <a:lnTo>
                          <a:pt x="137" y="165"/>
                        </a:lnTo>
                        <a:lnTo>
                          <a:pt x="138" y="165"/>
                        </a:lnTo>
                        <a:lnTo>
                          <a:pt x="140" y="166"/>
                        </a:lnTo>
                        <a:lnTo>
                          <a:pt x="141" y="166"/>
                        </a:lnTo>
                        <a:lnTo>
                          <a:pt x="145" y="163"/>
                        </a:lnTo>
                        <a:lnTo>
                          <a:pt x="149" y="163"/>
                        </a:lnTo>
                        <a:lnTo>
                          <a:pt x="151" y="163"/>
                        </a:lnTo>
                        <a:lnTo>
                          <a:pt x="151" y="161"/>
                        </a:lnTo>
                        <a:lnTo>
                          <a:pt x="149" y="160"/>
                        </a:lnTo>
                        <a:lnTo>
                          <a:pt x="151" y="160"/>
                        </a:lnTo>
                        <a:lnTo>
                          <a:pt x="151" y="158"/>
                        </a:lnTo>
                        <a:lnTo>
                          <a:pt x="151" y="157"/>
                        </a:lnTo>
                        <a:lnTo>
                          <a:pt x="149" y="155"/>
                        </a:lnTo>
                        <a:lnTo>
                          <a:pt x="153" y="150"/>
                        </a:lnTo>
                        <a:lnTo>
                          <a:pt x="157" y="146"/>
                        </a:lnTo>
                        <a:lnTo>
                          <a:pt x="159" y="146"/>
                        </a:lnTo>
                        <a:lnTo>
                          <a:pt x="162" y="146"/>
                        </a:lnTo>
                        <a:lnTo>
                          <a:pt x="168" y="141"/>
                        </a:lnTo>
                        <a:lnTo>
                          <a:pt x="170" y="138"/>
                        </a:lnTo>
                        <a:lnTo>
                          <a:pt x="172" y="136"/>
                        </a:lnTo>
                        <a:lnTo>
                          <a:pt x="173" y="135"/>
                        </a:lnTo>
                        <a:lnTo>
                          <a:pt x="176" y="130"/>
                        </a:lnTo>
                        <a:lnTo>
                          <a:pt x="178" y="130"/>
                        </a:lnTo>
                        <a:lnTo>
                          <a:pt x="179" y="130"/>
                        </a:lnTo>
                        <a:lnTo>
                          <a:pt x="186" y="128"/>
                        </a:lnTo>
                        <a:lnTo>
                          <a:pt x="187" y="127"/>
                        </a:lnTo>
                        <a:lnTo>
                          <a:pt x="187" y="125"/>
                        </a:lnTo>
                        <a:lnTo>
                          <a:pt x="191" y="125"/>
                        </a:lnTo>
                        <a:lnTo>
                          <a:pt x="192" y="122"/>
                        </a:lnTo>
                        <a:lnTo>
                          <a:pt x="194" y="120"/>
                        </a:lnTo>
                        <a:lnTo>
                          <a:pt x="195" y="114"/>
                        </a:lnTo>
                        <a:lnTo>
                          <a:pt x="195" y="111"/>
                        </a:lnTo>
                        <a:lnTo>
                          <a:pt x="197" y="109"/>
                        </a:lnTo>
                        <a:lnTo>
                          <a:pt x="199" y="108"/>
                        </a:lnTo>
                        <a:lnTo>
                          <a:pt x="203" y="106"/>
                        </a:lnTo>
                        <a:lnTo>
                          <a:pt x="206" y="108"/>
                        </a:lnTo>
                        <a:lnTo>
                          <a:pt x="210" y="108"/>
                        </a:lnTo>
                        <a:lnTo>
                          <a:pt x="210" y="104"/>
                        </a:lnTo>
                        <a:lnTo>
                          <a:pt x="210" y="98"/>
                        </a:lnTo>
                        <a:lnTo>
                          <a:pt x="211" y="98"/>
                        </a:lnTo>
                        <a:lnTo>
                          <a:pt x="211" y="97"/>
                        </a:lnTo>
                        <a:lnTo>
                          <a:pt x="213" y="97"/>
                        </a:lnTo>
                        <a:lnTo>
                          <a:pt x="214" y="97"/>
                        </a:lnTo>
                        <a:lnTo>
                          <a:pt x="216" y="98"/>
                        </a:lnTo>
                        <a:lnTo>
                          <a:pt x="218" y="98"/>
                        </a:lnTo>
                        <a:lnTo>
                          <a:pt x="219" y="98"/>
                        </a:lnTo>
                        <a:lnTo>
                          <a:pt x="221" y="97"/>
                        </a:lnTo>
                        <a:lnTo>
                          <a:pt x="227" y="92"/>
                        </a:lnTo>
                        <a:lnTo>
                          <a:pt x="229" y="92"/>
                        </a:lnTo>
                        <a:lnTo>
                          <a:pt x="229" y="90"/>
                        </a:lnTo>
                        <a:lnTo>
                          <a:pt x="237" y="89"/>
                        </a:lnTo>
                        <a:lnTo>
                          <a:pt x="238" y="89"/>
                        </a:lnTo>
                        <a:lnTo>
                          <a:pt x="243" y="87"/>
                        </a:lnTo>
                        <a:lnTo>
                          <a:pt x="244" y="85"/>
                        </a:lnTo>
                        <a:lnTo>
                          <a:pt x="249" y="84"/>
                        </a:lnTo>
                        <a:lnTo>
                          <a:pt x="251" y="84"/>
                        </a:lnTo>
                        <a:lnTo>
                          <a:pt x="252" y="82"/>
                        </a:lnTo>
                        <a:lnTo>
                          <a:pt x="252" y="81"/>
                        </a:lnTo>
                        <a:lnTo>
                          <a:pt x="252" y="79"/>
                        </a:lnTo>
                        <a:lnTo>
                          <a:pt x="254" y="79"/>
                        </a:lnTo>
                        <a:lnTo>
                          <a:pt x="256" y="79"/>
                        </a:lnTo>
                        <a:lnTo>
                          <a:pt x="256" y="78"/>
                        </a:lnTo>
                        <a:lnTo>
                          <a:pt x="257" y="78"/>
                        </a:lnTo>
                        <a:lnTo>
                          <a:pt x="259" y="78"/>
                        </a:lnTo>
                        <a:lnTo>
                          <a:pt x="260" y="79"/>
                        </a:lnTo>
                        <a:lnTo>
                          <a:pt x="262" y="79"/>
                        </a:lnTo>
                        <a:lnTo>
                          <a:pt x="268" y="79"/>
                        </a:lnTo>
                        <a:lnTo>
                          <a:pt x="270" y="79"/>
                        </a:lnTo>
                        <a:lnTo>
                          <a:pt x="276" y="78"/>
                        </a:lnTo>
                        <a:lnTo>
                          <a:pt x="286" y="76"/>
                        </a:lnTo>
                        <a:lnTo>
                          <a:pt x="294" y="78"/>
                        </a:lnTo>
                        <a:lnTo>
                          <a:pt x="295" y="76"/>
                        </a:lnTo>
                        <a:lnTo>
                          <a:pt x="297" y="76"/>
                        </a:lnTo>
                        <a:lnTo>
                          <a:pt x="300" y="74"/>
                        </a:lnTo>
                        <a:lnTo>
                          <a:pt x="303" y="74"/>
                        </a:lnTo>
                        <a:lnTo>
                          <a:pt x="305" y="74"/>
                        </a:lnTo>
                        <a:lnTo>
                          <a:pt x="306" y="76"/>
                        </a:lnTo>
                        <a:lnTo>
                          <a:pt x="309" y="76"/>
                        </a:lnTo>
                        <a:lnTo>
                          <a:pt x="313" y="76"/>
                        </a:lnTo>
                        <a:lnTo>
                          <a:pt x="314" y="76"/>
                        </a:lnTo>
                        <a:lnTo>
                          <a:pt x="316" y="74"/>
                        </a:lnTo>
                        <a:lnTo>
                          <a:pt x="319" y="71"/>
                        </a:lnTo>
                        <a:lnTo>
                          <a:pt x="320" y="71"/>
                        </a:lnTo>
                        <a:lnTo>
                          <a:pt x="320" y="73"/>
                        </a:lnTo>
                        <a:lnTo>
                          <a:pt x="324" y="71"/>
                        </a:lnTo>
                        <a:lnTo>
                          <a:pt x="325" y="70"/>
                        </a:lnTo>
                        <a:lnTo>
                          <a:pt x="327" y="70"/>
                        </a:lnTo>
                        <a:lnTo>
                          <a:pt x="332" y="68"/>
                        </a:lnTo>
                        <a:lnTo>
                          <a:pt x="336" y="65"/>
                        </a:lnTo>
                        <a:lnTo>
                          <a:pt x="343" y="65"/>
                        </a:lnTo>
                        <a:lnTo>
                          <a:pt x="354" y="65"/>
                        </a:lnTo>
                        <a:lnTo>
                          <a:pt x="355" y="65"/>
                        </a:lnTo>
                        <a:lnTo>
                          <a:pt x="357" y="65"/>
                        </a:lnTo>
                        <a:lnTo>
                          <a:pt x="365" y="62"/>
                        </a:lnTo>
                        <a:lnTo>
                          <a:pt x="368" y="63"/>
                        </a:lnTo>
                        <a:lnTo>
                          <a:pt x="368" y="65"/>
                        </a:lnTo>
                        <a:lnTo>
                          <a:pt x="373" y="63"/>
                        </a:lnTo>
                        <a:lnTo>
                          <a:pt x="376" y="65"/>
                        </a:lnTo>
                        <a:lnTo>
                          <a:pt x="379" y="65"/>
                        </a:lnTo>
                        <a:lnTo>
                          <a:pt x="381" y="65"/>
                        </a:lnTo>
                        <a:lnTo>
                          <a:pt x="389" y="62"/>
                        </a:lnTo>
                        <a:lnTo>
                          <a:pt x="392" y="59"/>
                        </a:lnTo>
                        <a:lnTo>
                          <a:pt x="395" y="57"/>
                        </a:lnTo>
                        <a:lnTo>
                          <a:pt x="401" y="57"/>
                        </a:lnTo>
                        <a:lnTo>
                          <a:pt x="404" y="55"/>
                        </a:lnTo>
                        <a:lnTo>
                          <a:pt x="406" y="55"/>
                        </a:lnTo>
                        <a:lnTo>
                          <a:pt x="408" y="55"/>
                        </a:lnTo>
                        <a:lnTo>
                          <a:pt x="409" y="59"/>
                        </a:lnTo>
                        <a:lnTo>
                          <a:pt x="411" y="60"/>
                        </a:lnTo>
                        <a:lnTo>
                          <a:pt x="414" y="62"/>
                        </a:lnTo>
                        <a:lnTo>
                          <a:pt x="420" y="60"/>
                        </a:lnTo>
                        <a:lnTo>
                          <a:pt x="425" y="60"/>
                        </a:lnTo>
                        <a:lnTo>
                          <a:pt x="427" y="60"/>
                        </a:lnTo>
                        <a:lnTo>
                          <a:pt x="435" y="60"/>
                        </a:lnTo>
                        <a:lnTo>
                          <a:pt x="438" y="62"/>
                        </a:lnTo>
                        <a:lnTo>
                          <a:pt x="452" y="62"/>
                        </a:lnTo>
                        <a:lnTo>
                          <a:pt x="455" y="62"/>
                        </a:lnTo>
                        <a:lnTo>
                          <a:pt x="458" y="65"/>
                        </a:lnTo>
                        <a:lnTo>
                          <a:pt x="460" y="65"/>
                        </a:lnTo>
                        <a:lnTo>
                          <a:pt x="461" y="66"/>
                        </a:lnTo>
                        <a:lnTo>
                          <a:pt x="463" y="65"/>
                        </a:lnTo>
                        <a:lnTo>
                          <a:pt x="463" y="66"/>
                        </a:lnTo>
                        <a:lnTo>
                          <a:pt x="471" y="68"/>
                        </a:lnTo>
                        <a:lnTo>
                          <a:pt x="471" y="66"/>
                        </a:lnTo>
                        <a:lnTo>
                          <a:pt x="473" y="66"/>
                        </a:lnTo>
                        <a:lnTo>
                          <a:pt x="476" y="62"/>
                        </a:lnTo>
                        <a:lnTo>
                          <a:pt x="477" y="62"/>
                        </a:lnTo>
                        <a:lnTo>
                          <a:pt x="480" y="46"/>
                        </a:lnTo>
                        <a:lnTo>
                          <a:pt x="480" y="44"/>
                        </a:lnTo>
                        <a:lnTo>
                          <a:pt x="480" y="43"/>
                        </a:lnTo>
                        <a:lnTo>
                          <a:pt x="484" y="40"/>
                        </a:lnTo>
                        <a:lnTo>
                          <a:pt x="484" y="38"/>
                        </a:lnTo>
                        <a:lnTo>
                          <a:pt x="485" y="36"/>
                        </a:lnTo>
                        <a:lnTo>
                          <a:pt x="487" y="35"/>
                        </a:lnTo>
                        <a:lnTo>
                          <a:pt x="492" y="33"/>
                        </a:lnTo>
                        <a:lnTo>
                          <a:pt x="493" y="32"/>
                        </a:lnTo>
                        <a:lnTo>
                          <a:pt x="498" y="30"/>
                        </a:lnTo>
                        <a:lnTo>
                          <a:pt x="503" y="30"/>
                        </a:lnTo>
                        <a:lnTo>
                          <a:pt x="511" y="33"/>
                        </a:lnTo>
                        <a:lnTo>
                          <a:pt x="517" y="33"/>
                        </a:lnTo>
                        <a:lnTo>
                          <a:pt x="522" y="28"/>
                        </a:lnTo>
                        <a:lnTo>
                          <a:pt x="522" y="27"/>
                        </a:lnTo>
                        <a:lnTo>
                          <a:pt x="523" y="27"/>
                        </a:lnTo>
                        <a:lnTo>
                          <a:pt x="523" y="30"/>
                        </a:lnTo>
                        <a:lnTo>
                          <a:pt x="525" y="30"/>
                        </a:lnTo>
                        <a:lnTo>
                          <a:pt x="526" y="30"/>
                        </a:lnTo>
                        <a:lnTo>
                          <a:pt x="530" y="32"/>
                        </a:lnTo>
                        <a:lnTo>
                          <a:pt x="534" y="30"/>
                        </a:lnTo>
                        <a:lnTo>
                          <a:pt x="544" y="30"/>
                        </a:lnTo>
                        <a:lnTo>
                          <a:pt x="547" y="32"/>
                        </a:lnTo>
                        <a:lnTo>
                          <a:pt x="549" y="32"/>
                        </a:lnTo>
                        <a:lnTo>
                          <a:pt x="550" y="30"/>
                        </a:lnTo>
                        <a:lnTo>
                          <a:pt x="553" y="28"/>
                        </a:lnTo>
                        <a:lnTo>
                          <a:pt x="556" y="27"/>
                        </a:lnTo>
                        <a:lnTo>
                          <a:pt x="563" y="22"/>
                        </a:lnTo>
                        <a:lnTo>
                          <a:pt x="568" y="21"/>
                        </a:lnTo>
                        <a:lnTo>
                          <a:pt x="572" y="21"/>
                        </a:lnTo>
                        <a:lnTo>
                          <a:pt x="577" y="19"/>
                        </a:lnTo>
                        <a:lnTo>
                          <a:pt x="583" y="19"/>
                        </a:lnTo>
                        <a:lnTo>
                          <a:pt x="588" y="21"/>
                        </a:lnTo>
                        <a:lnTo>
                          <a:pt x="590" y="21"/>
                        </a:lnTo>
                        <a:lnTo>
                          <a:pt x="591" y="21"/>
                        </a:lnTo>
                        <a:lnTo>
                          <a:pt x="593" y="19"/>
                        </a:lnTo>
                        <a:lnTo>
                          <a:pt x="595" y="19"/>
                        </a:lnTo>
                        <a:lnTo>
                          <a:pt x="598" y="16"/>
                        </a:lnTo>
                        <a:lnTo>
                          <a:pt x="599" y="14"/>
                        </a:lnTo>
                        <a:lnTo>
                          <a:pt x="601" y="13"/>
                        </a:lnTo>
                        <a:lnTo>
                          <a:pt x="602" y="11"/>
                        </a:lnTo>
                        <a:lnTo>
                          <a:pt x="602" y="9"/>
                        </a:lnTo>
                        <a:lnTo>
                          <a:pt x="604" y="8"/>
                        </a:lnTo>
                        <a:lnTo>
                          <a:pt x="604" y="6"/>
                        </a:lnTo>
                        <a:lnTo>
                          <a:pt x="606" y="3"/>
                        </a:lnTo>
                        <a:lnTo>
                          <a:pt x="607" y="3"/>
                        </a:lnTo>
                        <a:lnTo>
                          <a:pt x="609" y="2"/>
                        </a:lnTo>
                        <a:lnTo>
                          <a:pt x="614" y="0"/>
                        </a:lnTo>
                        <a:lnTo>
                          <a:pt x="615" y="0"/>
                        </a:lnTo>
                        <a:lnTo>
                          <a:pt x="617" y="0"/>
                        </a:lnTo>
                        <a:lnTo>
                          <a:pt x="618" y="0"/>
                        </a:lnTo>
                        <a:lnTo>
                          <a:pt x="620" y="3"/>
                        </a:lnTo>
                        <a:lnTo>
                          <a:pt x="621" y="3"/>
                        </a:lnTo>
                        <a:lnTo>
                          <a:pt x="623" y="5"/>
                        </a:lnTo>
                        <a:lnTo>
                          <a:pt x="625" y="6"/>
                        </a:lnTo>
                        <a:close/>
                      </a:path>
                    </a:pathLst>
                  </a:custGeom>
                  <a:solidFill>
                    <a:srgbClr val="ECF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90" name="Freeform 89"/>
                  <p:cNvSpPr>
                    <a:spLocks/>
                  </p:cNvSpPr>
                  <p:nvPr/>
                </p:nvSpPr>
                <p:spPr bwMode="auto">
                  <a:xfrm>
                    <a:off x="2269" y="2475"/>
                    <a:ext cx="988" cy="379"/>
                  </a:xfrm>
                  <a:custGeom>
                    <a:avLst/>
                    <a:gdLst>
                      <a:gd name="T0" fmla="*/ 14 w 988"/>
                      <a:gd name="T1" fmla="*/ 32 h 379"/>
                      <a:gd name="T2" fmla="*/ 22 w 988"/>
                      <a:gd name="T3" fmla="*/ 57 h 379"/>
                      <a:gd name="T4" fmla="*/ 32 w 988"/>
                      <a:gd name="T5" fmla="*/ 76 h 379"/>
                      <a:gd name="T6" fmla="*/ 27 w 988"/>
                      <a:gd name="T7" fmla="*/ 103 h 379"/>
                      <a:gd name="T8" fmla="*/ 25 w 988"/>
                      <a:gd name="T9" fmla="*/ 154 h 379"/>
                      <a:gd name="T10" fmla="*/ 0 w 988"/>
                      <a:gd name="T11" fmla="*/ 186 h 379"/>
                      <a:gd name="T12" fmla="*/ 14 w 988"/>
                      <a:gd name="T13" fmla="*/ 225 h 379"/>
                      <a:gd name="T14" fmla="*/ 43 w 988"/>
                      <a:gd name="T15" fmla="*/ 224 h 379"/>
                      <a:gd name="T16" fmla="*/ 73 w 988"/>
                      <a:gd name="T17" fmla="*/ 214 h 379"/>
                      <a:gd name="T18" fmla="*/ 95 w 988"/>
                      <a:gd name="T19" fmla="*/ 228 h 379"/>
                      <a:gd name="T20" fmla="*/ 120 w 988"/>
                      <a:gd name="T21" fmla="*/ 216 h 379"/>
                      <a:gd name="T22" fmla="*/ 131 w 988"/>
                      <a:gd name="T23" fmla="*/ 190 h 379"/>
                      <a:gd name="T24" fmla="*/ 141 w 988"/>
                      <a:gd name="T25" fmla="*/ 165 h 379"/>
                      <a:gd name="T26" fmla="*/ 155 w 988"/>
                      <a:gd name="T27" fmla="*/ 116 h 379"/>
                      <a:gd name="T28" fmla="*/ 233 w 988"/>
                      <a:gd name="T29" fmla="*/ 95 h 379"/>
                      <a:gd name="T30" fmla="*/ 299 w 988"/>
                      <a:gd name="T31" fmla="*/ 94 h 379"/>
                      <a:gd name="T32" fmla="*/ 315 w 988"/>
                      <a:gd name="T33" fmla="*/ 108 h 379"/>
                      <a:gd name="T34" fmla="*/ 323 w 988"/>
                      <a:gd name="T35" fmla="*/ 127 h 379"/>
                      <a:gd name="T36" fmla="*/ 337 w 988"/>
                      <a:gd name="T37" fmla="*/ 143 h 379"/>
                      <a:gd name="T38" fmla="*/ 358 w 988"/>
                      <a:gd name="T39" fmla="*/ 141 h 379"/>
                      <a:gd name="T40" fmla="*/ 359 w 988"/>
                      <a:gd name="T41" fmla="*/ 160 h 379"/>
                      <a:gd name="T42" fmla="*/ 383 w 988"/>
                      <a:gd name="T43" fmla="*/ 168 h 379"/>
                      <a:gd name="T44" fmla="*/ 393 w 988"/>
                      <a:gd name="T45" fmla="*/ 194 h 379"/>
                      <a:gd name="T46" fmla="*/ 418 w 988"/>
                      <a:gd name="T47" fmla="*/ 214 h 379"/>
                      <a:gd name="T48" fmla="*/ 437 w 988"/>
                      <a:gd name="T49" fmla="*/ 224 h 379"/>
                      <a:gd name="T50" fmla="*/ 461 w 988"/>
                      <a:gd name="T51" fmla="*/ 224 h 379"/>
                      <a:gd name="T52" fmla="*/ 483 w 988"/>
                      <a:gd name="T53" fmla="*/ 216 h 379"/>
                      <a:gd name="T54" fmla="*/ 500 w 988"/>
                      <a:gd name="T55" fmla="*/ 195 h 379"/>
                      <a:gd name="T56" fmla="*/ 524 w 988"/>
                      <a:gd name="T57" fmla="*/ 203 h 379"/>
                      <a:gd name="T58" fmla="*/ 551 w 988"/>
                      <a:gd name="T59" fmla="*/ 203 h 379"/>
                      <a:gd name="T60" fmla="*/ 572 w 988"/>
                      <a:gd name="T61" fmla="*/ 203 h 379"/>
                      <a:gd name="T62" fmla="*/ 588 w 988"/>
                      <a:gd name="T63" fmla="*/ 216 h 379"/>
                      <a:gd name="T64" fmla="*/ 603 w 988"/>
                      <a:gd name="T65" fmla="*/ 222 h 379"/>
                      <a:gd name="T66" fmla="*/ 619 w 988"/>
                      <a:gd name="T67" fmla="*/ 230 h 379"/>
                      <a:gd name="T68" fmla="*/ 643 w 988"/>
                      <a:gd name="T69" fmla="*/ 232 h 379"/>
                      <a:gd name="T70" fmla="*/ 657 w 988"/>
                      <a:gd name="T71" fmla="*/ 238 h 379"/>
                      <a:gd name="T72" fmla="*/ 681 w 988"/>
                      <a:gd name="T73" fmla="*/ 247 h 379"/>
                      <a:gd name="T74" fmla="*/ 690 w 988"/>
                      <a:gd name="T75" fmla="*/ 255 h 379"/>
                      <a:gd name="T76" fmla="*/ 676 w 988"/>
                      <a:gd name="T77" fmla="*/ 274 h 379"/>
                      <a:gd name="T78" fmla="*/ 660 w 988"/>
                      <a:gd name="T79" fmla="*/ 292 h 379"/>
                      <a:gd name="T80" fmla="*/ 676 w 988"/>
                      <a:gd name="T81" fmla="*/ 311 h 379"/>
                      <a:gd name="T82" fmla="*/ 692 w 988"/>
                      <a:gd name="T83" fmla="*/ 327 h 379"/>
                      <a:gd name="T84" fmla="*/ 719 w 988"/>
                      <a:gd name="T85" fmla="*/ 330 h 379"/>
                      <a:gd name="T86" fmla="*/ 736 w 988"/>
                      <a:gd name="T87" fmla="*/ 336 h 379"/>
                      <a:gd name="T88" fmla="*/ 735 w 988"/>
                      <a:gd name="T89" fmla="*/ 355 h 379"/>
                      <a:gd name="T90" fmla="*/ 741 w 988"/>
                      <a:gd name="T91" fmla="*/ 374 h 379"/>
                      <a:gd name="T92" fmla="*/ 765 w 988"/>
                      <a:gd name="T93" fmla="*/ 377 h 379"/>
                      <a:gd name="T94" fmla="*/ 784 w 988"/>
                      <a:gd name="T95" fmla="*/ 366 h 379"/>
                      <a:gd name="T96" fmla="*/ 805 w 988"/>
                      <a:gd name="T97" fmla="*/ 365 h 379"/>
                      <a:gd name="T98" fmla="*/ 825 w 988"/>
                      <a:gd name="T99" fmla="*/ 357 h 379"/>
                      <a:gd name="T100" fmla="*/ 844 w 988"/>
                      <a:gd name="T101" fmla="*/ 350 h 379"/>
                      <a:gd name="T102" fmla="*/ 860 w 988"/>
                      <a:gd name="T103" fmla="*/ 339 h 379"/>
                      <a:gd name="T104" fmla="*/ 876 w 988"/>
                      <a:gd name="T105" fmla="*/ 328 h 379"/>
                      <a:gd name="T106" fmla="*/ 887 w 988"/>
                      <a:gd name="T107" fmla="*/ 315 h 379"/>
                      <a:gd name="T108" fmla="*/ 903 w 988"/>
                      <a:gd name="T109" fmla="*/ 322 h 379"/>
                      <a:gd name="T110" fmla="*/ 908 w 988"/>
                      <a:gd name="T111" fmla="*/ 333 h 379"/>
                      <a:gd name="T112" fmla="*/ 928 w 988"/>
                      <a:gd name="T113" fmla="*/ 349 h 379"/>
                      <a:gd name="T114" fmla="*/ 947 w 988"/>
                      <a:gd name="T115" fmla="*/ 334 h 379"/>
                      <a:gd name="T116" fmla="*/ 961 w 988"/>
                      <a:gd name="T117" fmla="*/ 334 h 379"/>
                      <a:gd name="T118" fmla="*/ 982 w 988"/>
                      <a:gd name="T119" fmla="*/ 35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88" h="379">
                        <a:moveTo>
                          <a:pt x="5" y="0"/>
                        </a:moveTo>
                        <a:lnTo>
                          <a:pt x="8" y="3"/>
                        </a:lnTo>
                        <a:lnTo>
                          <a:pt x="8" y="2"/>
                        </a:lnTo>
                        <a:lnTo>
                          <a:pt x="9" y="2"/>
                        </a:lnTo>
                        <a:lnTo>
                          <a:pt x="11" y="3"/>
                        </a:lnTo>
                        <a:lnTo>
                          <a:pt x="13" y="5"/>
                        </a:lnTo>
                        <a:lnTo>
                          <a:pt x="14" y="7"/>
                        </a:lnTo>
                        <a:lnTo>
                          <a:pt x="16" y="11"/>
                        </a:lnTo>
                        <a:lnTo>
                          <a:pt x="17" y="11"/>
                        </a:lnTo>
                        <a:lnTo>
                          <a:pt x="19" y="15"/>
                        </a:lnTo>
                        <a:lnTo>
                          <a:pt x="19" y="16"/>
                        </a:lnTo>
                        <a:lnTo>
                          <a:pt x="19" y="18"/>
                        </a:lnTo>
                        <a:lnTo>
                          <a:pt x="19" y="19"/>
                        </a:lnTo>
                        <a:lnTo>
                          <a:pt x="17" y="22"/>
                        </a:lnTo>
                        <a:lnTo>
                          <a:pt x="17" y="27"/>
                        </a:lnTo>
                        <a:lnTo>
                          <a:pt x="16" y="30"/>
                        </a:lnTo>
                        <a:lnTo>
                          <a:pt x="14" y="32"/>
                        </a:lnTo>
                        <a:lnTo>
                          <a:pt x="11" y="34"/>
                        </a:lnTo>
                        <a:lnTo>
                          <a:pt x="11" y="35"/>
                        </a:lnTo>
                        <a:lnTo>
                          <a:pt x="9" y="37"/>
                        </a:lnTo>
                        <a:lnTo>
                          <a:pt x="9" y="40"/>
                        </a:lnTo>
                        <a:lnTo>
                          <a:pt x="11" y="43"/>
                        </a:lnTo>
                        <a:lnTo>
                          <a:pt x="9" y="46"/>
                        </a:lnTo>
                        <a:lnTo>
                          <a:pt x="9" y="48"/>
                        </a:lnTo>
                        <a:lnTo>
                          <a:pt x="8" y="49"/>
                        </a:lnTo>
                        <a:lnTo>
                          <a:pt x="8" y="54"/>
                        </a:lnTo>
                        <a:lnTo>
                          <a:pt x="8" y="56"/>
                        </a:lnTo>
                        <a:lnTo>
                          <a:pt x="9" y="57"/>
                        </a:lnTo>
                        <a:lnTo>
                          <a:pt x="11" y="57"/>
                        </a:lnTo>
                        <a:lnTo>
                          <a:pt x="16" y="59"/>
                        </a:lnTo>
                        <a:lnTo>
                          <a:pt x="17" y="59"/>
                        </a:lnTo>
                        <a:lnTo>
                          <a:pt x="19" y="57"/>
                        </a:lnTo>
                        <a:lnTo>
                          <a:pt x="20" y="57"/>
                        </a:lnTo>
                        <a:lnTo>
                          <a:pt x="22" y="57"/>
                        </a:lnTo>
                        <a:lnTo>
                          <a:pt x="24" y="57"/>
                        </a:lnTo>
                        <a:lnTo>
                          <a:pt x="27" y="57"/>
                        </a:lnTo>
                        <a:lnTo>
                          <a:pt x="28" y="59"/>
                        </a:lnTo>
                        <a:lnTo>
                          <a:pt x="32" y="59"/>
                        </a:lnTo>
                        <a:lnTo>
                          <a:pt x="33" y="59"/>
                        </a:lnTo>
                        <a:lnTo>
                          <a:pt x="36" y="59"/>
                        </a:lnTo>
                        <a:lnTo>
                          <a:pt x="39" y="59"/>
                        </a:lnTo>
                        <a:lnTo>
                          <a:pt x="39" y="62"/>
                        </a:lnTo>
                        <a:lnTo>
                          <a:pt x="39" y="64"/>
                        </a:lnTo>
                        <a:lnTo>
                          <a:pt x="39" y="65"/>
                        </a:lnTo>
                        <a:lnTo>
                          <a:pt x="38" y="67"/>
                        </a:lnTo>
                        <a:lnTo>
                          <a:pt x="36" y="70"/>
                        </a:lnTo>
                        <a:lnTo>
                          <a:pt x="36" y="72"/>
                        </a:lnTo>
                        <a:lnTo>
                          <a:pt x="35" y="73"/>
                        </a:lnTo>
                        <a:lnTo>
                          <a:pt x="35" y="75"/>
                        </a:lnTo>
                        <a:lnTo>
                          <a:pt x="33" y="76"/>
                        </a:lnTo>
                        <a:lnTo>
                          <a:pt x="32" y="76"/>
                        </a:lnTo>
                        <a:lnTo>
                          <a:pt x="28" y="78"/>
                        </a:lnTo>
                        <a:lnTo>
                          <a:pt x="27" y="78"/>
                        </a:lnTo>
                        <a:lnTo>
                          <a:pt x="25" y="78"/>
                        </a:lnTo>
                        <a:lnTo>
                          <a:pt x="25" y="79"/>
                        </a:lnTo>
                        <a:lnTo>
                          <a:pt x="27" y="81"/>
                        </a:lnTo>
                        <a:lnTo>
                          <a:pt x="27" y="83"/>
                        </a:lnTo>
                        <a:lnTo>
                          <a:pt x="30" y="83"/>
                        </a:lnTo>
                        <a:lnTo>
                          <a:pt x="30" y="86"/>
                        </a:lnTo>
                        <a:lnTo>
                          <a:pt x="30" y="89"/>
                        </a:lnTo>
                        <a:lnTo>
                          <a:pt x="30" y="91"/>
                        </a:lnTo>
                        <a:lnTo>
                          <a:pt x="30" y="94"/>
                        </a:lnTo>
                        <a:lnTo>
                          <a:pt x="28" y="95"/>
                        </a:lnTo>
                        <a:lnTo>
                          <a:pt x="27" y="97"/>
                        </a:lnTo>
                        <a:lnTo>
                          <a:pt x="25" y="100"/>
                        </a:lnTo>
                        <a:lnTo>
                          <a:pt x="25" y="102"/>
                        </a:lnTo>
                        <a:lnTo>
                          <a:pt x="25" y="103"/>
                        </a:lnTo>
                        <a:lnTo>
                          <a:pt x="27" y="103"/>
                        </a:lnTo>
                        <a:lnTo>
                          <a:pt x="30" y="105"/>
                        </a:lnTo>
                        <a:lnTo>
                          <a:pt x="32" y="105"/>
                        </a:lnTo>
                        <a:lnTo>
                          <a:pt x="32" y="106"/>
                        </a:lnTo>
                        <a:lnTo>
                          <a:pt x="32" y="110"/>
                        </a:lnTo>
                        <a:lnTo>
                          <a:pt x="30" y="111"/>
                        </a:lnTo>
                        <a:lnTo>
                          <a:pt x="28" y="113"/>
                        </a:lnTo>
                        <a:lnTo>
                          <a:pt x="28" y="114"/>
                        </a:lnTo>
                        <a:lnTo>
                          <a:pt x="27" y="116"/>
                        </a:lnTo>
                        <a:lnTo>
                          <a:pt x="27" y="119"/>
                        </a:lnTo>
                        <a:lnTo>
                          <a:pt x="27" y="125"/>
                        </a:lnTo>
                        <a:lnTo>
                          <a:pt x="27" y="130"/>
                        </a:lnTo>
                        <a:lnTo>
                          <a:pt x="27" y="135"/>
                        </a:lnTo>
                        <a:lnTo>
                          <a:pt x="25" y="138"/>
                        </a:lnTo>
                        <a:lnTo>
                          <a:pt x="25" y="143"/>
                        </a:lnTo>
                        <a:lnTo>
                          <a:pt x="25" y="146"/>
                        </a:lnTo>
                        <a:lnTo>
                          <a:pt x="25" y="151"/>
                        </a:lnTo>
                        <a:lnTo>
                          <a:pt x="25" y="154"/>
                        </a:lnTo>
                        <a:lnTo>
                          <a:pt x="24" y="157"/>
                        </a:lnTo>
                        <a:lnTo>
                          <a:pt x="22" y="160"/>
                        </a:lnTo>
                        <a:lnTo>
                          <a:pt x="22" y="163"/>
                        </a:lnTo>
                        <a:lnTo>
                          <a:pt x="22" y="167"/>
                        </a:lnTo>
                        <a:lnTo>
                          <a:pt x="20" y="170"/>
                        </a:lnTo>
                        <a:lnTo>
                          <a:pt x="20" y="171"/>
                        </a:lnTo>
                        <a:lnTo>
                          <a:pt x="20" y="173"/>
                        </a:lnTo>
                        <a:lnTo>
                          <a:pt x="19" y="173"/>
                        </a:lnTo>
                        <a:lnTo>
                          <a:pt x="17" y="173"/>
                        </a:lnTo>
                        <a:lnTo>
                          <a:pt x="16" y="175"/>
                        </a:lnTo>
                        <a:lnTo>
                          <a:pt x="14" y="175"/>
                        </a:lnTo>
                        <a:lnTo>
                          <a:pt x="13" y="176"/>
                        </a:lnTo>
                        <a:lnTo>
                          <a:pt x="8" y="181"/>
                        </a:lnTo>
                        <a:lnTo>
                          <a:pt x="6" y="182"/>
                        </a:lnTo>
                        <a:lnTo>
                          <a:pt x="5" y="182"/>
                        </a:lnTo>
                        <a:lnTo>
                          <a:pt x="3" y="184"/>
                        </a:lnTo>
                        <a:lnTo>
                          <a:pt x="0" y="186"/>
                        </a:lnTo>
                        <a:lnTo>
                          <a:pt x="1" y="187"/>
                        </a:lnTo>
                        <a:lnTo>
                          <a:pt x="0" y="189"/>
                        </a:lnTo>
                        <a:lnTo>
                          <a:pt x="1" y="192"/>
                        </a:lnTo>
                        <a:lnTo>
                          <a:pt x="1" y="195"/>
                        </a:lnTo>
                        <a:lnTo>
                          <a:pt x="1" y="197"/>
                        </a:lnTo>
                        <a:lnTo>
                          <a:pt x="1" y="198"/>
                        </a:lnTo>
                        <a:lnTo>
                          <a:pt x="1" y="201"/>
                        </a:lnTo>
                        <a:lnTo>
                          <a:pt x="3" y="203"/>
                        </a:lnTo>
                        <a:lnTo>
                          <a:pt x="3" y="206"/>
                        </a:lnTo>
                        <a:lnTo>
                          <a:pt x="5" y="209"/>
                        </a:lnTo>
                        <a:lnTo>
                          <a:pt x="5" y="213"/>
                        </a:lnTo>
                        <a:lnTo>
                          <a:pt x="5" y="214"/>
                        </a:lnTo>
                        <a:lnTo>
                          <a:pt x="5" y="217"/>
                        </a:lnTo>
                        <a:lnTo>
                          <a:pt x="6" y="219"/>
                        </a:lnTo>
                        <a:lnTo>
                          <a:pt x="8" y="222"/>
                        </a:lnTo>
                        <a:lnTo>
                          <a:pt x="9" y="222"/>
                        </a:lnTo>
                        <a:lnTo>
                          <a:pt x="14" y="225"/>
                        </a:lnTo>
                        <a:lnTo>
                          <a:pt x="16" y="228"/>
                        </a:lnTo>
                        <a:lnTo>
                          <a:pt x="17" y="228"/>
                        </a:lnTo>
                        <a:lnTo>
                          <a:pt x="20" y="232"/>
                        </a:lnTo>
                        <a:lnTo>
                          <a:pt x="22" y="233"/>
                        </a:lnTo>
                        <a:lnTo>
                          <a:pt x="25" y="235"/>
                        </a:lnTo>
                        <a:lnTo>
                          <a:pt x="27" y="235"/>
                        </a:lnTo>
                        <a:lnTo>
                          <a:pt x="28" y="238"/>
                        </a:lnTo>
                        <a:lnTo>
                          <a:pt x="30" y="239"/>
                        </a:lnTo>
                        <a:lnTo>
                          <a:pt x="32" y="239"/>
                        </a:lnTo>
                        <a:lnTo>
                          <a:pt x="33" y="238"/>
                        </a:lnTo>
                        <a:lnTo>
                          <a:pt x="33" y="236"/>
                        </a:lnTo>
                        <a:lnTo>
                          <a:pt x="35" y="235"/>
                        </a:lnTo>
                        <a:lnTo>
                          <a:pt x="35" y="233"/>
                        </a:lnTo>
                        <a:lnTo>
                          <a:pt x="36" y="230"/>
                        </a:lnTo>
                        <a:lnTo>
                          <a:pt x="39" y="227"/>
                        </a:lnTo>
                        <a:lnTo>
                          <a:pt x="41" y="225"/>
                        </a:lnTo>
                        <a:lnTo>
                          <a:pt x="43" y="224"/>
                        </a:lnTo>
                        <a:lnTo>
                          <a:pt x="44" y="224"/>
                        </a:lnTo>
                        <a:lnTo>
                          <a:pt x="46" y="220"/>
                        </a:lnTo>
                        <a:lnTo>
                          <a:pt x="47" y="217"/>
                        </a:lnTo>
                        <a:lnTo>
                          <a:pt x="49" y="214"/>
                        </a:lnTo>
                        <a:lnTo>
                          <a:pt x="51" y="213"/>
                        </a:lnTo>
                        <a:lnTo>
                          <a:pt x="52" y="211"/>
                        </a:lnTo>
                        <a:lnTo>
                          <a:pt x="55" y="211"/>
                        </a:lnTo>
                        <a:lnTo>
                          <a:pt x="58" y="211"/>
                        </a:lnTo>
                        <a:lnTo>
                          <a:pt x="60" y="211"/>
                        </a:lnTo>
                        <a:lnTo>
                          <a:pt x="62" y="211"/>
                        </a:lnTo>
                        <a:lnTo>
                          <a:pt x="63" y="213"/>
                        </a:lnTo>
                        <a:lnTo>
                          <a:pt x="63" y="214"/>
                        </a:lnTo>
                        <a:lnTo>
                          <a:pt x="65" y="214"/>
                        </a:lnTo>
                        <a:lnTo>
                          <a:pt x="68" y="214"/>
                        </a:lnTo>
                        <a:lnTo>
                          <a:pt x="70" y="213"/>
                        </a:lnTo>
                        <a:lnTo>
                          <a:pt x="71" y="213"/>
                        </a:lnTo>
                        <a:lnTo>
                          <a:pt x="73" y="214"/>
                        </a:lnTo>
                        <a:lnTo>
                          <a:pt x="74" y="216"/>
                        </a:lnTo>
                        <a:lnTo>
                          <a:pt x="76" y="216"/>
                        </a:lnTo>
                        <a:lnTo>
                          <a:pt x="77" y="216"/>
                        </a:lnTo>
                        <a:lnTo>
                          <a:pt x="79" y="216"/>
                        </a:lnTo>
                        <a:lnTo>
                          <a:pt x="81" y="216"/>
                        </a:lnTo>
                        <a:lnTo>
                          <a:pt x="82" y="216"/>
                        </a:lnTo>
                        <a:lnTo>
                          <a:pt x="82" y="217"/>
                        </a:lnTo>
                        <a:lnTo>
                          <a:pt x="82" y="219"/>
                        </a:lnTo>
                        <a:lnTo>
                          <a:pt x="85" y="220"/>
                        </a:lnTo>
                        <a:lnTo>
                          <a:pt x="87" y="224"/>
                        </a:lnTo>
                        <a:lnTo>
                          <a:pt x="87" y="227"/>
                        </a:lnTo>
                        <a:lnTo>
                          <a:pt x="89" y="228"/>
                        </a:lnTo>
                        <a:lnTo>
                          <a:pt x="89" y="230"/>
                        </a:lnTo>
                        <a:lnTo>
                          <a:pt x="90" y="230"/>
                        </a:lnTo>
                        <a:lnTo>
                          <a:pt x="92" y="230"/>
                        </a:lnTo>
                        <a:lnTo>
                          <a:pt x="93" y="230"/>
                        </a:lnTo>
                        <a:lnTo>
                          <a:pt x="95" y="228"/>
                        </a:lnTo>
                        <a:lnTo>
                          <a:pt x="96" y="228"/>
                        </a:lnTo>
                        <a:lnTo>
                          <a:pt x="98" y="227"/>
                        </a:lnTo>
                        <a:lnTo>
                          <a:pt x="98" y="225"/>
                        </a:lnTo>
                        <a:lnTo>
                          <a:pt x="100" y="225"/>
                        </a:lnTo>
                        <a:lnTo>
                          <a:pt x="101" y="227"/>
                        </a:lnTo>
                        <a:lnTo>
                          <a:pt x="103" y="227"/>
                        </a:lnTo>
                        <a:lnTo>
                          <a:pt x="104" y="225"/>
                        </a:lnTo>
                        <a:lnTo>
                          <a:pt x="104" y="224"/>
                        </a:lnTo>
                        <a:lnTo>
                          <a:pt x="108" y="222"/>
                        </a:lnTo>
                        <a:lnTo>
                          <a:pt x="109" y="220"/>
                        </a:lnTo>
                        <a:lnTo>
                          <a:pt x="111" y="220"/>
                        </a:lnTo>
                        <a:lnTo>
                          <a:pt x="111" y="219"/>
                        </a:lnTo>
                        <a:lnTo>
                          <a:pt x="112" y="219"/>
                        </a:lnTo>
                        <a:lnTo>
                          <a:pt x="114" y="219"/>
                        </a:lnTo>
                        <a:lnTo>
                          <a:pt x="115" y="217"/>
                        </a:lnTo>
                        <a:lnTo>
                          <a:pt x="119" y="217"/>
                        </a:lnTo>
                        <a:lnTo>
                          <a:pt x="120" y="216"/>
                        </a:lnTo>
                        <a:lnTo>
                          <a:pt x="122" y="214"/>
                        </a:lnTo>
                        <a:lnTo>
                          <a:pt x="122" y="213"/>
                        </a:lnTo>
                        <a:lnTo>
                          <a:pt x="123" y="211"/>
                        </a:lnTo>
                        <a:lnTo>
                          <a:pt x="125" y="208"/>
                        </a:lnTo>
                        <a:lnTo>
                          <a:pt x="125" y="206"/>
                        </a:lnTo>
                        <a:lnTo>
                          <a:pt x="123" y="203"/>
                        </a:lnTo>
                        <a:lnTo>
                          <a:pt x="123" y="201"/>
                        </a:lnTo>
                        <a:lnTo>
                          <a:pt x="125" y="200"/>
                        </a:lnTo>
                        <a:lnTo>
                          <a:pt x="125" y="197"/>
                        </a:lnTo>
                        <a:lnTo>
                          <a:pt x="127" y="197"/>
                        </a:lnTo>
                        <a:lnTo>
                          <a:pt x="128" y="197"/>
                        </a:lnTo>
                        <a:lnTo>
                          <a:pt x="130" y="197"/>
                        </a:lnTo>
                        <a:lnTo>
                          <a:pt x="130" y="194"/>
                        </a:lnTo>
                        <a:lnTo>
                          <a:pt x="130" y="192"/>
                        </a:lnTo>
                        <a:lnTo>
                          <a:pt x="131" y="192"/>
                        </a:lnTo>
                        <a:lnTo>
                          <a:pt x="133" y="190"/>
                        </a:lnTo>
                        <a:lnTo>
                          <a:pt x="131" y="190"/>
                        </a:lnTo>
                        <a:lnTo>
                          <a:pt x="133" y="190"/>
                        </a:lnTo>
                        <a:lnTo>
                          <a:pt x="134" y="189"/>
                        </a:lnTo>
                        <a:lnTo>
                          <a:pt x="134" y="187"/>
                        </a:lnTo>
                        <a:lnTo>
                          <a:pt x="136" y="186"/>
                        </a:lnTo>
                        <a:lnTo>
                          <a:pt x="136" y="184"/>
                        </a:lnTo>
                        <a:lnTo>
                          <a:pt x="138" y="184"/>
                        </a:lnTo>
                        <a:lnTo>
                          <a:pt x="138" y="182"/>
                        </a:lnTo>
                        <a:lnTo>
                          <a:pt x="138" y="181"/>
                        </a:lnTo>
                        <a:lnTo>
                          <a:pt x="138" y="179"/>
                        </a:lnTo>
                        <a:lnTo>
                          <a:pt x="139" y="179"/>
                        </a:lnTo>
                        <a:lnTo>
                          <a:pt x="141" y="179"/>
                        </a:lnTo>
                        <a:lnTo>
                          <a:pt x="141" y="178"/>
                        </a:lnTo>
                        <a:lnTo>
                          <a:pt x="141" y="176"/>
                        </a:lnTo>
                        <a:lnTo>
                          <a:pt x="139" y="175"/>
                        </a:lnTo>
                        <a:lnTo>
                          <a:pt x="139" y="173"/>
                        </a:lnTo>
                        <a:lnTo>
                          <a:pt x="139" y="170"/>
                        </a:lnTo>
                        <a:lnTo>
                          <a:pt x="141" y="165"/>
                        </a:lnTo>
                        <a:lnTo>
                          <a:pt x="141" y="162"/>
                        </a:lnTo>
                        <a:lnTo>
                          <a:pt x="141" y="159"/>
                        </a:lnTo>
                        <a:lnTo>
                          <a:pt x="141" y="157"/>
                        </a:lnTo>
                        <a:lnTo>
                          <a:pt x="141" y="155"/>
                        </a:lnTo>
                        <a:lnTo>
                          <a:pt x="142" y="154"/>
                        </a:lnTo>
                        <a:lnTo>
                          <a:pt x="144" y="152"/>
                        </a:lnTo>
                        <a:lnTo>
                          <a:pt x="146" y="151"/>
                        </a:lnTo>
                        <a:lnTo>
                          <a:pt x="147" y="149"/>
                        </a:lnTo>
                        <a:lnTo>
                          <a:pt x="147" y="146"/>
                        </a:lnTo>
                        <a:lnTo>
                          <a:pt x="150" y="141"/>
                        </a:lnTo>
                        <a:lnTo>
                          <a:pt x="150" y="138"/>
                        </a:lnTo>
                        <a:lnTo>
                          <a:pt x="152" y="135"/>
                        </a:lnTo>
                        <a:lnTo>
                          <a:pt x="152" y="132"/>
                        </a:lnTo>
                        <a:lnTo>
                          <a:pt x="152" y="127"/>
                        </a:lnTo>
                        <a:lnTo>
                          <a:pt x="154" y="122"/>
                        </a:lnTo>
                        <a:lnTo>
                          <a:pt x="154" y="117"/>
                        </a:lnTo>
                        <a:lnTo>
                          <a:pt x="155" y="116"/>
                        </a:lnTo>
                        <a:lnTo>
                          <a:pt x="155" y="113"/>
                        </a:lnTo>
                        <a:lnTo>
                          <a:pt x="155" y="110"/>
                        </a:lnTo>
                        <a:lnTo>
                          <a:pt x="157" y="106"/>
                        </a:lnTo>
                        <a:lnTo>
                          <a:pt x="157" y="105"/>
                        </a:lnTo>
                        <a:lnTo>
                          <a:pt x="157" y="103"/>
                        </a:lnTo>
                        <a:lnTo>
                          <a:pt x="158" y="103"/>
                        </a:lnTo>
                        <a:lnTo>
                          <a:pt x="165" y="103"/>
                        </a:lnTo>
                        <a:lnTo>
                          <a:pt x="171" y="102"/>
                        </a:lnTo>
                        <a:lnTo>
                          <a:pt x="179" y="100"/>
                        </a:lnTo>
                        <a:lnTo>
                          <a:pt x="190" y="100"/>
                        </a:lnTo>
                        <a:lnTo>
                          <a:pt x="199" y="100"/>
                        </a:lnTo>
                        <a:lnTo>
                          <a:pt x="209" y="98"/>
                        </a:lnTo>
                        <a:lnTo>
                          <a:pt x="218" y="97"/>
                        </a:lnTo>
                        <a:lnTo>
                          <a:pt x="225" y="97"/>
                        </a:lnTo>
                        <a:lnTo>
                          <a:pt x="231" y="97"/>
                        </a:lnTo>
                        <a:lnTo>
                          <a:pt x="233" y="97"/>
                        </a:lnTo>
                        <a:lnTo>
                          <a:pt x="233" y="95"/>
                        </a:lnTo>
                        <a:lnTo>
                          <a:pt x="234" y="95"/>
                        </a:lnTo>
                        <a:lnTo>
                          <a:pt x="237" y="92"/>
                        </a:lnTo>
                        <a:lnTo>
                          <a:pt x="239" y="89"/>
                        </a:lnTo>
                        <a:lnTo>
                          <a:pt x="245" y="86"/>
                        </a:lnTo>
                        <a:lnTo>
                          <a:pt x="247" y="84"/>
                        </a:lnTo>
                        <a:lnTo>
                          <a:pt x="253" y="84"/>
                        </a:lnTo>
                        <a:lnTo>
                          <a:pt x="260" y="84"/>
                        </a:lnTo>
                        <a:lnTo>
                          <a:pt x="264" y="84"/>
                        </a:lnTo>
                        <a:lnTo>
                          <a:pt x="269" y="84"/>
                        </a:lnTo>
                        <a:lnTo>
                          <a:pt x="272" y="86"/>
                        </a:lnTo>
                        <a:lnTo>
                          <a:pt x="279" y="87"/>
                        </a:lnTo>
                        <a:lnTo>
                          <a:pt x="287" y="89"/>
                        </a:lnTo>
                        <a:lnTo>
                          <a:pt x="288" y="91"/>
                        </a:lnTo>
                        <a:lnTo>
                          <a:pt x="291" y="91"/>
                        </a:lnTo>
                        <a:lnTo>
                          <a:pt x="293" y="92"/>
                        </a:lnTo>
                        <a:lnTo>
                          <a:pt x="296" y="94"/>
                        </a:lnTo>
                        <a:lnTo>
                          <a:pt x="299" y="94"/>
                        </a:lnTo>
                        <a:lnTo>
                          <a:pt x="302" y="97"/>
                        </a:lnTo>
                        <a:lnTo>
                          <a:pt x="306" y="97"/>
                        </a:lnTo>
                        <a:lnTo>
                          <a:pt x="307" y="97"/>
                        </a:lnTo>
                        <a:lnTo>
                          <a:pt x="309" y="97"/>
                        </a:lnTo>
                        <a:lnTo>
                          <a:pt x="310" y="97"/>
                        </a:lnTo>
                        <a:lnTo>
                          <a:pt x="312" y="97"/>
                        </a:lnTo>
                        <a:lnTo>
                          <a:pt x="313" y="97"/>
                        </a:lnTo>
                        <a:lnTo>
                          <a:pt x="315" y="97"/>
                        </a:lnTo>
                        <a:lnTo>
                          <a:pt x="317" y="97"/>
                        </a:lnTo>
                        <a:lnTo>
                          <a:pt x="318" y="97"/>
                        </a:lnTo>
                        <a:lnTo>
                          <a:pt x="318" y="98"/>
                        </a:lnTo>
                        <a:lnTo>
                          <a:pt x="317" y="100"/>
                        </a:lnTo>
                        <a:lnTo>
                          <a:pt x="317" y="102"/>
                        </a:lnTo>
                        <a:lnTo>
                          <a:pt x="317" y="103"/>
                        </a:lnTo>
                        <a:lnTo>
                          <a:pt x="315" y="105"/>
                        </a:lnTo>
                        <a:lnTo>
                          <a:pt x="315" y="106"/>
                        </a:lnTo>
                        <a:lnTo>
                          <a:pt x="315" y="108"/>
                        </a:lnTo>
                        <a:lnTo>
                          <a:pt x="315" y="110"/>
                        </a:lnTo>
                        <a:lnTo>
                          <a:pt x="315" y="111"/>
                        </a:lnTo>
                        <a:lnTo>
                          <a:pt x="315" y="113"/>
                        </a:lnTo>
                        <a:lnTo>
                          <a:pt x="317" y="113"/>
                        </a:lnTo>
                        <a:lnTo>
                          <a:pt x="317" y="114"/>
                        </a:lnTo>
                        <a:lnTo>
                          <a:pt x="318" y="114"/>
                        </a:lnTo>
                        <a:lnTo>
                          <a:pt x="318" y="116"/>
                        </a:lnTo>
                        <a:lnTo>
                          <a:pt x="320" y="116"/>
                        </a:lnTo>
                        <a:lnTo>
                          <a:pt x="320" y="117"/>
                        </a:lnTo>
                        <a:lnTo>
                          <a:pt x="321" y="117"/>
                        </a:lnTo>
                        <a:lnTo>
                          <a:pt x="321" y="119"/>
                        </a:lnTo>
                        <a:lnTo>
                          <a:pt x="321" y="121"/>
                        </a:lnTo>
                        <a:lnTo>
                          <a:pt x="321" y="122"/>
                        </a:lnTo>
                        <a:lnTo>
                          <a:pt x="323" y="122"/>
                        </a:lnTo>
                        <a:lnTo>
                          <a:pt x="323" y="124"/>
                        </a:lnTo>
                        <a:lnTo>
                          <a:pt x="323" y="125"/>
                        </a:lnTo>
                        <a:lnTo>
                          <a:pt x="323" y="127"/>
                        </a:lnTo>
                        <a:lnTo>
                          <a:pt x="323" y="129"/>
                        </a:lnTo>
                        <a:lnTo>
                          <a:pt x="325" y="129"/>
                        </a:lnTo>
                        <a:lnTo>
                          <a:pt x="325" y="130"/>
                        </a:lnTo>
                        <a:lnTo>
                          <a:pt x="326" y="132"/>
                        </a:lnTo>
                        <a:lnTo>
                          <a:pt x="328" y="132"/>
                        </a:lnTo>
                        <a:lnTo>
                          <a:pt x="329" y="133"/>
                        </a:lnTo>
                        <a:lnTo>
                          <a:pt x="329" y="135"/>
                        </a:lnTo>
                        <a:lnTo>
                          <a:pt x="329" y="136"/>
                        </a:lnTo>
                        <a:lnTo>
                          <a:pt x="329" y="138"/>
                        </a:lnTo>
                        <a:lnTo>
                          <a:pt x="331" y="140"/>
                        </a:lnTo>
                        <a:lnTo>
                          <a:pt x="331" y="141"/>
                        </a:lnTo>
                        <a:lnTo>
                          <a:pt x="331" y="143"/>
                        </a:lnTo>
                        <a:lnTo>
                          <a:pt x="333" y="144"/>
                        </a:lnTo>
                        <a:lnTo>
                          <a:pt x="334" y="144"/>
                        </a:lnTo>
                        <a:lnTo>
                          <a:pt x="336" y="144"/>
                        </a:lnTo>
                        <a:lnTo>
                          <a:pt x="337" y="144"/>
                        </a:lnTo>
                        <a:lnTo>
                          <a:pt x="337" y="143"/>
                        </a:lnTo>
                        <a:lnTo>
                          <a:pt x="339" y="143"/>
                        </a:lnTo>
                        <a:lnTo>
                          <a:pt x="339" y="141"/>
                        </a:lnTo>
                        <a:lnTo>
                          <a:pt x="340" y="141"/>
                        </a:lnTo>
                        <a:lnTo>
                          <a:pt x="342" y="140"/>
                        </a:lnTo>
                        <a:lnTo>
                          <a:pt x="344" y="140"/>
                        </a:lnTo>
                        <a:lnTo>
                          <a:pt x="344" y="138"/>
                        </a:lnTo>
                        <a:lnTo>
                          <a:pt x="345" y="138"/>
                        </a:lnTo>
                        <a:lnTo>
                          <a:pt x="347" y="138"/>
                        </a:lnTo>
                        <a:lnTo>
                          <a:pt x="348" y="138"/>
                        </a:lnTo>
                        <a:lnTo>
                          <a:pt x="350" y="138"/>
                        </a:lnTo>
                        <a:lnTo>
                          <a:pt x="352" y="138"/>
                        </a:lnTo>
                        <a:lnTo>
                          <a:pt x="353" y="138"/>
                        </a:lnTo>
                        <a:lnTo>
                          <a:pt x="353" y="140"/>
                        </a:lnTo>
                        <a:lnTo>
                          <a:pt x="355" y="140"/>
                        </a:lnTo>
                        <a:lnTo>
                          <a:pt x="356" y="140"/>
                        </a:lnTo>
                        <a:lnTo>
                          <a:pt x="358" y="140"/>
                        </a:lnTo>
                        <a:lnTo>
                          <a:pt x="358" y="141"/>
                        </a:lnTo>
                        <a:lnTo>
                          <a:pt x="358" y="143"/>
                        </a:lnTo>
                        <a:lnTo>
                          <a:pt x="359" y="143"/>
                        </a:lnTo>
                        <a:lnTo>
                          <a:pt x="359" y="144"/>
                        </a:lnTo>
                        <a:lnTo>
                          <a:pt x="359" y="146"/>
                        </a:lnTo>
                        <a:lnTo>
                          <a:pt x="359" y="148"/>
                        </a:lnTo>
                        <a:lnTo>
                          <a:pt x="359" y="149"/>
                        </a:lnTo>
                        <a:lnTo>
                          <a:pt x="359" y="151"/>
                        </a:lnTo>
                        <a:lnTo>
                          <a:pt x="358" y="151"/>
                        </a:lnTo>
                        <a:lnTo>
                          <a:pt x="358" y="152"/>
                        </a:lnTo>
                        <a:lnTo>
                          <a:pt x="358" y="154"/>
                        </a:lnTo>
                        <a:lnTo>
                          <a:pt x="356" y="155"/>
                        </a:lnTo>
                        <a:lnTo>
                          <a:pt x="355" y="157"/>
                        </a:lnTo>
                        <a:lnTo>
                          <a:pt x="355" y="159"/>
                        </a:lnTo>
                        <a:lnTo>
                          <a:pt x="356" y="159"/>
                        </a:lnTo>
                        <a:lnTo>
                          <a:pt x="356" y="160"/>
                        </a:lnTo>
                        <a:lnTo>
                          <a:pt x="358" y="160"/>
                        </a:lnTo>
                        <a:lnTo>
                          <a:pt x="359" y="160"/>
                        </a:lnTo>
                        <a:lnTo>
                          <a:pt x="361" y="160"/>
                        </a:lnTo>
                        <a:lnTo>
                          <a:pt x="361" y="162"/>
                        </a:lnTo>
                        <a:lnTo>
                          <a:pt x="363" y="162"/>
                        </a:lnTo>
                        <a:lnTo>
                          <a:pt x="364" y="163"/>
                        </a:lnTo>
                        <a:lnTo>
                          <a:pt x="366" y="163"/>
                        </a:lnTo>
                        <a:lnTo>
                          <a:pt x="367" y="163"/>
                        </a:lnTo>
                        <a:lnTo>
                          <a:pt x="369" y="163"/>
                        </a:lnTo>
                        <a:lnTo>
                          <a:pt x="371" y="163"/>
                        </a:lnTo>
                        <a:lnTo>
                          <a:pt x="372" y="163"/>
                        </a:lnTo>
                        <a:lnTo>
                          <a:pt x="374" y="163"/>
                        </a:lnTo>
                        <a:lnTo>
                          <a:pt x="375" y="165"/>
                        </a:lnTo>
                        <a:lnTo>
                          <a:pt x="377" y="165"/>
                        </a:lnTo>
                        <a:lnTo>
                          <a:pt x="378" y="165"/>
                        </a:lnTo>
                        <a:lnTo>
                          <a:pt x="380" y="167"/>
                        </a:lnTo>
                        <a:lnTo>
                          <a:pt x="382" y="167"/>
                        </a:lnTo>
                        <a:lnTo>
                          <a:pt x="383" y="167"/>
                        </a:lnTo>
                        <a:lnTo>
                          <a:pt x="383" y="168"/>
                        </a:lnTo>
                        <a:lnTo>
                          <a:pt x="385" y="168"/>
                        </a:lnTo>
                        <a:lnTo>
                          <a:pt x="385" y="170"/>
                        </a:lnTo>
                        <a:lnTo>
                          <a:pt x="385" y="171"/>
                        </a:lnTo>
                        <a:lnTo>
                          <a:pt x="385" y="173"/>
                        </a:lnTo>
                        <a:lnTo>
                          <a:pt x="386" y="175"/>
                        </a:lnTo>
                        <a:lnTo>
                          <a:pt x="386" y="176"/>
                        </a:lnTo>
                        <a:lnTo>
                          <a:pt x="386" y="178"/>
                        </a:lnTo>
                        <a:lnTo>
                          <a:pt x="386" y="179"/>
                        </a:lnTo>
                        <a:lnTo>
                          <a:pt x="386" y="181"/>
                        </a:lnTo>
                        <a:lnTo>
                          <a:pt x="385" y="182"/>
                        </a:lnTo>
                        <a:lnTo>
                          <a:pt x="385" y="184"/>
                        </a:lnTo>
                        <a:lnTo>
                          <a:pt x="386" y="186"/>
                        </a:lnTo>
                        <a:lnTo>
                          <a:pt x="388" y="187"/>
                        </a:lnTo>
                        <a:lnTo>
                          <a:pt x="390" y="189"/>
                        </a:lnTo>
                        <a:lnTo>
                          <a:pt x="390" y="190"/>
                        </a:lnTo>
                        <a:lnTo>
                          <a:pt x="391" y="192"/>
                        </a:lnTo>
                        <a:lnTo>
                          <a:pt x="393" y="194"/>
                        </a:lnTo>
                        <a:lnTo>
                          <a:pt x="394" y="194"/>
                        </a:lnTo>
                        <a:lnTo>
                          <a:pt x="396" y="195"/>
                        </a:lnTo>
                        <a:lnTo>
                          <a:pt x="397" y="195"/>
                        </a:lnTo>
                        <a:lnTo>
                          <a:pt x="397" y="197"/>
                        </a:lnTo>
                        <a:lnTo>
                          <a:pt x="399" y="197"/>
                        </a:lnTo>
                        <a:lnTo>
                          <a:pt x="399" y="198"/>
                        </a:lnTo>
                        <a:lnTo>
                          <a:pt x="399" y="200"/>
                        </a:lnTo>
                        <a:lnTo>
                          <a:pt x="399" y="201"/>
                        </a:lnTo>
                        <a:lnTo>
                          <a:pt x="399" y="203"/>
                        </a:lnTo>
                        <a:lnTo>
                          <a:pt x="399" y="205"/>
                        </a:lnTo>
                        <a:lnTo>
                          <a:pt x="401" y="205"/>
                        </a:lnTo>
                        <a:lnTo>
                          <a:pt x="399" y="206"/>
                        </a:lnTo>
                        <a:lnTo>
                          <a:pt x="399" y="208"/>
                        </a:lnTo>
                        <a:lnTo>
                          <a:pt x="399" y="209"/>
                        </a:lnTo>
                        <a:lnTo>
                          <a:pt x="397" y="211"/>
                        </a:lnTo>
                        <a:lnTo>
                          <a:pt x="416" y="214"/>
                        </a:lnTo>
                        <a:lnTo>
                          <a:pt x="418" y="214"/>
                        </a:lnTo>
                        <a:lnTo>
                          <a:pt x="418" y="216"/>
                        </a:lnTo>
                        <a:lnTo>
                          <a:pt x="420" y="216"/>
                        </a:lnTo>
                        <a:lnTo>
                          <a:pt x="421" y="216"/>
                        </a:lnTo>
                        <a:lnTo>
                          <a:pt x="423" y="216"/>
                        </a:lnTo>
                        <a:lnTo>
                          <a:pt x="424" y="216"/>
                        </a:lnTo>
                        <a:lnTo>
                          <a:pt x="426" y="216"/>
                        </a:lnTo>
                        <a:lnTo>
                          <a:pt x="428" y="216"/>
                        </a:lnTo>
                        <a:lnTo>
                          <a:pt x="428" y="217"/>
                        </a:lnTo>
                        <a:lnTo>
                          <a:pt x="429" y="217"/>
                        </a:lnTo>
                        <a:lnTo>
                          <a:pt x="431" y="219"/>
                        </a:lnTo>
                        <a:lnTo>
                          <a:pt x="432" y="219"/>
                        </a:lnTo>
                        <a:lnTo>
                          <a:pt x="434" y="219"/>
                        </a:lnTo>
                        <a:lnTo>
                          <a:pt x="434" y="220"/>
                        </a:lnTo>
                        <a:lnTo>
                          <a:pt x="434" y="222"/>
                        </a:lnTo>
                        <a:lnTo>
                          <a:pt x="435" y="222"/>
                        </a:lnTo>
                        <a:lnTo>
                          <a:pt x="435" y="224"/>
                        </a:lnTo>
                        <a:lnTo>
                          <a:pt x="437" y="224"/>
                        </a:lnTo>
                        <a:lnTo>
                          <a:pt x="439" y="224"/>
                        </a:lnTo>
                        <a:lnTo>
                          <a:pt x="440" y="224"/>
                        </a:lnTo>
                        <a:lnTo>
                          <a:pt x="440" y="225"/>
                        </a:lnTo>
                        <a:lnTo>
                          <a:pt x="442" y="225"/>
                        </a:lnTo>
                        <a:lnTo>
                          <a:pt x="443" y="225"/>
                        </a:lnTo>
                        <a:lnTo>
                          <a:pt x="445" y="225"/>
                        </a:lnTo>
                        <a:lnTo>
                          <a:pt x="447" y="225"/>
                        </a:lnTo>
                        <a:lnTo>
                          <a:pt x="448" y="225"/>
                        </a:lnTo>
                        <a:lnTo>
                          <a:pt x="448" y="224"/>
                        </a:lnTo>
                        <a:lnTo>
                          <a:pt x="450" y="224"/>
                        </a:lnTo>
                        <a:lnTo>
                          <a:pt x="451" y="224"/>
                        </a:lnTo>
                        <a:lnTo>
                          <a:pt x="453" y="224"/>
                        </a:lnTo>
                        <a:lnTo>
                          <a:pt x="454" y="224"/>
                        </a:lnTo>
                        <a:lnTo>
                          <a:pt x="456" y="222"/>
                        </a:lnTo>
                        <a:lnTo>
                          <a:pt x="458" y="224"/>
                        </a:lnTo>
                        <a:lnTo>
                          <a:pt x="459" y="224"/>
                        </a:lnTo>
                        <a:lnTo>
                          <a:pt x="461" y="224"/>
                        </a:lnTo>
                        <a:lnTo>
                          <a:pt x="461" y="225"/>
                        </a:lnTo>
                        <a:lnTo>
                          <a:pt x="462" y="225"/>
                        </a:lnTo>
                        <a:lnTo>
                          <a:pt x="464" y="225"/>
                        </a:lnTo>
                        <a:lnTo>
                          <a:pt x="466" y="225"/>
                        </a:lnTo>
                        <a:lnTo>
                          <a:pt x="467" y="227"/>
                        </a:lnTo>
                        <a:lnTo>
                          <a:pt x="469" y="228"/>
                        </a:lnTo>
                        <a:lnTo>
                          <a:pt x="470" y="228"/>
                        </a:lnTo>
                        <a:lnTo>
                          <a:pt x="472" y="228"/>
                        </a:lnTo>
                        <a:lnTo>
                          <a:pt x="472" y="227"/>
                        </a:lnTo>
                        <a:lnTo>
                          <a:pt x="473" y="225"/>
                        </a:lnTo>
                        <a:lnTo>
                          <a:pt x="475" y="225"/>
                        </a:lnTo>
                        <a:lnTo>
                          <a:pt x="477" y="224"/>
                        </a:lnTo>
                        <a:lnTo>
                          <a:pt x="478" y="222"/>
                        </a:lnTo>
                        <a:lnTo>
                          <a:pt x="480" y="220"/>
                        </a:lnTo>
                        <a:lnTo>
                          <a:pt x="480" y="219"/>
                        </a:lnTo>
                        <a:lnTo>
                          <a:pt x="481" y="217"/>
                        </a:lnTo>
                        <a:lnTo>
                          <a:pt x="483" y="216"/>
                        </a:lnTo>
                        <a:lnTo>
                          <a:pt x="485" y="216"/>
                        </a:lnTo>
                        <a:lnTo>
                          <a:pt x="485" y="214"/>
                        </a:lnTo>
                        <a:lnTo>
                          <a:pt x="486" y="214"/>
                        </a:lnTo>
                        <a:lnTo>
                          <a:pt x="486" y="213"/>
                        </a:lnTo>
                        <a:lnTo>
                          <a:pt x="488" y="211"/>
                        </a:lnTo>
                        <a:lnTo>
                          <a:pt x="489" y="211"/>
                        </a:lnTo>
                        <a:lnTo>
                          <a:pt x="489" y="209"/>
                        </a:lnTo>
                        <a:lnTo>
                          <a:pt x="491" y="209"/>
                        </a:lnTo>
                        <a:lnTo>
                          <a:pt x="492" y="208"/>
                        </a:lnTo>
                        <a:lnTo>
                          <a:pt x="494" y="206"/>
                        </a:lnTo>
                        <a:lnTo>
                          <a:pt x="494" y="205"/>
                        </a:lnTo>
                        <a:lnTo>
                          <a:pt x="496" y="203"/>
                        </a:lnTo>
                        <a:lnTo>
                          <a:pt x="496" y="201"/>
                        </a:lnTo>
                        <a:lnTo>
                          <a:pt x="497" y="200"/>
                        </a:lnTo>
                        <a:lnTo>
                          <a:pt x="499" y="198"/>
                        </a:lnTo>
                        <a:lnTo>
                          <a:pt x="499" y="197"/>
                        </a:lnTo>
                        <a:lnTo>
                          <a:pt x="500" y="195"/>
                        </a:lnTo>
                        <a:lnTo>
                          <a:pt x="502" y="195"/>
                        </a:lnTo>
                        <a:lnTo>
                          <a:pt x="504" y="195"/>
                        </a:lnTo>
                        <a:lnTo>
                          <a:pt x="505" y="197"/>
                        </a:lnTo>
                        <a:lnTo>
                          <a:pt x="507" y="197"/>
                        </a:lnTo>
                        <a:lnTo>
                          <a:pt x="508" y="198"/>
                        </a:lnTo>
                        <a:lnTo>
                          <a:pt x="510" y="198"/>
                        </a:lnTo>
                        <a:lnTo>
                          <a:pt x="511" y="198"/>
                        </a:lnTo>
                        <a:lnTo>
                          <a:pt x="513" y="200"/>
                        </a:lnTo>
                        <a:lnTo>
                          <a:pt x="515" y="200"/>
                        </a:lnTo>
                        <a:lnTo>
                          <a:pt x="516" y="200"/>
                        </a:lnTo>
                        <a:lnTo>
                          <a:pt x="516" y="201"/>
                        </a:lnTo>
                        <a:lnTo>
                          <a:pt x="518" y="201"/>
                        </a:lnTo>
                        <a:lnTo>
                          <a:pt x="519" y="201"/>
                        </a:lnTo>
                        <a:lnTo>
                          <a:pt x="521" y="201"/>
                        </a:lnTo>
                        <a:lnTo>
                          <a:pt x="523" y="201"/>
                        </a:lnTo>
                        <a:lnTo>
                          <a:pt x="524" y="201"/>
                        </a:lnTo>
                        <a:lnTo>
                          <a:pt x="524" y="203"/>
                        </a:lnTo>
                        <a:lnTo>
                          <a:pt x="526" y="203"/>
                        </a:lnTo>
                        <a:lnTo>
                          <a:pt x="527" y="203"/>
                        </a:lnTo>
                        <a:lnTo>
                          <a:pt x="529" y="203"/>
                        </a:lnTo>
                        <a:lnTo>
                          <a:pt x="531" y="203"/>
                        </a:lnTo>
                        <a:lnTo>
                          <a:pt x="532" y="203"/>
                        </a:lnTo>
                        <a:lnTo>
                          <a:pt x="534" y="203"/>
                        </a:lnTo>
                        <a:lnTo>
                          <a:pt x="535" y="203"/>
                        </a:lnTo>
                        <a:lnTo>
                          <a:pt x="537" y="203"/>
                        </a:lnTo>
                        <a:lnTo>
                          <a:pt x="538" y="205"/>
                        </a:lnTo>
                        <a:lnTo>
                          <a:pt x="540" y="205"/>
                        </a:lnTo>
                        <a:lnTo>
                          <a:pt x="542" y="203"/>
                        </a:lnTo>
                        <a:lnTo>
                          <a:pt x="543" y="205"/>
                        </a:lnTo>
                        <a:lnTo>
                          <a:pt x="545" y="203"/>
                        </a:lnTo>
                        <a:lnTo>
                          <a:pt x="546" y="203"/>
                        </a:lnTo>
                        <a:lnTo>
                          <a:pt x="548" y="203"/>
                        </a:lnTo>
                        <a:lnTo>
                          <a:pt x="550" y="203"/>
                        </a:lnTo>
                        <a:lnTo>
                          <a:pt x="551" y="203"/>
                        </a:lnTo>
                        <a:lnTo>
                          <a:pt x="553" y="203"/>
                        </a:lnTo>
                        <a:lnTo>
                          <a:pt x="554" y="203"/>
                        </a:lnTo>
                        <a:lnTo>
                          <a:pt x="556" y="203"/>
                        </a:lnTo>
                        <a:lnTo>
                          <a:pt x="557" y="203"/>
                        </a:lnTo>
                        <a:lnTo>
                          <a:pt x="559" y="201"/>
                        </a:lnTo>
                        <a:lnTo>
                          <a:pt x="561" y="201"/>
                        </a:lnTo>
                        <a:lnTo>
                          <a:pt x="561" y="200"/>
                        </a:lnTo>
                        <a:lnTo>
                          <a:pt x="562" y="200"/>
                        </a:lnTo>
                        <a:lnTo>
                          <a:pt x="564" y="200"/>
                        </a:lnTo>
                        <a:lnTo>
                          <a:pt x="565" y="200"/>
                        </a:lnTo>
                        <a:lnTo>
                          <a:pt x="565" y="201"/>
                        </a:lnTo>
                        <a:lnTo>
                          <a:pt x="567" y="200"/>
                        </a:lnTo>
                        <a:lnTo>
                          <a:pt x="569" y="200"/>
                        </a:lnTo>
                        <a:lnTo>
                          <a:pt x="570" y="200"/>
                        </a:lnTo>
                        <a:lnTo>
                          <a:pt x="570" y="201"/>
                        </a:lnTo>
                        <a:lnTo>
                          <a:pt x="572" y="201"/>
                        </a:lnTo>
                        <a:lnTo>
                          <a:pt x="572" y="203"/>
                        </a:lnTo>
                        <a:lnTo>
                          <a:pt x="572" y="205"/>
                        </a:lnTo>
                        <a:lnTo>
                          <a:pt x="573" y="206"/>
                        </a:lnTo>
                        <a:lnTo>
                          <a:pt x="575" y="208"/>
                        </a:lnTo>
                        <a:lnTo>
                          <a:pt x="576" y="208"/>
                        </a:lnTo>
                        <a:lnTo>
                          <a:pt x="578" y="208"/>
                        </a:lnTo>
                        <a:lnTo>
                          <a:pt x="578" y="209"/>
                        </a:lnTo>
                        <a:lnTo>
                          <a:pt x="578" y="211"/>
                        </a:lnTo>
                        <a:lnTo>
                          <a:pt x="580" y="211"/>
                        </a:lnTo>
                        <a:lnTo>
                          <a:pt x="581" y="211"/>
                        </a:lnTo>
                        <a:lnTo>
                          <a:pt x="581" y="213"/>
                        </a:lnTo>
                        <a:lnTo>
                          <a:pt x="583" y="213"/>
                        </a:lnTo>
                        <a:lnTo>
                          <a:pt x="583" y="214"/>
                        </a:lnTo>
                        <a:lnTo>
                          <a:pt x="583" y="216"/>
                        </a:lnTo>
                        <a:lnTo>
                          <a:pt x="584" y="214"/>
                        </a:lnTo>
                        <a:lnTo>
                          <a:pt x="586" y="214"/>
                        </a:lnTo>
                        <a:lnTo>
                          <a:pt x="588" y="214"/>
                        </a:lnTo>
                        <a:lnTo>
                          <a:pt x="588" y="216"/>
                        </a:lnTo>
                        <a:lnTo>
                          <a:pt x="589" y="216"/>
                        </a:lnTo>
                        <a:lnTo>
                          <a:pt x="589" y="217"/>
                        </a:lnTo>
                        <a:lnTo>
                          <a:pt x="588" y="217"/>
                        </a:lnTo>
                        <a:lnTo>
                          <a:pt x="589" y="219"/>
                        </a:lnTo>
                        <a:lnTo>
                          <a:pt x="589" y="217"/>
                        </a:lnTo>
                        <a:lnTo>
                          <a:pt x="591" y="217"/>
                        </a:lnTo>
                        <a:lnTo>
                          <a:pt x="592" y="219"/>
                        </a:lnTo>
                        <a:lnTo>
                          <a:pt x="592" y="220"/>
                        </a:lnTo>
                        <a:lnTo>
                          <a:pt x="594" y="222"/>
                        </a:lnTo>
                        <a:lnTo>
                          <a:pt x="595" y="222"/>
                        </a:lnTo>
                        <a:lnTo>
                          <a:pt x="597" y="222"/>
                        </a:lnTo>
                        <a:lnTo>
                          <a:pt x="597" y="224"/>
                        </a:lnTo>
                        <a:lnTo>
                          <a:pt x="599" y="224"/>
                        </a:lnTo>
                        <a:lnTo>
                          <a:pt x="600" y="224"/>
                        </a:lnTo>
                        <a:lnTo>
                          <a:pt x="600" y="222"/>
                        </a:lnTo>
                        <a:lnTo>
                          <a:pt x="602" y="222"/>
                        </a:lnTo>
                        <a:lnTo>
                          <a:pt x="603" y="222"/>
                        </a:lnTo>
                        <a:lnTo>
                          <a:pt x="605" y="222"/>
                        </a:lnTo>
                        <a:lnTo>
                          <a:pt x="603" y="224"/>
                        </a:lnTo>
                        <a:lnTo>
                          <a:pt x="603" y="225"/>
                        </a:lnTo>
                        <a:lnTo>
                          <a:pt x="605" y="225"/>
                        </a:lnTo>
                        <a:lnTo>
                          <a:pt x="607" y="225"/>
                        </a:lnTo>
                        <a:lnTo>
                          <a:pt x="607" y="224"/>
                        </a:lnTo>
                        <a:lnTo>
                          <a:pt x="608" y="224"/>
                        </a:lnTo>
                        <a:lnTo>
                          <a:pt x="610" y="225"/>
                        </a:lnTo>
                        <a:lnTo>
                          <a:pt x="611" y="225"/>
                        </a:lnTo>
                        <a:lnTo>
                          <a:pt x="613" y="225"/>
                        </a:lnTo>
                        <a:lnTo>
                          <a:pt x="614" y="225"/>
                        </a:lnTo>
                        <a:lnTo>
                          <a:pt x="616" y="225"/>
                        </a:lnTo>
                        <a:lnTo>
                          <a:pt x="616" y="227"/>
                        </a:lnTo>
                        <a:lnTo>
                          <a:pt x="614" y="228"/>
                        </a:lnTo>
                        <a:lnTo>
                          <a:pt x="616" y="228"/>
                        </a:lnTo>
                        <a:lnTo>
                          <a:pt x="618" y="230"/>
                        </a:lnTo>
                        <a:lnTo>
                          <a:pt x="619" y="230"/>
                        </a:lnTo>
                        <a:lnTo>
                          <a:pt x="621" y="230"/>
                        </a:lnTo>
                        <a:lnTo>
                          <a:pt x="622" y="228"/>
                        </a:lnTo>
                        <a:lnTo>
                          <a:pt x="624" y="228"/>
                        </a:lnTo>
                        <a:lnTo>
                          <a:pt x="624" y="227"/>
                        </a:lnTo>
                        <a:lnTo>
                          <a:pt x="626" y="227"/>
                        </a:lnTo>
                        <a:lnTo>
                          <a:pt x="627" y="227"/>
                        </a:lnTo>
                        <a:lnTo>
                          <a:pt x="629" y="227"/>
                        </a:lnTo>
                        <a:lnTo>
                          <a:pt x="630" y="227"/>
                        </a:lnTo>
                        <a:lnTo>
                          <a:pt x="632" y="228"/>
                        </a:lnTo>
                        <a:lnTo>
                          <a:pt x="633" y="228"/>
                        </a:lnTo>
                        <a:lnTo>
                          <a:pt x="635" y="230"/>
                        </a:lnTo>
                        <a:lnTo>
                          <a:pt x="637" y="230"/>
                        </a:lnTo>
                        <a:lnTo>
                          <a:pt x="638" y="230"/>
                        </a:lnTo>
                        <a:lnTo>
                          <a:pt x="640" y="230"/>
                        </a:lnTo>
                        <a:lnTo>
                          <a:pt x="641" y="232"/>
                        </a:lnTo>
                        <a:lnTo>
                          <a:pt x="641" y="230"/>
                        </a:lnTo>
                        <a:lnTo>
                          <a:pt x="643" y="232"/>
                        </a:lnTo>
                        <a:lnTo>
                          <a:pt x="645" y="232"/>
                        </a:lnTo>
                        <a:lnTo>
                          <a:pt x="643" y="232"/>
                        </a:lnTo>
                        <a:lnTo>
                          <a:pt x="641" y="233"/>
                        </a:lnTo>
                        <a:lnTo>
                          <a:pt x="643" y="233"/>
                        </a:lnTo>
                        <a:lnTo>
                          <a:pt x="643" y="235"/>
                        </a:lnTo>
                        <a:lnTo>
                          <a:pt x="645" y="235"/>
                        </a:lnTo>
                        <a:lnTo>
                          <a:pt x="646" y="235"/>
                        </a:lnTo>
                        <a:lnTo>
                          <a:pt x="646" y="233"/>
                        </a:lnTo>
                        <a:lnTo>
                          <a:pt x="648" y="233"/>
                        </a:lnTo>
                        <a:lnTo>
                          <a:pt x="648" y="235"/>
                        </a:lnTo>
                        <a:lnTo>
                          <a:pt x="649" y="235"/>
                        </a:lnTo>
                        <a:lnTo>
                          <a:pt x="651" y="235"/>
                        </a:lnTo>
                        <a:lnTo>
                          <a:pt x="652" y="236"/>
                        </a:lnTo>
                        <a:lnTo>
                          <a:pt x="654" y="236"/>
                        </a:lnTo>
                        <a:lnTo>
                          <a:pt x="656" y="236"/>
                        </a:lnTo>
                        <a:lnTo>
                          <a:pt x="656" y="238"/>
                        </a:lnTo>
                        <a:lnTo>
                          <a:pt x="657" y="238"/>
                        </a:lnTo>
                        <a:lnTo>
                          <a:pt x="659" y="238"/>
                        </a:lnTo>
                        <a:lnTo>
                          <a:pt x="660" y="239"/>
                        </a:lnTo>
                        <a:lnTo>
                          <a:pt x="662" y="239"/>
                        </a:lnTo>
                        <a:lnTo>
                          <a:pt x="664" y="239"/>
                        </a:lnTo>
                        <a:lnTo>
                          <a:pt x="664" y="241"/>
                        </a:lnTo>
                        <a:lnTo>
                          <a:pt x="665" y="239"/>
                        </a:lnTo>
                        <a:lnTo>
                          <a:pt x="667" y="238"/>
                        </a:lnTo>
                        <a:lnTo>
                          <a:pt x="668" y="238"/>
                        </a:lnTo>
                        <a:lnTo>
                          <a:pt x="670" y="239"/>
                        </a:lnTo>
                        <a:lnTo>
                          <a:pt x="671" y="239"/>
                        </a:lnTo>
                        <a:lnTo>
                          <a:pt x="673" y="239"/>
                        </a:lnTo>
                        <a:lnTo>
                          <a:pt x="673" y="241"/>
                        </a:lnTo>
                        <a:lnTo>
                          <a:pt x="675" y="243"/>
                        </a:lnTo>
                        <a:lnTo>
                          <a:pt x="676" y="244"/>
                        </a:lnTo>
                        <a:lnTo>
                          <a:pt x="678" y="246"/>
                        </a:lnTo>
                        <a:lnTo>
                          <a:pt x="679" y="247"/>
                        </a:lnTo>
                        <a:lnTo>
                          <a:pt x="681" y="247"/>
                        </a:lnTo>
                        <a:lnTo>
                          <a:pt x="683" y="247"/>
                        </a:lnTo>
                        <a:lnTo>
                          <a:pt x="684" y="247"/>
                        </a:lnTo>
                        <a:lnTo>
                          <a:pt x="686" y="247"/>
                        </a:lnTo>
                        <a:lnTo>
                          <a:pt x="687" y="247"/>
                        </a:lnTo>
                        <a:lnTo>
                          <a:pt x="689" y="247"/>
                        </a:lnTo>
                        <a:lnTo>
                          <a:pt x="689" y="246"/>
                        </a:lnTo>
                        <a:lnTo>
                          <a:pt x="690" y="246"/>
                        </a:lnTo>
                        <a:lnTo>
                          <a:pt x="692" y="246"/>
                        </a:lnTo>
                        <a:lnTo>
                          <a:pt x="694" y="246"/>
                        </a:lnTo>
                        <a:lnTo>
                          <a:pt x="694" y="247"/>
                        </a:lnTo>
                        <a:lnTo>
                          <a:pt x="695" y="247"/>
                        </a:lnTo>
                        <a:lnTo>
                          <a:pt x="694" y="249"/>
                        </a:lnTo>
                        <a:lnTo>
                          <a:pt x="694" y="251"/>
                        </a:lnTo>
                        <a:lnTo>
                          <a:pt x="692" y="252"/>
                        </a:lnTo>
                        <a:lnTo>
                          <a:pt x="692" y="254"/>
                        </a:lnTo>
                        <a:lnTo>
                          <a:pt x="690" y="254"/>
                        </a:lnTo>
                        <a:lnTo>
                          <a:pt x="690" y="255"/>
                        </a:lnTo>
                        <a:lnTo>
                          <a:pt x="689" y="255"/>
                        </a:lnTo>
                        <a:lnTo>
                          <a:pt x="689" y="257"/>
                        </a:lnTo>
                        <a:lnTo>
                          <a:pt x="687" y="258"/>
                        </a:lnTo>
                        <a:lnTo>
                          <a:pt x="686" y="258"/>
                        </a:lnTo>
                        <a:lnTo>
                          <a:pt x="686" y="260"/>
                        </a:lnTo>
                        <a:lnTo>
                          <a:pt x="684" y="260"/>
                        </a:lnTo>
                        <a:lnTo>
                          <a:pt x="683" y="262"/>
                        </a:lnTo>
                        <a:lnTo>
                          <a:pt x="683" y="263"/>
                        </a:lnTo>
                        <a:lnTo>
                          <a:pt x="681" y="265"/>
                        </a:lnTo>
                        <a:lnTo>
                          <a:pt x="679" y="265"/>
                        </a:lnTo>
                        <a:lnTo>
                          <a:pt x="679" y="266"/>
                        </a:lnTo>
                        <a:lnTo>
                          <a:pt x="679" y="268"/>
                        </a:lnTo>
                        <a:lnTo>
                          <a:pt x="678" y="268"/>
                        </a:lnTo>
                        <a:lnTo>
                          <a:pt x="678" y="270"/>
                        </a:lnTo>
                        <a:lnTo>
                          <a:pt x="676" y="271"/>
                        </a:lnTo>
                        <a:lnTo>
                          <a:pt x="676" y="273"/>
                        </a:lnTo>
                        <a:lnTo>
                          <a:pt x="676" y="274"/>
                        </a:lnTo>
                        <a:lnTo>
                          <a:pt x="676" y="276"/>
                        </a:lnTo>
                        <a:lnTo>
                          <a:pt x="676" y="277"/>
                        </a:lnTo>
                        <a:lnTo>
                          <a:pt x="676" y="279"/>
                        </a:lnTo>
                        <a:lnTo>
                          <a:pt x="676" y="281"/>
                        </a:lnTo>
                        <a:lnTo>
                          <a:pt x="676" y="282"/>
                        </a:lnTo>
                        <a:lnTo>
                          <a:pt x="675" y="284"/>
                        </a:lnTo>
                        <a:lnTo>
                          <a:pt x="673" y="285"/>
                        </a:lnTo>
                        <a:lnTo>
                          <a:pt x="671" y="285"/>
                        </a:lnTo>
                        <a:lnTo>
                          <a:pt x="671" y="287"/>
                        </a:lnTo>
                        <a:lnTo>
                          <a:pt x="670" y="289"/>
                        </a:lnTo>
                        <a:lnTo>
                          <a:pt x="670" y="290"/>
                        </a:lnTo>
                        <a:lnTo>
                          <a:pt x="668" y="292"/>
                        </a:lnTo>
                        <a:lnTo>
                          <a:pt x="667" y="292"/>
                        </a:lnTo>
                        <a:lnTo>
                          <a:pt x="665" y="292"/>
                        </a:lnTo>
                        <a:lnTo>
                          <a:pt x="664" y="292"/>
                        </a:lnTo>
                        <a:lnTo>
                          <a:pt x="662" y="292"/>
                        </a:lnTo>
                        <a:lnTo>
                          <a:pt x="660" y="292"/>
                        </a:lnTo>
                        <a:lnTo>
                          <a:pt x="660" y="293"/>
                        </a:lnTo>
                        <a:lnTo>
                          <a:pt x="660" y="295"/>
                        </a:lnTo>
                        <a:lnTo>
                          <a:pt x="662" y="296"/>
                        </a:lnTo>
                        <a:lnTo>
                          <a:pt x="662" y="298"/>
                        </a:lnTo>
                        <a:lnTo>
                          <a:pt x="664" y="298"/>
                        </a:lnTo>
                        <a:lnTo>
                          <a:pt x="664" y="300"/>
                        </a:lnTo>
                        <a:lnTo>
                          <a:pt x="665" y="301"/>
                        </a:lnTo>
                        <a:lnTo>
                          <a:pt x="665" y="303"/>
                        </a:lnTo>
                        <a:lnTo>
                          <a:pt x="667" y="303"/>
                        </a:lnTo>
                        <a:lnTo>
                          <a:pt x="667" y="304"/>
                        </a:lnTo>
                        <a:lnTo>
                          <a:pt x="668" y="306"/>
                        </a:lnTo>
                        <a:lnTo>
                          <a:pt x="670" y="306"/>
                        </a:lnTo>
                        <a:lnTo>
                          <a:pt x="671" y="308"/>
                        </a:lnTo>
                        <a:lnTo>
                          <a:pt x="673" y="308"/>
                        </a:lnTo>
                        <a:lnTo>
                          <a:pt x="673" y="309"/>
                        </a:lnTo>
                        <a:lnTo>
                          <a:pt x="675" y="309"/>
                        </a:lnTo>
                        <a:lnTo>
                          <a:pt x="676" y="311"/>
                        </a:lnTo>
                        <a:lnTo>
                          <a:pt x="676" y="312"/>
                        </a:lnTo>
                        <a:lnTo>
                          <a:pt x="678" y="312"/>
                        </a:lnTo>
                        <a:lnTo>
                          <a:pt x="679" y="314"/>
                        </a:lnTo>
                        <a:lnTo>
                          <a:pt x="681" y="314"/>
                        </a:lnTo>
                        <a:lnTo>
                          <a:pt x="681" y="315"/>
                        </a:lnTo>
                        <a:lnTo>
                          <a:pt x="683" y="315"/>
                        </a:lnTo>
                        <a:lnTo>
                          <a:pt x="684" y="317"/>
                        </a:lnTo>
                        <a:lnTo>
                          <a:pt x="684" y="319"/>
                        </a:lnTo>
                        <a:lnTo>
                          <a:pt x="683" y="320"/>
                        </a:lnTo>
                        <a:lnTo>
                          <a:pt x="683" y="322"/>
                        </a:lnTo>
                        <a:lnTo>
                          <a:pt x="683" y="323"/>
                        </a:lnTo>
                        <a:lnTo>
                          <a:pt x="684" y="323"/>
                        </a:lnTo>
                        <a:lnTo>
                          <a:pt x="686" y="325"/>
                        </a:lnTo>
                        <a:lnTo>
                          <a:pt x="687" y="325"/>
                        </a:lnTo>
                        <a:lnTo>
                          <a:pt x="689" y="325"/>
                        </a:lnTo>
                        <a:lnTo>
                          <a:pt x="690" y="327"/>
                        </a:lnTo>
                        <a:lnTo>
                          <a:pt x="692" y="327"/>
                        </a:lnTo>
                        <a:lnTo>
                          <a:pt x="694" y="327"/>
                        </a:lnTo>
                        <a:lnTo>
                          <a:pt x="695" y="328"/>
                        </a:lnTo>
                        <a:lnTo>
                          <a:pt x="698" y="328"/>
                        </a:lnTo>
                        <a:lnTo>
                          <a:pt x="700" y="328"/>
                        </a:lnTo>
                        <a:lnTo>
                          <a:pt x="702" y="328"/>
                        </a:lnTo>
                        <a:lnTo>
                          <a:pt x="703" y="328"/>
                        </a:lnTo>
                        <a:lnTo>
                          <a:pt x="705" y="328"/>
                        </a:lnTo>
                        <a:lnTo>
                          <a:pt x="706" y="328"/>
                        </a:lnTo>
                        <a:lnTo>
                          <a:pt x="708" y="328"/>
                        </a:lnTo>
                        <a:lnTo>
                          <a:pt x="710" y="328"/>
                        </a:lnTo>
                        <a:lnTo>
                          <a:pt x="711" y="328"/>
                        </a:lnTo>
                        <a:lnTo>
                          <a:pt x="713" y="328"/>
                        </a:lnTo>
                        <a:lnTo>
                          <a:pt x="714" y="328"/>
                        </a:lnTo>
                        <a:lnTo>
                          <a:pt x="716" y="328"/>
                        </a:lnTo>
                        <a:lnTo>
                          <a:pt x="717" y="327"/>
                        </a:lnTo>
                        <a:lnTo>
                          <a:pt x="717" y="328"/>
                        </a:lnTo>
                        <a:lnTo>
                          <a:pt x="719" y="330"/>
                        </a:lnTo>
                        <a:lnTo>
                          <a:pt x="721" y="330"/>
                        </a:lnTo>
                        <a:lnTo>
                          <a:pt x="721" y="331"/>
                        </a:lnTo>
                        <a:lnTo>
                          <a:pt x="722" y="330"/>
                        </a:lnTo>
                        <a:lnTo>
                          <a:pt x="724" y="331"/>
                        </a:lnTo>
                        <a:lnTo>
                          <a:pt x="725" y="331"/>
                        </a:lnTo>
                        <a:lnTo>
                          <a:pt x="727" y="331"/>
                        </a:lnTo>
                        <a:lnTo>
                          <a:pt x="729" y="330"/>
                        </a:lnTo>
                        <a:lnTo>
                          <a:pt x="730" y="330"/>
                        </a:lnTo>
                        <a:lnTo>
                          <a:pt x="732" y="330"/>
                        </a:lnTo>
                        <a:lnTo>
                          <a:pt x="733" y="330"/>
                        </a:lnTo>
                        <a:lnTo>
                          <a:pt x="735" y="330"/>
                        </a:lnTo>
                        <a:lnTo>
                          <a:pt x="736" y="330"/>
                        </a:lnTo>
                        <a:lnTo>
                          <a:pt x="738" y="330"/>
                        </a:lnTo>
                        <a:lnTo>
                          <a:pt x="736" y="331"/>
                        </a:lnTo>
                        <a:lnTo>
                          <a:pt x="736" y="333"/>
                        </a:lnTo>
                        <a:lnTo>
                          <a:pt x="736" y="334"/>
                        </a:lnTo>
                        <a:lnTo>
                          <a:pt x="736" y="336"/>
                        </a:lnTo>
                        <a:lnTo>
                          <a:pt x="736" y="338"/>
                        </a:lnTo>
                        <a:lnTo>
                          <a:pt x="736" y="339"/>
                        </a:lnTo>
                        <a:lnTo>
                          <a:pt x="736" y="341"/>
                        </a:lnTo>
                        <a:lnTo>
                          <a:pt x="735" y="341"/>
                        </a:lnTo>
                        <a:lnTo>
                          <a:pt x="735" y="342"/>
                        </a:lnTo>
                        <a:lnTo>
                          <a:pt x="735" y="344"/>
                        </a:lnTo>
                        <a:lnTo>
                          <a:pt x="733" y="344"/>
                        </a:lnTo>
                        <a:lnTo>
                          <a:pt x="733" y="346"/>
                        </a:lnTo>
                        <a:lnTo>
                          <a:pt x="733" y="347"/>
                        </a:lnTo>
                        <a:lnTo>
                          <a:pt x="733" y="349"/>
                        </a:lnTo>
                        <a:lnTo>
                          <a:pt x="735" y="349"/>
                        </a:lnTo>
                        <a:lnTo>
                          <a:pt x="735" y="350"/>
                        </a:lnTo>
                        <a:lnTo>
                          <a:pt x="735" y="352"/>
                        </a:lnTo>
                        <a:lnTo>
                          <a:pt x="736" y="352"/>
                        </a:lnTo>
                        <a:lnTo>
                          <a:pt x="736" y="354"/>
                        </a:lnTo>
                        <a:lnTo>
                          <a:pt x="736" y="355"/>
                        </a:lnTo>
                        <a:lnTo>
                          <a:pt x="735" y="355"/>
                        </a:lnTo>
                        <a:lnTo>
                          <a:pt x="735" y="357"/>
                        </a:lnTo>
                        <a:lnTo>
                          <a:pt x="733" y="357"/>
                        </a:lnTo>
                        <a:lnTo>
                          <a:pt x="732" y="357"/>
                        </a:lnTo>
                        <a:lnTo>
                          <a:pt x="732" y="358"/>
                        </a:lnTo>
                        <a:lnTo>
                          <a:pt x="730" y="358"/>
                        </a:lnTo>
                        <a:lnTo>
                          <a:pt x="730" y="360"/>
                        </a:lnTo>
                        <a:lnTo>
                          <a:pt x="730" y="361"/>
                        </a:lnTo>
                        <a:lnTo>
                          <a:pt x="730" y="363"/>
                        </a:lnTo>
                        <a:lnTo>
                          <a:pt x="732" y="365"/>
                        </a:lnTo>
                        <a:lnTo>
                          <a:pt x="733" y="366"/>
                        </a:lnTo>
                        <a:lnTo>
                          <a:pt x="733" y="368"/>
                        </a:lnTo>
                        <a:lnTo>
                          <a:pt x="735" y="368"/>
                        </a:lnTo>
                        <a:lnTo>
                          <a:pt x="736" y="369"/>
                        </a:lnTo>
                        <a:lnTo>
                          <a:pt x="738" y="369"/>
                        </a:lnTo>
                        <a:lnTo>
                          <a:pt x="740" y="371"/>
                        </a:lnTo>
                        <a:lnTo>
                          <a:pt x="741" y="373"/>
                        </a:lnTo>
                        <a:lnTo>
                          <a:pt x="741" y="374"/>
                        </a:lnTo>
                        <a:lnTo>
                          <a:pt x="743" y="376"/>
                        </a:lnTo>
                        <a:lnTo>
                          <a:pt x="744" y="376"/>
                        </a:lnTo>
                        <a:lnTo>
                          <a:pt x="746" y="377"/>
                        </a:lnTo>
                        <a:lnTo>
                          <a:pt x="748" y="377"/>
                        </a:lnTo>
                        <a:lnTo>
                          <a:pt x="749" y="377"/>
                        </a:lnTo>
                        <a:lnTo>
                          <a:pt x="751" y="377"/>
                        </a:lnTo>
                        <a:lnTo>
                          <a:pt x="752" y="377"/>
                        </a:lnTo>
                        <a:lnTo>
                          <a:pt x="754" y="377"/>
                        </a:lnTo>
                        <a:lnTo>
                          <a:pt x="755" y="377"/>
                        </a:lnTo>
                        <a:lnTo>
                          <a:pt x="757" y="377"/>
                        </a:lnTo>
                        <a:lnTo>
                          <a:pt x="759" y="377"/>
                        </a:lnTo>
                        <a:lnTo>
                          <a:pt x="760" y="377"/>
                        </a:lnTo>
                        <a:lnTo>
                          <a:pt x="760" y="379"/>
                        </a:lnTo>
                        <a:lnTo>
                          <a:pt x="762" y="379"/>
                        </a:lnTo>
                        <a:lnTo>
                          <a:pt x="762" y="377"/>
                        </a:lnTo>
                        <a:lnTo>
                          <a:pt x="763" y="377"/>
                        </a:lnTo>
                        <a:lnTo>
                          <a:pt x="765" y="377"/>
                        </a:lnTo>
                        <a:lnTo>
                          <a:pt x="765" y="376"/>
                        </a:lnTo>
                        <a:lnTo>
                          <a:pt x="767" y="376"/>
                        </a:lnTo>
                        <a:lnTo>
                          <a:pt x="768" y="374"/>
                        </a:lnTo>
                        <a:lnTo>
                          <a:pt x="770" y="374"/>
                        </a:lnTo>
                        <a:lnTo>
                          <a:pt x="770" y="373"/>
                        </a:lnTo>
                        <a:lnTo>
                          <a:pt x="771" y="371"/>
                        </a:lnTo>
                        <a:lnTo>
                          <a:pt x="773" y="371"/>
                        </a:lnTo>
                        <a:lnTo>
                          <a:pt x="774" y="369"/>
                        </a:lnTo>
                        <a:lnTo>
                          <a:pt x="776" y="369"/>
                        </a:lnTo>
                        <a:lnTo>
                          <a:pt x="776" y="368"/>
                        </a:lnTo>
                        <a:lnTo>
                          <a:pt x="778" y="368"/>
                        </a:lnTo>
                        <a:lnTo>
                          <a:pt x="778" y="366"/>
                        </a:lnTo>
                        <a:lnTo>
                          <a:pt x="779" y="366"/>
                        </a:lnTo>
                        <a:lnTo>
                          <a:pt x="781" y="365"/>
                        </a:lnTo>
                        <a:lnTo>
                          <a:pt x="782" y="365"/>
                        </a:lnTo>
                        <a:lnTo>
                          <a:pt x="782" y="366"/>
                        </a:lnTo>
                        <a:lnTo>
                          <a:pt x="784" y="366"/>
                        </a:lnTo>
                        <a:lnTo>
                          <a:pt x="786" y="366"/>
                        </a:lnTo>
                        <a:lnTo>
                          <a:pt x="787" y="368"/>
                        </a:lnTo>
                        <a:lnTo>
                          <a:pt x="787" y="369"/>
                        </a:lnTo>
                        <a:lnTo>
                          <a:pt x="789" y="369"/>
                        </a:lnTo>
                        <a:lnTo>
                          <a:pt x="790" y="368"/>
                        </a:lnTo>
                        <a:lnTo>
                          <a:pt x="792" y="369"/>
                        </a:lnTo>
                        <a:lnTo>
                          <a:pt x="793" y="369"/>
                        </a:lnTo>
                        <a:lnTo>
                          <a:pt x="795" y="369"/>
                        </a:lnTo>
                        <a:lnTo>
                          <a:pt x="797" y="369"/>
                        </a:lnTo>
                        <a:lnTo>
                          <a:pt x="798" y="369"/>
                        </a:lnTo>
                        <a:lnTo>
                          <a:pt x="800" y="369"/>
                        </a:lnTo>
                        <a:lnTo>
                          <a:pt x="801" y="369"/>
                        </a:lnTo>
                        <a:lnTo>
                          <a:pt x="801" y="368"/>
                        </a:lnTo>
                        <a:lnTo>
                          <a:pt x="803" y="368"/>
                        </a:lnTo>
                        <a:lnTo>
                          <a:pt x="803" y="366"/>
                        </a:lnTo>
                        <a:lnTo>
                          <a:pt x="805" y="366"/>
                        </a:lnTo>
                        <a:lnTo>
                          <a:pt x="805" y="365"/>
                        </a:lnTo>
                        <a:lnTo>
                          <a:pt x="806" y="365"/>
                        </a:lnTo>
                        <a:lnTo>
                          <a:pt x="806" y="363"/>
                        </a:lnTo>
                        <a:lnTo>
                          <a:pt x="808" y="363"/>
                        </a:lnTo>
                        <a:lnTo>
                          <a:pt x="809" y="363"/>
                        </a:lnTo>
                        <a:lnTo>
                          <a:pt x="811" y="361"/>
                        </a:lnTo>
                        <a:lnTo>
                          <a:pt x="812" y="361"/>
                        </a:lnTo>
                        <a:lnTo>
                          <a:pt x="814" y="361"/>
                        </a:lnTo>
                        <a:lnTo>
                          <a:pt x="814" y="360"/>
                        </a:lnTo>
                        <a:lnTo>
                          <a:pt x="816" y="360"/>
                        </a:lnTo>
                        <a:lnTo>
                          <a:pt x="816" y="358"/>
                        </a:lnTo>
                        <a:lnTo>
                          <a:pt x="817" y="358"/>
                        </a:lnTo>
                        <a:lnTo>
                          <a:pt x="819" y="358"/>
                        </a:lnTo>
                        <a:lnTo>
                          <a:pt x="820" y="357"/>
                        </a:lnTo>
                        <a:lnTo>
                          <a:pt x="822" y="358"/>
                        </a:lnTo>
                        <a:lnTo>
                          <a:pt x="822" y="357"/>
                        </a:lnTo>
                        <a:lnTo>
                          <a:pt x="824" y="357"/>
                        </a:lnTo>
                        <a:lnTo>
                          <a:pt x="825" y="357"/>
                        </a:lnTo>
                        <a:lnTo>
                          <a:pt x="827" y="357"/>
                        </a:lnTo>
                        <a:lnTo>
                          <a:pt x="827" y="355"/>
                        </a:lnTo>
                        <a:lnTo>
                          <a:pt x="828" y="355"/>
                        </a:lnTo>
                        <a:lnTo>
                          <a:pt x="830" y="355"/>
                        </a:lnTo>
                        <a:lnTo>
                          <a:pt x="830" y="354"/>
                        </a:lnTo>
                        <a:lnTo>
                          <a:pt x="831" y="354"/>
                        </a:lnTo>
                        <a:lnTo>
                          <a:pt x="833" y="354"/>
                        </a:lnTo>
                        <a:lnTo>
                          <a:pt x="835" y="352"/>
                        </a:lnTo>
                        <a:lnTo>
                          <a:pt x="836" y="352"/>
                        </a:lnTo>
                        <a:lnTo>
                          <a:pt x="838" y="352"/>
                        </a:lnTo>
                        <a:lnTo>
                          <a:pt x="839" y="352"/>
                        </a:lnTo>
                        <a:lnTo>
                          <a:pt x="839" y="354"/>
                        </a:lnTo>
                        <a:lnTo>
                          <a:pt x="841" y="354"/>
                        </a:lnTo>
                        <a:lnTo>
                          <a:pt x="841" y="352"/>
                        </a:lnTo>
                        <a:lnTo>
                          <a:pt x="843" y="352"/>
                        </a:lnTo>
                        <a:lnTo>
                          <a:pt x="843" y="350"/>
                        </a:lnTo>
                        <a:lnTo>
                          <a:pt x="844" y="350"/>
                        </a:lnTo>
                        <a:lnTo>
                          <a:pt x="844" y="349"/>
                        </a:lnTo>
                        <a:lnTo>
                          <a:pt x="846" y="349"/>
                        </a:lnTo>
                        <a:lnTo>
                          <a:pt x="847" y="347"/>
                        </a:lnTo>
                        <a:lnTo>
                          <a:pt x="849" y="347"/>
                        </a:lnTo>
                        <a:lnTo>
                          <a:pt x="850" y="347"/>
                        </a:lnTo>
                        <a:lnTo>
                          <a:pt x="852" y="347"/>
                        </a:lnTo>
                        <a:lnTo>
                          <a:pt x="854" y="347"/>
                        </a:lnTo>
                        <a:lnTo>
                          <a:pt x="854" y="346"/>
                        </a:lnTo>
                        <a:lnTo>
                          <a:pt x="852" y="346"/>
                        </a:lnTo>
                        <a:lnTo>
                          <a:pt x="854" y="344"/>
                        </a:lnTo>
                        <a:lnTo>
                          <a:pt x="855" y="344"/>
                        </a:lnTo>
                        <a:lnTo>
                          <a:pt x="857" y="344"/>
                        </a:lnTo>
                        <a:lnTo>
                          <a:pt x="858" y="344"/>
                        </a:lnTo>
                        <a:lnTo>
                          <a:pt x="860" y="342"/>
                        </a:lnTo>
                        <a:lnTo>
                          <a:pt x="858" y="341"/>
                        </a:lnTo>
                        <a:lnTo>
                          <a:pt x="860" y="341"/>
                        </a:lnTo>
                        <a:lnTo>
                          <a:pt x="860" y="339"/>
                        </a:lnTo>
                        <a:lnTo>
                          <a:pt x="862" y="339"/>
                        </a:lnTo>
                        <a:lnTo>
                          <a:pt x="863" y="339"/>
                        </a:lnTo>
                        <a:lnTo>
                          <a:pt x="863" y="338"/>
                        </a:lnTo>
                        <a:lnTo>
                          <a:pt x="863" y="336"/>
                        </a:lnTo>
                        <a:lnTo>
                          <a:pt x="863" y="334"/>
                        </a:lnTo>
                        <a:lnTo>
                          <a:pt x="865" y="333"/>
                        </a:lnTo>
                        <a:lnTo>
                          <a:pt x="866" y="333"/>
                        </a:lnTo>
                        <a:lnTo>
                          <a:pt x="866" y="331"/>
                        </a:lnTo>
                        <a:lnTo>
                          <a:pt x="868" y="330"/>
                        </a:lnTo>
                        <a:lnTo>
                          <a:pt x="866" y="328"/>
                        </a:lnTo>
                        <a:lnTo>
                          <a:pt x="868" y="328"/>
                        </a:lnTo>
                        <a:lnTo>
                          <a:pt x="869" y="328"/>
                        </a:lnTo>
                        <a:lnTo>
                          <a:pt x="869" y="330"/>
                        </a:lnTo>
                        <a:lnTo>
                          <a:pt x="871" y="328"/>
                        </a:lnTo>
                        <a:lnTo>
                          <a:pt x="873" y="328"/>
                        </a:lnTo>
                        <a:lnTo>
                          <a:pt x="874" y="328"/>
                        </a:lnTo>
                        <a:lnTo>
                          <a:pt x="876" y="328"/>
                        </a:lnTo>
                        <a:lnTo>
                          <a:pt x="876" y="327"/>
                        </a:lnTo>
                        <a:lnTo>
                          <a:pt x="876" y="325"/>
                        </a:lnTo>
                        <a:lnTo>
                          <a:pt x="876" y="323"/>
                        </a:lnTo>
                        <a:lnTo>
                          <a:pt x="874" y="322"/>
                        </a:lnTo>
                        <a:lnTo>
                          <a:pt x="874" y="320"/>
                        </a:lnTo>
                        <a:lnTo>
                          <a:pt x="873" y="320"/>
                        </a:lnTo>
                        <a:lnTo>
                          <a:pt x="874" y="319"/>
                        </a:lnTo>
                        <a:lnTo>
                          <a:pt x="876" y="319"/>
                        </a:lnTo>
                        <a:lnTo>
                          <a:pt x="877" y="319"/>
                        </a:lnTo>
                        <a:lnTo>
                          <a:pt x="879" y="317"/>
                        </a:lnTo>
                        <a:lnTo>
                          <a:pt x="881" y="319"/>
                        </a:lnTo>
                        <a:lnTo>
                          <a:pt x="882" y="319"/>
                        </a:lnTo>
                        <a:lnTo>
                          <a:pt x="884" y="319"/>
                        </a:lnTo>
                        <a:lnTo>
                          <a:pt x="884" y="317"/>
                        </a:lnTo>
                        <a:lnTo>
                          <a:pt x="885" y="317"/>
                        </a:lnTo>
                        <a:lnTo>
                          <a:pt x="885" y="315"/>
                        </a:lnTo>
                        <a:lnTo>
                          <a:pt x="887" y="315"/>
                        </a:lnTo>
                        <a:lnTo>
                          <a:pt x="887" y="314"/>
                        </a:lnTo>
                        <a:lnTo>
                          <a:pt x="888" y="315"/>
                        </a:lnTo>
                        <a:lnTo>
                          <a:pt x="890" y="317"/>
                        </a:lnTo>
                        <a:lnTo>
                          <a:pt x="890" y="319"/>
                        </a:lnTo>
                        <a:lnTo>
                          <a:pt x="892" y="320"/>
                        </a:lnTo>
                        <a:lnTo>
                          <a:pt x="893" y="322"/>
                        </a:lnTo>
                        <a:lnTo>
                          <a:pt x="893" y="320"/>
                        </a:lnTo>
                        <a:lnTo>
                          <a:pt x="895" y="320"/>
                        </a:lnTo>
                        <a:lnTo>
                          <a:pt x="895" y="319"/>
                        </a:lnTo>
                        <a:lnTo>
                          <a:pt x="896" y="319"/>
                        </a:lnTo>
                        <a:lnTo>
                          <a:pt x="896" y="317"/>
                        </a:lnTo>
                        <a:lnTo>
                          <a:pt x="898" y="319"/>
                        </a:lnTo>
                        <a:lnTo>
                          <a:pt x="900" y="319"/>
                        </a:lnTo>
                        <a:lnTo>
                          <a:pt x="901" y="319"/>
                        </a:lnTo>
                        <a:lnTo>
                          <a:pt x="901" y="320"/>
                        </a:lnTo>
                        <a:lnTo>
                          <a:pt x="901" y="322"/>
                        </a:lnTo>
                        <a:lnTo>
                          <a:pt x="903" y="322"/>
                        </a:lnTo>
                        <a:lnTo>
                          <a:pt x="903" y="323"/>
                        </a:lnTo>
                        <a:lnTo>
                          <a:pt x="904" y="325"/>
                        </a:lnTo>
                        <a:lnTo>
                          <a:pt x="906" y="325"/>
                        </a:lnTo>
                        <a:lnTo>
                          <a:pt x="908" y="323"/>
                        </a:lnTo>
                        <a:lnTo>
                          <a:pt x="908" y="325"/>
                        </a:lnTo>
                        <a:lnTo>
                          <a:pt x="909" y="323"/>
                        </a:lnTo>
                        <a:lnTo>
                          <a:pt x="911" y="323"/>
                        </a:lnTo>
                        <a:lnTo>
                          <a:pt x="912" y="325"/>
                        </a:lnTo>
                        <a:lnTo>
                          <a:pt x="911" y="325"/>
                        </a:lnTo>
                        <a:lnTo>
                          <a:pt x="911" y="327"/>
                        </a:lnTo>
                        <a:lnTo>
                          <a:pt x="909" y="328"/>
                        </a:lnTo>
                        <a:lnTo>
                          <a:pt x="908" y="328"/>
                        </a:lnTo>
                        <a:lnTo>
                          <a:pt x="908" y="330"/>
                        </a:lnTo>
                        <a:lnTo>
                          <a:pt x="906" y="330"/>
                        </a:lnTo>
                        <a:lnTo>
                          <a:pt x="906" y="331"/>
                        </a:lnTo>
                        <a:lnTo>
                          <a:pt x="906" y="333"/>
                        </a:lnTo>
                        <a:lnTo>
                          <a:pt x="908" y="333"/>
                        </a:lnTo>
                        <a:lnTo>
                          <a:pt x="908" y="334"/>
                        </a:lnTo>
                        <a:lnTo>
                          <a:pt x="908" y="336"/>
                        </a:lnTo>
                        <a:lnTo>
                          <a:pt x="908" y="338"/>
                        </a:lnTo>
                        <a:lnTo>
                          <a:pt x="909" y="338"/>
                        </a:lnTo>
                        <a:lnTo>
                          <a:pt x="909" y="339"/>
                        </a:lnTo>
                        <a:lnTo>
                          <a:pt x="911" y="339"/>
                        </a:lnTo>
                        <a:lnTo>
                          <a:pt x="912" y="338"/>
                        </a:lnTo>
                        <a:lnTo>
                          <a:pt x="914" y="339"/>
                        </a:lnTo>
                        <a:lnTo>
                          <a:pt x="915" y="339"/>
                        </a:lnTo>
                        <a:lnTo>
                          <a:pt x="917" y="338"/>
                        </a:lnTo>
                        <a:lnTo>
                          <a:pt x="919" y="339"/>
                        </a:lnTo>
                        <a:lnTo>
                          <a:pt x="923" y="341"/>
                        </a:lnTo>
                        <a:lnTo>
                          <a:pt x="923" y="344"/>
                        </a:lnTo>
                        <a:lnTo>
                          <a:pt x="925" y="346"/>
                        </a:lnTo>
                        <a:lnTo>
                          <a:pt x="927" y="346"/>
                        </a:lnTo>
                        <a:lnTo>
                          <a:pt x="927" y="347"/>
                        </a:lnTo>
                        <a:lnTo>
                          <a:pt x="928" y="349"/>
                        </a:lnTo>
                        <a:lnTo>
                          <a:pt x="928" y="347"/>
                        </a:lnTo>
                        <a:lnTo>
                          <a:pt x="928" y="346"/>
                        </a:lnTo>
                        <a:lnTo>
                          <a:pt x="928" y="344"/>
                        </a:lnTo>
                        <a:lnTo>
                          <a:pt x="930" y="344"/>
                        </a:lnTo>
                        <a:lnTo>
                          <a:pt x="931" y="344"/>
                        </a:lnTo>
                        <a:lnTo>
                          <a:pt x="931" y="342"/>
                        </a:lnTo>
                        <a:lnTo>
                          <a:pt x="933" y="342"/>
                        </a:lnTo>
                        <a:lnTo>
                          <a:pt x="933" y="341"/>
                        </a:lnTo>
                        <a:lnTo>
                          <a:pt x="933" y="339"/>
                        </a:lnTo>
                        <a:lnTo>
                          <a:pt x="934" y="339"/>
                        </a:lnTo>
                        <a:lnTo>
                          <a:pt x="936" y="339"/>
                        </a:lnTo>
                        <a:lnTo>
                          <a:pt x="938" y="339"/>
                        </a:lnTo>
                        <a:lnTo>
                          <a:pt x="939" y="338"/>
                        </a:lnTo>
                        <a:lnTo>
                          <a:pt x="941" y="336"/>
                        </a:lnTo>
                        <a:lnTo>
                          <a:pt x="942" y="334"/>
                        </a:lnTo>
                        <a:lnTo>
                          <a:pt x="946" y="334"/>
                        </a:lnTo>
                        <a:lnTo>
                          <a:pt x="947" y="334"/>
                        </a:lnTo>
                        <a:lnTo>
                          <a:pt x="949" y="336"/>
                        </a:lnTo>
                        <a:lnTo>
                          <a:pt x="950" y="336"/>
                        </a:lnTo>
                        <a:lnTo>
                          <a:pt x="952" y="336"/>
                        </a:lnTo>
                        <a:lnTo>
                          <a:pt x="953" y="338"/>
                        </a:lnTo>
                        <a:lnTo>
                          <a:pt x="955" y="339"/>
                        </a:lnTo>
                        <a:lnTo>
                          <a:pt x="957" y="339"/>
                        </a:lnTo>
                        <a:lnTo>
                          <a:pt x="957" y="338"/>
                        </a:lnTo>
                        <a:lnTo>
                          <a:pt x="955" y="338"/>
                        </a:lnTo>
                        <a:lnTo>
                          <a:pt x="955" y="336"/>
                        </a:lnTo>
                        <a:lnTo>
                          <a:pt x="955" y="334"/>
                        </a:lnTo>
                        <a:lnTo>
                          <a:pt x="953" y="333"/>
                        </a:lnTo>
                        <a:lnTo>
                          <a:pt x="953" y="331"/>
                        </a:lnTo>
                        <a:lnTo>
                          <a:pt x="955" y="331"/>
                        </a:lnTo>
                        <a:lnTo>
                          <a:pt x="957" y="331"/>
                        </a:lnTo>
                        <a:lnTo>
                          <a:pt x="960" y="331"/>
                        </a:lnTo>
                        <a:lnTo>
                          <a:pt x="960" y="333"/>
                        </a:lnTo>
                        <a:lnTo>
                          <a:pt x="961" y="334"/>
                        </a:lnTo>
                        <a:lnTo>
                          <a:pt x="963" y="336"/>
                        </a:lnTo>
                        <a:lnTo>
                          <a:pt x="965" y="336"/>
                        </a:lnTo>
                        <a:lnTo>
                          <a:pt x="966" y="338"/>
                        </a:lnTo>
                        <a:lnTo>
                          <a:pt x="968" y="338"/>
                        </a:lnTo>
                        <a:lnTo>
                          <a:pt x="968" y="341"/>
                        </a:lnTo>
                        <a:lnTo>
                          <a:pt x="969" y="342"/>
                        </a:lnTo>
                        <a:lnTo>
                          <a:pt x="969" y="344"/>
                        </a:lnTo>
                        <a:lnTo>
                          <a:pt x="971" y="346"/>
                        </a:lnTo>
                        <a:lnTo>
                          <a:pt x="972" y="346"/>
                        </a:lnTo>
                        <a:lnTo>
                          <a:pt x="972" y="347"/>
                        </a:lnTo>
                        <a:lnTo>
                          <a:pt x="974" y="347"/>
                        </a:lnTo>
                        <a:lnTo>
                          <a:pt x="976" y="347"/>
                        </a:lnTo>
                        <a:lnTo>
                          <a:pt x="977" y="349"/>
                        </a:lnTo>
                        <a:lnTo>
                          <a:pt x="979" y="349"/>
                        </a:lnTo>
                        <a:lnTo>
                          <a:pt x="979" y="350"/>
                        </a:lnTo>
                        <a:lnTo>
                          <a:pt x="980" y="352"/>
                        </a:lnTo>
                        <a:lnTo>
                          <a:pt x="982" y="350"/>
                        </a:lnTo>
                        <a:lnTo>
                          <a:pt x="984" y="350"/>
                        </a:lnTo>
                        <a:lnTo>
                          <a:pt x="985" y="350"/>
                        </a:lnTo>
                        <a:lnTo>
                          <a:pt x="987" y="352"/>
                        </a:lnTo>
                        <a:lnTo>
                          <a:pt x="988" y="35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91" name="Freeform 90"/>
                  <p:cNvSpPr>
                    <a:spLocks/>
                  </p:cNvSpPr>
                  <p:nvPr/>
                </p:nvSpPr>
                <p:spPr bwMode="auto">
                  <a:xfrm>
                    <a:off x="2437" y="2813"/>
                    <a:ext cx="855" cy="541"/>
                  </a:xfrm>
                  <a:custGeom>
                    <a:avLst/>
                    <a:gdLst>
                      <a:gd name="T0" fmla="*/ 828 w 855"/>
                      <a:gd name="T1" fmla="*/ 3 h 541"/>
                      <a:gd name="T2" fmla="*/ 849 w 855"/>
                      <a:gd name="T3" fmla="*/ 8 h 541"/>
                      <a:gd name="T4" fmla="*/ 839 w 855"/>
                      <a:gd name="T5" fmla="*/ 42 h 541"/>
                      <a:gd name="T6" fmla="*/ 854 w 855"/>
                      <a:gd name="T7" fmla="*/ 63 h 541"/>
                      <a:gd name="T8" fmla="*/ 852 w 855"/>
                      <a:gd name="T9" fmla="*/ 103 h 541"/>
                      <a:gd name="T10" fmla="*/ 849 w 855"/>
                      <a:gd name="T11" fmla="*/ 147 h 541"/>
                      <a:gd name="T12" fmla="*/ 822 w 855"/>
                      <a:gd name="T13" fmla="*/ 152 h 541"/>
                      <a:gd name="T14" fmla="*/ 784 w 855"/>
                      <a:gd name="T15" fmla="*/ 134 h 541"/>
                      <a:gd name="T16" fmla="*/ 744 w 855"/>
                      <a:gd name="T17" fmla="*/ 115 h 541"/>
                      <a:gd name="T18" fmla="*/ 719 w 855"/>
                      <a:gd name="T19" fmla="*/ 122 h 541"/>
                      <a:gd name="T20" fmla="*/ 695 w 855"/>
                      <a:gd name="T21" fmla="*/ 126 h 541"/>
                      <a:gd name="T22" fmla="*/ 676 w 855"/>
                      <a:gd name="T23" fmla="*/ 126 h 541"/>
                      <a:gd name="T24" fmla="*/ 662 w 855"/>
                      <a:gd name="T25" fmla="*/ 111 h 541"/>
                      <a:gd name="T26" fmla="*/ 637 w 855"/>
                      <a:gd name="T27" fmla="*/ 117 h 541"/>
                      <a:gd name="T28" fmla="*/ 613 w 855"/>
                      <a:gd name="T29" fmla="*/ 126 h 541"/>
                      <a:gd name="T30" fmla="*/ 600 w 855"/>
                      <a:gd name="T31" fmla="*/ 149 h 541"/>
                      <a:gd name="T32" fmla="*/ 584 w 855"/>
                      <a:gd name="T33" fmla="*/ 168 h 541"/>
                      <a:gd name="T34" fmla="*/ 573 w 855"/>
                      <a:gd name="T35" fmla="*/ 193 h 541"/>
                      <a:gd name="T36" fmla="*/ 568 w 855"/>
                      <a:gd name="T37" fmla="*/ 212 h 541"/>
                      <a:gd name="T38" fmla="*/ 551 w 855"/>
                      <a:gd name="T39" fmla="*/ 214 h 541"/>
                      <a:gd name="T40" fmla="*/ 537 w 855"/>
                      <a:gd name="T41" fmla="*/ 201 h 541"/>
                      <a:gd name="T42" fmla="*/ 521 w 855"/>
                      <a:gd name="T43" fmla="*/ 218 h 541"/>
                      <a:gd name="T44" fmla="*/ 499 w 855"/>
                      <a:gd name="T45" fmla="*/ 228 h 541"/>
                      <a:gd name="T46" fmla="*/ 478 w 855"/>
                      <a:gd name="T47" fmla="*/ 236 h 541"/>
                      <a:gd name="T48" fmla="*/ 458 w 855"/>
                      <a:gd name="T49" fmla="*/ 242 h 541"/>
                      <a:gd name="T50" fmla="*/ 445 w 855"/>
                      <a:gd name="T51" fmla="*/ 252 h 541"/>
                      <a:gd name="T52" fmla="*/ 431 w 855"/>
                      <a:gd name="T53" fmla="*/ 271 h 541"/>
                      <a:gd name="T54" fmla="*/ 415 w 855"/>
                      <a:gd name="T55" fmla="*/ 286 h 541"/>
                      <a:gd name="T56" fmla="*/ 407 w 855"/>
                      <a:gd name="T57" fmla="*/ 288 h 541"/>
                      <a:gd name="T58" fmla="*/ 396 w 855"/>
                      <a:gd name="T59" fmla="*/ 293 h 541"/>
                      <a:gd name="T60" fmla="*/ 389 w 855"/>
                      <a:gd name="T61" fmla="*/ 302 h 541"/>
                      <a:gd name="T62" fmla="*/ 383 w 855"/>
                      <a:gd name="T63" fmla="*/ 316 h 541"/>
                      <a:gd name="T64" fmla="*/ 391 w 855"/>
                      <a:gd name="T65" fmla="*/ 326 h 541"/>
                      <a:gd name="T66" fmla="*/ 377 w 855"/>
                      <a:gd name="T67" fmla="*/ 342 h 541"/>
                      <a:gd name="T68" fmla="*/ 372 w 855"/>
                      <a:gd name="T69" fmla="*/ 364 h 541"/>
                      <a:gd name="T70" fmla="*/ 351 w 855"/>
                      <a:gd name="T71" fmla="*/ 370 h 541"/>
                      <a:gd name="T72" fmla="*/ 347 w 855"/>
                      <a:gd name="T73" fmla="*/ 393 h 541"/>
                      <a:gd name="T74" fmla="*/ 348 w 855"/>
                      <a:gd name="T75" fmla="*/ 408 h 541"/>
                      <a:gd name="T76" fmla="*/ 331 w 855"/>
                      <a:gd name="T77" fmla="*/ 404 h 541"/>
                      <a:gd name="T78" fmla="*/ 312 w 855"/>
                      <a:gd name="T79" fmla="*/ 408 h 541"/>
                      <a:gd name="T80" fmla="*/ 299 w 855"/>
                      <a:gd name="T81" fmla="*/ 419 h 541"/>
                      <a:gd name="T82" fmla="*/ 309 w 855"/>
                      <a:gd name="T83" fmla="*/ 438 h 541"/>
                      <a:gd name="T84" fmla="*/ 288 w 855"/>
                      <a:gd name="T85" fmla="*/ 431 h 541"/>
                      <a:gd name="T86" fmla="*/ 263 w 855"/>
                      <a:gd name="T87" fmla="*/ 435 h 541"/>
                      <a:gd name="T88" fmla="*/ 248 w 855"/>
                      <a:gd name="T89" fmla="*/ 465 h 541"/>
                      <a:gd name="T90" fmla="*/ 231 w 855"/>
                      <a:gd name="T91" fmla="*/ 488 h 541"/>
                      <a:gd name="T92" fmla="*/ 234 w 855"/>
                      <a:gd name="T93" fmla="*/ 505 h 541"/>
                      <a:gd name="T94" fmla="*/ 228 w 855"/>
                      <a:gd name="T95" fmla="*/ 518 h 541"/>
                      <a:gd name="T96" fmla="*/ 206 w 855"/>
                      <a:gd name="T97" fmla="*/ 524 h 541"/>
                      <a:gd name="T98" fmla="*/ 187 w 855"/>
                      <a:gd name="T99" fmla="*/ 537 h 541"/>
                      <a:gd name="T100" fmla="*/ 172 w 855"/>
                      <a:gd name="T101" fmla="*/ 522 h 541"/>
                      <a:gd name="T102" fmla="*/ 150 w 855"/>
                      <a:gd name="T103" fmla="*/ 516 h 541"/>
                      <a:gd name="T104" fmla="*/ 130 w 855"/>
                      <a:gd name="T105" fmla="*/ 505 h 541"/>
                      <a:gd name="T106" fmla="*/ 115 w 855"/>
                      <a:gd name="T107" fmla="*/ 500 h 541"/>
                      <a:gd name="T108" fmla="*/ 100 w 855"/>
                      <a:gd name="T109" fmla="*/ 488 h 541"/>
                      <a:gd name="T110" fmla="*/ 87 w 855"/>
                      <a:gd name="T111" fmla="*/ 469 h 541"/>
                      <a:gd name="T112" fmla="*/ 71 w 855"/>
                      <a:gd name="T113" fmla="*/ 473 h 541"/>
                      <a:gd name="T114" fmla="*/ 52 w 855"/>
                      <a:gd name="T115" fmla="*/ 488 h 541"/>
                      <a:gd name="T116" fmla="*/ 25 w 855"/>
                      <a:gd name="T117" fmla="*/ 492 h 541"/>
                      <a:gd name="T118" fmla="*/ 3 w 855"/>
                      <a:gd name="T119" fmla="*/ 505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55" h="541">
                        <a:moveTo>
                          <a:pt x="820" y="12"/>
                        </a:moveTo>
                        <a:lnTo>
                          <a:pt x="820" y="11"/>
                        </a:lnTo>
                        <a:lnTo>
                          <a:pt x="822" y="11"/>
                        </a:lnTo>
                        <a:lnTo>
                          <a:pt x="822" y="9"/>
                        </a:lnTo>
                        <a:lnTo>
                          <a:pt x="820" y="8"/>
                        </a:lnTo>
                        <a:lnTo>
                          <a:pt x="819" y="6"/>
                        </a:lnTo>
                        <a:lnTo>
                          <a:pt x="819" y="4"/>
                        </a:lnTo>
                        <a:lnTo>
                          <a:pt x="817" y="4"/>
                        </a:lnTo>
                        <a:lnTo>
                          <a:pt x="817" y="3"/>
                        </a:lnTo>
                        <a:lnTo>
                          <a:pt x="817" y="1"/>
                        </a:lnTo>
                        <a:lnTo>
                          <a:pt x="819" y="0"/>
                        </a:lnTo>
                        <a:lnTo>
                          <a:pt x="820" y="0"/>
                        </a:lnTo>
                        <a:lnTo>
                          <a:pt x="822" y="0"/>
                        </a:lnTo>
                        <a:lnTo>
                          <a:pt x="823" y="0"/>
                        </a:lnTo>
                        <a:lnTo>
                          <a:pt x="825" y="1"/>
                        </a:lnTo>
                        <a:lnTo>
                          <a:pt x="827" y="1"/>
                        </a:lnTo>
                        <a:lnTo>
                          <a:pt x="828" y="3"/>
                        </a:lnTo>
                        <a:lnTo>
                          <a:pt x="828" y="4"/>
                        </a:lnTo>
                        <a:lnTo>
                          <a:pt x="830" y="6"/>
                        </a:lnTo>
                        <a:lnTo>
                          <a:pt x="831" y="6"/>
                        </a:lnTo>
                        <a:lnTo>
                          <a:pt x="833" y="6"/>
                        </a:lnTo>
                        <a:lnTo>
                          <a:pt x="835" y="6"/>
                        </a:lnTo>
                        <a:lnTo>
                          <a:pt x="836" y="6"/>
                        </a:lnTo>
                        <a:lnTo>
                          <a:pt x="838" y="4"/>
                        </a:lnTo>
                        <a:lnTo>
                          <a:pt x="839" y="3"/>
                        </a:lnTo>
                        <a:lnTo>
                          <a:pt x="841" y="3"/>
                        </a:lnTo>
                        <a:lnTo>
                          <a:pt x="841" y="4"/>
                        </a:lnTo>
                        <a:lnTo>
                          <a:pt x="842" y="4"/>
                        </a:lnTo>
                        <a:lnTo>
                          <a:pt x="842" y="6"/>
                        </a:lnTo>
                        <a:lnTo>
                          <a:pt x="844" y="6"/>
                        </a:lnTo>
                        <a:lnTo>
                          <a:pt x="844" y="4"/>
                        </a:lnTo>
                        <a:lnTo>
                          <a:pt x="846" y="6"/>
                        </a:lnTo>
                        <a:lnTo>
                          <a:pt x="847" y="6"/>
                        </a:lnTo>
                        <a:lnTo>
                          <a:pt x="849" y="8"/>
                        </a:lnTo>
                        <a:lnTo>
                          <a:pt x="849" y="9"/>
                        </a:lnTo>
                        <a:lnTo>
                          <a:pt x="850" y="11"/>
                        </a:lnTo>
                        <a:lnTo>
                          <a:pt x="850" y="12"/>
                        </a:lnTo>
                        <a:lnTo>
                          <a:pt x="852" y="14"/>
                        </a:lnTo>
                        <a:lnTo>
                          <a:pt x="854" y="16"/>
                        </a:lnTo>
                        <a:lnTo>
                          <a:pt x="855" y="19"/>
                        </a:lnTo>
                        <a:lnTo>
                          <a:pt x="854" y="23"/>
                        </a:lnTo>
                        <a:lnTo>
                          <a:pt x="854" y="27"/>
                        </a:lnTo>
                        <a:lnTo>
                          <a:pt x="854" y="28"/>
                        </a:lnTo>
                        <a:lnTo>
                          <a:pt x="852" y="30"/>
                        </a:lnTo>
                        <a:lnTo>
                          <a:pt x="852" y="31"/>
                        </a:lnTo>
                        <a:lnTo>
                          <a:pt x="849" y="33"/>
                        </a:lnTo>
                        <a:lnTo>
                          <a:pt x="849" y="35"/>
                        </a:lnTo>
                        <a:lnTo>
                          <a:pt x="847" y="36"/>
                        </a:lnTo>
                        <a:lnTo>
                          <a:pt x="846" y="38"/>
                        </a:lnTo>
                        <a:lnTo>
                          <a:pt x="841" y="41"/>
                        </a:lnTo>
                        <a:lnTo>
                          <a:pt x="839" y="42"/>
                        </a:lnTo>
                        <a:lnTo>
                          <a:pt x="839" y="44"/>
                        </a:lnTo>
                        <a:lnTo>
                          <a:pt x="839" y="46"/>
                        </a:lnTo>
                        <a:lnTo>
                          <a:pt x="839" y="47"/>
                        </a:lnTo>
                        <a:lnTo>
                          <a:pt x="841" y="47"/>
                        </a:lnTo>
                        <a:lnTo>
                          <a:pt x="841" y="49"/>
                        </a:lnTo>
                        <a:lnTo>
                          <a:pt x="842" y="49"/>
                        </a:lnTo>
                        <a:lnTo>
                          <a:pt x="844" y="49"/>
                        </a:lnTo>
                        <a:lnTo>
                          <a:pt x="846" y="49"/>
                        </a:lnTo>
                        <a:lnTo>
                          <a:pt x="849" y="49"/>
                        </a:lnTo>
                        <a:lnTo>
                          <a:pt x="850" y="49"/>
                        </a:lnTo>
                        <a:lnTo>
                          <a:pt x="852" y="50"/>
                        </a:lnTo>
                        <a:lnTo>
                          <a:pt x="854" y="52"/>
                        </a:lnTo>
                        <a:lnTo>
                          <a:pt x="855" y="55"/>
                        </a:lnTo>
                        <a:lnTo>
                          <a:pt x="854" y="57"/>
                        </a:lnTo>
                        <a:lnTo>
                          <a:pt x="854" y="58"/>
                        </a:lnTo>
                        <a:lnTo>
                          <a:pt x="854" y="61"/>
                        </a:lnTo>
                        <a:lnTo>
                          <a:pt x="854" y="63"/>
                        </a:lnTo>
                        <a:lnTo>
                          <a:pt x="854" y="65"/>
                        </a:lnTo>
                        <a:lnTo>
                          <a:pt x="854" y="68"/>
                        </a:lnTo>
                        <a:lnTo>
                          <a:pt x="854" y="69"/>
                        </a:lnTo>
                        <a:lnTo>
                          <a:pt x="855" y="73"/>
                        </a:lnTo>
                        <a:lnTo>
                          <a:pt x="855" y="76"/>
                        </a:lnTo>
                        <a:lnTo>
                          <a:pt x="855" y="79"/>
                        </a:lnTo>
                        <a:lnTo>
                          <a:pt x="855" y="80"/>
                        </a:lnTo>
                        <a:lnTo>
                          <a:pt x="855" y="84"/>
                        </a:lnTo>
                        <a:lnTo>
                          <a:pt x="855" y="85"/>
                        </a:lnTo>
                        <a:lnTo>
                          <a:pt x="855" y="87"/>
                        </a:lnTo>
                        <a:lnTo>
                          <a:pt x="855" y="92"/>
                        </a:lnTo>
                        <a:lnTo>
                          <a:pt x="854" y="93"/>
                        </a:lnTo>
                        <a:lnTo>
                          <a:pt x="854" y="96"/>
                        </a:lnTo>
                        <a:lnTo>
                          <a:pt x="852" y="98"/>
                        </a:lnTo>
                        <a:lnTo>
                          <a:pt x="852" y="99"/>
                        </a:lnTo>
                        <a:lnTo>
                          <a:pt x="852" y="101"/>
                        </a:lnTo>
                        <a:lnTo>
                          <a:pt x="852" y="103"/>
                        </a:lnTo>
                        <a:lnTo>
                          <a:pt x="852" y="104"/>
                        </a:lnTo>
                        <a:lnTo>
                          <a:pt x="850" y="107"/>
                        </a:lnTo>
                        <a:lnTo>
                          <a:pt x="850" y="109"/>
                        </a:lnTo>
                        <a:lnTo>
                          <a:pt x="850" y="111"/>
                        </a:lnTo>
                        <a:lnTo>
                          <a:pt x="850" y="112"/>
                        </a:lnTo>
                        <a:lnTo>
                          <a:pt x="849" y="114"/>
                        </a:lnTo>
                        <a:lnTo>
                          <a:pt x="849" y="117"/>
                        </a:lnTo>
                        <a:lnTo>
                          <a:pt x="847" y="118"/>
                        </a:lnTo>
                        <a:lnTo>
                          <a:pt x="847" y="120"/>
                        </a:lnTo>
                        <a:lnTo>
                          <a:pt x="847" y="125"/>
                        </a:lnTo>
                        <a:lnTo>
                          <a:pt x="847" y="128"/>
                        </a:lnTo>
                        <a:lnTo>
                          <a:pt x="847" y="130"/>
                        </a:lnTo>
                        <a:lnTo>
                          <a:pt x="849" y="134"/>
                        </a:lnTo>
                        <a:lnTo>
                          <a:pt x="849" y="139"/>
                        </a:lnTo>
                        <a:lnTo>
                          <a:pt x="849" y="142"/>
                        </a:lnTo>
                        <a:lnTo>
                          <a:pt x="850" y="147"/>
                        </a:lnTo>
                        <a:lnTo>
                          <a:pt x="849" y="147"/>
                        </a:lnTo>
                        <a:lnTo>
                          <a:pt x="849" y="149"/>
                        </a:lnTo>
                        <a:lnTo>
                          <a:pt x="849" y="150"/>
                        </a:lnTo>
                        <a:lnTo>
                          <a:pt x="847" y="152"/>
                        </a:lnTo>
                        <a:lnTo>
                          <a:pt x="846" y="153"/>
                        </a:lnTo>
                        <a:lnTo>
                          <a:pt x="844" y="153"/>
                        </a:lnTo>
                        <a:lnTo>
                          <a:pt x="844" y="155"/>
                        </a:lnTo>
                        <a:lnTo>
                          <a:pt x="844" y="153"/>
                        </a:lnTo>
                        <a:lnTo>
                          <a:pt x="842" y="153"/>
                        </a:lnTo>
                        <a:lnTo>
                          <a:pt x="841" y="155"/>
                        </a:lnTo>
                        <a:lnTo>
                          <a:pt x="838" y="155"/>
                        </a:lnTo>
                        <a:lnTo>
                          <a:pt x="835" y="153"/>
                        </a:lnTo>
                        <a:lnTo>
                          <a:pt x="833" y="153"/>
                        </a:lnTo>
                        <a:lnTo>
                          <a:pt x="831" y="153"/>
                        </a:lnTo>
                        <a:lnTo>
                          <a:pt x="828" y="153"/>
                        </a:lnTo>
                        <a:lnTo>
                          <a:pt x="825" y="153"/>
                        </a:lnTo>
                        <a:lnTo>
                          <a:pt x="823" y="152"/>
                        </a:lnTo>
                        <a:lnTo>
                          <a:pt x="822" y="152"/>
                        </a:lnTo>
                        <a:lnTo>
                          <a:pt x="819" y="150"/>
                        </a:lnTo>
                        <a:lnTo>
                          <a:pt x="817" y="150"/>
                        </a:lnTo>
                        <a:lnTo>
                          <a:pt x="814" y="149"/>
                        </a:lnTo>
                        <a:lnTo>
                          <a:pt x="811" y="147"/>
                        </a:lnTo>
                        <a:lnTo>
                          <a:pt x="808" y="145"/>
                        </a:lnTo>
                        <a:lnTo>
                          <a:pt x="804" y="144"/>
                        </a:lnTo>
                        <a:lnTo>
                          <a:pt x="803" y="144"/>
                        </a:lnTo>
                        <a:lnTo>
                          <a:pt x="801" y="142"/>
                        </a:lnTo>
                        <a:lnTo>
                          <a:pt x="800" y="141"/>
                        </a:lnTo>
                        <a:lnTo>
                          <a:pt x="798" y="141"/>
                        </a:lnTo>
                        <a:lnTo>
                          <a:pt x="795" y="139"/>
                        </a:lnTo>
                        <a:lnTo>
                          <a:pt x="795" y="137"/>
                        </a:lnTo>
                        <a:lnTo>
                          <a:pt x="793" y="137"/>
                        </a:lnTo>
                        <a:lnTo>
                          <a:pt x="790" y="137"/>
                        </a:lnTo>
                        <a:lnTo>
                          <a:pt x="787" y="136"/>
                        </a:lnTo>
                        <a:lnTo>
                          <a:pt x="785" y="134"/>
                        </a:lnTo>
                        <a:lnTo>
                          <a:pt x="784" y="134"/>
                        </a:lnTo>
                        <a:lnTo>
                          <a:pt x="782" y="133"/>
                        </a:lnTo>
                        <a:lnTo>
                          <a:pt x="776" y="130"/>
                        </a:lnTo>
                        <a:lnTo>
                          <a:pt x="771" y="128"/>
                        </a:lnTo>
                        <a:lnTo>
                          <a:pt x="766" y="126"/>
                        </a:lnTo>
                        <a:lnTo>
                          <a:pt x="762" y="125"/>
                        </a:lnTo>
                        <a:lnTo>
                          <a:pt x="760" y="123"/>
                        </a:lnTo>
                        <a:lnTo>
                          <a:pt x="757" y="122"/>
                        </a:lnTo>
                        <a:lnTo>
                          <a:pt x="755" y="120"/>
                        </a:lnTo>
                        <a:lnTo>
                          <a:pt x="754" y="118"/>
                        </a:lnTo>
                        <a:lnTo>
                          <a:pt x="751" y="117"/>
                        </a:lnTo>
                        <a:lnTo>
                          <a:pt x="751" y="118"/>
                        </a:lnTo>
                        <a:lnTo>
                          <a:pt x="751" y="117"/>
                        </a:lnTo>
                        <a:lnTo>
                          <a:pt x="749" y="117"/>
                        </a:lnTo>
                        <a:lnTo>
                          <a:pt x="747" y="117"/>
                        </a:lnTo>
                        <a:lnTo>
                          <a:pt x="747" y="115"/>
                        </a:lnTo>
                        <a:lnTo>
                          <a:pt x="746" y="115"/>
                        </a:lnTo>
                        <a:lnTo>
                          <a:pt x="744" y="115"/>
                        </a:lnTo>
                        <a:lnTo>
                          <a:pt x="743" y="115"/>
                        </a:lnTo>
                        <a:lnTo>
                          <a:pt x="741" y="115"/>
                        </a:lnTo>
                        <a:lnTo>
                          <a:pt x="740" y="114"/>
                        </a:lnTo>
                        <a:lnTo>
                          <a:pt x="738" y="114"/>
                        </a:lnTo>
                        <a:lnTo>
                          <a:pt x="736" y="114"/>
                        </a:lnTo>
                        <a:lnTo>
                          <a:pt x="735" y="114"/>
                        </a:lnTo>
                        <a:lnTo>
                          <a:pt x="733" y="114"/>
                        </a:lnTo>
                        <a:lnTo>
                          <a:pt x="732" y="114"/>
                        </a:lnTo>
                        <a:lnTo>
                          <a:pt x="730" y="114"/>
                        </a:lnTo>
                        <a:lnTo>
                          <a:pt x="728" y="115"/>
                        </a:lnTo>
                        <a:lnTo>
                          <a:pt x="727" y="115"/>
                        </a:lnTo>
                        <a:lnTo>
                          <a:pt x="725" y="117"/>
                        </a:lnTo>
                        <a:lnTo>
                          <a:pt x="724" y="117"/>
                        </a:lnTo>
                        <a:lnTo>
                          <a:pt x="724" y="118"/>
                        </a:lnTo>
                        <a:lnTo>
                          <a:pt x="722" y="118"/>
                        </a:lnTo>
                        <a:lnTo>
                          <a:pt x="720" y="120"/>
                        </a:lnTo>
                        <a:lnTo>
                          <a:pt x="719" y="122"/>
                        </a:lnTo>
                        <a:lnTo>
                          <a:pt x="719" y="123"/>
                        </a:lnTo>
                        <a:lnTo>
                          <a:pt x="717" y="123"/>
                        </a:lnTo>
                        <a:lnTo>
                          <a:pt x="717" y="125"/>
                        </a:lnTo>
                        <a:lnTo>
                          <a:pt x="716" y="125"/>
                        </a:lnTo>
                        <a:lnTo>
                          <a:pt x="714" y="125"/>
                        </a:lnTo>
                        <a:lnTo>
                          <a:pt x="713" y="125"/>
                        </a:lnTo>
                        <a:lnTo>
                          <a:pt x="711" y="126"/>
                        </a:lnTo>
                        <a:lnTo>
                          <a:pt x="709" y="126"/>
                        </a:lnTo>
                        <a:lnTo>
                          <a:pt x="708" y="126"/>
                        </a:lnTo>
                        <a:lnTo>
                          <a:pt x="706" y="126"/>
                        </a:lnTo>
                        <a:lnTo>
                          <a:pt x="705" y="126"/>
                        </a:lnTo>
                        <a:lnTo>
                          <a:pt x="703" y="126"/>
                        </a:lnTo>
                        <a:lnTo>
                          <a:pt x="701" y="126"/>
                        </a:lnTo>
                        <a:lnTo>
                          <a:pt x="700" y="126"/>
                        </a:lnTo>
                        <a:lnTo>
                          <a:pt x="698" y="126"/>
                        </a:lnTo>
                        <a:lnTo>
                          <a:pt x="697" y="126"/>
                        </a:lnTo>
                        <a:lnTo>
                          <a:pt x="695" y="126"/>
                        </a:lnTo>
                        <a:lnTo>
                          <a:pt x="694" y="128"/>
                        </a:lnTo>
                        <a:lnTo>
                          <a:pt x="692" y="128"/>
                        </a:lnTo>
                        <a:lnTo>
                          <a:pt x="690" y="130"/>
                        </a:lnTo>
                        <a:lnTo>
                          <a:pt x="689" y="130"/>
                        </a:lnTo>
                        <a:lnTo>
                          <a:pt x="687" y="130"/>
                        </a:lnTo>
                        <a:lnTo>
                          <a:pt x="686" y="130"/>
                        </a:lnTo>
                        <a:lnTo>
                          <a:pt x="686" y="131"/>
                        </a:lnTo>
                        <a:lnTo>
                          <a:pt x="684" y="131"/>
                        </a:lnTo>
                        <a:lnTo>
                          <a:pt x="684" y="133"/>
                        </a:lnTo>
                        <a:lnTo>
                          <a:pt x="682" y="133"/>
                        </a:lnTo>
                        <a:lnTo>
                          <a:pt x="681" y="133"/>
                        </a:lnTo>
                        <a:lnTo>
                          <a:pt x="681" y="131"/>
                        </a:lnTo>
                        <a:lnTo>
                          <a:pt x="679" y="131"/>
                        </a:lnTo>
                        <a:lnTo>
                          <a:pt x="679" y="130"/>
                        </a:lnTo>
                        <a:lnTo>
                          <a:pt x="678" y="128"/>
                        </a:lnTo>
                        <a:lnTo>
                          <a:pt x="678" y="126"/>
                        </a:lnTo>
                        <a:lnTo>
                          <a:pt x="676" y="126"/>
                        </a:lnTo>
                        <a:lnTo>
                          <a:pt x="676" y="125"/>
                        </a:lnTo>
                        <a:lnTo>
                          <a:pt x="676" y="123"/>
                        </a:lnTo>
                        <a:lnTo>
                          <a:pt x="675" y="123"/>
                        </a:lnTo>
                        <a:lnTo>
                          <a:pt x="675" y="122"/>
                        </a:lnTo>
                        <a:lnTo>
                          <a:pt x="673" y="122"/>
                        </a:lnTo>
                        <a:lnTo>
                          <a:pt x="673" y="120"/>
                        </a:lnTo>
                        <a:lnTo>
                          <a:pt x="671" y="120"/>
                        </a:lnTo>
                        <a:lnTo>
                          <a:pt x="670" y="118"/>
                        </a:lnTo>
                        <a:lnTo>
                          <a:pt x="670" y="117"/>
                        </a:lnTo>
                        <a:lnTo>
                          <a:pt x="668" y="117"/>
                        </a:lnTo>
                        <a:lnTo>
                          <a:pt x="668" y="115"/>
                        </a:lnTo>
                        <a:lnTo>
                          <a:pt x="667" y="115"/>
                        </a:lnTo>
                        <a:lnTo>
                          <a:pt x="667" y="114"/>
                        </a:lnTo>
                        <a:lnTo>
                          <a:pt x="665" y="114"/>
                        </a:lnTo>
                        <a:lnTo>
                          <a:pt x="663" y="112"/>
                        </a:lnTo>
                        <a:lnTo>
                          <a:pt x="662" y="112"/>
                        </a:lnTo>
                        <a:lnTo>
                          <a:pt x="662" y="111"/>
                        </a:lnTo>
                        <a:lnTo>
                          <a:pt x="660" y="112"/>
                        </a:lnTo>
                        <a:lnTo>
                          <a:pt x="659" y="114"/>
                        </a:lnTo>
                        <a:lnTo>
                          <a:pt x="657" y="114"/>
                        </a:lnTo>
                        <a:lnTo>
                          <a:pt x="656" y="115"/>
                        </a:lnTo>
                        <a:lnTo>
                          <a:pt x="654" y="115"/>
                        </a:lnTo>
                        <a:lnTo>
                          <a:pt x="654" y="117"/>
                        </a:lnTo>
                        <a:lnTo>
                          <a:pt x="652" y="117"/>
                        </a:lnTo>
                        <a:lnTo>
                          <a:pt x="651" y="118"/>
                        </a:lnTo>
                        <a:lnTo>
                          <a:pt x="649" y="118"/>
                        </a:lnTo>
                        <a:lnTo>
                          <a:pt x="648" y="118"/>
                        </a:lnTo>
                        <a:lnTo>
                          <a:pt x="646" y="118"/>
                        </a:lnTo>
                        <a:lnTo>
                          <a:pt x="644" y="118"/>
                        </a:lnTo>
                        <a:lnTo>
                          <a:pt x="643" y="118"/>
                        </a:lnTo>
                        <a:lnTo>
                          <a:pt x="641" y="118"/>
                        </a:lnTo>
                        <a:lnTo>
                          <a:pt x="640" y="118"/>
                        </a:lnTo>
                        <a:lnTo>
                          <a:pt x="638" y="118"/>
                        </a:lnTo>
                        <a:lnTo>
                          <a:pt x="637" y="117"/>
                        </a:lnTo>
                        <a:lnTo>
                          <a:pt x="635" y="117"/>
                        </a:lnTo>
                        <a:lnTo>
                          <a:pt x="633" y="118"/>
                        </a:lnTo>
                        <a:lnTo>
                          <a:pt x="632" y="118"/>
                        </a:lnTo>
                        <a:lnTo>
                          <a:pt x="630" y="118"/>
                        </a:lnTo>
                        <a:lnTo>
                          <a:pt x="629" y="118"/>
                        </a:lnTo>
                        <a:lnTo>
                          <a:pt x="627" y="120"/>
                        </a:lnTo>
                        <a:lnTo>
                          <a:pt x="625" y="120"/>
                        </a:lnTo>
                        <a:lnTo>
                          <a:pt x="624" y="120"/>
                        </a:lnTo>
                        <a:lnTo>
                          <a:pt x="624" y="122"/>
                        </a:lnTo>
                        <a:lnTo>
                          <a:pt x="622" y="122"/>
                        </a:lnTo>
                        <a:lnTo>
                          <a:pt x="621" y="122"/>
                        </a:lnTo>
                        <a:lnTo>
                          <a:pt x="619" y="122"/>
                        </a:lnTo>
                        <a:lnTo>
                          <a:pt x="618" y="123"/>
                        </a:lnTo>
                        <a:lnTo>
                          <a:pt x="616" y="125"/>
                        </a:lnTo>
                        <a:lnTo>
                          <a:pt x="614" y="125"/>
                        </a:lnTo>
                        <a:lnTo>
                          <a:pt x="614" y="126"/>
                        </a:lnTo>
                        <a:lnTo>
                          <a:pt x="613" y="126"/>
                        </a:lnTo>
                        <a:lnTo>
                          <a:pt x="613" y="128"/>
                        </a:lnTo>
                        <a:lnTo>
                          <a:pt x="611" y="130"/>
                        </a:lnTo>
                        <a:lnTo>
                          <a:pt x="611" y="131"/>
                        </a:lnTo>
                        <a:lnTo>
                          <a:pt x="610" y="133"/>
                        </a:lnTo>
                        <a:lnTo>
                          <a:pt x="610" y="134"/>
                        </a:lnTo>
                        <a:lnTo>
                          <a:pt x="608" y="136"/>
                        </a:lnTo>
                        <a:lnTo>
                          <a:pt x="606" y="137"/>
                        </a:lnTo>
                        <a:lnTo>
                          <a:pt x="606" y="139"/>
                        </a:lnTo>
                        <a:lnTo>
                          <a:pt x="605" y="141"/>
                        </a:lnTo>
                        <a:lnTo>
                          <a:pt x="605" y="142"/>
                        </a:lnTo>
                        <a:lnTo>
                          <a:pt x="603" y="142"/>
                        </a:lnTo>
                        <a:lnTo>
                          <a:pt x="603" y="144"/>
                        </a:lnTo>
                        <a:lnTo>
                          <a:pt x="603" y="145"/>
                        </a:lnTo>
                        <a:lnTo>
                          <a:pt x="602" y="145"/>
                        </a:lnTo>
                        <a:lnTo>
                          <a:pt x="602" y="147"/>
                        </a:lnTo>
                        <a:lnTo>
                          <a:pt x="602" y="149"/>
                        </a:lnTo>
                        <a:lnTo>
                          <a:pt x="600" y="149"/>
                        </a:lnTo>
                        <a:lnTo>
                          <a:pt x="600" y="150"/>
                        </a:lnTo>
                        <a:lnTo>
                          <a:pt x="600" y="152"/>
                        </a:lnTo>
                        <a:lnTo>
                          <a:pt x="599" y="153"/>
                        </a:lnTo>
                        <a:lnTo>
                          <a:pt x="597" y="155"/>
                        </a:lnTo>
                        <a:lnTo>
                          <a:pt x="597" y="156"/>
                        </a:lnTo>
                        <a:lnTo>
                          <a:pt x="595" y="156"/>
                        </a:lnTo>
                        <a:lnTo>
                          <a:pt x="595" y="158"/>
                        </a:lnTo>
                        <a:lnTo>
                          <a:pt x="594" y="158"/>
                        </a:lnTo>
                        <a:lnTo>
                          <a:pt x="594" y="160"/>
                        </a:lnTo>
                        <a:lnTo>
                          <a:pt x="592" y="160"/>
                        </a:lnTo>
                        <a:lnTo>
                          <a:pt x="592" y="161"/>
                        </a:lnTo>
                        <a:lnTo>
                          <a:pt x="591" y="161"/>
                        </a:lnTo>
                        <a:lnTo>
                          <a:pt x="591" y="163"/>
                        </a:lnTo>
                        <a:lnTo>
                          <a:pt x="589" y="163"/>
                        </a:lnTo>
                        <a:lnTo>
                          <a:pt x="587" y="164"/>
                        </a:lnTo>
                        <a:lnTo>
                          <a:pt x="586" y="166"/>
                        </a:lnTo>
                        <a:lnTo>
                          <a:pt x="584" y="168"/>
                        </a:lnTo>
                        <a:lnTo>
                          <a:pt x="578" y="172"/>
                        </a:lnTo>
                        <a:lnTo>
                          <a:pt x="578" y="174"/>
                        </a:lnTo>
                        <a:lnTo>
                          <a:pt x="576" y="174"/>
                        </a:lnTo>
                        <a:lnTo>
                          <a:pt x="576" y="175"/>
                        </a:lnTo>
                        <a:lnTo>
                          <a:pt x="575" y="175"/>
                        </a:lnTo>
                        <a:lnTo>
                          <a:pt x="575" y="177"/>
                        </a:lnTo>
                        <a:lnTo>
                          <a:pt x="575" y="179"/>
                        </a:lnTo>
                        <a:lnTo>
                          <a:pt x="573" y="179"/>
                        </a:lnTo>
                        <a:lnTo>
                          <a:pt x="573" y="180"/>
                        </a:lnTo>
                        <a:lnTo>
                          <a:pt x="573" y="182"/>
                        </a:lnTo>
                        <a:lnTo>
                          <a:pt x="572" y="183"/>
                        </a:lnTo>
                        <a:lnTo>
                          <a:pt x="572" y="185"/>
                        </a:lnTo>
                        <a:lnTo>
                          <a:pt x="572" y="187"/>
                        </a:lnTo>
                        <a:lnTo>
                          <a:pt x="572" y="188"/>
                        </a:lnTo>
                        <a:lnTo>
                          <a:pt x="572" y="190"/>
                        </a:lnTo>
                        <a:lnTo>
                          <a:pt x="572" y="191"/>
                        </a:lnTo>
                        <a:lnTo>
                          <a:pt x="573" y="193"/>
                        </a:lnTo>
                        <a:lnTo>
                          <a:pt x="573" y="194"/>
                        </a:lnTo>
                        <a:lnTo>
                          <a:pt x="573" y="196"/>
                        </a:lnTo>
                        <a:lnTo>
                          <a:pt x="575" y="198"/>
                        </a:lnTo>
                        <a:lnTo>
                          <a:pt x="575" y="199"/>
                        </a:lnTo>
                        <a:lnTo>
                          <a:pt x="575" y="201"/>
                        </a:lnTo>
                        <a:lnTo>
                          <a:pt x="573" y="202"/>
                        </a:lnTo>
                        <a:lnTo>
                          <a:pt x="575" y="202"/>
                        </a:lnTo>
                        <a:lnTo>
                          <a:pt x="573" y="206"/>
                        </a:lnTo>
                        <a:lnTo>
                          <a:pt x="573" y="207"/>
                        </a:lnTo>
                        <a:lnTo>
                          <a:pt x="573" y="209"/>
                        </a:lnTo>
                        <a:lnTo>
                          <a:pt x="572" y="210"/>
                        </a:lnTo>
                        <a:lnTo>
                          <a:pt x="573" y="212"/>
                        </a:lnTo>
                        <a:lnTo>
                          <a:pt x="573" y="214"/>
                        </a:lnTo>
                        <a:lnTo>
                          <a:pt x="572" y="214"/>
                        </a:lnTo>
                        <a:lnTo>
                          <a:pt x="572" y="212"/>
                        </a:lnTo>
                        <a:lnTo>
                          <a:pt x="570" y="212"/>
                        </a:lnTo>
                        <a:lnTo>
                          <a:pt x="568" y="212"/>
                        </a:lnTo>
                        <a:lnTo>
                          <a:pt x="567" y="212"/>
                        </a:lnTo>
                        <a:lnTo>
                          <a:pt x="565" y="212"/>
                        </a:lnTo>
                        <a:lnTo>
                          <a:pt x="564" y="212"/>
                        </a:lnTo>
                        <a:lnTo>
                          <a:pt x="564" y="214"/>
                        </a:lnTo>
                        <a:lnTo>
                          <a:pt x="564" y="215"/>
                        </a:lnTo>
                        <a:lnTo>
                          <a:pt x="562" y="215"/>
                        </a:lnTo>
                        <a:lnTo>
                          <a:pt x="561" y="217"/>
                        </a:lnTo>
                        <a:lnTo>
                          <a:pt x="561" y="218"/>
                        </a:lnTo>
                        <a:lnTo>
                          <a:pt x="561" y="220"/>
                        </a:lnTo>
                        <a:lnTo>
                          <a:pt x="559" y="220"/>
                        </a:lnTo>
                        <a:lnTo>
                          <a:pt x="559" y="218"/>
                        </a:lnTo>
                        <a:lnTo>
                          <a:pt x="557" y="218"/>
                        </a:lnTo>
                        <a:lnTo>
                          <a:pt x="556" y="218"/>
                        </a:lnTo>
                        <a:lnTo>
                          <a:pt x="554" y="217"/>
                        </a:lnTo>
                        <a:lnTo>
                          <a:pt x="554" y="215"/>
                        </a:lnTo>
                        <a:lnTo>
                          <a:pt x="553" y="214"/>
                        </a:lnTo>
                        <a:lnTo>
                          <a:pt x="551" y="214"/>
                        </a:lnTo>
                        <a:lnTo>
                          <a:pt x="551" y="212"/>
                        </a:lnTo>
                        <a:lnTo>
                          <a:pt x="551" y="210"/>
                        </a:lnTo>
                        <a:lnTo>
                          <a:pt x="553" y="210"/>
                        </a:lnTo>
                        <a:lnTo>
                          <a:pt x="553" y="209"/>
                        </a:lnTo>
                        <a:lnTo>
                          <a:pt x="551" y="209"/>
                        </a:lnTo>
                        <a:lnTo>
                          <a:pt x="549" y="209"/>
                        </a:lnTo>
                        <a:lnTo>
                          <a:pt x="549" y="207"/>
                        </a:lnTo>
                        <a:lnTo>
                          <a:pt x="548" y="207"/>
                        </a:lnTo>
                        <a:lnTo>
                          <a:pt x="548" y="206"/>
                        </a:lnTo>
                        <a:lnTo>
                          <a:pt x="546" y="206"/>
                        </a:lnTo>
                        <a:lnTo>
                          <a:pt x="545" y="206"/>
                        </a:lnTo>
                        <a:lnTo>
                          <a:pt x="545" y="204"/>
                        </a:lnTo>
                        <a:lnTo>
                          <a:pt x="543" y="204"/>
                        </a:lnTo>
                        <a:lnTo>
                          <a:pt x="542" y="202"/>
                        </a:lnTo>
                        <a:lnTo>
                          <a:pt x="540" y="201"/>
                        </a:lnTo>
                        <a:lnTo>
                          <a:pt x="538" y="201"/>
                        </a:lnTo>
                        <a:lnTo>
                          <a:pt x="537" y="201"/>
                        </a:lnTo>
                        <a:lnTo>
                          <a:pt x="535" y="201"/>
                        </a:lnTo>
                        <a:lnTo>
                          <a:pt x="535" y="202"/>
                        </a:lnTo>
                        <a:lnTo>
                          <a:pt x="534" y="202"/>
                        </a:lnTo>
                        <a:lnTo>
                          <a:pt x="534" y="204"/>
                        </a:lnTo>
                        <a:lnTo>
                          <a:pt x="532" y="204"/>
                        </a:lnTo>
                        <a:lnTo>
                          <a:pt x="532" y="206"/>
                        </a:lnTo>
                        <a:lnTo>
                          <a:pt x="532" y="207"/>
                        </a:lnTo>
                        <a:lnTo>
                          <a:pt x="530" y="207"/>
                        </a:lnTo>
                        <a:lnTo>
                          <a:pt x="530" y="209"/>
                        </a:lnTo>
                        <a:lnTo>
                          <a:pt x="530" y="210"/>
                        </a:lnTo>
                        <a:lnTo>
                          <a:pt x="529" y="210"/>
                        </a:lnTo>
                        <a:lnTo>
                          <a:pt x="527" y="212"/>
                        </a:lnTo>
                        <a:lnTo>
                          <a:pt x="527" y="214"/>
                        </a:lnTo>
                        <a:lnTo>
                          <a:pt x="526" y="214"/>
                        </a:lnTo>
                        <a:lnTo>
                          <a:pt x="524" y="215"/>
                        </a:lnTo>
                        <a:lnTo>
                          <a:pt x="522" y="217"/>
                        </a:lnTo>
                        <a:lnTo>
                          <a:pt x="521" y="218"/>
                        </a:lnTo>
                        <a:lnTo>
                          <a:pt x="519" y="218"/>
                        </a:lnTo>
                        <a:lnTo>
                          <a:pt x="518" y="220"/>
                        </a:lnTo>
                        <a:lnTo>
                          <a:pt x="516" y="221"/>
                        </a:lnTo>
                        <a:lnTo>
                          <a:pt x="515" y="221"/>
                        </a:lnTo>
                        <a:lnTo>
                          <a:pt x="515" y="223"/>
                        </a:lnTo>
                        <a:lnTo>
                          <a:pt x="513" y="223"/>
                        </a:lnTo>
                        <a:lnTo>
                          <a:pt x="511" y="223"/>
                        </a:lnTo>
                        <a:lnTo>
                          <a:pt x="510" y="225"/>
                        </a:lnTo>
                        <a:lnTo>
                          <a:pt x="508" y="225"/>
                        </a:lnTo>
                        <a:lnTo>
                          <a:pt x="507" y="225"/>
                        </a:lnTo>
                        <a:lnTo>
                          <a:pt x="507" y="226"/>
                        </a:lnTo>
                        <a:lnTo>
                          <a:pt x="505" y="226"/>
                        </a:lnTo>
                        <a:lnTo>
                          <a:pt x="503" y="226"/>
                        </a:lnTo>
                        <a:lnTo>
                          <a:pt x="502" y="226"/>
                        </a:lnTo>
                        <a:lnTo>
                          <a:pt x="502" y="228"/>
                        </a:lnTo>
                        <a:lnTo>
                          <a:pt x="500" y="228"/>
                        </a:lnTo>
                        <a:lnTo>
                          <a:pt x="499" y="228"/>
                        </a:lnTo>
                        <a:lnTo>
                          <a:pt x="497" y="228"/>
                        </a:lnTo>
                        <a:lnTo>
                          <a:pt x="496" y="226"/>
                        </a:lnTo>
                        <a:lnTo>
                          <a:pt x="494" y="226"/>
                        </a:lnTo>
                        <a:lnTo>
                          <a:pt x="492" y="226"/>
                        </a:lnTo>
                        <a:lnTo>
                          <a:pt x="491" y="226"/>
                        </a:lnTo>
                        <a:lnTo>
                          <a:pt x="489" y="226"/>
                        </a:lnTo>
                        <a:lnTo>
                          <a:pt x="488" y="226"/>
                        </a:lnTo>
                        <a:lnTo>
                          <a:pt x="486" y="226"/>
                        </a:lnTo>
                        <a:lnTo>
                          <a:pt x="484" y="226"/>
                        </a:lnTo>
                        <a:lnTo>
                          <a:pt x="483" y="226"/>
                        </a:lnTo>
                        <a:lnTo>
                          <a:pt x="481" y="226"/>
                        </a:lnTo>
                        <a:lnTo>
                          <a:pt x="481" y="228"/>
                        </a:lnTo>
                        <a:lnTo>
                          <a:pt x="480" y="229"/>
                        </a:lnTo>
                        <a:lnTo>
                          <a:pt x="480" y="231"/>
                        </a:lnTo>
                        <a:lnTo>
                          <a:pt x="480" y="233"/>
                        </a:lnTo>
                        <a:lnTo>
                          <a:pt x="478" y="234"/>
                        </a:lnTo>
                        <a:lnTo>
                          <a:pt x="478" y="236"/>
                        </a:lnTo>
                        <a:lnTo>
                          <a:pt x="477" y="237"/>
                        </a:lnTo>
                        <a:lnTo>
                          <a:pt x="477" y="239"/>
                        </a:lnTo>
                        <a:lnTo>
                          <a:pt x="475" y="239"/>
                        </a:lnTo>
                        <a:lnTo>
                          <a:pt x="475" y="240"/>
                        </a:lnTo>
                        <a:lnTo>
                          <a:pt x="473" y="240"/>
                        </a:lnTo>
                        <a:lnTo>
                          <a:pt x="473" y="242"/>
                        </a:lnTo>
                        <a:lnTo>
                          <a:pt x="473" y="244"/>
                        </a:lnTo>
                        <a:lnTo>
                          <a:pt x="472" y="244"/>
                        </a:lnTo>
                        <a:lnTo>
                          <a:pt x="470" y="245"/>
                        </a:lnTo>
                        <a:lnTo>
                          <a:pt x="469" y="245"/>
                        </a:lnTo>
                        <a:lnTo>
                          <a:pt x="467" y="245"/>
                        </a:lnTo>
                        <a:lnTo>
                          <a:pt x="465" y="245"/>
                        </a:lnTo>
                        <a:lnTo>
                          <a:pt x="464" y="245"/>
                        </a:lnTo>
                        <a:lnTo>
                          <a:pt x="462" y="245"/>
                        </a:lnTo>
                        <a:lnTo>
                          <a:pt x="461" y="245"/>
                        </a:lnTo>
                        <a:lnTo>
                          <a:pt x="459" y="244"/>
                        </a:lnTo>
                        <a:lnTo>
                          <a:pt x="458" y="242"/>
                        </a:lnTo>
                        <a:lnTo>
                          <a:pt x="456" y="240"/>
                        </a:lnTo>
                        <a:lnTo>
                          <a:pt x="454" y="239"/>
                        </a:lnTo>
                        <a:lnTo>
                          <a:pt x="453" y="237"/>
                        </a:lnTo>
                        <a:lnTo>
                          <a:pt x="451" y="237"/>
                        </a:lnTo>
                        <a:lnTo>
                          <a:pt x="451" y="239"/>
                        </a:lnTo>
                        <a:lnTo>
                          <a:pt x="450" y="239"/>
                        </a:lnTo>
                        <a:lnTo>
                          <a:pt x="448" y="240"/>
                        </a:lnTo>
                        <a:lnTo>
                          <a:pt x="446" y="240"/>
                        </a:lnTo>
                        <a:lnTo>
                          <a:pt x="445" y="240"/>
                        </a:lnTo>
                        <a:lnTo>
                          <a:pt x="445" y="242"/>
                        </a:lnTo>
                        <a:lnTo>
                          <a:pt x="443" y="244"/>
                        </a:lnTo>
                        <a:lnTo>
                          <a:pt x="443" y="245"/>
                        </a:lnTo>
                        <a:lnTo>
                          <a:pt x="443" y="247"/>
                        </a:lnTo>
                        <a:lnTo>
                          <a:pt x="443" y="248"/>
                        </a:lnTo>
                        <a:lnTo>
                          <a:pt x="443" y="250"/>
                        </a:lnTo>
                        <a:lnTo>
                          <a:pt x="445" y="250"/>
                        </a:lnTo>
                        <a:lnTo>
                          <a:pt x="445" y="252"/>
                        </a:lnTo>
                        <a:lnTo>
                          <a:pt x="445" y="253"/>
                        </a:lnTo>
                        <a:lnTo>
                          <a:pt x="443" y="255"/>
                        </a:lnTo>
                        <a:lnTo>
                          <a:pt x="442" y="255"/>
                        </a:lnTo>
                        <a:lnTo>
                          <a:pt x="442" y="256"/>
                        </a:lnTo>
                        <a:lnTo>
                          <a:pt x="442" y="258"/>
                        </a:lnTo>
                        <a:lnTo>
                          <a:pt x="440" y="258"/>
                        </a:lnTo>
                        <a:lnTo>
                          <a:pt x="440" y="259"/>
                        </a:lnTo>
                        <a:lnTo>
                          <a:pt x="439" y="259"/>
                        </a:lnTo>
                        <a:lnTo>
                          <a:pt x="439" y="261"/>
                        </a:lnTo>
                        <a:lnTo>
                          <a:pt x="437" y="263"/>
                        </a:lnTo>
                        <a:lnTo>
                          <a:pt x="437" y="264"/>
                        </a:lnTo>
                        <a:lnTo>
                          <a:pt x="435" y="266"/>
                        </a:lnTo>
                        <a:lnTo>
                          <a:pt x="434" y="267"/>
                        </a:lnTo>
                        <a:lnTo>
                          <a:pt x="434" y="269"/>
                        </a:lnTo>
                        <a:lnTo>
                          <a:pt x="432" y="269"/>
                        </a:lnTo>
                        <a:lnTo>
                          <a:pt x="432" y="271"/>
                        </a:lnTo>
                        <a:lnTo>
                          <a:pt x="431" y="271"/>
                        </a:lnTo>
                        <a:lnTo>
                          <a:pt x="431" y="272"/>
                        </a:lnTo>
                        <a:lnTo>
                          <a:pt x="429" y="272"/>
                        </a:lnTo>
                        <a:lnTo>
                          <a:pt x="427" y="274"/>
                        </a:lnTo>
                        <a:lnTo>
                          <a:pt x="426" y="274"/>
                        </a:lnTo>
                        <a:lnTo>
                          <a:pt x="426" y="275"/>
                        </a:lnTo>
                        <a:lnTo>
                          <a:pt x="424" y="277"/>
                        </a:lnTo>
                        <a:lnTo>
                          <a:pt x="424" y="278"/>
                        </a:lnTo>
                        <a:lnTo>
                          <a:pt x="423" y="278"/>
                        </a:lnTo>
                        <a:lnTo>
                          <a:pt x="423" y="280"/>
                        </a:lnTo>
                        <a:lnTo>
                          <a:pt x="421" y="280"/>
                        </a:lnTo>
                        <a:lnTo>
                          <a:pt x="420" y="282"/>
                        </a:lnTo>
                        <a:lnTo>
                          <a:pt x="420" y="283"/>
                        </a:lnTo>
                        <a:lnTo>
                          <a:pt x="418" y="283"/>
                        </a:lnTo>
                        <a:lnTo>
                          <a:pt x="418" y="285"/>
                        </a:lnTo>
                        <a:lnTo>
                          <a:pt x="416" y="285"/>
                        </a:lnTo>
                        <a:lnTo>
                          <a:pt x="416" y="286"/>
                        </a:lnTo>
                        <a:lnTo>
                          <a:pt x="415" y="286"/>
                        </a:lnTo>
                        <a:lnTo>
                          <a:pt x="415" y="288"/>
                        </a:lnTo>
                        <a:lnTo>
                          <a:pt x="415" y="290"/>
                        </a:lnTo>
                        <a:lnTo>
                          <a:pt x="415" y="291"/>
                        </a:lnTo>
                        <a:lnTo>
                          <a:pt x="415" y="293"/>
                        </a:lnTo>
                        <a:lnTo>
                          <a:pt x="415" y="294"/>
                        </a:lnTo>
                        <a:lnTo>
                          <a:pt x="415" y="296"/>
                        </a:lnTo>
                        <a:lnTo>
                          <a:pt x="413" y="297"/>
                        </a:lnTo>
                        <a:lnTo>
                          <a:pt x="412" y="297"/>
                        </a:lnTo>
                        <a:lnTo>
                          <a:pt x="410" y="297"/>
                        </a:lnTo>
                        <a:lnTo>
                          <a:pt x="410" y="296"/>
                        </a:lnTo>
                        <a:lnTo>
                          <a:pt x="410" y="294"/>
                        </a:lnTo>
                        <a:lnTo>
                          <a:pt x="410" y="293"/>
                        </a:lnTo>
                        <a:lnTo>
                          <a:pt x="410" y="291"/>
                        </a:lnTo>
                        <a:lnTo>
                          <a:pt x="408" y="291"/>
                        </a:lnTo>
                        <a:lnTo>
                          <a:pt x="408" y="290"/>
                        </a:lnTo>
                        <a:lnTo>
                          <a:pt x="407" y="290"/>
                        </a:lnTo>
                        <a:lnTo>
                          <a:pt x="407" y="288"/>
                        </a:lnTo>
                        <a:lnTo>
                          <a:pt x="407" y="286"/>
                        </a:lnTo>
                        <a:lnTo>
                          <a:pt x="408" y="286"/>
                        </a:lnTo>
                        <a:lnTo>
                          <a:pt x="410" y="286"/>
                        </a:lnTo>
                        <a:lnTo>
                          <a:pt x="410" y="285"/>
                        </a:lnTo>
                        <a:lnTo>
                          <a:pt x="412" y="285"/>
                        </a:lnTo>
                        <a:lnTo>
                          <a:pt x="410" y="283"/>
                        </a:lnTo>
                        <a:lnTo>
                          <a:pt x="408" y="283"/>
                        </a:lnTo>
                        <a:lnTo>
                          <a:pt x="407" y="283"/>
                        </a:lnTo>
                        <a:lnTo>
                          <a:pt x="405" y="283"/>
                        </a:lnTo>
                        <a:lnTo>
                          <a:pt x="405" y="285"/>
                        </a:lnTo>
                        <a:lnTo>
                          <a:pt x="404" y="285"/>
                        </a:lnTo>
                        <a:lnTo>
                          <a:pt x="402" y="285"/>
                        </a:lnTo>
                        <a:lnTo>
                          <a:pt x="402" y="286"/>
                        </a:lnTo>
                        <a:lnTo>
                          <a:pt x="401" y="288"/>
                        </a:lnTo>
                        <a:lnTo>
                          <a:pt x="399" y="290"/>
                        </a:lnTo>
                        <a:lnTo>
                          <a:pt x="397" y="291"/>
                        </a:lnTo>
                        <a:lnTo>
                          <a:pt x="396" y="293"/>
                        </a:lnTo>
                        <a:lnTo>
                          <a:pt x="396" y="294"/>
                        </a:lnTo>
                        <a:lnTo>
                          <a:pt x="396" y="296"/>
                        </a:lnTo>
                        <a:lnTo>
                          <a:pt x="397" y="297"/>
                        </a:lnTo>
                        <a:lnTo>
                          <a:pt x="399" y="297"/>
                        </a:lnTo>
                        <a:lnTo>
                          <a:pt x="399" y="299"/>
                        </a:lnTo>
                        <a:lnTo>
                          <a:pt x="399" y="301"/>
                        </a:lnTo>
                        <a:lnTo>
                          <a:pt x="401" y="301"/>
                        </a:lnTo>
                        <a:lnTo>
                          <a:pt x="399" y="302"/>
                        </a:lnTo>
                        <a:lnTo>
                          <a:pt x="397" y="302"/>
                        </a:lnTo>
                        <a:lnTo>
                          <a:pt x="397" y="301"/>
                        </a:lnTo>
                        <a:lnTo>
                          <a:pt x="396" y="302"/>
                        </a:lnTo>
                        <a:lnTo>
                          <a:pt x="394" y="302"/>
                        </a:lnTo>
                        <a:lnTo>
                          <a:pt x="393" y="302"/>
                        </a:lnTo>
                        <a:lnTo>
                          <a:pt x="391" y="302"/>
                        </a:lnTo>
                        <a:lnTo>
                          <a:pt x="389" y="302"/>
                        </a:lnTo>
                        <a:lnTo>
                          <a:pt x="389" y="304"/>
                        </a:lnTo>
                        <a:lnTo>
                          <a:pt x="389" y="302"/>
                        </a:lnTo>
                        <a:lnTo>
                          <a:pt x="388" y="302"/>
                        </a:lnTo>
                        <a:lnTo>
                          <a:pt x="386" y="304"/>
                        </a:lnTo>
                        <a:lnTo>
                          <a:pt x="385" y="304"/>
                        </a:lnTo>
                        <a:lnTo>
                          <a:pt x="385" y="305"/>
                        </a:lnTo>
                        <a:lnTo>
                          <a:pt x="386" y="305"/>
                        </a:lnTo>
                        <a:lnTo>
                          <a:pt x="386" y="307"/>
                        </a:lnTo>
                        <a:lnTo>
                          <a:pt x="385" y="309"/>
                        </a:lnTo>
                        <a:lnTo>
                          <a:pt x="383" y="309"/>
                        </a:lnTo>
                        <a:lnTo>
                          <a:pt x="383" y="310"/>
                        </a:lnTo>
                        <a:lnTo>
                          <a:pt x="382" y="310"/>
                        </a:lnTo>
                        <a:lnTo>
                          <a:pt x="382" y="312"/>
                        </a:lnTo>
                        <a:lnTo>
                          <a:pt x="380" y="312"/>
                        </a:lnTo>
                        <a:lnTo>
                          <a:pt x="380" y="313"/>
                        </a:lnTo>
                        <a:lnTo>
                          <a:pt x="382" y="313"/>
                        </a:lnTo>
                        <a:lnTo>
                          <a:pt x="382" y="315"/>
                        </a:lnTo>
                        <a:lnTo>
                          <a:pt x="383" y="315"/>
                        </a:lnTo>
                        <a:lnTo>
                          <a:pt x="383" y="316"/>
                        </a:lnTo>
                        <a:lnTo>
                          <a:pt x="385" y="316"/>
                        </a:lnTo>
                        <a:lnTo>
                          <a:pt x="386" y="315"/>
                        </a:lnTo>
                        <a:lnTo>
                          <a:pt x="388" y="315"/>
                        </a:lnTo>
                        <a:lnTo>
                          <a:pt x="389" y="313"/>
                        </a:lnTo>
                        <a:lnTo>
                          <a:pt x="389" y="312"/>
                        </a:lnTo>
                        <a:lnTo>
                          <a:pt x="391" y="312"/>
                        </a:lnTo>
                        <a:lnTo>
                          <a:pt x="391" y="313"/>
                        </a:lnTo>
                        <a:lnTo>
                          <a:pt x="393" y="313"/>
                        </a:lnTo>
                        <a:lnTo>
                          <a:pt x="393" y="315"/>
                        </a:lnTo>
                        <a:lnTo>
                          <a:pt x="393" y="316"/>
                        </a:lnTo>
                        <a:lnTo>
                          <a:pt x="394" y="318"/>
                        </a:lnTo>
                        <a:lnTo>
                          <a:pt x="394" y="320"/>
                        </a:lnTo>
                        <a:lnTo>
                          <a:pt x="394" y="321"/>
                        </a:lnTo>
                        <a:lnTo>
                          <a:pt x="394" y="323"/>
                        </a:lnTo>
                        <a:lnTo>
                          <a:pt x="394" y="324"/>
                        </a:lnTo>
                        <a:lnTo>
                          <a:pt x="393" y="324"/>
                        </a:lnTo>
                        <a:lnTo>
                          <a:pt x="391" y="326"/>
                        </a:lnTo>
                        <a:lnTo>
                          <a:pt x="389" y="326"/>
                        </a:lnTo>
                        <a:lnTo>
                          <a:pt x="389" y="328"/>
                        </a:lnTo>
                        <a:lnTo>
                          <a:pt x="389" y="329"/>
                        </a:lnTo>
                        <a:lnTo>
                          <a:pt x="389" y="331"/>
                        </a:lnTo>
                        <a:lnTo>
                          <a:pt x="389" y="332"/>
                        </a:lnTo>
                        <a:lnTo>
                          <a:pt x="388" y="332"/>
                        </a:lnTo>
                        <a:lnTo>
                          <a:pt x="388" y="334"/>
                        </a:lnTo>
                        <a:lnTo>
                          <a:pt x="386" y="334"/>
                        </a:lnTo>
                        <a:lnTo>
                          <a:pt x="385" y="334"/>
                        </a:lnTo>
                        <a:lnTo>
                          <a:pt x="383" y="335"/>
                        </a:lnTo>
                        <a:lnTo>
                          <a:pt x="383" y="337"/>
                        </a:lnTo>
                        <a:lnTo>
                          <a:pt x="385" y="337"/>
                        </a:lnTo>
                        <a:lnTo>
                          <a:pt x="383" y="339"/>
                        </a:lnTo>
                        <a:lnTo>
                          <a:pt x="380" y="340"/>
                        </a:lnTo>
                        <a:lnTo>
                          <a:pt x="378" y="339"/>
                        </a:lnTo>
                        <a:lnTo>
                          <a:pt x="377" y="339"/>
                        </a:lnTo>
                        <a:lnTo>
                          <a:pt x="377" y="342"/>
                        </a:lnTo>
                        <a:lnTo>
                          <a:pt x="378" y="343"/>
                        </a:lnTo>
                        <a:lnTo>
                          <a:pt x="382" y="347"/>
                        </a:lnTo>
                        <a:lnTo>
                          <a:pt x="380" y="348"/>
                        </a:lnTo>
                        <a:lnTo>
                          <a:pt x="380" y="350"/>
                        </a:lnTo>
                        <a:lnTo>
                          <a:pt x="380" y="351"/>
                        </a:lnTo>
                        <a:lnTo>
                          <a:pt x="378" y="354"/>
                        </a:lnTo>
                        <a:lnTo>
                          <a:pt x="378" y="353"/>
                        </a:lnTo>
                        <a:lnTo>
                          <a:pt x="377" y="353"/>
                        </a:lnTo>
                        <a:lnTo>
                          <a:pt x="374" y="351"/>
                        </a:lnTo>
                        <a:lnTo>
                          <a:pt x="374" y="353"/>
                        </a:lnTo>
                        <a:lnTo>
                          <a:pt x="372" y="353"/>
                        </a:lnTo>
                        <a:lnTo>
                          <a:pt x="372" y="358"/>
                        </a:lnTo>
                        <a:lnTo>
                          <a:pt x="372" y="359"/>
                        </a:lnTo>
                        <a:lnTo>
                          <a:pt x="372" y="361"/>
                        </a:lnTo>
                        <a:lnTo>
                          <a:pt x="370" y="362"/>
                        </a:lnTo>
                        <a:lnTo>
                          <a:pt x="372" y="362"/>
                        </a:lnTo>
                        <a:lnTo>
                          <a:pt x="372" y="364"/>
                        </a:lnTo>
                        <a:lnTo>
                          <a:pt x="370" y="364"/>
                        </a:lnTo>
                        <a:lnTo>
                          <a:pt x="366" y="364"/>
                        </a:lnTo>
                        <a:lnTo>
                          <a:pt x="364" y="364"/>
                        </a:lnTo>
                        <a:lnTo>
                          <a:pt x="359" y="364"/>
                        </a:lnTo>
                        <a:lnTo>
                          <a:pt x="359" y="361"/>
                        </a:lnTo>
                        <a:lnTo>
                          <a:pt x="359" y="359"/>
                        </a:lnTo>
                        <a:lnTo>
                          <a:pt x="356" y="361"/>
                        </a:lnTo>
                        <a:lnTo>
                          <a:pt x="355" y="361"/>
                        </a:lnTo>
                        <a:lnTo>
                          <a:pt x="355" y="359"/>
                        </a:lnTo>
                        <a:lnTo>
                          <a:pt x="353" y="358"/>
                        </a:lnTo>
                        <a:lnTo>
                          <a:pt x="353" y="359"/>
                        </a:lnTo>
                        <a:lnTo>
                          <a:pt x="351" y="361"/>
                        </a:lnTo>
                        <a:lnTo>
                          <a:pt x="351" y="362"/>
                        </a:lnTo>
                        <a:lnTo>
                          <a:pt x="351" y="364"/>
                        </a:lnTo>
                        <a:lnTo>
                          <a:pt x="353" y="367"/>
                        </a:lnTo>
                        <a:lnTo>
                          <a:pt x="353" y="369"/>
                        </a:lnTo>
                        <a:lnTo>
                          <a:pt x="351" y="370"/>
                        </a:lnTo>
                        <a:lnTo>
                          <a:pt x="350" y="372"/>
                        </a:lnTo>
                        <a:lnTo>
                          <a:pt x="347" y="373"/>
                        </a:lnTo>
                        <a:lnTo>
                          <a:pt x="345" y="375"/>
                        </a:lnTo>
                        <a:lnTo>
                          <a:pt x="347" y="377"/>
                        </a:lnTo>
                        <a:lnTo>
                          <a:pt x="347" y="375"/>
                        </a:lnTo>
                        <a:lnTo>
                          <a:pt x="348" y="377"/>
                        </a:lnTo>
                        <a:lnTo>
                          <a:pt x="348" y="380"/>
                        </a:lnTo>
                        <a:lnTo>
                          <a:pt x="347" y="380"/>
                        </a:lnTo>
                        <a:lnTo>
                          <a:pt x="347" y="383"/>
                        </a:lnTo>
                        <a:lnTo>
                          <a:pt x="345" y="383"/>
                        </a:lnTo>
                        <a:lnTo>
                          <a:pt x="343" y="381"/>
                        </a:lnTo>
                        <a:lnTo>
                          <a:pt x="342" y="381"/>
                        </a:lnTo>
                        <a:lnTo>
                          <a:pt x="342" y="383"/>
                        </a:lnTo>
                        <a:lnTo>
                          <a:pt x="342" y="388"/>
                        </a:lnTo>
                        <a:lnTo>
                          <a:pt x="345" y="391"/>
                        </a:lnTo>
                        <a:lnTo>
                          <a:pt x="345" y="393"/>
                        </a:lnTo>
                        <a:lnTo>
                          <a:pt x="347" y="393"/>
                        </a:lnTo>
                        <a:lnTo>
                          <a:pt x="348" y="391"/>
                        </a:lnTo>
                        <a:lnTo>
                          <a:pt x="348" y="389"/>
                        </a:lnTo>
                        <a:lnTo>
                          <a:pt x="348" y="388"/>
                        </a:lnTo>
                        <a:lnTo>
                          <a:pt x="350" y="388"/>
                        </a:lnTo>
                        <a:lnTo>
                          <a:pt x="351" y="388"/>
                        </a:lnTo>
                        <a:lnTo>
                          <a:pt x="350" y="391"/>
                        </a:lnTo>
                        <a:lnTo>
                          <a:pt x="350" y="393"/>
                        </a:lnTo>
                        <a:lnTo>
                          <a:pt x="350" y="396"/>
                        </a:lnTo>
                        <a:lnTo>
                          <a:pt x="351" y="396"/>
                        </a:lnTo>
                        <a:lnTo>
                          <a:pt x="351" y="397"/>
                        </a:lnTo>
                        <a:lnTo>
                          <a:pt x="350" y="399"/>
                        </a:lnTo>
                        <a:lnTo>
                          <a:pt x="350" y="400"/>
                        </a:lnTo>
                        <a:lnTo>
                          <a:pt x="351" y="402"/>
                        </a:lnTo>
                        <a:lnTo>
                          <a:pt x="353" y="405"/>
                        </a:lnTo>
                        <a:lnTo>
                          <a:pt x="353" y="407"/>
                        </a:lnTo>
                        <a:lnTo>
                          <a:pt x="351" y="408"/>
                        </a:lnTo>
                        <a:lnTo>
                          <a:pt x="348" y="408"/>
                        </a:lnTo>
                        <a:lnTo>
                          <a:pt x="347" y="408"/>
                        </a:lnTo>
                        <a:lnTo>
                          <a:pt x="345" y="405"/>
                        </a:lnTo>
                        <a:lnTo>
                          <a:pt x="343" y="405"/>
                        </a:lnTo>
                        <a:lnTo>
                          <a:pt x="342" y="405"/>
                        </a:lnTo>
                        <a:lnTo>
                          <a:pt x="340" y="405"/>
                        </a:lnTo>
                        <a:lnTo>
                          <a:pt x="339" y="405"/>
                        </a:lnTo>
                        <a:lnTo>
                          <a:pt x="337" y="405"/>
                        </a:lnTo>
                        <a:lnTo>
                          <a:pt x="337" y="408"/>
                        </a:lnTo>
                        <a:lnTo>
                          <a:pt x="337" y="412"/>
                        </a:lnTo>
                        <a:lnTo>
                          <a:pt x="336" y="412"/>
                        </a:lnTo>
                        <a:lnTo>
                          <a:pt x="334" y="412"/>
                        </a:lnTo>
                        <a:lnTo>
                          <a:pt x="332" y="410"/>
                        </a:lnTo>
                        <a:lnTo>
                          <a:pt x="331" y="410"/>
                        </a:lnTo>
                        <a:lnTo>
                          <a:pt x="331" y="408"/>
                        </a:lnTo>
                        <a:lnTo>
                          <a:pt x="331" y="407"/>
                        </a:lnTo>
                        <a:lnTo>
                          <a:pt x="331" y="405"/>
                        </a:lnTo>
                        <a:lnTo>
                          <a:pt x="331" y="404"/>
                        </a:lnTo>
                        <a:lnTo>
                          <a:pt x="329" y="404"/>
                        </a:lnTo>
                        <a:lnTo>
                          <a:pt x="328" y="402"/>
                        </a:lnTo>
                        <a:lnTo>
                          <a:pt x="326" y="402"/>
                        </a:lnTo>
                        <a:lnTo>
                          <a:pt x="326" y="404"/>
                        </a:lnTo>
                        <a:lnTo>
                          <a:pt x="324" y="404"/>
                        </a:lnTo>
                        <a:lnTo>
                          <a:pt x="324" y="405"/>
                        </a:lnTo>
                        <a:lnTo>
                          <a:pt x="323" y="408"/>
                        </a:lnTo>
                        <a:lnTo>
                          <a:pt x="321" y="410"/>
                        </a:lnTo>
                        <a:lnTo>
                          <a:pt x="321" y="412"/>
                        </a:lnTo>
                        <a:lnTo>
                          <a:pt x="321" y="415"/>
                        </a:lnTo>
                        <a:lnTo>
                          <a:pt x="321" y="416"/>
                        </a:lnTo>
                        <a:lnTo>
                          <a:pt x="320" y="416"/>
                        </a:lnTo>
                        <a:lnTo>
                          <a:pt x="318" y="415"/>
                        </a:lnTo>
                        <a:lnTo>
                          <a:pt x="317" y="413"/>
                        </a:lnTo>
                        <a:lnTo>
                          <a:pt x="315" y="410"/>
                        </a:lnTo>
                        <a:lnTo>
                          <a:pt x="313" y="408"/>
                        </a:lnTo>
                        <a:lnTo>
                          <a:pt x="312" y="408"/>
                        </a:lnTo>
                        <a:lnTo>
                          <a:pt x="312" y="407"/>
                        </a:lnTo>
                        <a:lnTo>
                          <a:pt x="310" y="407"/>
                        </a:lnTo>
                        <a:lnTo>
                          <a:pt x="309" y="407"/>
                        </a:lnTo>
                        <a:lnTo>
                          <a:pt x="307" y="407"/>
                        </a:lnTo>
                        <a:lnTo>
                          <a:pt x="307" y="408"/>
                        </a:lnTo>
                        <a:lnTo>
                          <a:pt x="309" y="412"/>
                        </a:lnTo>
                        <a:lnTo>
                          <a:pt x="310" y="412"/>
                        </a:lnTo>
                        <a:lnTo>
                          <a:pt x="310" y="413"/>
                        </a:lnTo>
                        <a:lnTo>
                          <a:pt x="310" y="415"/>
                        </a:lnTo>
                        <a:lnTo>
                          <a:pt x="310" y="416"/>
                        </a:lnTo>
                        <a:lnTo>
                          <a:pt x="309" y="418"/>
                        </a:lnTo>
                        <a:lnTo>
                          <a:pt x="307" y="419"/>
                        </a:lnTo>
                        <a:lnTo>
                          <a:pt x="305" y="419"/>
                        </a:lnTo>
                        <a:lnTo>
                          <a:pt x="304" y="419"/>
                        </a:lnTo>
                        <a:lnTo>
                          <a:pt x="302" y="418"/>
                        </a:lnTo>
                        <a:lnTo>
                          <a:pt x="301" y="418"/>
                        </a:lnTo>
                        <a:lnTo>
                          <a:pt x="299" y="419"/>
                        </a:lnTo>
                        <a:lnTo>
                          <a:pt x="299" y="421"/>
                        </a:lnTo>
                        <a:lnTo>
                          <a:pt x="301" y="421"/>
                        </a:lnTo>
                        <a:lnTo>
                          <a:pt x="301" y="423"/>
                        </a:lnTo>
                        <a:lnTo>
                          <a:pt x="302" y="424"/>
                        </a:lnTo>
                        <a:lnTo>
                          <a:pt x="304" y="426"/>
                        </a:lnTo>
                        <a:lnTo>
                          <a:pt x="305" y="426"/>
                        </a:lnTo>
                        <a:lnTo>
                          <a:pt x="307" y="427"/>
                        </a:lnTo>
                        <a:lnTo>
                          <a:pt x="309" y="429"/>
                        </a:lnTo>
                        <a:lnTo>
                          <a:pt x="309" y="431"/>
                        </a:lnTo>
                        <a:lnTo>
                          <a:pt x="309" y="432"/>
                        </a:lnTo>
                        <a:lnTo>
                          <a:pt x="310" y="432"/>
                        </a:lnTo>
                        <a:lnTo>
                          <a:pt x="312" y="434"/>
                        </a:lnTo>
                        <a:lnTo>
                          <a:pt x="312" y="435"/>
                        </a:lnTo>
                        <a:lnTo>
                          <a:pt x="312" y="437"/>
                        </a:lnTo>
                        <a:lnTo>
                          <a:pt x="310" y="437"/>
                        </a:lnTo>
                        <a:lnTo>
                          <a:pt x="309" y="437"/>
                        </a:lnTo>
                        <a:lnTo>
                          <a:pt x="309" y="438"/>
                        </a:lnTo>
                        <a:lnTo>
                          <a:pt x="307" y="438"/>
                        </a:lnTo>
                        <a:lnTo>
                          <a:pt x="304" y="438"/>
                        </a:lnTo>
                        <a:lnTo>
                          <a:pt x="304" y="440"/>
                        </a:lnTo>
                        <a:lnTo>
                          <a:pt x="302" y="440"/>
                        </a:lnTo>
                        <a:lnTo>
                          <a:pt x="301" y="440"/>
                        </a:lnTo>
                        <a:lnTo>
                          <a:pt x="299" y="442"/>
                        </a:lnTo>
                        <a:lnTo>
                          <a:pt x="298" y="442"/>
                        </a:lnTo>
                        <a:lnTo>
                          <a:pt x="296" y="442"/>
                        </a:lnTo>
                        <a:lnTo>
                          <a:pt x="294" y="442"/>
                        </a:lnTo>
                        <a:lnTo>
                          <a:pt x="293" y="442"/>
                        </a:lnTo>
                        <a:lnTo>
                          <a:pt x="291" y="442"/>
                        </a:lnTo>
                        <a:lnTo>
                          <a:pt x="290" y="442"/>
                        </a:lnTo>
                        <a:lnTo>
                          <a:pt x="288" y="440"/>
                        </a:lnTo>
                        <a:lnTo>
                          <a:pt x="288" y="438"/>
                        </a:lnTo>
                        <a:lnTo>
                          <a:pt x="288" y="437"/>
                        </a:lnTo>
                        <a:lnTo>
                          <a:pt x="288" y="434"/>
                        </a:lnTo>
                        <a:lnTo>
                          <a:pt x="288" y="431"/>
                        </a:lnTo>
                        <a:lnTo>
                          <a:pt x="286" y="431"/>
                        </a:lnTo>
                        <a:lnTo>
                          <a:pt x="285" y="431"/>
                        </a:lnTo>
                        <a:lnTo>
                          <a:pt x="280" y="432"/>
                        </a:lnTo>
                        <a:lnTo>
                          <a:pt x="279" y="432"/>
                        </a:lnTo>
                        <a:lnTo>
                          <a:pt x="277" y="434"/>
                        </a:lnTo>
                        <a:lnTo>
                          <a:pt x="275" y="434"/>
                        </a:lnTo>
                        <a:lnTo>
                          <a:pt x="275" y="432"/>
                        </a:lnTo>
                        <a:lnTo>
                          <a:pt x="274" y="431"/>
                        </a:lnTo>
                        <a:lnTo>
                          <a:pt x="272" y="429"/>
                        </a:lnTo>
                        <a:lnTo>
                          <a:pt x="271" y="431"/>
                        </a:lnTo>
                        <a:lnTo>
                          <a:pt x="269" y="432"/>
                        </a:lnTo>
                        <a:lnTo>
                          <a:pt x="267" y="434"/>
                        </a:lnTo>
                        <a:lnTo>
                          <a:pt x="266" y="435"/>
                        </a:lnTo>
                        <a:lnTo>
                          <a:pt x="266" y="437"/>
                        </a:lnTo>
                        <a:lnTo>
                          <a:pt x="264" y="437"/>
                        </a:lnTo>
                        <a:lnTo>
                          <a:pt x="264" y="435"/>
                        </a:lnTo>
                        <a:lnTo>
                          <a:pt x="263" y="435"/>
                        </a:lnTo>
                        <a:lnTo>
                          <a:pt x="263" y="437"/>
                        </a:lnTo>
                        <a:lnTo>
                          <a:pt x="261" y="437"/>
                        </a:lnTo>
                        <a:lnTo>
                          <a:pt x="261" y="438"/>
                        </a:lnTo>
                        <a:lnTo>
                          <a:pt x="260" y="442"/>
                        </a:lnTo>
                        <a:lnTo>
                          <a:pt x="261" y="442"/>
                        </a:lnTo>
                        <a:lnTo>
                          <a:pt x="261" y="443"/>
                        </a:lnTo>
                        <a:lnTo>
                          <a:pt x="261" y="446"/>
                        </a:lnTo>
                        <a:lnTo>
                          <a:pt x="261" y="448"/>
                        </a:lnTo>
                        <a:lnTo>
                          <a:pt x="258" y="450"/>
                        </a:lnTo>
                        <a:lnTo>
                          <a:pt x="255" y="453"/>
                        </a:lnTo>
                        <a:lnTo>
                          <a:pt x="255" y="454"/>
                        </a:lnTo>
                        <a:lnTo>
                          <a:pt x="253" y="454"/>
                        </a:lnTo>
                        <a:lnTo>
                          <a:pt x="252" y="456"/>
                        </a:lnTo>
                        <a:lnTo>
                          <a:pt x="250" y="459"/>
                        </a:lnTo>
                        <a:lnTo>
                          <a:pt x="250" y="462"/>
                        </a:lnTo>
                        <a:lnTo>
                          <a:pt x="248" y="464"/>
                        </a:lnTo>
                        <a:lnTo>
                          <a:pt x="248" y="465"/>
                        </a:lnTo>
                        <a:lnTo>
                          <a:pt x="247" y="465"/>
                        </a:lnTo>
                        <a:lnTo>
                          <a:pt x="244" y="469"/>
                        </a:lnTo>
                        <a:lnTo>
                          <a:pt x="242" y="472"/>
                        </a:lnTo>
                        <a:lnTo>
                          <a:pt x="242" y="473"/>
                        </a:lnTo>
                        <a:lnTo>
                          <a:pt x="242" y="475"/>
                        </a:lnTo>
                        <a:lnTo>
                          <a:pt x="244" y="476"/>
                        </a:lnTo>
                        <a:lnTo>
                          <a:pt x="245" y="476"/>
                        </a:lnTo>
                        <a:lnTo>
                          <a:pt x="245" y="478"/>
                        </a:lnTo>
                        <a:lnTo>
                          <a:pt x="244" y="480"/>
                        </a:lnTo>
                        <a:lnTo>
                          <a:pt x="241" y="483"/>
                        </a:lnTo>
                        <a:lnTo>
                          <a:pt x="237" y="483"/>
                        </a:lnTo>
                        <a:lnTo>
                          <a:pt x="237" y="484"/>
                        </a:lnTo>
                        <a:lnTo>
                          <a:pt x="236" y="486"/>
                        </a:lnTo>
                        <a:lnTo>
                          <a:pt x="234" y="486"/>
                        </a:lnTo>
                        <a:lnTo>
                          <a:pt x="233" y="486"/>
                        </a:lnTo>
                        <a:lnTo>
                          <a:pt x="231" y="486"/>
                        </a:lnTo>
                        <a:lnTo>
                          <a:pt x="231" y="488"/>
                        </a:lnTo>
                        <a:lnTo>
                          <a:pt x="231" y="489"/>
                        </a:lnTo>
                        <a:lnTo>
                          <a:pt x="233" y="489"/>
                        </a:lnTo>
                        <a:lnTo>
                          <a:pt x="234" y="491"/>
                        </a:lnTo>
                        <a:lnTo>
                          <a:pt x="236" y="492"/>
                        </a:lnTo>
                        <a:lnTo>
                          <a:pt x="234" y="494"/>
                        </a:lnTo>
                        <a:lnTo>
                          <a:pt x="233" y="495"/>
                        </a:lnTo>
                        <a:lnTo>
                          <a:pt x="231" y="495"/>
                        </a:lnTo>
                        <a:lnTo>
                          <a:pt x="229" y="497"/>
                        </a:lnTo>
                        <a:lnTo>
                          <a:pt x="233" y="500"/>
                        </a:lnTo>
                        <a:lnTo>
                          <a:pt x="233" y="502"/>
                        </a:lnTo>
                        <a:lnTo>
                          <a:pt x="234" y="502"/>
                        </a:lnTo>
                        <a:lnTo>
                          <a:pt x="236" y="500"/>
                        </a:lnTo>
                        <a:lnTo>
                          <a:pt x="237" y="500"/>
                        </a:lnTo>
                        <a:lnTo>
                          <a:pt x="239" y="503"/>
                        </a:lnTo>
                        <a:lnTo>
                          <a:pt x="237" y="505"/>
                        </a:lnTo>
                        <a:lnTo>
                          <a:pt x="236" y="505"/>
                        </a:lnTo>
                        <a:lnTo>
                          <a:pt x="234" y="505"/>
                        </a:lnTo>
                        <a:lnTo>
                          <a:pt x="233" y="503"/>
                        </a:lnTo>
                        <a:lnTo>
                          <a:pt x="231" y="503"/>
                        </a:lnTo>
                        <a:lnTo>
                          <a:pt x="229" y="503"/>
                        </a:lnTo>
                        <a:lnTo>
                          <a:pt x="228" y="505"/>
                        </a:lnTo>
                        <a:lnTo>
                          <a:pt x="228" y="503"/>
                        </a:lnTo>
                        <a:lnTo>
                          <a:pt x="226" y="503"/>
                        </a:lnTo>
                        <a:lnTo>
                          <a:pt x="226" y="505"/>
                        </a:lnTo>
                        <a:lnTo>
                          <a:pt x="225" y="507"/>
                        </a:lnTo>
                        <a:lnTo>
                          <a:pt x="225" y="508"/>
                        </a:lnTo>
                        <a:lnTo>
                          <a:pt x="226" y="508"/>
                        </a:lnTo>
                        <a:lnTo>
                          <a:pt x="226" y="510"/>
                        </a:lnTo>
                        <a:lnTo>
                          <a:pt x="228" y="510"/>
                        </a:lnTo>
                        <a:lnTo>
                          <a:pt x="228" y="511"/>
                        </a:lnTo>
                        <a:lnTo>
                          <a:pt x="228" y="513"/>
                        </a:lnTo>
                        <a:lnTo>
                          <a:pt x="229" y="514"/>
                        </a:lnTo>
                        <a:lnTo>
                          <a:pt x="229" y="516"/>
                        </a:lnTo>
                        <a:lnTo>
                          <a:pt x="228" y="518"/>
                        </a:lnTo>
                        <a:lnTo>
                          <a:pt x="225" y="521"/>
                        </a:lnTo>
                        <a:lnTo>
                          <a:pt x="223" y="519"/>
                        </a:lnTo>
                        <a:lnTo>
                          <a:pt x="222" y="519"/>
                        </a:lnTo>
                        <a:lnTo>
                          <a:pt x="222" y="521"/>
                        </a:lnTo>
                        <a:lnTo>
                          <a:pt x="220" y="521"/>
                        </a:lnTo>
                        <a:lnTo>
                          <a:pt x="220" y="522"/>
                        </a:lnTo>
                        <a:lnTo>
                          <a:pt x="220" y="524"/>
                        </a:lnTo>
                        <a:lnTo>
                          <a:pt x="218" y="524"/>
                        </a:lnTo>
                        <a:lnTo>
                          <a:pt x="217" y="524"/>
                        </a:lnTo>
                        <a:lnTo>
                          <a:pt x="215" y="524"/>
                        </a:lnTo>
                        <a:lnTo>
                          <a:pt x="214" y="522"/>
                        </a:lnTo>
                        <a:lnTo>
                          <a:pt x="212" y="522"/>
                        </a:lnTo>
                        <a:lnTo>
                          <a:pt x="210" y="522"/>
                        </a:lnTo>
                        <a:lnTo>
                          <a:pt x="210" y="524"/>
                        </a:lnTo>
                        <a:lnTo>
                          <a:pt x="209" y="524"/>
                        </a:lnTo>
                        <a:lnTo>
                          <a:pt x="207" y="526"/>
                        </a:lnTo>
                        <a:lnTo>
                          <a:pt x="206" y="524"/>
                        </a:lnTo>
                        <a:lnTo>
                          <a:pt x="204" y="524"/>
                        </a:lnTo>
                        <a:lnTo>
                          <a:pt x="203" y="524"/>
                        </a:lnTo>
                        <a:lnTo>
                          <a:pt x="201" y="524"/>
                        </a:lnTo>
                        <a:lnTo>
                          <a:pt x="199" y="526"/>
                        </a:lnTo>
                        <a:lnTo>
                          <a:pt x="196" y="526"/>
                        </a:lnTo>
                        <a:lnTo>
                          <a:pt x="196" y="527"/>
                        </a:lnTo>
                        <a:lnTo>
                          <a:pt x="196" y="529"/>
                        </a:lnTo>
                        <a:lnTo>
                          <a:pt x="196" y="530"/>
                        </a:lnTo>
                        <a:lnTo>
                          <a:pt x="195" y="530"/>
                        </a:lnTo>
                        <a:lnTo>
                          <a:pt x="193" y="530"/>
                        </a:lnTo>
                        <a:lnTo>
                          <a:pt x="191" y="530"/>
                        </a:lnTo>
                        <a:lnTo>
                          <a:pt x="190" y="530"/>
                        </a:lnTo>
                        <a:lnTo>
                          <a:pt x="188" y="530"/>
                        </a:lnTo>
                        <a:lnTo>
                          <a:pt x="190" y="532"/>
                        </a:lnTo>
                        <a:lnTo>
                          <a:pt x="190" y="533"/>
                        </a:lnTo>
                        <a:lnTo>
                          <a:pt x="188" y="535"/>
                        </a:lnTo>
                        <a:lnTo>
                          <a:pt x="187" y="537"/>
                        </a:lnTo>
                        <a:lnTo>
                          <a:pt x="187" y="540"/>
                        </a:lnTo>
                        <a:lnTo>
                          <a:pt x="185" y="541"/>
                        </a:lnTo>
                        <a:lnTo>
                          <a:pt x="184" y="541"/>
                        </a:lnTo>
                        <a:lnTo>
                          <a:pt x="182" y="541"/>
                        </a:lnTo>
                        <a:lnTo>
                          <a:pt x="182" y="540"/>
                        </a:lnTo>
                        <a:lnTo>
                          <a:pt x="180" y="538"/>
                        </a:lnTo>
                        <a:lnTo>
                          <a:pt x="182" y="537"/>
                        </a:lnTo>
                        <a:lnTo>
                          <a:pt x="182" y="535"/>
                        </a:lnTo>
                        <a:lnTo>
                          <a:pt x="184" y="532"/>
                        </a:lnTo>
                        <a:lnTo>
                          <a:pt x="184" y="530"/>
                        </a:lnTo>
                        <a:lnTo>
                          <a:pt x="180" y="527"/>
                        </a:lnTo>
                        <a:lnTo>
                          <a:pt x="180" y="526"/>
                        </a:lnTo>
                        <a:lnTo>
                          <a:pt x="179" y="526"/>
                        </a:lnTo>
                        <a:lnTo>
                          <a:pt x="177" y="526"/>
                        </a:lnTo>
                        <a:lnTo>
                          <a:pt x="176" y="526"/>
                        </a:lnTo>
                        <a:lnTo>
                          <a:pt x="174" y="524"/>
                        </a:lnTo>
                        <a:lnTo>
                          <a:pt x="172" y="522"/>
                        </a:lnTo>
                        <a:lnTo>
                          <a:pt x="172" y="521"/>
                        </a:lnTo>
                        <a:lnTo>
                          <a:pt x="171" y="519"/>
                        </a:lnTo>
                        <a:lnTo>
                          <a:pt x="169" y="519"/>
                        </a:lnTo>
                        <a:lnTo>
                          <a:pt x="168" y="518"/>
                        </a:lnTo>
                        <a:lnTo>
                          <a:pt x="168" y="516"/>
                        </a:lnTo>
                        <a:lnTo>
                          <a:pt x="168" y="514"/>
                        </a:lnTo>
                        <a:lnTo>
                          <a:pt x="166" y="514"/>
                        </a:lnTo>
                        <a:lnTo>
                          <a:pt x="165" y="514"/>
                        </a:lnTo>
                        <a:lnTo>
                          <a:pt x="163" y="514"/>
                        </a:lnTo>
                        <a:lnTo>
                          <a:pt x="161" y="514"/>
                        </a:lnTo>
                        <a:lnTo>
                          <a:pt x="160" y="514"/>
                        </a:lnTo>
                        <a:lnTo>
                          <a:pt x="158" y="514"/>
                        </a:lnTo>
                        <a:lnTo>
                          <a:pt x="157" y="514"/>
                        </a:lnTo>
                        <a:lnTo>
                          <a:pt x="155" y="514"/>
                        </a:lnTo>
                        <a:lnTo>
                          <a:pt x="153" y="514"/>
                        </a:lnTo>
                        <a:lnTo>
                          <a:pt x="153" y="516"/>
                        </a:lnTo>
                        <a:lnTo>
                          <a:pt x="150" y="516"/>
                        </a:lnTo>
                        <a:lnTo>
                          <a:pt x="149" y="516"/>
                        </a:lnTo>
                        <a:lnTo>
                          <a:pt x="149" y="514"/>
                        </a:lnTo>
                        <a:lnTo>
                          <a:pt x="145" y="514"/>
                        </a:lnTo>
                        <a:lnTo>
                          <a:pt x="144" y="514"/>
                        </a:lnTo>
                        <a:lnTo>
                          <a:pt x="142" y="513"/>
                        </a:lnTo>
                        <a:lnTo>
                          <a:pt x="141" y="511"/>
                        </a:lnTo>
                        <a:lnTo>
                          <a:pt x="141" y="510"/>
                        </a:lnTo>
                        <a:lnTo>
                          <a:pt x="141" y="507"/>
                        </a:lnTo>
                        <a:lnTo>
                          <a:pt x="139" y="505"/>
                        </a:lnTo>
                        <a:lnTo>
                          <a:pt x="138" y="505"/>
                        </a:lnTo>
                        <a:lnTo>
                          <a:pt x="138" y="507"/>
                        </a:lnTo>
                        <a:lnTo>
                          <a:pt x="134" y="505"/>
                        </a:lnTo>
                        <a:lnTo>
                          <a:pt x="133" y="505"/>
                        </a:lnTo>
                        <a:lnTo>
                          <a:pt x="133" y="507"/>
                        </a:lnTo>
                        <a:lnTo>
                          <a:pt x="131" y="507"/>
                        </a:lnTo>
                        <a:lnTo>
                          <a:pt x="130" y="507"/>
                        </a:lnTo>
                        <a:lnTo>
                          <a:pt x="130" y="505"/>
                        </a:lnTo>
                        <a:lnTo>
                          <a:pt x="128" y="505"/>
                        </a:lnTo>
                        <a:lnTo>
                          <a:pt x="126" y="503"/>
                        </a:lnTo>
                        <a:lnTo>
                          <a:pt x="125" y="503"/>
                        </a:lnTo>
                        <a:lnTo>
                          <a:pt x="125" y="502"/>
                        </a:lnTo>
                        <a:lnTo>
                          <a:pt x="125" y="500"/>
                        </a:lnTo>
                        <a:lnTo>
                          <a:pt x="125" y="499"/>
                        </a:lnTo>
                        <a:lnTo>
                          <a:pt x="123" y="497"/>
                        </a:lnTo>
                        <a:lnTo>
                          <a:pt x="122" y="497"/>
                        </a:lnTo>
                        <a:lnTo>
                          <a:pt x="122" y="499"/>
                        </a:lnTo>
                        <a:lnTo>
                          <a:pt x="122" y="500"/>
                        </a:lnTo>
                        <a:lnTo>
                          <a:pt x="120" y="502"/>
                        </a:lnTo>
                        <a:lnTo>
                          <a:pt x="120" y="500"/>
                        </a:lnTo>
                        <a:lnTo>
                          <a:pt x="119" y="500"/>
                        </a:lnTo>
                        <a:lnTo>
                          <a:pt x="117" y="500"/>
                        </a:lnTo>
                        <a:lnTo>
                          <a:pt x="117" y="502"/>
                        </a:lnTo>
                        <a:lnTo>
                          <a:pt x="115" y="502"/>
                        </a:lnTo>
                        <a:lnTo>
                          <a:pt x="115" y="500"/>
                        </a:lnTo>
                        <a:lnTo>
                          <a:pt x="115" y="499"/>
                        </a:lnTo>
                        <a:lnTo>
                          <a:pt x="114" y="499"/>
                        </a:lnTo>
                        <a:lnTo>
                          <a:pt x="114" y="500"/>
                        </a:lnTo>
                        <a:lnTo>
                          <a:pt x="112" y="500"/>
                        </a:lnTo>
                        <a:lnTo>
                          <a:pt x="112" y="499"/>
                        </a:lnTo>
                        <a:lnTo>
                          <a:pt x="111" y="499"/>
                        </a:lnTo>
                        <a:lnTo>
                          <a:pt x="109" y="497"/>
                        </a:lnTo>
                        <a:lnTo>
                          <a:pt x="107" y="497"/>
                        </a:lnTo>
                        <a:lnTo>
                          <a:pt x="107" y="495"/>
                        </a:lnTo>
                        <a:lnTo>
                          <a:pt x="106" y="495"/>
                        </a:lnTo>
                        <a:lnTo>
                          <a:pt x="104" y="494"/>
                        </a:lnTo>
                        <a:lnTo>
                          <a:pt x="103" y="494"/>
                        </a:lnTo>
                        <a:lnTo>
                          <a:pt x="103" y="492"/>
                        </a:lnTo>
                        <a:lnTo>
                          <a:pt x="101" y="491"/>
                        </a:lnTo>
                        <a:lnTo>
                          <a:pt x="101" y="489"/>
                        </a:lnTo>
                        <a:lnTo>
                          <a:pt x="100" y="489"/>
                        </a:lnTo>
                        <a:lnTo>
                          <a:pt x="100" y="488"/>
                        </a:lnTo>
                        <a:lnTo>
                          <a:pt x="98" y="488"/>
                        </a:lnTo>
                        <a:lnTo>
                          <a:pt x="98" y="486"/>
                        </a:lnTo>
                        <a:lnTo>
                          <a:pt x="98" y="484"/>
                        </a:lnTo>
                        <a:lnTo>
                          <a:pt x="96" y="484"/>
                        </a:lnTo>
                        <a:lnTo>
                          <a:pt x="96" y="483"/>
                        </a:lnTo>
                        <a:lnTo>
                          <a:pt x="95" y="481"/>
                        </a:lnTo>
                        <a:lnTo>
                          <a:pt x="93" y="480"/>
                        </a:lnTo>
                        <a:lnTo>
                          <a:pt x="93" y="478"/>
                        </a:lnTo>
                        <a:lnTo>
                          <a:pt x="92" y="478"/>
                        </a:lnTo>
                        <a:lnTo>
                          <a:pt x="92" y="476"/>
                        </a:lnTo>
                        <a:lnTo>
                          <a:pt x="92" y="475"/>
                        </a:lnTo>
                        <a:lnTo>
                          <a:pt x="90" y="473"/>
                        </a:lnTo>
                        <a:lnTo>
                          <a:pt x="90" y="472"/>
                        </a:lnTo>
                        <a:lnTo>
                          <a:pt x="88" y="472"/>
                        </a:lnTo>
                        <a:lnTo>
                          <a:pt x="88" y="470"/>
                        </a:lnTo>
                        <a:lnTo>
                          <a:pt x="88" y="469"/>
                        </a:lnTo>
                        <a:lnTo>
                          <a:pt x="87" y="469"/>
                        </a:lnTo>
                        <a:lnTo>
                          <a:pt x="87" y="467"/>
                        </a:lnTo>
                        <a:lnTo>
                          <a:pt x="87" y="465"/>
                        </a:lnTo>
                        <a:lnTo>
                          <a:pt x="85" y="465"/>
                        </a:lnTo>
                        <a:lnTo>
                          <a:pt x="85" y="464"/>
                        </a:lnTo>
                        <a:lnTo>
                          <a:pt x="84" y="464"/>
                        </a:lnTo>
                        <a:lnTo>
                          <a:pt x="82" y="465"/>
                        </a:lnTo>
                        <a:lnTo>
                          <a:pt x="82" y="464"/>
                        </a:lnTo>
                        <a:lnTo>
                          <a:pt x="81" y="465"/>
                        </a:lnTo>
                        <a:lnTo>
                          <a:pt x="81" y="467"/>
                        </a:lnTo>
                        <a:lnTo>
                          <a:pt x="79" y="467"/>
                        </a:lnTo>
                        <a:lnTo>
                          <a:pt x="79" y="469"/>
                        </a:lnTo>
                        <a:lnTo>
                          <a:pt x="79" y="470"/>
                        </a:lnTo>
                        <a:lnTo>
                          <a:pt x="77" y="470"/>
                        </a:lnTo>
                        <a:lnTo>
                          <a:pt x="76" y="472"/>
                        </a:lnTo>
                        <a:lnTo>
                          <a:pt x="74" y="472"/>
                        </a:lnTo>
                        <a:lnTo>
                          <a:pt x="73" y="473"/>
                        </a:lnTo>
                        <a:lnTo>
                          <a:pt x="71" y="473"/>
                        </a:lnTo>
                        <a:lnTo>
                          <a:pt x="69" y="473"/>
                        </a:lnTo>
                        <a:lnTo>
                          <a:pt x="69" y="475"/>
                        </a:lnTo>
                        <a:lnTo>
                          <a:pt x="68" y="475"/>
                        </a:lnTo>
                        <a:lnTo>
                          <a:pt x="68" y="476"/>
                        </a:lnTo>
                        <a:lnTo>
                          <a:pt x="66" y="478"/>
                        </a:lnTo>
                        <a:lnTo>
                          <a:pt x="66" y="480"/>
                        </a:lnTo>
                        <a:lnTo>
                          <a:pt x="65" y="480"/>
                        </a:lnTo>
                        <a:lnTo>
                          <a:pt x="63" y="481"/>
                        </a:lnTo>
                        <a:lnTo>
                          <a:pt x="62" y="481"/>
                        </a:lnTo>
                        <a:lnTo>
                          <a:pt x="62" y="483"/>
                        </a:lnTo>
                        <a:lnTo>
                          <a:pt x="60" y="483"/>
                        </a:lnTo>
                        <a:lnTo>
                          <a:pt x="58" y="483"/>
                        </a:lnTo>
                        <a:lnTo>
                          <a:pt x="57" y="483"/>
                        </a:lnTo>
                        <a:lnTo>
                          <a:pt x="55" y="484"/>
                        </a:lnTo>
                        <a:lnTo>
                          <a:pt x="54" y="486"/>
                        </a:lnTo>
                        <a:lnTo>
                          <a:pt x="52" y="486"/>
                        </a:lnTo>
                        <a:lnTo>
                          <a:pt x="52" y="488"/>
                        </a:lnTo>
                        <a:lnTo>
                          <a:pt x="50" y="489"/>
                        </a:lnTo>
                        <a:lnTo>
                          <a:pt x="49" y="489"/>
                        </a:lnTo>
                        <a:lnTo>
                          <a:pt x="47" y="489"/>
                        </a:lnTo>
                        <a:lnTo>
                          <a:pt x="46" y="489"/>
                        </a:lnTo>
                        <a:lnTo>
                          <a:pt x="44" y="489"/>
                        </a:lnTo>
                        <a:lnTo>
                          <a:pt x="43" y="489"/>
                        </a:lnTo>
                        <a:lnTo>
                          <a:pt x="41" y="489"/>
                        </a:lnTo>
                        <a:lnTo>
                          <a:pt x="39" y="489"/>
                        </a:lnTo>
                        <a:lnTo>
                          <a:pt x="39" y="491"/>
                        </a:lnTo>
                        <a:lnTo>
                          <a:pt x="38" y="491"/>
                        </a:lnTo>
                        <a:lnTo>
                          <a:pt x="36" y="492"/>
                        </a:lnTo>
                        <a:lnTo>
                          <a:pt x="35" y="492"/>
                        </a:lnTo>
                        <a:lnTo>
                          <a:pt x="33" y="492"/>
                        </a:lnTo>
                        <a:lnTo>
                          <a:pt x="31" y="492"/>
                        </a:lnTo>
                        <a:lnTo>
                          <a:pt x="28" y="492"/>
                        </a:lnTo>
                        <a:lnTo>
                          <a:pt x="27" y="492"/>
                        </a:lnTo>
                        <a:lnTo>
                          <a:pt x="25" y="492"/>
                        </a:lnTo>
                        <a:lnTo>
                          <a:pt x="24" y="492"/>
                        </a:lnTo>
                        <a:lnTo>
                          <a:pt x="22" y="494"/>
                        </a:lnTo>
                        <a:lnTo>
                          <a:pt x="20" y="494"/>
                        </a:lnTo>
                        <a:lnTo>
                          <a:pt x="19" y="494"/>
                        </a:lnTo>
                        <a:lnTo>
                          <a:pt x="17" y="494"/>
                        </a:lnTo>
                        <a:lnTo>
                          <a:pt x="16" y="494"/>
                        </a:lnTo>
                        <a:lnTo>
                          <a:pt x="14" y="494"/>
                        </a:lnTo>
                        <a:lnTo>
                          <a:pt x="12" y="494"/>
                        </a:lnTo>
                        <a:lnTo>
                          <a:pt x="11" y="495"/>
                        </a:lnTo>
                        <a:lnTo>
                          <a:pt x="9" y="495"/>
                        </a:lnTo>
                        <a:lnTo>
                          <a:pt x="8" y="495"/>
                        </a:lnTo>
                        <a:lnTo>
                          <a:pt x="6" y="497"/>
                        </a:lnTo>
                        <a:lnTo>
                          <a:pt x="6" y="499"/>
                        </a:lnTo>
                        <a:lnTo>
                          <a:pt x="5" y="500"/>
                        </a:lnTo>
                        <a:lnTo>
                          <a:pt x="5" y="502"/>
                        </a:lnTo>
                        <a:lnTo>
                          <a:pt x="5" y="503"/>
                        </a:lnTo>
                        <a:lnTo>
                          <a:pt x="3" y="505"/>
                        </a:lnTo>
                        <a:lnTo>
                          <a:pt x="3" y="507"/>
                        </a:lnTo>
                        <a:lnTo>
                          <a:pt x="1" y="508"/>
                        </a:lnTo>
                        <a:lnTo>
                          <a:pt x="1" y="510"/>
                        </a:lnTo>
                        <a:lnTo>
                          <a:pt x="0" y="511"/>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92" name="Freeform 91"/>
                  <p:cNvSpPr>
                    <a:spLocks/>
                  </p:cNvSpPr>
                  <p:nvPr/>
                </p:nvSpPr>
                <p:spPr bwMode="auto">
                  <a:xfrm>
                    <a:off x="1649" y="2496"/>
                    <a:ext cx="788" cy="841"/>
                  </a:xfrm>
                  <a:custGeom>
                    <a:avLst/>
                    <a:gdLst>
                      <a:gd name="T0" fmla="*/ 770 w 788"/>
                      <a:gd name="T1" fmla="*/ 841 h 841"/>
                      <a:gd name="T2" fmla="*/ 753 w 788"/>
                      <a:gd name="T3" fmla="*/ 833 h 841"/>
                      <a:gd name="T4" fmla="*/ 740 w 788"/>
                      <a:gd name="T5" fmla="*/ 817 h 841"/>
                      <a:gd name="T6" fmla="*/ 716 w 788"/>
                      <a:gd name="T7" fmla="*/ 814 h 841"/>
                      <a:gd name="T8" fmla="*/ 694 w 788"/>
                      <a:gd name="T9" fmla="*/ 817 h 841"/>
                      <a:gd name="T10" fmla="*/ 678 w 788"/>
                      <a:gd name="T11" fmla="*/ 803 h 841"/>
                      <a:gd name="T12" fmla="*/ 667 w 788"/>
                      <a:gd name="T13" fmla="*/ 781 h 841"/>
                      <a:gd name="T14" fmla="*/ 658 w 788"/>
                      <a:gd name="T15" fmla="*/ 760 h 841"/>
                      <a:gd name="T16" fmla="*/ 647 w 788"/>
                      <a:gd name="T17" fmla="*/ 736 h 841"/>
                      <a:gd name="T18" fmla="*/ 628 w 788"/>
                      <a:gd name="T19" fmla="*/ 733 h 841"/>
                      <a:gd name="T20" fmla="*/ 610 w 788"/>
                      <a:gd name="T21" fmla="*/ 736 h 841"/>
                      <a:gd name="T22" fmla="*/ 587 w 788"/>
                      <a:gd name="T23" fmla="*/ 738 h 841"/>
                      <a:gd name="T24" fmla="*/ 566 w 788"/>
                      <a:gd name="T25" fmla="*/ 748 h 841"/>
                      <a:gd name="T26" fmla="*/ 553 w 788"/>
                      <a:gd name="T27" fmla="*/ 765 h 841"/>
                      <a:gd name="T28" fmla="*/ 526 w 788"/>
                      <a:gd name="T29" fmla="*/ 784 h 841"/>
                      <a:gd name="T30" fmla="*/ 504 w 788"/>
                      <a:gd name="T31" fmla="*/ 792 h 841"/>
                      <a:gd name="T32" fmla="*/ 482 w 788"/>
                      <a:gd name="T33" fmla="*/ 779 h 841"/>
                      <a:gd name="T34" fmla="*/ 468 w 788"/>
                      <a:gd name="T35" fmla="*/ 763 h 841"/>
                      <a:gd name="T36" fmla="*/ 457 w 788"/>
                      <a:gd name="T37" fmla="*/ 741 h 841"/>
                      <a:gd name="T38" fmla="*/ 439 w 788"/>
                      <a:gd name="T39" fmla="*/ 732 h 841"/>
                      <a:gd name="T40" fmla="*/ 412 w 788"/>
                      <a:gd name="T41" fmla="*/ 729 h 841"/>
                      <a:gd name="T42" fmla="*/ 387 w 788"/>
                      <a:gd name="T43" fmla="*/ 733 h 841"/>
                      <a:gd name="T44" fmla="*/ 366 w 788"/>
                      <a:gd name="T45" fmla="*/ 729 h 841"/>
                      <a:gd name="T46" fmla="*/ 347 w 788"/>
                      <a:gd name="T47" fmla="*/ 727 h 841"/>
                      <a:gd name="T48" fmla="*/ 325 w 788"/>
                      <a:gd name="T49" fmla="*/ 727 h 841"/>
                      <a:gd name="T50" fmla="*/ 314 w 788"/>
                      <a:gd name="T51" fmla="*/ 744 h 841"/>
                      <a:gd name="T52" fmla="*/ 297 w 788"/>
                      <a:gd name="T53" fmla="*/ 755 h 841"/>
                      <a:gd name="T54" fmla="*/ 271 w 788"/>
                      <a:gd name="T55" fmla="*/ 763 h 841"/>
                      <a:gd name="T56" fmla="*/ 246 w 788"/>
                      <a:gd name="T57" fmla="*/ 763 h 841"/>
                      <a:gd name="T58" fmla="*/ 221 w 788"/>
                      <a:gd name="T59" fmla="*/ 770 h 841"/>
                      <a:gd name="T60" fmla="*/ 199 w 788"/>
                      <a:gd name="T61" fmla="*/ 781 h 841"/>
                      <a:gd name="T62" fmla="*/ 176 w 788"/>
                      <a:gd name="T63" fmla="*/ 771 h 841"/>
                      <a:gd name="T64" fmla="*/ 172 w 788"/>
                      <a:gd name="T65" fmla="*/ 746 h 841"/>
                      <a:gd name="T66" fmla="*/ 151 w 788"/>
                      <a:gd name="T67" fmla="*/ 744 h 841"/>
                      <a:gd name="T68" fmla="*/ 145 w 788"/>
                      <a:gd name="T69" fmla="*/ 721 h 841"/>
                      <a:gd name="T70" fmla="*/ 130 w 788"/>
                      <a:gd name="T71" fmla="*/ 698 h 841"/>
                      <a:gd name="T72" fmla="*/ 102 w 788"/>
                      <a:gd name="T73" fmla="*/ 683 h 841"/>
                      <a:gd name="T74" fmla="*/ 72 w 788"/>
                      <a:gd name="T75" fmla="*/ 665 h 841"/>
                      <a:gd name="T76" fmla="*/ 43 w 788"/>
                      <a:gd name="T77" fmla="*/ 641 h 841"/>
                      <a:gd name="T78" fmla="*/ 54 w 788"/>
                      <a:gd name="T79" fmla="*/ 597 h 841"/>
                      <a:gd name="T80" fmla="*/ 105 w 788"/>
                      <a:gd name="T81" fmla="*/ 534 h 841"/>
                      <a:gd name="T82" fmla="*/ 141 w 788"/>
                      <a:gd name="T83" fmla="*/ 439 h 841"/>
                      <a:gd name="T84" fmla="*/ 183 w 788"/>
                      <a:gd name="T85" fmla="*/ 385 h 841"/>
                      <a:gd name="T86" fmla="*/ 181 w 788"/>
                      <a:gd name="T87" fmla="*/ 328 h 841"/>
                      <a:gd name="T88" fmla="*/ 135 w 788"/>
                      <a:gd name="T89" fmla="*/ 283 h 841"/>
                      <a:gd name="T90" fmla="*/ 137 w 788"/>
                      <a:gd name="T91" fmla="*/ 217 h 841"/>
                      <a:gd name="T92" fmla="*/ 129 w 788"/>
                      <a:gd name="T93" fmla="*/ 185 h 841"/>
                      <a:gd name="T94" fmla="*/ 88 w 788"/>
                      <a:gd name="T95" fmla="*/ 163 h 841"/>
                      <a:gd name="T96" fmla="*/ 56 w 788"/>
                      <a:gd name="T97" fmla="*/ 147 h 841"/>
                      <a:gd name="T98" fmla="*/ 86 w 788"/>
                      <a:gd name="T99" fmla="*/ 147 h 841"/>
                      <a:gd name="T100" fmla="*/ 127 w 788"/>
                      <a:gd name="T101" fmla="*/ 128 h 841"/>
                      <a:gd name="T102" fmla="*/ 149 w 788"/>
                      <a:gd name="T103" fmla="*/ 133 h 841"/>
                      <a:gd name="T104" fmla="*/ 187 w 788"/>
                      <a:gd name="T105" fmla="*/ 100 h 841"/>
                      <a:gd name="T106" fmla="*/ 214 w 788"/>
                      <a:gd name="T107" fmla="*/ 70 h 841"/>
                      <a:gd name="T108" fmla="*/ 254 w 788"/>
                      <a:gd name="T109" fmla="*/ 52 h 841"/>
                      <a:gd name="T110" fmla="*/ 306 w 788"/>
                      <a:gd name="T111" fmla="*/ 49 h 841"/>
                      <a:gd name="T112" fmla="*/ 365 w 788"/>
                      <a:gd name="T113" fmla="*/ 35 h 841"/>
                      <a:gd name="T114" fmla="*/ 420 w 788"/>
                      <a:gd name="T115" fmla="*/ 33 h 841"/>
                      <a:gd name="T116" fmla="*/ 480 w 788"/>
                      <a:gd name="T117" fmla="*/ 19 h 841"/>
                      <a:gd name="T118" fmla="*/ 525 w 788"/>
                      <a:gd name="T119" fmla="*/ 3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88" h="841">
                        <a:moveTo>
                          <a:pt x="788" y="828"/>
                        </a:moveTo>
                        <a:lnTo>
                          <a:pt x="786" y="828"/>
                        </a:lnTo>
                        <a:lnTo>
                          <a:pt x="786" y="830"/>
                        </a:lnTo>
                        <a:lnTo>
                          <a:pt x="785" y="831"/>
                        </a:lnTo>
                        <a:lnTo>
                          <a:pt x="783" y="831"/>
                        </a:lnTo>
                        <a:lnTo>
                          <a:pt x="781" y="831"/>
                        </a:lnTo>
                        <a:lnTo>
                          <a:pt x="780" y="831"/>
                        </a:lnTo>
                        <a:lnTo>
                          <a:pt x="778" y="831"/>
                        </a:lnTo>
                        <a:lnTo>
                          <a:pt x="778" y="833"/>
                        </a:lnTo>
                        <a:lnTo>
                          <a:pt x="777" y="833"/>
                        </a:lnTo>
                        <a:lnTo>
                          <a:pt x="775" y="833"/>
                        </a:lnTo>
                        <a:lnTo>
                          <a:pt x="775" y="835"/>
                        </a:lnTo>
                        <a:lnTo>
                          <a:pt x="775" y="836"/>
                        </a:lnTo>
                        <a:lnTo>
                          <a:pt x="774" y="836"/>
                        </a:lnTo>
                        <a:lnTo>
                          <a:pt x="774" y="838"/>
                        </a:lnTo>
                        <a:lnTo>
                          <a:pt x="772" y="839"/>
                        </a:lnTo>
                        <a:lnTo>
                          <a:pt x="770" y="841"/>
                        </a:lnTo>
                        <a:lnTo>
                          <a:pt x="769" y="841"/>
                        </a:lnTo>
                        <a:lnTo>
                          <a:pt x="769" y="839"/>
                        </a:lnTo>
                        <a:lnTo>
                          <a:pt x="767" y="839"/>
                        </a:lnTo>
                        <a:lnTo>
                          <a:pt x="766" y="839"/>
                        </a:lnTo>
                        <a:lnTo>
                          <a:pt x="764" y="839"/>
                        </a:lnTo>
                        <a:lnTo>
                          <a:pt x="762" y="839"/>
                        </a:lnTo>
                        <a:lnTo>
                          <a:pt x="762" y="841"/>
                        </a:lnTo>
                        <a:lnTo>
                          <a:pt x="761" y="839"/>
                        </a:lnTo>
                        <a:lnTo>
                          <a:pt x="759" y="839"/>
                        </a:lnTo>
                        <a:lnTo>
                          <a:pt x="759" y="838"/>
                        </a:lnTo>
                        <a:lnTo>
                          <a:pt x="758" y="838"/>
                        </a:lnTo>
                        <a:lnTo>
                          <a:pt x="756" y="838"/>
                        </a:lnTo>
                        <a:lnTo>
                          <a:pt x="756" y="836"/>
                        </a:lnTo>
                        <a:lnTo>
                          <a:pt x="754" y="836"/>
                        </a:lnTo>
                        <a:lnTo>
                          <a:pt x="754" y="835"/>
                        </a:lnTo>
                        <a:lnTo>
                          <a:pt x="753" y="835"/>
                        </a:lnTo>
                        <a:lnTo>
                          <a:pt x="753" y="833"/>
                        </a:lnTo>
                        <a:lnTo>
                          <a:pt x="751" y="833"/>
                        </a:lnTo>
                        <a:lnTo>
                          <a:pt x="751" y="831"/>
                        </a:lnTo>
                        <a:lnTo>
                          <a:pt x="750" y="830"/>
                        </a:lnTo>
                        <a:lnTo>
                          <a:pt x="750" y="828"/>
                        </a:lnTo>
                        <a:lnTo>
                          <a:pt x="750" y="827"/>
                        </a:lnTo>
                        <a:lnTo>
                          <a:pt x="748" y="827"/>
                        </a:lnTo>
                        <a:lnTo>
                          <a:pt x="748" y="825"/>
                        </a:lnTo>
                        <a:lnTo>
                          <a:pt x="748" y="824"/>
                        </a:lnTo>
                        <a:lnTo>
                          <a:pt x="747" y="822"/>
                        </a:lnTo>
                        <a:lnTo>
                          <a:pt x="747" y="820"/>
                        </a:lnTo>
                        <a:lnTo>
                          <a:pt x="747" y="819"/>
                        </a:lnTo>
                        <a:lnTo>
                          <a:pt x="747" y="817"/>
                        </a:lnTo>
                        <a:lnTo>
                          <a:pt x="745" y="816"/>
                        </a:lnTo>
                        <a:lnTo>
                          <a:pt x="743" y="816"/>
                        </a:lnTo>
                        <a:lnTo>
                          <a:pt x="743" y="817"/>
                        </a:lnTo>
                        <a:lnTo>
                          <a:pt x="742" y="817"/>
                        </a:lnTo>
                        <a:lnTo>
                          <a:pt x="740" y="817"/>
                        </a:lnTo>
                        <a:lnTo>
                          <a:pt x="740" y="816"/>
                        </a:lnTo>
                        <a:lnTo>
                          <a:pt x="739" y="816"/>
                        </a:lnTo>
                        <a:lnTo>
                          <a:pt x="737" y="816"/>
                        </a:lnTo>
                        <a:lnTo>
                          <a:pt x="735" y="816"/>
                        </a:lnTo>
                        <a:lnTo>
                          <a:pt x="734" y="816"/>
                        </a:lnTo>
                        <a:lnTo>
                          <a:pt x="732" y="816"/>
                        </a:lnTo>
                        <a:lnTo>
                          <a:pt x="731" y="816"/>
                        </a:lnTo>
                        <a:lnTo>
                          <a:pt x="729" y="814"/>
                        </a:lnTo>
                        <a:lnTo>
                          <a:pt x="728" y="814"/>
                        </a:lnTo>
                        <a:lnTo>
                          <a:pt x="726" y="814"/>
                        </a:lnTo>
                        <a:lnTo>
                          <a:pt x="726" y="816"/>
                        </a:lnTo>
                        <a:lnTo>
                          <a:pt x="724" y="816"/>
                        </a:lnTo>
                        <a:lnTo>
                          <a:pt x="723" y="816"/>
                        </a:lnTo>
                        <a:lnTo>
                          <a:pt x="721" y="816"/>
                        </a:lnTo>
                        <a:lnTo>
                          <a:pt x="720" y="816"/>
                        </a:lnTo>
                        <a:lnTo>
                          <a:pt x="716" y="816"/>
                        </a:lnTo>
                        <a:lnTo>
                          <a:pt x="716" y="814"/>
                        </a:lnTo>
                        <a:lnTo>
                          <a:pt x="715" y="814"/>
                        </a:lnTo>
                        <a:lnTo>
                          <a:pt x="713" y="814"/>
                        </a:lnTo>
                        <a:lnTo>
                          <a:pt x="712" y="814"/>
                        </a:lnTo>
                        <a:lnTo>
                          <a:pt x="710" y="812"/>
                        </a:lnTo>
                        <a:lnTo>
                          <a:pt x="709" y="812"/>
                        </a:lnTo>
                        <a:lnTo>
                          <a:pt x="707" y="812"/>
                        </a:lnTo>
                        <a:lnTo>
                          <a:pt x="707" y="811"/>
                        </a:lnTo>
                        <a:lnTo>
                          <a:pt x="705" y="811"/>
                        </a:lnTo>
                        <a:lnTo>
                          <a:pt x="704" y="811"/>
                        </a:lnTo>
                        <a:lnTo>
                          <a:pt x="702" y="811"/>
                        </a:lnTo>
                        <a:lnTo>
                          <a:pt x="701" y="812"/>
                        </a:lnTo>
                        <a:lnTo>
                          <a:pt x="699" y="812"/>
                        </a:lnTo>
                        <a:lnTo>
                          <a:pt x="699" y="814"/>
                        </a:lnTo>
                        <a:lnTo>
                          <a:pt x="697" y="814"/>
                        </a:lnTo>
                        <a:lnTo>
                          <a:pt x="696" y="816"/>
                        </a:lnTo>
                        <a:lnTo>
                          <a:pt x="694" y="816"/>
                        </a:lnTo>
                        <a:lnTo>
                          <a:pt x="694" y="817"/>
                        </a:lnTo>
                        <a:lnTo>
                          <a:pt x="693" y="817"/>
                        </a:lnTo>
                        <a:lnTo>
                          <a:pt x="691" y="817"/>
                        </a:lnTo>
                        <a:lnTo>
                          <a:pt x="690" y="817"/>
                        </a:lnTo>
                        <a:lnTo>
                          <a:pt x="688" y="819"/>
                        </a:lnTo>
                        <a:lnTo>
                          <a:pt x="686" y="817"/>
                        </a:lnTo>
                        <a:lnTo>
                          <a:pt x="685" y="817"/>
                        </a:lnTo>
                        <a:lnTo>
                          <a:pt x="683" y="817"/>
                        </a:lnTo>
                        <a:lnTo>
                          <a:pt x="683" y="816"/>
                        </a:lnTo>
                        <a:lnTo>
                          <a:pt x="683" y="814"/>
                        </a:lnTo>
                        <a:lnTo>
                          <a:pt x="683" y="812"/>
                        </a:lnTo>
                        <a:lnTo>
                          <a:pt x="682" y="812"/>
                        </a:lnTo>
                        <a:lnTo>
                          <a:pt x="682" y="811"/>
                        </a:lnTo>
                        <a:lnTo>
                          <a:pt x="682" y="809"/>
                        </a:lnTo>
                        <a:lnTo>
                          <a:pt x="680" y="808"/>
                        </a:lnTo>
                        <a:lnTo>
                          <a:pt x="680" y="806"/>
                        </a:lnTo>
                        <a:lnTo>
                          <a:pt x="678" y="805"/>
                        </a:lnTo>
                        <a:lnTo>
                          <a:pt x="678" y="803"/>
                        </a:lnTo>
                        <a:lnTo>
                          <a:pt x="677" y="801"/>
                        </a:lnTo>
                        <a:lnTo>
                          <a:pt x="677" y="800"/>
                        </a:lnTo>
                        <a:lnTo>
                          <a:pt x="675" y="798"/>
                        </a:lnTo>
                        <a:lnTo>
                          <a:pt x="675" y="797"/>
                        </a:lnTo>
                        <a:lnTo>
                          <a:pt x="675" y="795"/>
                        </a:lnTo>
                        <a:lnTo>
                          <a:pt x="674" y="795"/>
                        </a:lnTo>
                        <a:lnTo>
                          <a:pt x="674" y="793"/>
                        </a:lnTo>
                        <a:lnTo>
                          <a:pt x="674" y="792"/>
                        </a:lnTo>
                        <a:lnTo>
                          <a:pt x="672" y="792"/>
                        </a:lnTo>
                        <a:lnTo>
                          <a:pt x="672" y="790"/>
                        </a:lnTo>
                        <a:lnTo>
                          <a:pt x="671" y="789"/>
                        </a:lnTo>
                        <a:lnTo>
                          <a:pt x="671" y="787"/>
                        </a:lnTo>
                        <a:lnTo>
                          <a:pt x="671" y="786"/>
                        </a:lnTo>
                        <a:lnTo>
                          <a:pt x="671" y="784"/>
                        </a:lnTo>
                        <a:lnTo>
                          <a:pt x="669" y="784"/>
                        </a:lnTo>
                        <a:lnTo>
                          <a:pt x="669" y="782"/>
                        </a:lnTo>
                        <a:lnTo>
                          <a:pt x="667" y="781"/>
                        </a:lnTo>
                        <a:lnTo>
                          <a:pt x="667" y="779"/>
                        </a:lnTo>
                        <a:lnTo>
                          <a:pt x="666" y="778"/>
                        </a:lnTo>
                        <a:lnTo>
                          <a:pt x="666" y="776"/>
                        </a:lnTo>
                        <a:lnTo>
                          <a:pt x="666" y="774"/>
                        </a:lnTo>
                        <a:lnTo>
                          <a:pt x="664" y="773"/>
                        </a:lnTo>
                        <a:lnTo>
                          <a:pt x="664" y="771"/>
                        </a:lnTo>
                        <a:lnTo>
                          <a:pt x="663" y="771"/>
                        </a:lnTo>
                        <a:lnTo>
                          <a:pt x="663" y="770"/>
                        </a:lnTo>
                        <a:lnTo>
                          <a:pt x="663" y="768"/>
                        </a:lnTo>
                        <a:lnTo>
                          <a:pt x="661" y="768"/>
                        </a:lnTo>
                        <a:lnTo>
                          <a:pt x="661" y="767"/>
                        </a:lnTo>
                        <a:lnTo>
                          <a:pt x="661" y="765"/>
                        </a:lnTo>
                        <a:lnTo>
                          <a:pt x="659" y="765"/>
                        </a:lnTo>
                        <a:lnTo>
                          <a:pt x="659" y="763"/>
                        </a:lnTo>
                        <a:lnTo>
                          <a:pt x="659" y="762"/>
                        </a:lnTo>
                        <a:lnTo>
                          <a:pt x="659" y="760"/>
                        </a:lnTo>
                        <a:lnTo>
                          <a:pt x="658" y="760"/>
                        </a:lnTo>
                        <a:lnTo>
                          <a:pt x="658" y="759"/>
                        </a:lnTo>
                        <a:lnTo>
                          <a:pt x="656" y="757"/>
                        </a:lnTo>
                        <a:lnTo>
                          <a:pt x="656" y="755"/>
                        </a:lnTo>
                        <a:lnTo>
                          <a:pt x="655" y="754"/>
                        </a:lnTo>
                        <a:lnTo>
                          <a:pt x="655" y="752"/>
                        </a:lnTo>
                        <a:lnTo>
                          <a:pt x="653" y="751"/>
                        </a:lnTo>
                        <a:lnTo>
                          <a:pt x="653" y="749"/>
                        </a:lnTo>
                        <a:lnTo>
                          <a:pt x="653" y="748"/>
                        </a:lnTo>
                        <a:lnTo>
                          <a:pt x="652" y="746"/>
                        </a:lnTo>
                        <a:lnTo>
                          <a:pt x="652" y="744"/>
                        </a:lnTo>
                        <a:lnTo>
                          <a:pt x="650" y="743"/>
                        </a:lnTo>
                        <a:lnTo>
                          <a:pt x="650" y="741"/>
                        </a:lnTo>
                        <a:lnTo>
                          <a:pt x="650" y="740"/>
                        </a:lnTo>
                        <a:lnTo>
                          <a:pt x="648" y="740"/>
                        </a:lnTo>
                        <a:lnTo>
                          <a:pt x="648" y="738"/>
                        </a:lnTo>
                        <a:lnTo>
                          <a:pt x="648" y="736"/>
                        </a:lnTo>
                        <a:lnTo>
                          <a:pt x="647" y="736"/>
                        </a:lnTo>
                        <a:lnTo>
                          <a:pt x="647" y="735"/>
                        </a:lnTo>
                        <a:lnTo>
                          <a:pt x="647" y="733"/>
                        </a:lnTo>
                        <a:lnTo>
                          <a:pt x="645" y="733"/>
                        </a:lnTo>
                        <a:lnTo>
                          <a:pt x="644" y="733"/>
                        </a:lnTo>
                        <a:lnTo>
                          <a:pt x="642" y="733"/>
                        </a:lnTo>
                        <a:lnTo>
                          <a:pt x="640" y="733"/>
                        </a:lnTo>
                        <a:lnTo>
                          <a:pt x="640" y="732"/>
                        </a:lnTo>
                        <a:lnTo>
                          <a:pt x="639" y="732"/>
                        </a:lnTo>
                        <a:lnTo>
                          <a:pt x="637" y="730"/>
                        </a:lnTo>
                        <a:lnTo>
                          <a:pt x="636" y="730"/>
                        </a:lnTo>
                        <a:lnTo>
                          <a:pt x="634" y="730"/>
                        </a:lnTo>
                        <a:lnTo>
                          <a:pt x="633" y="730"/>
                        </a:lnTo>
                        <a:lnTo>
                          <a:pt x="631" y="730"/>
                        </a:lnTo>
                        <a:lnTo>
                          <a:pt x="631" y="732"/>
                        </a:lnTo>
                        <a:lnTo>
                          <a:pt x="629" y="732"/>
                        </a:lnTo>
                        <a:lnTo>
                          <a:pt x="628" y="732"/>
                        </a:lnTo>
                        <a:lnTo>
                          <a:pt x="628" y="733"/>
                        </a:lnTo>
                        <a:lnTo>
                          <a:pt x="628" y="735"/>
                        </a:lnTo>
                        <a:lnTo>
                          <a:pt x="626" y="735"/>
                        </a:lnTo>
                        <a:lnTo>
                          <a:pt x="626" y="736"/>
                        </a:lnTo>
                        <a:lnTo>
                          <a:pt x="625" y="736"/>
                        </a:lnTo>
                        <a:lnTo>
                          <a:pt x="626" y="736"/>
                        </a:lnTo>
                        <a:lnTo>
                          <a:pt x="625" y="736"/>
                        </a:lnTo>
                        <a:lnTo>
                          <a:pt x="623" y="736"/>
                        </a:lnTo>
                        <a:lnTo>
                          <a:pt x="623" y="735"/>
                        </a:lnTo>
                        <a:lnTo>
                          <a:pt x="621" y="735"/>
                        </a:lnTo>
                        <a:lnTo>
                          <a:pt x="620" y="735"/>
                        </a:lnTo>
                        <a:lnTo>
                          <a:pt x="620" y="733"/>
                        </a:lnTo>
                        <a:lnTo>
                          <a:pt x="617" y="735"/>
                        </a:lnTo>
                        <a:lnTo>
                          <a:pt x="615" y="735"/>
                        </a:lnTo>
                        <a:lnTo>
                          <a:pt x="614" y="735"/>
                        </a:lnTo>
                        <a:lnTo>
                          <a:pt x="614" y="736"/>
                        </a:lnTo>
                        <a:lnTo>
                          <a:pt x="612" y="736"/>
                        </a:lnTo>
                        <a:lnTo>
                          <a:pt x="610" y="736"/>
                        </a:lnTo>
                        <a:lnTo>
                          <a:pt x="610" y="738"/>
                        </a:lnTo>
                        <a:lnTo>
                          <a:pt x="609" y="738"/>
                        </a:lnTo>
                        <a:lnTo>
                          <a:pt x="607" y="738"/>
                        </a:lnTo>
                        <a:lnTo>
                          <a:pt x="606" y="738"/>
                        </a:lnTo>
                        <a:lnTo>
                          <a:pt x="604" y="738"/>
                        </a:lnTo>
                        <a:lnTo>
                          <a:pt x="602" y="736"/>
                        </a:lnTo>
                        <a:lnTo>
                          <a:pt x="601" y="736"/>
                        </a:lnTo>
                        <a:lnTo>
                          <a:pt x="599" y="736"/>
                        </a:lnTo>
                        <a:lnTo>
                          <a:pt x="599" y="735"/>
                        </a:lnTo>
                        <a:lnTo>
                          <a:pt x="596" y="735"/>
                        </a:lnTo>
                        <a:lnTo>
                          <a:pt x="595" y="735"/>
                        </a:lnTo>
                        <a:lnTo>
                          <a:pt x="593" y="735"/>
                        </a:lnTo>
                        <a:lnTo>
                          <a:pt x="591" y="735"/>
                        </a:lnTo>
                        <a:lnTo>
                          <a:pt x="590" y="735"/>
                        </a:lnTo>
                        <a:lnTo>
                          <a:pt x="588" y="736"/>
                        </a:lnTo>
                        <a:lnTo>
                          <a:pt x="587" y="736"/>
                        </a:lnTo>
                        <a:lnTo>
                          <a:pt x="587" y="738"/>
                        </a:lnTo>
                        <a:lnTo>
                          <a:pt x="585" y="738"/>
                        </a:lnTo>
                        <a:lnTo>
                          <a:pt x="583" y="740"/>
                        </a:lnTo>
                        <a:lnTo>
                          <a:pt x="582" y="740"/>
                        </a:lnTo>
                        <a:lnTo>
                          <a:pt x="582" y="741"/>
                        </a:lnTo>
                        <a:lnTo>
                          <a:pt x="580" y="741"/>
                        </a:lnTo>
                        <a:lnTo>
                          <a:pt x="579" y="741"/>
                        </a:lnTo>
                        <a:lnTo>
                          <a:pt x="579" y="743"/>
                        </a:lnTo>
                        <a:lnTo>
                          <a:pt x="577" y="743"/>
                        </a:lnTo>
                        <a:lnTo>
                          <a:pt x="576" y="743"/>
                        </a:lnTo>
                        <a:lnTo>
                          <a:pt x="574" y="744"/>
                        </a:lnTo>
                        <a:lnTo>
                          <a:pt x="572" y="744"/>
                        </a:lnTo>
                        <a:lnTo>
                          <a:pt x="571" y="744"/>
                        </a:lnTo>
                        <a:lnTo>
                          <a:pt x="571" y="746"/>
                        </a:lnTo>
                        <a:lnTo>
                          <a:pt x="569" y="746"/>
                        </a:lnTo>
                        <a:lnTo>
                          <a:pt x="568" y="746"/>
                        </a:lnTo>
                        <a:lnTo>
                          <a:pt x="568" y="748"/>
                        </a:lnTo>
                        <a:lnTo>
                          <a:pt x="566" y="748"/>
                        </a:lnTo>
                        <a:lnTo>
                          <a:pt x="566" y="749"/>
                        </a:lnTo>
                        <a:lnTo>
                          <a:pt x="564" y="749"/>
                        </a:lnTo>
                        <a:lnTo>
                          <a:pt x="564" y="751"/>
                        </a:lnTo>
                        <a:lnTo>
                          <a:pt x="563" y="751"/>
                        </a:lnTo>
                        <a:lnTo>
                          <a:pt x="561" y="752"/>
                        </a:lnTo>
                        <a:lnTo>
                          <a:pt x="561" y="754"/>
                        </a:lnTo>
                        <a:lnTo>
                          <a:pt x="561" y="755"/>
                        </a:lnTo>
                        <a:lnTo>
                          <a:pt x="563" y="757"/>
                        </a:lnTo>
                        <a:lnTo>
                          <a:pt x="563" y="759"/>
                        </a:lnTo>
                        <a:lnTo>
                          <a:pt x="563" y="760"/>
                        </a:lnTo>
                        <a:lnTo>
                          <a:pt x="561" y="762"/>
                        </a:lnTo>
                        <a:lnTo>
                          <a:pt x="560" y="762"/>
                        </a:lnTo>
                        <a:lnTo>
                          <a:pt x="560" y="763"/>
                        </a:lnTo>
                        <a:lnTo>
                          <a:pt x="558" y="763"/>
                        </a:lnTo>
                        <a:lnTo>
                          <a:pt x="556" y="763"/>
                        </a:lnTo>
                        <a:lnTo>
                          <a:pt x="555" y="765"/>
                        </a:lnTo>
                        <a:lnTo>
                          <a:pt x="553" y="765"/>
                        </a:lnTo>
                        <a:lnTo>
                          <a:pt x="552" y="767"/>
                        </a:lnTo>
                        <a:lnTo>
                          <a:pt x="550" y="767"/>
                        </a:lnTo>
                        <a:lnTo>
                          <a:pt x="549" y="767"/>
                        </a:lnTo>
                        <a:lnTo>
                          <a:pt x="547" y="768"/>
                        </a:lnTo>
                        <a:lnTo>
                          <a:pt x="545" y="770"/>
                        </a:lnTo>
                        <a:lnTo>
                          <a:pt x="542" y="771"/>
                        </a:lnTo>
                        <a:lnTo>
                          <a:pt x="541" y="773"/>
                        </a:lnTo>
                        <a:lnTo>
                          <a:pt x="541" y="774"/>
                        </a:lnTo>
                        <a:lnTo>
                          <a:pt x="539" y="774"/>
                        </a:lnTo>
                        <a:lnTo>
                          <a:pt x="537" y="776"/>
                        </a:lnTo>
                        <a:lnTo>
                          <a:pt x="537" y="778"/>
                        </a:lnTo>
                        <a:lnTo>
                          <a:pt x="536" y="778"/>
                        </a:lnTo>
                        <a:lnTo>
                          <a:pt x="534" y="779"/>
                        </a:lnTo>
                        <a:lnTo>
                          <a:pt x="533" y="779"/>
                        </a:lnTo>
                        <a:lnTo>
                          <a:pt x="530" y="782"/>
                        </a:lnTo>
                        <a:lnTo>
                          <a:pt x="528" y="784"/>
                        </a:lnTo>
                        <a:lnTo>
                          <a:pt x="526" y="784"/>
                        </a:lnTo>
                        <a:lnTo>
                          <a:pt x="526" y="786"/>
                        </a:lnTo>
                        <a:lnTo>
                          <a:pt x="525" y="786"/>
                        </a:lnTo>
                        <a:lnTo>
                          <a:pt x="525" y="787"/>
                        </a:lnTo>
                        <a:lnTo>
                          <a:pt x="523" y="789"/>
                        </a:lnTo>
                        <a:lnTo>
                          <a:pt x="522" y="789"/>
                        </a:lnTo>
                        <a:lnTo>
                          <a:pt x="520" y="790"/>
                        </a:lnTo>
                        <a:lnTo>
                          <a:pt x="518" y="790"/>
                        </a:lnTo>
                        <a:lnTo>
                          <a:pt x="518" y="792"/>
                        </a:lnTo>
                        <a:lnTo>
                          <a:pt x="517" y="792"/>
                        </a:lnTo>
                        <a:lnTo>
                          <a:pt x="515" y="792"/>
                        </a:lnTo>
                        <a:lnTo>
                          <a:pt x="514" y="792"/>
                        </a:lnTo>
                        <a:lnTo>
                          <a:pt x="512" y="792"/>
                        </a:lnTo>
                        <a:lnTo>
                          <a:pt x="511" y="792"/>
                        </a:lnTo>
                        <a:lnTo>
                          <a:pt x="509" y="792"/>
                        </a:lnTo>
                        <a:lnTo>
                          <a:pt x="507" y="792"/>
                        </a:lnTo>
                        <a:lnTo>
                          <a:pt x="506" y="792"/>
                        </a:lnTo>
                        <a:lnTo>
                          <a:pt x="504" y="792"/>
                        </a:lnTo>
                        <a:lnTo>
                          <a:pt x="503" y="792"/>
                        </a:lnTo>
                        <a:lnTo>
                          <a:pt x="501" y="792"/>
                        </a:lnTo>
                        <a:lnTo>
                          <a:pt x="499" y="792"/>
                        </a:lnTo>
                        <a:lnTo>
                          <a:pt x="498" y="790"/>
                        </a:lnTo>
                        <a:lnTo>
                          <a:pt x="496" y="789"/>
                        </a:lnTo>
                        <a:lnTo>
                          <a:pt x="496" y="787"/>
                        </a:lnTo>
                        <a:lnTo>
                          <a:pt x="495" y="787"/>
                        </a:lnTo>
                        <a:lnTo>
                          <a:pt x="495" y="786"/>
                        </a:lnTo>
                        <a:lnTo>
                          <a:pt x="493" y="784"/>
                        </a:lnTo>
                        <a:lnTo>
                          <a:pt x="492" y="784"/>
                        </a:lnTo>
                        <a:lnTo>
                          <a:pt x="490" y="784"/>
                        </a:lnTo>
                        <a:lnTo>
                          <a:pt x="490" y="782"/>
                        </a:lnTo>
                        <a:lnTo>
                          <a:pt x="488" y="781"/>
                        </a:lnTo>
                        <a:lnTo>
                          <a:pt x="487" y="781"/>
                        </a:lnTo>
                        <a:lnTo>
                          <a:pt x="485" y="779"/>
                        </a:lnTo>
                        <a:lnTo>
                          <a:pt x="484" y="779"/>
                        </a:lnTo>
                        <a:lnTo>
                          <a:pt x="482" y="779"/>
                        </a:lnTo>
                        <a:lnTo>
                          <a:pt x="480" y="779"/>
                        </a:lnTo>
                        <a:lnTo>
                          <a:pt x="479" y="779"/>
                        </a:lnTo>
                        <a:lnTo>
                          <a:pt x="477" y="779"/>
                        </a:lnTo>
                        <a:lnTo>
                          <a:pt x="476" y="778"/>
                        </a:lnTo>
                        <a:lnTo>
                          <a:pt x="474" y="778"/>
                        </a:lnTo>
                        <a:lnTo>
                          <a:pt x="474" y="776"/>
                        </a:lnTo>
                        <a:lnTo>
                          <a:pt x="473" y="776"/>
                        </a:lnTo>
                        <a:lnTo>
                          <a:pt x="471" y="774"/>
                        </a:lnTo>
                        <a:lnTo>
                          <a:pt x="469" y="774"/>
                        </a:lnTo>
                        <a:lnTo>
                          <a:pt x="469" y="773"/>
                        </a:lnTo>
                        <a:lnTo>
                          <a:pt x="468" y="771"/>
                        </a:lnTo>
                        <a:lnTo>
                          <a:pt x="469" y="770"/>
                        </a:lnTo>
                        <a:lnTo>
                          <a:pt x="469" y="768"/>
                        </a:lnTo>
                        <a:lnTo>
                          <a:pt x="469" y="767"/>
                        </a:lnTo>
                        <a:lnTo>
                          <a:pt x="469" y="765"/>
                        </a:lnTo>
                        <a:lnTo>
                          <a:pt x="468" y="765"/>
                        </a:lnTo>
                        <a:lnTo>
                          <a:pt x="468" y="763"/>
                        </a:lnTo>
                        <a:lnTo>
                          <a:pt x="468" y="762"/>
                        </a:lnTo>
                        <a:lnTo>
                          <a:pt x="466" y="760"/>
                        </a:lnTo>
                        <a:lnTo>
                          <a:pt x="466" y="759"/>
                        </a:lnTo>
                        <a:lnTo>
                          <a:pt x="465" y="759"/>
                        </a:lnTo>
                        <a:lnTo>
                          <a:pt x="463" y="757"/>
                        </a:lnTo>
                        <a:lnTo>
                          <a:pt x="461" y="757"/>
                        </a:lnTo>
                        <a:lnTo>
                          <a:pt x="461" y="755"/>
                        </a:lnTo>
                        <a:lnTo>
                          <a:pt x="460" y="754"/>
                        </a:lnTo>
                        <a:lnTo>
                          <a:pt x="460" y="752"/>
                        </a:lnTo>
                        <a:lnTo>
                          <a:pt x="458" y="752"/>
                        </a:lnTo>
                        <a:lnTo>
                          <a:pt x="458" y="751"/>
                        </a:lnTo>
                        <a:lnTo>
                          <a:pt x="458" y="749"/>
                        </a:lnTo>
                        <a:lnTo>
                          <a:pt x="458" y="748"/>
                        </a:lnTo>
                        <a:lnTo>
                          <a:pt x="458" y="746"/>
                        </a:lnTo>
                        <a:lnTo>
                          <a:pt x="458" y="744"/>
                        </a:lnTo>
                        <a:lnTo>
                          <a:pt x="458" y="743"/>
                        </a:lnTo>
                        <a:lnTo>
                          <a:pt x="457" y="741"/>
                        </a:lnTo>
                        <a:lnTo>
                          <a:pt x="457" y="740"/>
                        </a:lnTo>
                        <a:lnTo>
                          <a:pt x="455" y="740"/>
                        </a:lnTo>
                        <a:lnTo>
                          <a:pt x="454" y="740"/>
                        </a:lnTo>
                        <a:lnTo>
                          <a:pt x="454" y="738"/>
                        </a:lnTo>
                        <a:lnTo>
                          <a:pt x="452" y="738"/>
                        </a:lnTo>
                        <a:lnTo>
                          <a:pt x="452" y="736"/>
                        </a:lnTo>
                        <a:lnTo>
                          <a:pt x="452" y="735"/>
                        </a:lnTo>
                        <a:lnTo>
                          <a:pt x="452" y="733"/>
                        </a:lnTo>
                        <a:lnTo>
                          <a:pt x="450" y="733"/>
                        </a:lnTo>
                        <a:lnTo>
                          <a:pt x="450" y="732"/>
                        </a:lnTo>
                        <a:lnTo>
                          <a:pt x="449" y="732"/>
                        </a:lnTo>
                        <a:lnTo>
                          <a:pt x="447" y="732"/>
                        </a:lnTo>
                        <a:lnTo>
                          <a:pt x="446" y="732"/>
                        </a:lnTo>
                        <a:lnTo>
                          <a:pt x="444" y="732"/>
                        </a:lnTo>
                        <a:lnTo>
                          <a:pt x="442" y="732"/>
                        </a:lnTo>
                        <a:lnTo>
                          <a:pt x="441" y="732"/>
                        </a:lnTo>
                        <a:lnTo>
                          <a:pt x="439" y="732"/>
                        </a:lnTo>
                        <a:lnTo>
                          <a:pt x="439" y="730"/>
                        </a:lnTo>
                        <a:lnTo>
                          <a:pt x="438" y="730"/>
                        </a:lnTo>
                        <a:lnTo>
                          <a:pt x="436" y="730"/>
                        </a:lnTo>
                        <a:lnTo>
                          <a:pt x="435" y="730"/>
                        </a:lnTo>
                        <a:lnTo>
                          <a:pt x="431" y="730"/>
                        </a:lnTo>
                        <a:lnTo>
                          <a:pt x="430" y="730"/>
                        </a:lnTo>
                        <a:lnTo>
                          <a:pt x="428" y="730"/>
                        </a:lnTo>
                        <a:lnTo>
                          <a:pt x="427" y="730"/>
                        </a:lnTo>
                        <a:lnTo>
                          <a:pt x="425" y="730"/>
                        </a:lnTo>
                        <a:lnTo>
                          <a:pt x="423" y="730"/>
                        </a:lnTo>
                        <a:lnTo>
                          <a:pt x="422" y="730"/>
                        </a:lnTo>
                        <a:lnTo>
                          <a:pt x="420" y="730"/>
                        </a:lnTo>
                        <a:lnTo>
                          <a:pt x="419" y="729"/>
                        </a:lnTo>
                        <a:lnTo>
                          <a:pt x="417" y="729"/>
                        </a:lnTo>
                        <a:lnTo>
                          <a:pt x="416" y="729"/>
                        </a:lnTo>
                        <a:lnTo>
                          <a:pt x="414" y="729"/>
                        </a:lnTo>
                        <a:lnTo>
                          <a:pt x="412" y="729"/>
                        </a:lnTo>
                        <a:lnTo>
                          <a:pt x="411" y="729"/>
                        </a:lnTo>
                        <a:lnTo>
                          <a:pt x="409" y="729"/>
                        </a:lnTo>
                        <a:lnTo>
                          <a:pt x="408" y="729"/>
                        </a:lnTo>
                        <a:lnTo>
                          <a:pt x="406" y="729"/>
                        </a:lnTo>
                        <a:lnTo>
                          <a:pt x="404" y="729"/>
                        </a:lnTo>
                        <a:lnTo>
                          <a:pt x="403" y="729"/>
                        </a:lnTo>
                        <a:lnTo>
                          <a:pt x="401" y="729"/>
                        </a:lnTo>
                        <a:lnTo>
                          <a:pt x="400" y="729"/>
                        </a:lnTo>
                        <a:lnTo>
                          <a:pt x="398" y="729"/>
                        </a:lnTo>
                        <a:lnTo>
                          <a:pt x="395" y="729"/>
                        </a:lnTo>
                        <a:lnTo>
                          <a:pt x="395" y="730"/>
                        </a:lnTo>
                        <a:lnTo>
                          <a:pt x="393" y="730"/>
                        </a:lnTo>
                        <a:lnTo>
                          <a:pt x="392" y="732"/>
                        </a:lnTo>
                        <a:lnTo>
                          <a:pt x="390" y="732"/>
                        </a:lnTo>
                        <a:lnTo>
                          <a:pt x="390" y="733"/>
                        </a:lnTo>
                        <a:lnTo>
                          <a:pt x="389" y="733"/>
                        </a:lnTo>
                        <a:lnTo>
                          <a:pt x="387" y="733"/>
                        </a:lnTo>
                        <a:lnTo>
                          <a:pt x="387" y="732"/>
                        </a:lnTo>
                        <a:lnTo>
                          <a:pt x="385" y="732"/>
                        </a:lnTo>
                        <a:lnTo>
                          <a:pt x="385" y="730"/>
                        </a:lnTo>
                        <a:lnTo>
                          <a:pt x="385" y="729"/>
                        </a:lnTo>
                        <a:lnTo>
                          <a:pt x="384" y="729"/>
                        </a:lnTo>
                        <a:lnTo>
                          <a:pt x="382" y="729"/>
                        </a:lnTo>
                        <a:lnTo>
                          <a:pt x="381" y="729"/>
                        </a:lnTo>
                        <a:lnTo>
                          <a:pt x="379" y="729"/>
                        </a:lnTo>
                        <a:lnTo>
                          <a:pt x="377" y="729"/>
                        </a:lnTo>
                        <a:lnTo>
                          <a:pt x="376" y="729"/>
                        </a:lnTo>
                        <a:lnTo>
                          <a:pt x="374" y="729"/>
                        </a:lnTo>
                        <a:lnTo>
                          <a:pt x="373" y="730"/>
                        </a:lnTo>
                        <a:lnTo>
                          <a:pt x="371" y="730"/>
                        </a:lnTo>
                        <a:lnTo>
                          <a:pt x="371" y="729"/>
                        </a:lnTo>
                        <a:lnTo>
                          <a:pt x="370" y="729"/>
                        </a:lnTo>
                        <a:lnTo>
                          <a:pt x="368" y="729"/>
                        </a:lnTo>
                        <a:lnTo>
                          <a:pt x="366" y="729"/>
                        </a:lnTo>
                        <a:lnTo>
                          <a:pt x="365" y="729"/>
                        </a:lnTo>
                        <a:lnTo>
                          <a:pt x="363" y="730"/>
                        </a:lnTo>
                        <a:lnTo>
                          <a:pt x="362" y="730"/>
                        </a:lnTo>
                        <a:lnTo>
                          <a:pt x="360" y="730"/>
                        </a:lnTo>
                        <a:lnTo>
                          <a:pt x="358" y="730"/>
                        </a:lnTo>
                        <a:lnTo>
                          <a:pt x="357" y="730"/>
                        </a:lnTo>
                        <a:lnTo>
                          <a:pt x="355" y="730"/>
                        </a:lnTo>
                        <a:lnTo>
                          <a:pt x="355" y="732"/>
                        </a:lnTo>
                        <a:lnTo>
                          <a:pt x="354" y="732"/>
                        </a:lnTo>
                        <a:lnTo>
                          <a:pt x="354" y="730"/>
                        </a:lnTo>
                        <a:lnTo>
                          <a:pt x="352" y="730"/>
                        </a:lnTo>
                        <a:lnTo>
                          <a:pt x="352" y="732"/>
                        </a:lnTo>
                        <a:lnTo>
                          <a:pt x="351" y="730"/>
                        </a:lnTo>
                        <a:lnTo>
                          <a:pt x="349" y="730"/>
                        </a:lnTo>
                        <a:lnTo>
                          <a:pt x="349" y="729"/>
                        </a:lnTo>
                        <a:lnTo>
                          <a:pt x="347" y="729"/>
                        </a:lnTo>
                        <a:lnTo>
                          <a:pt x="347" y="727"/>
                        </a:lnTo>
                        <a:lnTo>
                          <a:pt x="346" y="727"/>
                        </a:lnTo>
                        <a:lnTo>
                          <a:pt x="344" y="727"/>
                        </a:lnTo>
                        <a:lnTo>
                          <a:pt x="344" y="725"/>
                        </a:lnTo>
                        <a:lnTo>
                          <a:pt x="343" y="725"/>
                        </a:lnTo>
                        <a:lnTo>
                          <a:pt x="341" y="724"/>
                        </a:lnTo>
                        <a:lnTo>
                          <a:pt x="339" y="724"/>
                        </a:lnTo>
                        <a:lnTo>
                          <a:pt x="338" y="724"/>
                        </a:lnTo>
                        <a:lnTo>
                          <a:pt x="336" y="724"/>
                        </a:lnTo>
                        <a:lnTo>
                          <a:pt x="335" y="722"/>
                        </a:lnTo>
                        <a:lnTo>
                          <a:pt x="333" y="722"/>
                        </a:lnTo>
                        <a:lnTo>
                          <a:pt x="332" y="722"/>
                        </a:lnTo>
                        <a:lnTo>
                          <a:pt x="330" y="722"/>
                        </a:lnTo>
                        <a:lnTo>
                          <a:pt x="328" y="722"/>
                        </a:lnTo>
                        <a:lnTo>
                          <a:pt x="327" y="724"/>
                        </a:lnTo>
                        <a:lnTo>
                          <a:pt x="327" y="725"/>
                        </a:lnTo>
                        <a:lnTo>
                          <a:pt x="325" y="725"/>
                        </a:lnTo>
                        <a:lnTo>
                          <a:pt x="325" y="727"/>
                        </a:lnTo>
                        <a:lnTo>
                          <a:pt x="324" y="729"/>
                        </a:lnTo>
                        <a:lnTo>
                          <a:pt x="322" y="729"/>
                        </a:lnTo>
                        <a:lnTo>
                          <a:pt x="322" y="730"/>
                        </a:lnTo>
                        <a:lnTo>
                          <a:pt x="320" y="730"/>
                        </a:lnTo>
                        <a:lnTo>
                          <a:pt x="320" y="732"/>
                        </a:lnTo>
                        <a:lnTo>
                          <a:pt x="320" y="733"/>
                        </a:lnTo>
                        <a:lnTo>
                          <a:pt x="319" y="733"/>
                        </a:lnTo>
                        <a:lnTo>
                          <a:pt x="319" y="735"/>
                        </a:lnTo>
                        <a:lnTo>
                          <a:pt x="319" y="736"/>
                        </a:lnTo>
                        <a:lnTo>
                          <a:pt x="317" y="736"/>
                        </a:lnTo>
                        <a:lnTo>
                          <a:pt x="317" y="738"/>
                        </a:lnTo>
                        <a:lnTo>
                          <a:pt x="317" y="740"/>
                        </a:lnTo>
                        <a:lnTo>
                          <a:pt x="316" y="740"/>
                        </a:lnTo>
                        <a:lnTo>
                          <a:pt x="316" y="741"/>
                        </a:lnTo>
                        <a:lnTo>
                          <a:pt x="316" y="743"/>
                        </a:lnTo>
                        <a:lnTo>
                          <a:pt x="314" y="743"/>
                        </a:lnTo>
                        <a:lnTo>
                          <a:pt x="314" y="744"/>
                        </a:lnTo>
                        <a:lnTo>
                          <a:pt x="313" y="744"/>
                        </a:lnTo>
                        <a:lnTo>
                          <a:pt x="313" y="746"/>
                        </a:lnTo>
                        <a:lnTo>
                          <a:pt x="313" y="748"/>
                        </a:lnTo>
                        <a:lnTo>
                          <a:pt x="311" y="749"/>
                        </a:lnTo>
                        <a:lnTo>
                          <a:pt x="311" y="751"/>
                        </a:lnTo>
                        <a:lnTo>
                          <a:pt x="311" y="752"/>
                        </a:lnTo>
                        <a:lnTo>
                          <a:pt x="309" y="754"/>
                        </a:lnTo>
                        <a:lnTo>
                          <a:pt x="308" y="755"/>
                        </a:lnTo>
                        <a:lnTo>
                          <a:pt x="306" y="755"/>
                        </a:lnTo>
                        <a:lnTo>
                          <a:pt x="306" y="757"/>
                        </a:lnTo>
                        <a:lnTo>
                          <a:pt x="305" y="757"/>
                        </a:lnTo>
                        <a:lnTo>
                          <a:pt x="303" y="757"/>
                        </a:lnTo>
                        <a:lnTo>
                          <a:pt x="301" y="757"/>
                        </a:lnTo>
                        <a:lnTo>
                          <a:pt x="301" y="755"/>
                        </a:lnTo>
                        <a:lnTo>
                          <a:pt x="300" y="755"/>
                        </a:lnTo>
                        <a:lnTo>
                          <a:pt x="298" y="755"/>
                        </a:lnTo>
                        <a:lnTo>
                          <a:pt x="297" y="755"/>
                        </a:lnTo>
                        <a:lnTo>
                          <a:pt x="295" y="755"/>
                        </a:lnTo>
                        <a:lnTo>
                          <a:pt x="294" y="755"/>
                        </a:lnTo>
                        <a:lnTo>
                          <a:pt x="292" y="755"/>
                        </a:lnTo>
                        <a:lnTo>
                          <a:pt x="290" y="755"/>
                        </a:lnTo>
                        <a:lnTo>
                          <a:pt x="289" y="755"/>
                        </a:lnTo>
                        <a:lnTo>
                          <a:pt x="287" y="757"/>
                        </a:lnTo>
                        <a:lnTo>
                          <a:pt x="286" y="757"/>
                        </a:lnTo>
                        <a:lnTo>
                          <a:pt x="286" y="759"/>
                        </a:lnTo>
                        <a:lnTo>
                          <a:pt x="284" y="759"/>
                        </a:lnTo>
                        <a:lnTo>
                          <a:pt x="282" y="760"/>
                        </a:lnTo>
                        <a:lnTo>
                          <a:pt x="281" y="760"/>
                        </a:lnTo>
                        <a:lnTo>
                          <a:pt x="279" y="760"/>
                        </a:lnTo>
                        <a:lnTo>
                          <a:pt x="278" y="760"/>
                        </a:lnTo>
                        <a:lnTo>
                          <a:pt x="276" y="760"/>
                        </a:lnTo>
                        <a:lnTo>
                          <a:pt x="275" y="762"/>
                        </a:lnTo>
                        <a:lnTo>
                          <a:pt x="273" y="762"/>
                        </a:lnTo>
                        <a:lnTo>
                          <a:pt x="271" y="763"/>
                        </a:lnTo>
                        <a:lnTo>
                          <a:pt x="270" y="763"/>
                        </a:lnTo>
                        <a:lnTo>
                          <a:pt x="268" y="763"/>
                        </a:lnTo>
                        <a:lnTo>
                          <a:pt x="267" y="763"/>
                        </a:lnTo>
                        <a:lnTo>
                          <a:pt x="265" y="763"/>
                        </a:lnTo>
                        <a:lnTo>
                          <a:pt x="263" y="763"/>
                        </a:lnTo>
                        <a:lnTo>
                          <a:pt x="262" y="762"/>
                        </a:lnTo>
                        <a:lnTo>
                          <a:pt x="260" y="762"/>
                        </a:lnTo>
                        <a:lnTo>
                          <a:pt x="259" y="762"/>
                        </a:lnTo>
                        <a:lnTo>
                          <a:pt x="257" y="762"/>
                        </a:lnTo>
                        <a:lnTo>
                          <a:pt x="256" y="762"/>
                        </a:lnTo>
                        <a:lnTo>
                          <a:pt x="254" y="762"/>
                        </a:lnTo>
                        <a:lnTo>
                          <a:pt x="252" y="762"/>
                        </a:lnTo>
                        <a:lnTo>
                          <a:pt x="251" y="762"/>
                        </a:lnTo>
                        <a:lnTo>
                          <a:pt x="249" y="762"/>
                        </a:lnTo>
                        <a:lnTo>
                          <a:pt x="248" y="762"/>
                        </a:lnTo>
                        <a:lnTo>
                          <a:pt x="246" y="762"/>
                        </a:lnTo>
                        <a:lnTo>
                          <a:pt x="246" y="763"/>
                        </a:lnTo>
                        <a:lnTo>
                          <a:pt x="244" y="763"/>
                        </a:lnTo>
                        <a:lnTo>
                          <a:pt x="243" y="763"/>
                        </a:lnTo>
                        <a:lnTo>
                          <a:pt x="241" y="763"/>
                        </a:lnTo>
                        <a:lnTo>
                          <a:pt x="240" y="763"/>
                        </a:lnTo>
                        <a:lnTo>
                          <a:pt x="238" y="763"/>
                        </a:lnTo>
                        <a:lnTo>
                          <a:pt x="238" y="765"/>
                        </a:lnTo>
                        <a:lnTo>
                          <a:pt x="237" y="765"/>
                        </a:lnTo>
                        <a:lnTo>
                          <a:pt x="235" y="765"/>
                        </a:lnTo>
                        <a:lnTo>
                          <a:pt x="233" y="767"/>
                        </a:lnTo>
                        <a:lnTo>
                          <a:pt x="232" y="767"/>
                        </a:lnTo>
                        <a:lnTo>
                          <a:pt x="230" y="767"/>
                        </a:lnTo>
                        <a:lnTo>
                          <a:pt x="229" y="767"/>
                        </a:lnTo>
                        <a:lnTo>
                          <a:pt x="227" y="768"/>
                        </a:lnTo>
                        <a:lnTo>
                          <a:pt x="225" y="768"/>
                        </a:lnTo>
                        <a:lnTo>
                          <a:pt x="224" y="768"/>
                        </a:lnTo>
                        <a:lnTo>
                          <a:pt x="222" y="770"/>
                        </a:lnTo>
                        <a:lnTo>
                          <a:pt x="221" y="770"/>
                        </a:lnTo>
                        <a:lnTo>
                          <a:pt x="221" y="771"/>
                        </a:lnTo>
                        <a:lnTo>
                          <a:pt x="219" y="771"/>
                        </a:lnTo>
                        <a:lnTo>
                          <a:pt x="218" y="773"/>
                        </a:lnTo>
                        <a:lnTo>
                          <a:pt x="216" y="773"/>
                        </a:lnTo>
                        <a:lnTo>
                          <a:pt x="214" y="773"/>
                        </a:lnTo>
                        <a:lnTo>
                          <a:pt x="213" y="774"/>
                        </a:lnTo>
                        <a:lnTo>
                          <a:pt x="211" y="774"/>
                        </a:lnTo>
                        <a:lnTo>
                          <a:pt x="211" y="776"/>
                        </a:lnTo>
                        <a:lnTo>
                          <a:pt x="210" y="776"/>
                        </a:lnTo>
                        <a:lnTo>
                          <a:pt x="208" y="776"/>
                        </a:lnTo>
                        <a:lnTo>
                          <a:pt x="208" y="778"/>
                        </a:lnTo>
                        <a:lnTo>
                          <a:pt x="206" y="778"/>
                        </a:lnTo>
                        <a:lnTo>
                          <a:pt x="205" y="778"/>
                        </a:lnTo>
                        <a:lnTo>
                          <a:pt x="203" y="779"/>
                        </a:lnTo>
                        <a:lnTo>
                          <a:pt x="202" y="779"/>
                        </a:lnTo>
                        <a:lnTo>
                          <a:pt x="200" y="779"/>
                        </a:lnTo>
                        <a:lnTo>
                          <a:pt x="199" y="781"/>
                        </a:lnTo>
                        <a:lnTo>
                          <a:pt x="197" y="781"/>
                        </a:lnTo>
                        <a:lnTo>
                          <a:pt x="195" y="782"/>
                        </a:lnTo>
                        <a:lnTo>
                          <a:pt x="194" y="782"/>
                        </a:lnTo>
                        <a:lnTo>
                          <a:pt x="192" y="784"/>
                        </a:lnTo>
                        <a:lnTo>
                          <a:pt x="191" y="784"/>
                        </a:lnTo>
                        <a:lnTo>
                          <a:pt x="189" y="784"/>
                        </a:lnTo>
                        <a:lnTo>
                          <a:pt x="187" y="786"/>
                        </a:lnTo>
                        <a:lnTo>
                          <a:pt x="187" y="784"/>
                        </a:lnTo>
                        <a:lnTo>
                          <a:pt x="186" y="782"/>
                        </a:lnTo>
                        <a:lnTo>
                          <a:pt x="186" y="781"/>
                        </a:lnTo>
                        <a:lnTo>
                          <a:pt x="184" y="781"/>
                        </a:lnTo>
                        <a:lnTo>
                          <a:pt x="184" y="779"/>
                        </a:lnTo>
                        <a:lnTo>
                          <a:pt x="183" y="778"/>
                        </a:lnTo>
                        <a:lnTo>
                          <a:pt x="181" y="776"/>
                        </a:lnTo>
                        <a:lnTo>
                          <a:pt x="179" y="774"/>
                        </a:lnTo>
                        <a:lnTo>
                          <a:pt x="178" y="773"/>
                        </a:lnTo>
                        <a:lnTo>
                          <a:pt x="176" y="771"/>
                        </a:lnTo>
                        <a:lnTo>
                          <a:pt x="176" y="770"/>
                        </a:lnTo>
                        <a:lnTo>
                          <a:pt x="176" y="768"/>
                        </a:lnTo>
                        <a:lnTo>
                          <a:pt x="176" y="767"/>
                        </a:lnTo>
                        <a:lnTo>
                          <a:pt x="175" y="765"/>
                        </a:lnTo>
                        <a:lnTo>
                          <a:pt x="175" y="763"/>
                        </a:lnTo>
                        <a:lnTo>
                          <a:pt x="173" y="763"/>
                        </a:lnTo>
                        <a:lnTo>
                          <a:pt x="173" y="762"/>
                        </a:lnTo>
                        <a:lnTo>
                          <a:pt x="173" y="760"/>
                        </a:lnTo>
                        <a:lnTo>
                          <a:pt x="173" y="759"/>
                        </a:lnTo>
                        <a:lnTo>
                          <a:pt x="173" y="757"/>
                        </a:lnTo>
                        <a:lnTo>
                          <a:pt x="173" y="755"/>
                        </a:lnTo>
                        <a:lnTo>
                          <a:pt x="173" y="754"/>
                        </a:lnTo>
                        <a:lnTo>
                          <a:pt x="173" y="752"/>
                        </a:lnTo>
                        <a:lnTo>
                          <a:pt x="173" y="751"/>
                        </a:lnTo>
                        <a:lnTo>
                          <a:pt x="173" y="749"/>
                        </a:lnTo>
                        <a:lnTo>
                          <a:pt x="173" y="748"/>
                        </a:lnTo>
                        <a:lnTo>
                          <a:pt x="172" y="746"/>
                        </a:lnTo>
                        <a:lnTo>
                          <a:pt x="172" y="744"/>
                        </a:lnTo>
                        <a:lnTo>
                          <a:pt x="170" y="743"/>
                        </a:lnTo>
                        <a:lnTo>
                          <a:pt x="170" y="741"/>
                        </a:lnTo>
                        <a:lnTo>
                          <a:pt x="168" y="741"/>
                        </a:lnTo>
                        <a:lnTo>
                          <a:pt x="168" y="740"/>
                        </a:lnTo>
                        <a:lnTo>
                          <a:pt x="167" y="740"/>
                        </a:lnTo>
                        <a:lnTo>
                          <a:pt x="165" y="738"/>
                        </a:lnTo>
                        <a:lnTo>
                          <a:pt x="165" y="740"/>
                        </a:lnTo>
                        <a:lnTo>
                          <a:pt x="164" y="738"/>
                        </a:lnTo>
                        <a:lnTo>
                          <a:pt x="162" y="740"/>
                        </a:lnTo>
                        <a:lnTo>
                          <a:pt x="160" y="740"/>
                        </a:lnTo>
                        <a:lnTo>
                          <a:pt x="159" y="740"/>
                        </a:lnTo>
                        <a:lnTo>
                          <a:pt x="157" y="740"/>
                        </a:lnTo>
                        <a:lnTo>
                          <a:pt x="156" y="741"/>
                        </a:lnTo>
                        <a:lnTo>
                          <a:pt x="154" y="743"/>
                        </a:lnTo>
                        <a:lnTo>
                          <a:pt x="153" y="743"/>
                        </a:lnTo>
                        <a:lnTo>
                          <a:pt x="151" y="744"/>
                        </a:lnTo>
                        <a:lnTo>
                          <a:pt x="149" y="744"/>
                        </a:lnTo>
                        <a:lnTo>
                          <a:pt x="148" y="744"/>
                        </a:lnTo>
                        <a:lnTo>
                          <a:pt x="146" y="744"/>
                        </a:lnTo>
                        <a:lnTo>
                          <a:pt x="146" y="743"/>
                        </a:lnTo>
                        <a:lnTo>
                          <a:pt x="146" y="741"/>
                        </a:lnTo>
                        <a:lnTo>
                          <a:pt x="146" y="738"/>
                        </a:lnTo>
                        <a:lnTo>
                          <a:pt x="146" y="736"/>
                        </a:lnTo>
                        <a:lnTo>
                          <a:pt x="146" y="735"/>
                        </a:lnTo>
                        <a:lnTo>
                          <a:pt x="146" y="733"/>
                        </a:lnTo>
                        <a:lnTo>
                          <a:pt x="145" y="732"/>
                        </a:lnTo>
                        <a:lnTo>
                          <a:pt x="145" y="730"/>
                        </a:lnTo>
                        <a:lnTo>
                          <a:pt x="145" y="729"/>
                        </a:lnTo>
                        <a:lnTo>
                          <a:pt x="145" y="727"/>
                        </a:lnTo>
                        <a:lnTo>
                          <a:pt x="145" y="725"/>
                        </a:lnTo>
                        <a:lnTo>
                          <a:pt x="145" y="724"/>
                        </a:lnTo>
                        <a:lnTo>
                          <a:pt x="145" y="722"/>
                        </a:lnTo>
                        <a:lnTo>
                          <a:pt x="145" y="721"/>
                        </a:lnTo>
                        <a:lnTo>
                          <a:pt x="145" y="719"/>
                        </a:lnTo>
                        <a:lnTo>
                          <a:pt x="145" y="717"/>
                        </a:lnTo>
                        <a:lnTo>
                          <a:pt x="143" y="716"/>
                        </a:lnTo>
                        <a:lnTo>
                          <a:pt x="143" y="714"/>
                        </a:lnTo>
                        <a:lnTo>
                          <a:pt x="143" y="713"/>
                        </a:lnTo>
                        <a:lnTo>
                          <a:pt x="143" y="711"/>
                        </a:lnTo>
                        <a:lnTo>
                          <a:pt x="141" y="710"/>
                        </a:lnTo>
                        <a:lnTo>
                          <a:pt x="141" y="708"/>
                        </a:lnTo>
                        <a:lnTo>
                          <a:pt x="140" y="706"/>
                        </a:lnTo>
                        <a:lnTo>
                          <a:pt x="140" y="705"/>
                        </a:lnTo>
                        <a:lnTo>
                          <a:pt x="138" y="703"/>
                        </a:lnTo>
                        <a:lnTo>
                          <a:pt x="137" y="703"/>
                        </a:lnTo>
                        <a:lnTo>
                          <a:pt x="135" y="702"/>
                        </a:lnTo>
                        <a:lnTo>
                          <a:pt x="134" y="700"/>
                        </a:lnTo>
                        <a:lnTo>
                          <a:pt x="132" y="700"/>
                        </a:lnTo>
                        <a:lnTo>
                          <a:pt x="132" y="698"/>
                        </a:lnTo>
                        <a:lnTo>
                          <a:pt x="130" y="698"/>
                        </a:lnTo>
                        <a:lnTo>
                          <a:pt x="129" y="697"/>
                        </a:lnTo>
                        <a:lnTo>
                          <a:pt x="127" y="697"/>
                        </a:lnTo>
                        <a:lnTo>
                          <a:pt x="126" y="695"/>
                        </a:lnTo>
                        <a:lnTo>
                          <a:pt x="124" y="694"/>
                        </a:lnTo>
                        <a:lnTo>
                          <a:pt x="122" y="692"/>
                        </a:lnTo>
                        <a:lnTo>
                          <a:pt x="121" y="692"/>
                        </a:lnTo>
                        <a:lnTo>
                          <a:pt x="119" y="690"/>
                        </a:lnTo>
                        <a:lnTo>
                          <a:pt x="118" y="690"/>
                        </a:lnTo>
                        <a:lnTo>
                          <a:pt x="116" y="689"/>
                        </a:lnTo>
                        <a:lnTo>
                          <a:pt x="113" y="689"/>
                        </a:lnTo>
                        <a:lnTo>
                          <a:pt x="111" y="687"/>
                        </a:lnTo>
                        <a:lnTo>
                          <a:pt x="110" y="686"/>
                        </a:lnTo>
                        <a:lnTo>
                          <a:pt x="108" y="686"/>
                        </a:lnTo>
                        <a:lnTo>
                          <a:pt x="107" y="686"/>
                        </a:lnTo>
                        <a:lnTo>
                          <a:pt x="105" y="684"/>
                        </a:lnTo>
                        <a:lnTo>
                          <a:pt x="103" y="683"/>
                        </a:lnTo>
                        <a:lnTo>
                          <a:pt x="102" y="683"/>
                        </a:lnTo>
                        <a:lnTo>
                          <a:pt x="100" y="681"/>
                        </a:lnTo>
                        <a:lnTo>
                          <a:pt x="97" y="681"/>
                        </a:lnTo>
                        <a:lnTo>
                          <a:pt x="96" y="681"/>
                        </a:lnTo>
                        <a:lnTo>
                          <a:pt x="94" y="679"/>
                        </a:lnTo>
                        <a:lnTo>
                          <a:pt x="92" y="679"/>
                        </a:lnTo>
                        <a:lnTo>
                          <a:pt x="91" y="678"/>
                        </a:lnTo>
                        <a:lnTo>
                          <a:pt x="89" y="676"/>
                        </a:lnTo>
                        <a:lnTo>
                          <a:pt x="88" y="675"/>
                        </a:lnTo>
                        <a:lnTo>
                          <a:pt x="86" y="675"/>
                        </a:lnTo>
                        <a:lnTo>
                          <a:pt x="84" y="675"/>
                        </a:lnTo>
                        <a:lnTo>
                          <a:pt x="83" y="673"/>
                        </a:lnTo>
                        <a:lnTo>
                          <a:pt x="81" y="671"/>
                        </a:lnTo>
                        <a:lnTo>
                          <a:pt x="78" y="670"/>
                        </a:lnTo>
                        <a:lnTo>
                          <a:pt x="77" y="670"/>
                        </a:lnTo>
                        <a:lnTo>
                          <a:pt x="75" y="668"/>
                        </a:lnTo>
                        <a:lnTo>
                          <a:pt x="73" y="667"/>
                        </a:lnTo>
                        <a:lnTo>
                          <a:pt x="72" y="665"/>
                        </a:lnTo>
                        <a:lnTo>
                          <a:pt x="70" y="664"/>
                        </a:lnTo>
                        <a:lnTo>
                          <a:pt x="69" y="664"/>
                        </a:lnTo>
                        <a:lnTo>
                          <a:pt x="69" y="662"/>
                        </a:lnTo>
                        <a:lnTo>
                          <a:pt x="67" y="660"/>
                        </a:lnTo>
                        <a:lnTo>
                          <a:pt x="65" y="659"/>
                        </a:lnTo>
                        <a:lnTo>
                          <a:pt x="64" y="659"/>
                        </a:lnTo>
                        <a:lnTo>
                          <a:pt x="64" y="657"/>
                        </a:lnTo>
                        <a:lnTo>
                          <a:pt x="62" y="656"/>
                        </a:lnTo>
                        <a:lnTo>
                          <a:pt x="62" y="654"/>
                        </a:lnTo>
                        <a:lnTo>
                          <a:pt x="67" y="654"/>
                        </a:lnTo>
                        <a:lnTo>
                          <a:pt x="65" y="652"/>
                        </a:lnTo>
                        <a:lnTo>
                          <a:pt x="62" y="649"/>
                        </a:lnTo>
                        <a:lnTo>
                          <a:pt x="59" y="648"/>
                        </a:lnTo>
                        <a:lnTo>
                          <a:pt x="54" y="645"/>
                        </a:lnTo>
                        <a:lnTo>
                          <a:pt x="51" y="643"/>
                        </a:lnTo>
                        <a:lnTo>
                          <a:pt x="45" y="643"/>
                        </a:lnTo>
                        <a:lnTo>
                          <a:pt x="43" y="641"/>
                        </a:lnTo>
                        <a:lnTo>
                          <a:pt x="39" y="641"/>
                        </a:lnTo>
                        <a:lnTo>
                          <a:pt x="32" y="641"/>
                        </a:lnTo>
                        <a:lnTo>
                          <a:pt x="15" y="641"/>
                        </a:lnTo>
                        <a:lnTo>
                          <a:pt x="2" y="643"/>
                        </a:lnTo>
                        <a:lnTo>
                          <a:pt x="2" y="640"/>
                        </a:lnTo>
                        <a:lnTo>
                          <a:pt x="2" y="626"/>
                        </a:lnTo>
                        <a:lnTo>
                          <a:pt x="0" y="619"/>
                        </a:lnTo>
                        <a:lnTo>
                          <a:pt x="0" y="616"/>
                        </a:lnTo>
                        <a:lnTo>
                          <a:pt x="4" y="611"/>
                        </a:lnTo>
                        <a:lnTo>
                          <a:pt x="5" y="611"/>
                        </a:lnTo>
                        <a:lnTo>
                          <a:pt x="8" y="610"/>
                        </a:lnTo>
                        <a:lnTo>
                          <a:pt x="12" y="608"/>
                        </a:lnTo>
                        <a:lnTo>
                          <a:pt x="16" y="607"/>
                        </a:lnTo>
                        <a:lnTo>
                          <a:pt x="20" y="605"/>
                        </a:lnTo>
                        <a:lnTo>
                          <a:pt x="24" y="605"/>
                        </a:lnTo>
                        <a:lnTo>
                          <a:pt x="53" y="599"/>
                        </a:lnTo>
                        <a:lnTo>
                          <a:pt x="54" y="597"/>
                        </a:lnTo>
                        <a:lnTo>
                          <a:pt x="56" y="597"/>
                        </a:lnTo>
                        <a:lnTo>
                          <a:pt x="58" y="597"/>
                        </a:lnTo>
                        <a:lnTo>
                          <a:pt x="64" y="594"/>
                        </a:lnTo>
                        <a:lnTo>
                          <a:pt x="83" y="583"/>
                        </a:lnTo>
                        <a:lnTo>
                          <a:pt x="84" y="581"/>
                        </a:lnTo>
                        <a:lnTo>
                          <a:pt x="92" y="575"/>
                        </a:lnTo>
                        <a:lnTo>
                          <a:pt x="94" y="573"/>
                        </a:lnTo>
                        <a:lnTo>
                          <a:pt x="96" y="572"/>
                        </a:lnTo>
                        <a:lnTo>
                          <a:pt x="97" y="570"/>
                        </a:lnTo>
                        <a:lnTo>
                          <a:pt x="99" y="565"/>
                        </a:lnTo>
                        <a:lnTo>
                          <a:pt x="100" y="561"/>
                        </a:lnTo>
                        <a:lnTo>
                          <a:pt x="100" y="559"/>
                        </a:lnTo>
                        <a:lnTo>
                          <a:pt x="102" y="548"/>
                        </a:lnTo>
                        <a:lnTo>
                          <a:pt x="102" y="545"/>
                        </a:lnTo>
                        <a:lnTo>
                          <a:pt x="102" y="543"/>
                        </a:lnTo>
                        <a:lnTo>
                          <a:pt x="102" y="542"/>
                        </a:lnTo>
                        <a:lnTo>
                          <a:pt x="105" y="534"/>
                        </a:lnTo>
                        <a:lnTo>
                          <a:pt x="108" y="531"/>
                        </a:lnTo>
                        <a:lnTo>
                          <a:pt x="111" y="529"/>
                        </a:lnTo>
                        <a:lnTo>
                          <a:pt x="113" y="527"/>
                        </a:lnTo>
                        <a:lnTo>
                          <a:pt x="130" y="519"/>
                        </a:lnTo>
                        <a:lnTo>
                          <a:pt x="134" y="516"/>
                        </a:lnTo>
                        <a:lnTo>
                          <a:pt x="135" y="515"/>
                        </a:lnTo>
                        <a:lnTo>
                          <a:pt x="138" y="511"/>
                        </a:lnTo>
                        <a:lnTo>
                          <a:pt x="140" y="510"/>
                        </a:lnTo>
                        <a:lnTo>
                          <a:pt x="141" y="505"/>
                        </a:lnTo>
                        <a:lnTo>
                          <a:pt x="141" y="502"/>
                        </a:lnTo>
                        <a:lnTo>
                          <a:pt x="143" y="491"/>
                        </a:lnTo>
                        <a:lnTo>
                          <a:pt x="145" y="486"/>
                        </a:lnTo>
                        <a:lnTo>
                          <a:pt x="143" y="478"/>
                        </a:lnTo>
                        <a:lnTo>
                          <a:pt x="143" y="470"/>
                        </a:lnTo>
                        <a:lnTo>
                          <a:pt x="141" y="448"/>
                        </a:lnTo>
                        <a:lnTo>
                          <a:pt x="141" y="442"/>
                        </a:lnTo>
                        <a:lnTo>
                          <a:pt x="141" y="439"/>
                        </a:lnTo>
                        <a:lnTo>
                          <a:pt x="143" y="434"/>
                        </a:lnTo>
                        <a:lnTo>
                          <a:pt x="145" y="432"/>
                        </a:lnTo>
                        <a:lnTo>
                          <a:pt x="148" y="428"/>
                        </a:lnTo>
                        <a:lnTo>
                          <a:pt x="156" y="421"/>
                        </a:lnTo>
                        <a:lnTo>
                          <a:pt x="162" y="420"/>
                        </a:lnTo>
                        <a:lnTo>
                          <a:pt x="162" y="418"/>
                        </a:lnTo>
                        <a:lnTo>
                          <a:pt x="164" y="418"/>
                        </a:lnTo>
                        <a:lnTo>
                          <a:pt x="172" y="413"/>
                        </a:lnTo>
                        <a:lnTo>
                          <a:pt x="173" y="412"/>
                        </a:lnTo>
                        <a:lnTo>
                          <a:pt x="176" y="405"/>
                        </a:lnTo>
                        <a:lnTo>
                          <a:pt x="179" y="397"/>
                        </a:lnTo>
                        <a:lnTo>
                          <a:pt x="179" y="396"/>
                        </a:lnTo>
                        <a:lnTo>
                          <a:pt x="183" y="393"/>
                        </a:lnTo>
                        <a:lnTo>
                          <a:pt x="183" y="391"/>
                        </a:lnTo>
                        <a:lnTo>
                          <a:pt x="184" y="388"/>
                        </a:lnTo>
                        <a:lnTo>
                          <a:pt x="183" y="386"/>
                        </a:lnTo>
                        <a:lnTo>
                          <a:pt x="183" y="385"/>
                        </a:lnTo>
                        <a:lnTo>
                          <a:pt x="183" y="383"/>
                        </a:lnTo>
                        <a:lnTo>
                          <a:pt x="181" y="382"/>
                        </a:lnTo>
                        <a:lnTo>
                          <a:pt x="181" y="380"/>
                        </a:lnTo>
                        <a:lnTo>
                          <a:pt x="179" y="378"/>
                        </a:lnTo>
                        <a:lnTo>
                          <a:pt x="176" y="375"/>
                        </a:lnTo>
                        <a:lnTo>
                          <a:pt x="176" y="372"/>
                        </a:lnTo>
                        <a:lnTo>
                          <a:pt x="175" y="371"/>
                        </a:lnTo>
                        <a:lnTo>
                          <a:pt x="175" y="367"/>
                        </a:lnTo>
                        <a:lnTo>
                          <a:pt x="175" y="366"/>
                        </a:lnTo>
                        <a:lnTo>
                          <a:pt x="178" y="358"/>
                        </a:lnTo>
                        <a:lnTo>
                          <a:pt x="176" y="355"/>
                        </a:lnTo>
                        <a:lnTo>
                          <a:pt x="176" y="353"/>
                        </a:lnTo>
                        <a:lnTo>
                          <a:pt x="175" y="339"/>
                        </a:lnTo>
                        <a:lnTo>
                          <a:pt x="176" y="337"/>
                        </a:lnTo>
                        <a:lnTo>
                          <a:pt x="178" y="334"/>
                        </a:lnTo>
                        <a:lnTo>
                          <a:pt x="181" y="329"/>
                        </a:lnTo>
                        <a:lnTo>
                          <a:pt x="181" y="328"/>
                        </a:lnTo>
                        <a:lnTo>
                          <a:pt x="181" y="326"/>
                        </a:lnTo>
                        <a:lnTo>
                          <a:pt x="176" y="318"/>
                        </a:lnTo>
                        <a:lnTo>
                          <a:pt x="175" y="317"/>
                        </a:lnTo>
                        <a:lnTo>
                          <a:pt x="173" y="313"/>
                        </a:lnTo>
                        <a:lnTo>
                          <a:pt x="172" y="310"/>
                        </a:lnTo>
                        <a:lnTo>
                          <a:pt x="170" y="302"/>
                        </a:lnTo>
                        <a:lnTo>
                          <a:pt x="170" y="299"/>
                        </a:lnTo>
                        <a:lnTo>
                          <a:pt x="170" y="294"/>
                        </a:lnTo>
                        <a:lnTo>
                          <a:pt x="167" y="291"/>
                        </a:lnTo>
                        <a:lnTo>
                          <a:pt x="165" y="290"/>
                        </a:lnTo>
                        <a:lnTo>
                          <a:pt x="162" y="288"/>
                        </a:lnTo>
                        <a:lnTo>
                          <a:pt x="159" y="283"/>
                        </a:lnTo>
                        <a:lnTo>
                          <a:pt x="159" y="282"/>
                        </a:lnTo>
                        <a:lnTo>
                          <a:pt x="154" y="282"/>
                        </a:lnTo>
                        <a:lnTo>
                          <a:pt x="149" y="282"/>
                        </a:lnTo>
                        <a:lnTo>
                          <a:pt x="145" y="282"/>
                        </a:lnTo>
                        <a:lnTo>
                          <a:pt x="135" y="283"/>
                        </a:lnTo>
                        <a:lnTo>
                          <a:pt x="132" y="282"/>
                        </a:lnTo>
                        <a:lnTo>
                          <a:pt x="130" y="280"/>
                        </a:lnTo>
                        <a:lnTo>
                          <a:pt x="126" y="279"/>
                        </a:lnTo>
                        <a:lnTo>
                          <a:pt x="122" y="274"/>
                        </a:lnTo>
                        <a:lnTo>
                          <a:pt x="122" y="272"/>
                        </a:lnTo>
                        <a:lnTo>
                          <a:pt x="122" y="269"/>
                        </a:lnTo>
                        <a:lnTo>
                          <a:pt x="126" y="263"/>
                        </a:lnTo>
                        <a:lnTo>
                          <a:pt x="127" y="258"/>
                        </a:lnTo>
                        <a:lnTo>
                          <a:pt x="129" y="256"/>
                        </a:lnTo>
                        <a:lnTo>
                          <a:pt x="129" y="255"/>
                        </a:lnTo>
                        <a:lnTo>
                          <a:pt x="137" y="239"/>
                        </a:lnTo>
                        <a:lnTo>
                          <a:pt x="140" y="233"/>
                        </a:lnTo>
                        <a:lnTo>
                          <a:pt x="140" y="231"/>
                        </a:lnTo>
                        <a:lnTo>
                          <a:pt x="140" y="228"/>
                        </a:lnTo>
                        <a:lnTo>
                          <a:pt x="138" y="225"/>
                        </a:lnTo>
                        <a:lnTo>
                          <a:pt x="138" y="223"/>
                        </a:lnTo>
                        <a:lnTo>
                          <a:pt x="137" y="217"/>
                        </a:lnTo>
                        <a:lnTo>
                          <a:pt x="138" y="214"/>
                        </a:lnTo>
                        <a:lnTo>
                          <a:pt x="140" y="211"/>
                        </a:lnTo>
                        <a:lnTo>
                          <a:pt x="140" y="206"/>
                        </a:lnTo>
                        <a:lnTo>
                          <a:pt x="140" y="204"/>
                        </a:lnTo>
                        <a:lnTo>
                          <a:pt x="141" y="199"/>
                        </a:lnTo>
                        <a:lnTo>
                          <a:pt x="143" y="196"/>
                        </a:lnTo>
                        <a:lnTo>
                          <a:pt x="143" y="195"/>
                        </a:lnTo>
                        <a:lnTo>
                          <a:pt x="143" y="193"/>
                        </a:lnTo>
                        <a:lnTo>
                          <a:pt x="141" y="190"/>
                        </a:lnTo>
                        <a:lnTo>
                          <a:pt x="145" y="184"/>
                        </a:lnTo>
                        <a:lnTo>
                          <a:pt x="141" y="184"/>
                        </a:lnTo>
                        <a:lnTo>
                          <a:pt x="140" y="182"/>
                        </a:lnTo>
                        <a:lnTo>
                          <a:pt x="138" y="184"/>
                        </a:lnTo>
                        <a:lnTo>
                          <a:pt x="135" y="185"/>
                        </a:lnTo>
                        <a:lnTo>
                          <a:pt x="134" y="187"/>
                        </a:lnTo>
                        <a:lnTo>
                          <a:pt x="130" y="187"/>
                        </a:lnTo>
                        <a:lnTo>
                          <a:pt x="129" y="185"/>
                        </a:lnTo>
                        <a:lnTo>
                          <a:pt x="124" y="180"/>
                        </a:lnTo>
                        <a:lnTo>
                          <a:pt x="126" y="177"/>
                        </a:lnTo>
                        <a:lnTo>
                          <a:pt x="124" y="174"/>
                        </a:lnTo>
                        <a:lnTo>
                          <a:pt x="124" y="173"/>
                        </a:lnTo>
                        <a:lnTo>
                          <a:pt x="122" y="171"/>
                        </a:lnTo>
                        <a:lnTo>
                          <a:pt x="121" y="171"/>
                        </a:lnTo>
                        <a:lnTo>
                          <a:pt x="116" y="171"/>
                        </a:lnTo>
                        <a:lnTo>
                          <a:pt x="115" y="169"/>
                        </a:lnTo>
                        <a:lnTo>
                          <a:pt x="113" y="166"/>
                        </a:lnTo>
                        <a:lnTo>
                          <a:pt x="107" y="166"/>
                        </a:lnTo>
                        <a:lnTo>
                          <a:pt x="100" y="163"/>
                        </a:lnTo>
                        <a:lnTo>
                          <a:pt x="100" y="161"/>
                        </a:lnTo>
                        <a:lnTo>
                          <a:pt x="99" y="161"/>
                        </a:lnTo>
                        <a:lnTo>
                          <a:pt x="92" y="160"/>
                        </a:lnTo>
                        <a:lnTo>
                          <a:pt x="91" y="158"/>
                        </a:lnTo>
                        <a:lnTo>
                          <a:pt x="89" y="160"/>
                        </a:lnTo>
                        <a:lnTo>
                          <a:pt x="88" y="163"/>
                        </a:lnTo>
                        <a:lnTo>
                          <a:pt x="86" y="165"/>
                        </a:lnTo>
                        <a:lnTo>
                          <a:pt x="84" y="163"/>
                        </a:lnTo>
                        <a:lnTo>
                          <a:pt x="83" y="161"/>
                        </a:lnTo>
                        <a:lnTo>
                          <a:pt x="81" y="160"/>
                        </a:lnTo>
                        <a:lnTo>
                          <a:pt x="80" y="160"/>
                        </a:lnTo>
                        <a:lnTo>
                          <a:pt x="77" y="155"/>
                        </a:lnTo>
                        <a:lnTo>
                          <a:pt x="72" y="154"/>
                        </a:lnTo>
                        <a:lnTo>
                          <a:pt x="70" y="154"/>
                        </a:lnTo>
                        <a:lnTo>
                          <a:pt x="69" y="152"/>
                        </a:lnTo>
                        <a:lnTo>
                          <a:pt x="67" y="150"/>
                        </a:lnTo>
                        <a:lnTo>
                          <a:pt x="65" y="152"/>
                        </a:lnTo>
                        <a:lnTo>
                          <a:pt x="64" y="152"/>
                        </a:lnTo>
                        <a:lnTo>
                          <a:pt x="64" y="154"/>
                        </a:lnTo>
                        <a:lnTo>
                          <a:pt x="62" y="154"/>
                        </a:lnTo>
                        <a:lnTo>
                          <a:pt x="62" y="152"/>
                        </a:lnTo>
                        <a:lnTo>
                          <a:pt x="61" y="150"/>
                        </a:lnTo>
                        <a:lnTo>
                          <a:pt x="56" y="147"/>
                        </a:lnTo>
                        <a:lnTo>
                          <a:pt x="54" y="146"/>
                        </a:lnTo>
                        <a:lnTo>
                          <a:pt x="54" y="144"/>
                        </a:lnTo>
                        <a:lnTo>
                          <a:pt x="54" y="142"/>
                        </a:lnTo>
                        <a:lnTo>
                          <a:pt x="56" y="141"/>
                        </a:lnTo>
                        <a:lnTo>
                          <a:pt x="56" y="139"/>
                        </a:lnTo>
                        <a:lnTo>
                          <a:pt x="58" y="139"/>
                        </a:lnTo>
                        <a:lnTo>
                          <a:pt x="62" y="139"/>
                        </a:lnTo>
                        <a:lnTo>
                          <a:pt x="67" y="138"/>
                        </a:lnTo>
                        <a:lnTo>
                          <a:pt x="67" y="136"/>
                        </a:lnTo>
                        <a:lnTo>
                          <a:pt x="72" y="136"/>
                        </a:lnTo>
                        <a:lnTo>
                          <a:pt x="73" y="139"/>
                        </a:lnTo>
                        <a:lnTo>
                          <a:pt x="75" y="139"/>
                        </a:lnTo>
                        <a:lnTo>
                          <a:pt x="77" y="139"/>
                        </a:lnTo>
                        <a:lnTo>
                          <a:pt x="80" y="141"/>
                        </a:lnTo>
                        <a:lnTo>
                          <a:pt x="81" y="142"/>
                        </a:lnTo>
                        <a:lnTo>
                          <a:pt x="84" y="147"/>
                        </a:lnTo>
                        <a:lnTo>
                          <a:pt x="86" y="147"/>
                        </a:lnTo>
                        <a:lnTo>
                          <a:pt x="89" y="147"/>
                        </a:lnTo>
                        <a:lnTo>
                          <a:pt x="92" y="146"/>
                        </a:lnTo>
                        <a:lnTo>
                          <a:pt x="100" y="139"/>
                        </a:lnTo>
                        <a:lnTo>
                          <a:pt x="102" y="139"/>
                        </a:lnTo>
                        <a:lnTo>
                          <a:pt x="102" y="138"/>
                        </a:lnTo>
                        <a:lnTo>
                          <a:pt x="105" y="134"/>
                        </a:lnTo>
                        <a:lnTo>
                          <a:pt x="107" y="136"/>
                        </a:lnTo>
                        <a:lnTo>
                          <a:pt x="108" y="136"/>
                        </a:lnTo>
                        <a:lnTo>
                          <a:pt x="108" y="138"/>
                        </a:lnTo>
                        <a:lnTo>
                          <a:pt x="113" y="138"/>
                        </a:lnTo>
                        <a:lnTo>
                          <a:pt x="116" y="138"/>
                        </a:lnTo>
                        <a:lnTo>
                          <a:pt x="118" y="138"/>
                        </a:lnTo>
                        <a:lnTo>
                          <a:pt x="119" y="133"/>
                        </a:lnTo>
                        <a:lnTo>
                          <a:pt x="121" y="131"/>
                        </a:lnTo>
                        <a:lnTo>
                          <a:pt x="122" y="131"/>
                        </a:lnTo>
                        <a:lnTo>
                          <a:pt x="126" y="128"/>
                        </a:lnTo>
                        <a:lnTo>
                          <a:pt x="127" y="128"/>
                        </a:lnTo>
                        <a:lnTo>
                          <a:pt x="130" y="128"/>
                        </a:lnTo>
                        <a:lnTo>
                          <a:pt x="132" y="130"/>
                        </a:lnTo>
                        <a:lnTo>
                          <a:pt x="132" y="131"/>
                        </a:lnTo>
                        <a:lnTo>
                          <a:pt x="132" y="133"/>
                        </a:lnTo>
                        <a:lnTo>
                          <a:pt x="132" y="134"/>
                        </a:lnTo>
                        <a:lnTo>
                          <a:pt x="134" y="136"/>
                        </a:lnTo>
                        <a:lnTo>
                          <a:pt x="135" y="136"/>
                        </a:lnTo>
                        <a:lnTo>
                          <a:pt x="135" y="138"/>
                        </a:lnTo>
                        <a:lnTo>
                          <a:pt x="137" y="138"/>
                        </a:lnTo>
                        <a:lnTo>
                          <a:pt x="138" y="138"/>
                        </a:lnTo>
                        <a:lnTo>
                          <a:pt x="140" y="139"/>
                        </a:lnTo>
                        <a:lnTo>
                          <a:pt x="141" y="139"/>
                        </a:lnTo>
                        <a:lnTo>
                          <a:pt x="145" y="136"/>
                        </a:lnTo>
                        <a:lnTo>
                          <a:pt x="149" y="136"/>
                        </a:lnTo>
                        <a:lnTo>
                          <a:pt x="151" y="136"/>
                        </a:lnTo>
                        <a:lnTo>
                          <a:pt x="151" y="134"/>
                        </a:lnTo>
                        <a:lnTo>
                          <a:pt x="149" y="133"/>
                        </a:lnTo>
                        <a:lnTo>
                          <a:pt x="151" y="133"/>
                        </a:lnTo>
                        <a:lnTo>
                          <a:pt x="151" y="131"/>
                        </a:lnTo>
                        <a:lnTo>
                          <a:pt x="151" y="130"/>
                        </a:lnTo>
                        <a:lnTo>
                          <a:pt x="149" y="128"/>
                        </a:lnTo>
                        <a:lnTo>
                          <a:pt x="153" y="123"/>
                        </a:lnTo>
                        <a:lnTo>
                          <a:pt x="157" y="119"/>
                        </a:lnTo>
                        <a:lnTo>
                          <a:pt x="159" y="119"/>
                        </a:lnTo>
                        <a:lnTo>
                          <a:pt x="162" y="119"/>
                        </a:lnTo>
                        <a:lnTo>
                          <a:pt x="168" y="114"/>
                        </a:lnTo>
                        <a:lnTo>
                          <a:pt x="170" y="111"/>
                        </a:lnTo>
                        <a:lnTo>
                          <a:pt x="172" y="109"/>
                        </a:lnTo>
                        <a:lnTo>
                          <a:pt x="173" y="108"/>
                        </a:lnTo>
                        <a:lnTo>
                          <a:pt x="176" y="103"/>
                        </a:lnTo>
                        <a:lnTo>
                          <a:pt x="178" y="103"/>
                        </a:lnTo>
                        <a:lnTo>
                          <a:pt x="179" y="103"/>
                        </a:lnTo>
                        <a:lnTo>
                          <a:pt x="186" y="101"/>
                        </a:lnTo>
                        <a:lnTo>
                          <a:pt x="187" y="100"/>
                        </a:lnTo>
                        <a:lnTo>
                          <a:pt x="187" y="98"/>
                        </a:lnTo>
                        <a:lnTo>
                          <a:pt x="191" y="98"/>
                        </a:lnTo>
                        <a:lnTo>
                          <a:pt x="192" y="95"/>
                        </a:lnTo>
                        <a:lnTo>
                          <a:pt x="194" y="93"/>
                        </a:lnTo>
                        <a:lnTo>
                          <a:pt x="195" y="87"/>
                        </a:lnTo>
                        <a:lnTo>
                          <a:pt x="195" y="84"/>
                        </a:lnTo>
                        <a:lnTo>
                          <a:pt x="197" y="82"/>
                        </a:lnTo>
                        <a:lnTo>
                          <a:pt x="199" y="81"/>
                        </a:lnTo>
                        <a:lnTo>
                          <a:pt x="203" y="79"/>
                        </a:lnTo>
                        <a:lnTo>
                          <a:pt x="206" y="81"/>
                        </a:lnTo>
                        <a:lnTo>
                          <a:pt x="210" y="81"/>
                        </a:lnTo>
                        <a:lnTo>
                          <a:pt x="210" y="77"/>
                        </a:lnTo>
                        <a:lnTo>
                          <a:pt x="210" y="71"/>
                        </a:lnTo>
                        <a:lnTo>
                          <a:pt x="211" y="71"/>
                        </a:lnTo>
                        <a:lnTo>
                          <a:pt x="211" y="70"/>
                        </a:lnTo>
                        <a:lnTo>
                          <a:pt x="213" y="70"/>
                        </a:lnTo>
                        <a:lnTo>
                          <a:pt x="214" y="70"/>
                        </a:lnTo>
                        <a:lnTo>
                          <a:pt x="216" y="71"/>
                        </a:lnTo>
                        <a:lnTo>
                          <a:pt x="218" y="71"/>
                        </a:lnTo>
                        <a:lnTo>
                          <a:pt x="219" y="71"/>
                        </a:lnTo>
                        <a:lnTo>
                          <a:pt x="221" y="70"/>
                        </a:lnTo>
                        <a:lnTo>
                          <a:pt x="227" y="65"/>
                        </a:lnTo>
                        <a:lnTo>
                          <a:pt x="229" y="65"/>
                        </a:lnTo>
                        <a:lnTo>
                          <a:pt x="229" y="63"/>
                        </a:lnTo>
                        <a:lnTo>
                          <a:pt x="237" y="62"/>
                        </a:lnTo>
                        <a:lnTo>
                          <a:pt x="238" y="62"/>
                        </a:lnTo>
                        <a:lnTo>
                          <a:pt x="243" y="60"/>
                        </a:lnTo>
                        <a:lnTo>
                          <a:pt x="244" y="58"/>
                        </a:lnTo>
                        <a:lnTo>
                          <a:pt x="249" y="57"/>
                        </a:lnTo>
                        <a:lnTo>
                          <a:pt x="251" y="57"/>
                        </a:lnTo>
                        <a:lnTo>
                          <a:pt x="252" y="55"/>
                        </a:lnTo>
                        <a:lnTo>
                          <a:pt x="252" y="54"/>
                        </a:lnTo>
                        <a:lnTo>
                          <a:pt x="252" y="52"/>
                        </a:lnTo>
                        <a:lnTo>
                          <a:pt x="254" y="52"/>
                        </a:lnTo>
                        <a:lnTo>
                          <a:pt x="256" y="52"/>
                        </a:lnTo>
                        <a:lnTo>
                          <a:pt x="256" y="51"/>
                        </a:lnTo>
                        <a:lnTo>
                          <a:pt x="257" y="51"/>
                        </a:lnTo>
                        <a:lnTo>
                          <a:pt x="259" y="51"/>
                        </a:lnTo>
                        <a:lnTo>
                          <a:pt x="260" y="52"/>
                        </a:lnTo>
                        <a:lnTo>
                          <a:pt x="262" y="52"/>
                        </a:lnTo>
                        <a:lnTo>
                          <a:pt x="268" y="52"/>
                        </a:lnTo>
                        <a:lnTo>
                          <a:pt x="270" y="52"/>
                        </a:lnTo>
                        <a:lnTo>
                          <a:pt x="276" y="51"/>
                        </a:lnTo>
                        <a:lnTo>
                          <a:pt x="286" y="49"/>
                        </a:lnTo>
                        <a:lnTo>
                          <a:pt x="294" y="51"/>
                        </a:lnTo>
                        <a:lnTo>
                          <a:pt x="295" y="49"/>
                        </a:lnTo>
                        <a:lnTo>
                          <a:pt x="297" y="49"/>
                        </a:lnTo>
                        <a:lnTo>
                          <a:pt x="300" y="47"/>
                        </a:lnTo>
                        <a:lnTo>
                          <a:pt x="303" y="47"/>
                        </a:lnTo>
                        <a:lnTo>
                          <a:pt x="305" y="47"/>
                        </a:lnTo>
                        <a:lnTo>
                          <a:pt x="306" y="49"/>
                        </a:lnTo>
                        <a:lnTo>
                          <a:pt x="309" y="49"/>
                        </a:lnTo>
                        <a:lnTo>
                          <a:pt x="313" y="49"/>
                        </a:lnTo>
                        <a:lnTo>
                          <a:pt x="314" y="49"/>
                        </a:lnTo>
                        <a:lnTo>
                          <a:pt x="316" y="47"/>
                        </a:lnTo>
                        <a:lnTo>
                          <a:pt x="319" y="44"/>
                        </a:lnTo>
                        <a:lnTo>
                          <a:pt x="320" y="44"/>
                        </a:lnTo>
                        <a:lnTo>
                          <a:pt x="320" y="46"/>
                        </a:lnTo>
                        <a:lnTo>
                          <a:pt x="324" y="44"/>
                        </a:lnTo>
                        <a:lnTo>
                          <a:pt x="325" y="43"/>
                        </a:lnTo>
                        <a:lnTo>
                          <a:pt x="327" y="43"/>
                        </a:lnTo>
                        <a:lnTo>
                          <a:pt x="332" y="41"/>
                        </a:lnTo>
                        <a:lnTo>
                          <a:pt x="336" y="38"/>
                        </a:lnTo>
                        <a:lnTo>
                          <a:pt x="343" y="38"/>
                        </a:lnTo>
                        <a:lnTo>
                          <a:pt x="354" y="38"/>
                        </a:lnTo>
                        <a:lnTo>
                          <a:pt x="355" y="38"/>
                        </a:lnTo>
                        <a:lnTo>
                          <a:pt x="357" y="38"/>
                        </a:lnTo>
                        <a:lnTo>
                          <a:pt x="365" y="35"/>
                        </a:lnTo>
                        <a:lnTo>
                          <a:pt x="368" y="36"/>
                        </a:lnTo>
                        <a:lnTo>
                          <a:pt x="368" y="38"/>
                        </a:lnTo>
                        <a:lnTo>
                          <a:pt x="373" y="36"/>
                        </a:lnTo>
                        <a:lnTo>
                          <a:pt x="376" y="38"/>
                        </a:lnTo>
                        <a:lnTo>
                          <a:pt x="379" y="38"/>
                        </a:lnTo>
                        <a:lnTo>
                          <a:pt x="381" y="38"/>
                        </a:lnTo>
                        <a:lnTo>
                          <a:pt x="389" y="35"/>
                        </a:lnTo>
                        <a:lnTo>
                          <a:pt x="392" y="32"/>
                        </a:lnTo>
                        <a:lnTo>
                          <a:pt x="395" y="30"/>
                        </a:lnTo>
                        <a:lnTo>
                          <a:pt x="401" y="30"/>
                        </a:lnTo>
                        <a:lnTo>
                          <a:pt x="404" y="28"/>
                        </a:lnTo>
                        <a:lnTo>
                          <a:pt x="406" y="28"/>
                        </a:lnTo>
                        <a:lnTo>
                          <a:pt x="408" y="28"/>
                        </a:lnTo>
                        <a:lnTo>
                          <a:pt x="409" y="32"/>
                        </a:lnTo>
                        <a:lnTo>
                          <a:pt x="411" y="33"/>
                        </a:lnTo>
                        <a:lnTo>
                          <a:pt x="414" y="35"/>
                        </a:lnTo>
                        <a:lnTo>
                          <a:pt x="420" y="33"/>
                        </a:lnTo>
                        <a:lnTo>
                          <a:pt x="425" y="33"/>
                        </a:lnTo>
                        <a:lnTo>
                          <a:pt x="427" y="33"/>
                        </a:lnTo>
                        <a:lnTo>
                          <a:pt x="435" y="33"/>
                        </a:lnTo>
                        <a:lnTo>
                          <a:pt x="438" y="35"/>
                        </a:lnTo>
                        <a:lnTo>
                          <a:pt x="452" y="35"/>
                        </a:lnTo>
                        <a:lnTo>
                          <a:pt x="455" y="35"/>
                        </a:lnTo>
                        <a:lnTo>
                          <a:pt x="458" y="38"/>
                        </a:lnTo>
                        <a:lnTo>
                          <a:pt x="460" y="38"/>
                        </a:lnTo>
                        <a:lnTo>
                          <a:pt x="461" y="39"/>
                        </a:lnTo>
                        <a:lnTo>
                          <a:pt x="463" y="38"/>
                        </a:lnTo>
                        <a:lnTo>
                          <a:pt x="463" y="39"/>
                        </a:lnTo>
                        <a:lnTo>
                          <a:pt x="471" y="41"/>
                        </a:lnTo>
                        <a:lnTo>
                          <a:pt x="471" y="39"/>
                        </a:lnTo>
                        <a:lnTo>
                          <a:pt x="473" y="39"/>
                        </a:lnTo>
                        <a:lnTo>
                          <a:pt x="476" y="35"/>
                        </a:lnTo>
                        <a:lnTo>
                          <a:pt x="477" y="35"/>
                        </a:lnTo>
                        <a:lnTo>
                          <a:pt x="480" y="19"/>
                        </a:lnTo>
                        <a:lnTo>
                          <a:pt x="480" y="17"/>
                        </a:lnTo>
                        <a:lnTo>
                          <a:pt x="480" y="16"/>
                        </a:lnTo>
                        <a:lnTo>
                          <a:pt x="484" y="13"/>
                        </a:lnTo>
                        <a:lnTo>
                          <a:pt x="484" y="11"/>
                        </a:lnTo>
                        <a:lnTo>
                          <a:pt x="485" y="9"/>
                        </a:lnTo>
                        <a:lnTo>
                          <a:pt x="487" y="8"/>
                        </a:lnTo>
                        <a:lnTo>
                          <a:pt x="492" y="6"/>
                        </a:lnTo>
                        <a:lnTo>
                          <a:pt x="493" y="5"/>
                        </a:lnTo>
                        <a:lnTo>
                          <a:pt x="498" y="3"/>
                        </a:lnTo>
                        <a:lnTo>
                          <a:pt x="503" y="3"/>
                        </a:lnTo>
                        <a:lnTo>
                          <a:pt x="511" y="6"/>
                        </a:lnTo>
                        <a:lnTo>
                          <a:pt x="517" y="6"/>
                        </a:lnTo>
                        <a:lnTo>
                          <a:pt x="522" y="1"/>
                        </a:lnTo>
                        <a:lnTo>
                          <a:pt x="522" y="0"/>
                        </a:lnTo>
                        <a:lnTo>
                          <a:pt x="523" y="0"/>
                        </a:lnTo>
                        <a:lnTo>
                          <a:pt x="523" y="3"/>
                        </a:lnTo>
                        <a:lnTo>
                          <a:pt x="525" y="3"/>
                        </a:lnTo>
                        <a:lnTo>
                          <a:pt x="526" y="3"/>
                        </a:lnTo>
                        <a:lnTo>
                          <a:pt x="530" y="5"/>
                        </a:lnTo>
                        <a:lnTo>
                          <a:pt x="534" y="3"/>
                        </a:lnTo>
                        <a:lnTo>
                          <a:pt x="544" y="3"/>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93" name="Freeform 92"/>
                  <p:cNvSpPr>
                    <a:spLocks/>
                  </p:cNvSpPr>
                  <p:nvPr/>
                </p:nvSpPr>
                <p:spPr bwMode="auto">
                  <a:xfrm>
                    <a:off x="2193" y="2469"/>
                    <a:ext cx="81" cy="32"/>
                  </a:xfrm>
                  <a:custGeom>
                    <a:avLst/>
                    <a:gdLst>
                      <a:gd name="T0" fmla="*/ 0 w 81"/>
                      <a:gd name="T1" fmla="*/ 30 h 32"/>
                      <a:gd name="T2" fmla="*/ 3 w 81"/>
                      <a:gd name="T3" fmla="*/ 32 h 32"/>
                      <a:gd name="T4" fmla="*/ 5 w 81"/>
                      <a:gd name="T5" fmla="*/ 32 h 32"/>
                      <a:gd name="T6" fmla="*/ 6 w 81"/>
                      <a:gd name="T7" fmla="*/ 30 h 32"/>
                      <a:gd name="T8" fmla="*/ 9 w 81"/>
                      <a:gd name="T9" fmla="*/ 28 h 32"/>
                      <a:gd name="T10" fmla="*/ 12 w 81"/>
                      <a:gd name="T11" fmla="*/ 27 h 32"/>
                      <a:gd name="T12" fmla="*/ 19 w 81"/>
                      <a:gd name="T13" fmla="*/ 22 h 32"/>
                      <a:gd name="T14" fmla="*/ 24 w 81"/>
                      <a:gd name="T15" fmla="*/ 21 h 32"/>
                      <a:gd name="T16" fmla="*/ 28 w 81"/>
                      <a:gd name="T17" fmla="*/ 21 h 32"/>
                      <a:gd name="T18" fmla="*/ 33 w 81"/>
                      <a:gd name="T19" fmla="*/ 19 h 32"/>
                      <a:gd name="T20" fmla="*/ 39 w 81"/>
                      <a:gd name="T21" fmla="*/ 19 h 32"/>
                      <a:gd name="T22" fmla="*/ 44 w 81"/>
                      <a:gd name="T23" fmla="*/ 21 h 32"/>
                      <a:gd name="T24" fmla="*/ 46 w 81"/>
                      <a:gd name="T25" fmla="*/ 21 h 32"/>
                      <a:gd name="T26" fmla="*/ 47 w 81"/>
                      <a:gd name="T27" fmla="*/ 21 h 32"/>
                      <a:gd name="T28" fmla="*/ 49 w 81"/>
                      <a:gd name="T29" fmla="*/ 19 h 32"/>
                      <a:gd name="T30" fmla="*/ 51 w 81"/>
                      <a:gd name="T31" fmla="*/ 19 h 32"/>
                      <a:gd name="T32" fmla="*/ 54 w 81"/>
                      <a:gd name="T33" fmla="*/ 16 h 32"/>
                      <a:gd name="T34" fmla="*/ 55 w 81"/>
                      <a:gd name="T35" fmla="*/ 14 h 32"/>
                      <a:gd name="T36" fmla="*/ 57 w 81"/>
                      <a:gd name="T37" fmla="*/ 13 h 32"/>
                      <a:gd name="T38" fmla="*/ 58 w 81"/>
                      <a:gd name="T39" fmla="*/ 11 h 32"/>
                      <a:gd name="T40" fmla="*/ 58 w 81"/>
                      <a:gd name="T41" fmla="*/ 9 h 32"/>
                      <a:gd name="T42" fmla="*/ 60 w 81"/>
                      <a:gd name="T43" fmla="*/ 8 h 32"/>
                      <a:gd name="T44" fmla="*/ 60 w 81"/>
                      <a:gd name="T45" fmla="*/ 6 h 32"/>
                      <a:gd name="T46" fmla="*/ 62 w 81"/>
                      <a:gd name="T47" fmla="*/ 3 h 32"/>
                      <a:gd name="T48" fmla="*/ 63 w 81"/>
                      <a:gd name="T49" fmla="*/ 3 h 32"/>
                      <a:gd name="T50" fmla="*/ 65 w 81"/>
                      <a:gd name="T51" fmla="*/ 2 h 32"/>
                      <a:gd name="T52" fmla="*/ 70 w 81"/>
                      <a:gd name="T53" fmla="*/ 0 h 32"/>
                      <a:gd name="T54" fmla="*/ 71 w 81"/>
                      <a:gd name="T55" fmla="*/ 0 h 32"/>
                      <a:gd name="T56" fmla="*/ 73 w 81"/>
                      <a:gd name="T57" fmla="*/ 0 h 32"/>
                      <a:gd name="T58" fmla="*/ 74 w 81"/>
                      <a:gd name="T59" fmla="*/ 0 h 32"/>
                      <a:gd name="T60" fmla="*/ 76 w 81"/>
                      <a:gd name="T61" fmla="*/ 3 h 32"/>
                      <a:gd name="T62" fmla="*/ 77 w 81"/>
                      <a:gd name="T63" fmla="*/ 3 h 32"/>
                      <a:gd name="T64" fmla="*/ 79 w 81"/>
                      <a:gd name="T65" fmla="*/ 5 h 32"/>
                      <a:gd name="T66" fmla="*/ 81 w 81"/>
                      <a:gd name="T67"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1" h="32">
                        <a:moveTo>
                          <a:pt x="0" y="30"/>
                        </a:moveTo>
                        <a:lnTo>
                          <a:pt x="3" y="32"/>
                        </a:lnTo>
                        <a:lnTo>
                          <a:pt x="5" y="32"/>
                        </a:lnTo>
                        <a:lnTo>
                          <a:pt x="6" y="30"/>
                        </a:lnTo>
                        <a:lnTo>
                          <a:pt x="9" y="28"/>
                        </a:lnTo>
                        <a:lnTo>
                          <a:pt x="12" y="27"/>
                        </a:lnTo>
                        <a:lnTo>
                          <a:pt x="19" y="22"/>
                        </a:lnTo>
                        <a:lnTo>
                          <a:pt x="24" y="21"/>
                        </a:lnTo>
                        <a:lnTo>
                          <a:pt x="28" y="21"/>
                        </a:lnTo>
                        <a:lnTo>
                          <a:pt x="33" y="19"/>
                        </a:lnTo>
                        <a:lnTo>
                          <a:pt x="39" y="19"/>
                        </a:lnTo>
                        <a:lnTo>
                          <a:pt x="44" y="21"/>
                        </a:lnTo>
                        <a:lnTo>
                          <a:pt x="46" y="21"/>
                        </a:lnTo>
                        <a:lnTo>
                          <a:pt x="47" y="21"/>
                        </a:lnTo>
                        <a:lnTo>
                          <a:pt x="49" y="19"/>
                        </a:lnTo>
                        <a:lnTo>
                          <a:pt x="51" y="19"/>
                        </a:lnTo>
                        <a:lnTo>
                          <a:pt x="54" y="16"/>
                        </a:lnTo>
                        <a:lnTo>
                          <a:pt x="55" y="14"/>
                        </a:lnTo>
                        <a:lnTo>
                          <a:pt x="57" y="13"/>
                        </a:lnTo>
                        <a:lnTo>
                          <a:pt x="58" y="11"/>
                        </a:lnTo>
                        <a:lnTo>
                          <a:pt x="58" y="9"/>
                        </a:lnTo>
                        <a:lnTo>
                          <a:pt x="60" y="8"/>
                        </a:lnTo>
                        <a:lnTo>
                          <a:pt x="60" y="6"/>
                        </a:lnTo>
                        <a:lnTo>
                          <a:pt x="62" y="3"/>
                        </a:lnTo>
                        <a:lnTo>
                          <a:pt x="63" y="3"/>
                        </a:lnTo>
                        <a:lnTo>
                          <a:pt x="65" y="2"/>
                        </a:lnTo>
                        <a:lnTo>
                          <a:pt x="70" y="0"/>
                        </a:lnTo>
                        <a:lnTo>
                          <a:pt x="71" y="0"/>
                        </a:lnTo>
                        <a:lnTo>
                          <a:pt x="73" y="0"/>
                        </a:lnTo>
                        <a:lnTo>
                          <a:pt x="74" y="0"/>
                        </a:lnTo>
                        <a:lnTo>
                          <a:pt x="76" y="3"/>
                        </a:lnTo>
                        <a:lnTo>
                          <a:pt x="77" y="3"/>
                        </a:lnTo>
                        <a:lnTo>
                          <a:pt x="79" y="5"/>
                        </a:lnTo>
                        <a:lnTo>
                          <a:pt x="81" y="6"/>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94" name="Freeform 93"/>
                  <p:cNvSpPr>
                    <a:spLocks/>
                  </p:cNvSpPr>
                  <p:nvPr/>
                </p:nvSpPr>
                <p:spPr bwMode="auto">
                  <a:xfrm>
                    <a:off x="3298" y="2382"/>
                    <a:ext cx="165" cy="79"/>
                  </a:xfrm>
                  <a:custGeom>
                    <a:avLst/>
                    <a:gdLst>
                      <a:gd name="T0" fmla="*/ 104 w 104"/>
                      <a:gd name="T1" fmla="*/ 50 h 50"/>
                      <a:gd name="T2" fmla="*/ 104 w 104"/>
                      <a:gd name="T3" fmla="*/ 49 h 50"/>
                      <a:gd name="T4" fmla="*/ 104 w 104"/>
                      <a:gd name="T5" fmla="*/ 48 h 50"/>
                      <a:gd name="T6" fmla="*/ 104 w 104"/>
                      <a:gd name="T7" fmla="*/ 47 h 50"/>
                      <a:gd name="T8" fmla="*/ 104 w 104"/>
                      <a:gd name="T9" fmla="*/ 46 h 50"/>
                      <a:gd name="T10" fmla="*/ 104 w 104"/>
                      <a:gd name="T11" fmla="*/ 45 h 50"/>
                      <a:gd name="T12" fmla="*/ 104 w 104"/>
                      <a:gd name="T13" fmla="*/ 44 h 50"/>
                      <a:gd name="T14" fmla="*/ 104 w 104"/>
                      <a:gd name="T15" fmla="*/ 43 h 50"/>
                      <a:gd name="T16" fmla="*/ 104 w 104"/>
                      <a:gd name="T17" fmla="*/ 42 h 50"/>
                      <a:gd name="T18" fmla="*/ 104 w 104"/>
                      <a:gd name="T19" fmla="*/ 41 h 50"/>
                      <a:gd name="T20" fmla="*/ 104 w 104"/>
                      <a:gd name="T21" fmla="*/ 40 h 50"/>
                      <a:gd name="T22" fmla="*/ 103 w 104"/>
                      <a:gd name="T23" fmla="*/ 39 h 50"/>
                      <a:gd name="T24" fmla="*/ 103 w 104"/>
                      <a:gd name="T25" fmla="*/ 38 h 50"/>
                      <a:gd name="T26" fmla="*/ 103 w 104"/>
                      <a:gd name="T27" fmla="*/ 37 h 50"/>
                      <a:gd name="T28" fmla="*/ 103 w 104"/>
                      <a:gd name="T29" fmla="*/ 36 h 50"/>
                      <a:gd name="T30" fmla="*/ 103 w 104"/>
                      <a:gd name="T31" fmla="*/ 35 h 50"/>
                      <a:gd name="T32" fmla="*/ 103 w 104"/>
                      <a:gd name="T33" fmla="*/ 34 h 50"/>
                      <a:gd name="T34" fmla="*/ 103 w 104"/>
                      <a:gd name="T35" fmla="*/ 33 h 50"/>
                      <a:gd name="T36" fmla="*/ 102 w 104"/>
                      <a:gd name="T37" fmla="*/ 32 h 50"/>
                      <a:gd name="T38" fmla="*/ 102 w 104"/>
                      <a:gd name="T39" fmla="*/ 31 h 50"/>
                      <a:gd name="T40" fmla="*/ 102 w 104"/>
                      <a:gd name="T41" fmla="*/ 30 h 50"/>
                      <a:gd name="T42" fmla="*/ 102 w 104"/>
                      <a:gd name="T43" fmla="*/ 29 h 50"/>
                      <a:gd name="T44" fmla="*/ 102 w 104"/>
                      <a:gd name="T45" fmla="*/ 28 h 50"/>
                      <a:gd name="T46" fmla="*/ 101 w 104"/>
                      <a:gd name="T47" fmla="*/ 27 h 50"/>
                      <a:gd name="T48" fmla="*/ 101 w 104"/>
                      <a:gd name="T49" fmla="*/ 26 h 50"/>
                      <a:gd name="T50" fmla="*/ 101 w 104"/>
                      <a:gd name="T51" fmla="*/ 25 h 50"/>
                      <a:gd name="T52" fmla="*/ 101 w 104"/>
                      <a:gd name="T53" fmla="*/ 24 h 50"/>
                      <a:gd name="T54" fmla="*/ 100 w 104"/>
                      <a:gd name="T55" fmla="*/ 23 h 50"/>
                      <a:gd name="T56" fmla="*/ 100 w 104"/>
                      <a:gd name="T57" fmla="*/ 22 h 50"/>
                      <a:gd name="T58" fmla="*/ 100 w 104"/>
                      <a:gd name="T59" fmla="*/ 21 h 50"/>
                      <a:gd name="T60" fmla="*/ 100 w 104"/>
                      <a:gd name="T61" fmla="*/ 20 h 50"/>
                      <a:gd name="T62" fmla="*/ 99 w 104"/>
                      <a:gd name="T63" fmla="*/ 19 h 50"/>
                      <a:gd name="T64" fmla="*/ 99 w 104"/>
                      <a:gd name="T65" fmla="*/ 18 h 50"/>
                      <a:gd name="T66" fmla="*/ 99 w 104"/>
                      <a:gd name="T67" fmla="*/ 17 h 50"/>
                      <a:gd name="T68" fmla="*/ 98 w 104"/>
                      <a:gd name="T69" fmla="*/ 16 h 50"/>
                      <a:gd name="T70" fmla="*/ 98 w 104"/>
                      <a:gd name="T71" fmla="*/ 15 h 50"/>
                      <a:gd name="T72" fmla="*/ 98 w 104"/>
                      <a:gd name="T73" fmla="*/ 14 h 50"/>
                      <a:gd name="T74" fmla="*/ 97 w 104"/>
                      <a:gd name="T75" fmla="*/ 13 h 50"/>
                      <a:gd name="T76" fmla="*/ 97 w 104"/>
                      <a:gd name="T77" fmla="*/ 12 h 50"/>
                      <a:gd name="T78" fmla="*/ 96 w 104"/>
                      <a:gd name="T79" fmla="*/ 11 h 50"/>
                      <a:gd name="T80" fmla="*/ 96 w 104"/>
                      <a:gd name="T81" fmla="*/ 10 h 50"/>
                      <a:gd name="T82" fmla="*/ 96 w 104"/>
                      <a:gd name="T83" fmla="*/ 9 h 50"/>
                      <a:gd name="T84" fmla="*/ 95 w 104"/>
                      <a:gd name="T85" fmla="*/ 8 h 50"/>
                      <a:gd name="T86" fmla="*/ 95 w 104"/>
                      <a:gd name="T87" fmla="*/ 7 h 50"/>
                      <a:gd name="T88" fmla="*/ 94 w 104"/>
                      <a:gd name="T89" fmla="*/ 6 h 50"/>
                      <a:gd name="T90" fmla="*/ 94 w 104"/>
                      <a:gd name="T91" fmla="*/ 5 h 50"/>
                      <a:gd name="T92" fmla="*/ 93 w 104"/>
                      <a:gd name="T93" fmla="*/ 4 h 50"/>
                      <a:gd name="T94" fmla="*/ 93 w 104"/>
                      <a:gd name="T95" fmla="*/ 3 h 50"/>
                      <a:gd name="T96" fmla="*/ 92 w 104"/>
                      <a:gd name="T97" fmla="*/ 2 h 50"/>
                      <a:gd name="T98" fmla="*/ 92 w 104"/>
                      <a:gd name="T99" fmla="*/ 1 h 50"/>
                      <a:gd name="T100" fmla="*/ 91 w 104"/>
                      <a:gd name="T101" fmla="*/ 0 h 50"/>
                      <a:gd name="T102" fmla="*/ 91 w 104"/>
                      <a:gd name="T103" fmla="*/ 0 h 50"/>
                      <a:gd name="T104" fmla="*/ 0 w 104"/>
                      <a:gd name="T105" fmla="*/ 50 h 50"/>
                      <a:gd name="T106" fmla="*/ 104 w 104"/>
                      <a:gd name="T10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4" h="50">
                        <a:moveTo>
                          <a:pt x="104" y="50"/>
                        </a:moveTo>
                        <a:lnTo>
                          <a:pt x="104" y="49"/>
                        </a:lnTo>
                        <a:lnTo>
                          <a:pt x="104" y="48"/>
                        </a:lnTo>
                        <a:lnTo>
                          <a:pt x="104" y="47"/>
                        </a:lnTo>
                        <a:lnTo>
                          <a:pt x="104" y="46"/>
                        </a:lnTo>
                        <a:lnTo>
                          <a:pt x="104" y="45"/>
                        </a:lnTo>
                        <a:lnTo>
                          <a:pt x="104" y="44"/>
                        </a:lnTo>
                        <a:lnTo>
                          <a:pt x="104" y="43"/>
                        </a:lnTo>
                        <a:lnTo>
                          <a:pt x="104" y="42"/>
                        </a:lnTo>
                        <a:lnTo>
                          <a:pt x="104" y="41"/>
                        </a:lnTo>
                        <a:lnTo>
                          <a:pt x="104" y="40"/>
                        </a:lnTo>
                        <a:lnTo>
                          <a:pt x="103" y="39"/>
                        </a:lnTo>
                        <a:lnTo>
                          <a:pt x="103" y="38"/>
                        </a:lnTo>
                        <a:lnTo>
                          <a:pt x="103" y="37"/>
                        </a:lnTo>
                        <a:lnTo>
                          <a:pt x="103" y="36"/>
                        </a:lnTo>
                        <a:lnTo>
                          <a:pt x="103" y="35"/>
                        </a:lnTo>
                        <a:lnTo>
                          <a:pt x="103" y="34"/>
                        </a:lnTo>
                        <a:lnTo>
                          <a:pt x="103" y="33"/>
                        </a:lnTo>
                        <a:lnTo>
                          <a:pt x="102" y="32"/>
                        </a:lnTo>
                        <a:lnTo>
                          <a:pt x="102" y="31"/>
                        </a:lnTo>
                        <a:lnTo>
                          <a:pt x="102" y="30"/>
                        </a:lnTo>
                        <a:lnTo>
                          <a:pt x="102" y="29"/>
                        </a:lnTo>
                        <a:lnTo>
                          <a:pt x="102" y="28"/>
                        </a:lnTo>
                        <a:lnTo>
                          <a:pt x="101" y="27"/>
                        </a:lnTo>
                        <a:lnTo>
                          <a:pt x="101" y="26"/>
                        </a:lnTo>
                        <a:lnTo>
                          <a:pt x="101" y="25"/>
                        </a:lnTo>
                        <a:lnTo>
                          <a:pt x="101" y="24"/>
                        </a:lnTo>
                        <a:lnTo>
                          <a:pt x="100" y="23"/>
                        </a:lnTo>
                        <a:lnTo>
                          <a:pt x="100" y="22"/>
                        </a:lnTo>
                        <a:lnTo>
                          <a:pt x="100" y="21"/>
                        </a:lnTo>
                        <a:lnTo>
                          <a:pt x="100" y="20"/>
                        </a:lnTo>
                        <a:lnTo>
                          <a:pt x="99" y="19"/>
                        </a:lnTo>
                        <a:lnTo>
                          <a:pt x="99" y="18"/>
                        </a:lnTo>
                        <a:lnTo>
                          <a:pt x="99" y="17"/>
                        </a:lnTo>
                        <a:lnTo>
                          <a:pt x="98" y="16"/>
                        </a:lnTo>
                        <a:lnTo>
                          <a:pt x="98" y="15"/>
                        </a:lnTo>
                        <a:lnTo>
                          <a:pt x="98" y="14"/>
                        </a:lnTo>
                        <a:lnTo>
                          <a:pt x="97" y="13"/>
                        </a:lnTo>
                        <a:lnTo>
                          <a:pt x="97" y="12"/>
                        </a:lnTo>
                        <a:lnTo>
                          <a:pt x="96" y="11"/>
                        </a:lnTo>
                        <a:lnTo>
                          <a:pt x="96" y="10"/>
                        </a:lnTo>
                        <a:lnTo>
                          <a:pt x="96" y="9"/>
                        </a:lnTo>
                        <a:lnTo>
                          <a:pt x="95" y="8"/>
                        </a:lnTo>
                        <a:lnTo>
                          <a:pt x="95" y="7"/>
                        </a:lnTo>
                        <a:lnTo>
                          <a:pt x="94" y="6"/>
                        </a:lnTo>
                        <a:lnTo>
                          <a:pt x="94" y="5"/>
                        </a:lnTo>
                        <a:lnTo>
                          <a:pt x="93" y="4"/>
                        </a:lnTo>
                        <a:lnTo>
                          <a:pt x="93" y="3"/>
                        </a:lnTo>
                        <a:lnTo>
                          <a:pt x="92" y="2"/>
                        </a:lnTo>
                        <a:lnTo>
                          <a:pt x="92" y="1"/>
                        </a:lnTo>
                        <a:lnTo>
                          <a:pt x="91" y="0"/>
                        </a:lnTo>
                        <a:lnTo>
                          <a:pt x="91" y="0"/>
                        </a:lnTo>
                        <a:lnTo>
                          <a:pt x="0" y="50"/>
                        </a:lnTo>
                        <a:lnTo>
                          <a:pt x="104" y="50"/>
                        </a:lnTo>
                        <a:close/>
                      </a:path>
                    </a:pathLst>
                  </a:custGeom>
                  <a:solidFill>
                    <a:srgbClr val="E64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95" name="Freeform 94"/>
                  <p:cNvSpPr>
                    <a:spLocks/>
                  </p:cNvSpPr>
                  <p:nvPr/>
                </p:nvSpPr>
                <p:spPr bwMode="auto">
                  <a:xfrm>
                    <a:off x="3134" y="2296"/>
                    <a:ext cx="309" cy="273"/>
                  </a:xfrm>
                  <a:custGeom>
                    <a:avLst/>
                    <a:gdLst>
                      <a:gd name="T0" fmla="*/ 193 w 195"/>
                      <a:gd name="T1" fmla="*/ 50 h 172"/>
                      <a:gd name="T2" fmla="*/ 190 w 195"/>
                      <a:gd name="T3" fmla="*/ 45 h 172"/>
                      <a:gd name="T4" fmla="*/ 186 w 195"/>
                      <a:gd name="T5" fmla="*/ 40 h 172"/>
                      <a:gd name="T6" fmla="*/ 182 w 195"/>
                      <a:gd name="T7" fmla="*/ 35 h 172"/>
                      <a:gd name="T8" fmla="*/ 177 w 195"/>
                      <a:gd name="T9" fmla="*/ 30 h 172"/>
                      <a:gd name="T10" fmla="*/ 172 w 195"/>
                      <a:gd name="T11" fmla="*/ 25 h 172"/>
                      <a:gd name="T12" fmla="*/ 167 w 195"/>
                      <a:gd name="T13" fmla="*/ 21 h 172"/>
                      <a:gd name="T14" fmla="*/ 162 w 195"/>
                      <a:gd name="T15" fmla="*/ 18 h 172"/>
                      <a:gd name="T16" fmla="*/ 157 w 195"/>
                      <a:gd name="T17" fmla="*/ 15 h 172"/>
                      <a:gd name="T18" fmla="*/ 152 w 195"/>
                      <a:gd name="T19" fmla="*/ 12 h 172"/>
                      <a:gd name="T20" fmla="*/ 147 w 195"/>
                      <a:gd name="T21" fmla="*/ 9 h 172"/>
                      <a:gd name="T22" fmla="*/ 142 w 195"/>
                      <a:gd name="T23" fmla="*/ 7 h 172"/>
                      <a:gd name="T24" fmla="*/ 137 w 195"/>
                      <a:gd name="T25" fmla="*/ 5 h 172"/>
                      <a:gd name="T26" fmla="*/ 132 w 195"/>
                      <a:gd name="T27" fmla="*/ 4 h 172"/>
                      <a:gd name="T28" fmla="*/ 127 w 195"/>
                      <a:gd name="T29" fmla="*/ 3 h 172"/>
                      <a:gd name="T30" fmla="*/ 122 w 195"/>
                      <a:gd name="T31" fmla="*/ 2 h 172"/>
                      <a:gd name="T32" fmla="*/ 117 w 195"/>
                      <a:gd name="T33" fmla="*/ 1 h 172"/>
                      <a:gd name="T34" fmla="*/ 112 w 195"/>
                      <a:gd name="T35" fmla="*/ 0 h 172"/>
                      <a:gd name="T36" fmla="*/ 107 w 195"/>
                      <a:gd name="T37" fmla="*/ 0 h 172"/>
                      <a:gd name="T38" fmla="*/ 102 w 195"/>
                      <a:gd name="T39" fmla="*/ 0 h 172"/>
                      <a:gd name="T40" fmla="*/ 97 w 195"/>
                      <a:gd name="T41" fmla="*/ 0 h 172"/>
                      <a:gd name="T42" fmla="*/ 92 w 195"/>
                      <a:gd name="T43" fmla="*/ 1 h 172"/>
                      <a:gd name="T44" fmla="*/ 87 w 195"/>
                      <a:gd name="T45" fmla="*/ 1 h 172"/>
                      <a:gd name="T46" fmla="*/ 82 w 195"/>
                      <a:gd name="T47" fmla="*/ 2 h 172"/>
                      <a:gd name="T48" fmla="*/ 77 w 195"/>
                      <a:gd name="T49" fmla="*/ 4 h 172"/>
                      <a:gd name="T50" fmla="*/ 72 w 195"/>
                      <a:gd name="T51" fmla="*/ 5 h 172"/>
                      <a:gd name="T52" fmla="*/ 67 w 195"/>
                      <a:gd name="T53" fmla="*/ 7 h 172"/>
                      <a:gd name="T54" fmla="*/ 62 w 195"/>
                      <a:gd name="T55" fmla="*/ 9 h 172"/>
                      <a:gd name="T56" fmla="*/ 57 w 195"/>
                      <a:gd name="T57" fmla="*/ 11 h 172"/>
                      <a:gd name="T58" fmla="*/ 52 w 195"/>
                      <a:gd name="T59" fmla="*/ 14 h 172"/>
                      <a:gd name="T60" fmla="*/ 47 w 195"/>
                      <a:gd name="T61" fmla="*/ 17 h 172"/>
                      <a:gd name="T62" fmla="*/ 42 w 195"/>
                      <a:gd name="T63" fmla="*/ 21 h 172"/>
                      <a:gd name="T64" fmla="*/ 37 w 195"/>
                      <a:gd name="T65" fmla="*/ 24 h 172"/>
                      <a:gd name="T66" fmla="*/ 32 w 195"/>
                      <a:gd name="T67" fmla="*/ 29 h 172"/>
                      <a:gd name="T68" fmla="*/ 27 w 195"/>
                      <a:gd name="T69" fmla="*/ 34 h 172"/>
                      <a:gd name="T70" fmla="*/ 23 w 195"/>
                      <a:gd name="T71" fmla="*/ 39 h 172"/>
                      <a:gd name="T72" fmla="*/ 19 w 195"/>
                      <a:gd name="T73" fmla="*/ 44 h 172"/>
                      <a:gd name="T74" fmla="*/ 16 w 195"/>
                      <a:gd name="T75" fmla="*/ 49 h 172"/>
                      <a:gd name="T76" fmla="*/ 13 w 195"/>
                      <a:gd name="T77" fmla="*/ 54 h 172"/>
                      <a:gd name="T78" fmla="*/ 10 w 195"/>
                      <a:gd name="T79" fmla="*/ 59 h 172"/>
                      <a:gd name="T80" fmla="*/ 8 w 195"/>
                      <a:gd name="T81" fmla="*/ 64 h 172"/>
                      <a:gd name="T82" fmla="*/ 6 w 195"/>
                      <a:gd name="T83" fmla="*/ 69 h 172"/>
                      <a:gd name="T84" fmla="*/ 4 w 195"/>
                      <a:gd name="T85" fmla="*/ 74 h 172"/>
                      <a:gd name="T86" fmla="*/ 3 w 195"/>
                      <a:gd name="T87" fmla="*/ 79 h 172"/>
                      <a:gd name="T88" fmla="*/ 2 w 195"/>
                      <a:gd name="T89" fmla="*/ 84 h 172"/>
                      <a:gd name="T90" fmla="*/ 1 w 195"/>
                      <a:gd name="T91" fmla="*/ 89 h 172"/>
                      <a:gd name="T92" fmla="*/ 0 w 195"/>
                      <a:gd name="T93" fmla="*/ 94 h 172"/>
                      <a:gd name="T94" fmla="*/ 0 w 195"/>
                      <a:gd name="T95" fmla="*/ 99 h 172"/>
                      <a:gd name="T96" fmla="*/ 0 w 195"/>
                      <a:gd name="T97" fmla="*/ 104 h 172"/>
                      <a:gd name="T98" fmla="*/ 0 w 195"/>
                      <a:gd name="T99" fmla="*/ 109 h 172"/>
                      <a:gd name="T100" fmla="*/ 0 w 195"/>
                      <a:gd name="T101" fmla="*/ 114 h 172"/>
                      <a:gd name="T102" fmla="*/ 1 w 195"/>
                      <a:gd name="T103" fmla="*/ 119 h 172"/>
                      <a:gd name="T104" fmla="*/ 2 w 195"/>
                      <a:gd name="T105" fmla="*/ 124 h 172"/>
                      <a:gd name="T106" fmla="*/ 3 w 195"/>
                      <a:gd name="T107" fmla="*/ 129 h 172"/>
                      <a:gd name="T108" fmla="*/ 4 w 195"/>
                      <a:gd name="T109" fmla="*/ 134 h 172"/>
                      <a:gd name="T110" fmla="*/ 6 w 195"/>
                      <a:gd name="T111" fmla="*/ 139 h 172"/>
                      <a:gd name="T112" fmla="*/ 8 w 195"/>
                      <a:gd name="T113" fmla="*/ 144 h 172"/>
                      <a:gd name="T114" fmla="*/ 10 w 195"/>
                      <a:gd name="T115" fmla="*/ 149 h 172"/>
                      <a:gd name="T116" fmla="*/ 13 w 195"/>
                      <a:gd name="T117" fmla="*/ 154 h 172"/>
                      <a:gd name="T118" fmla="*/ 16 w 195"/>
                      <a:gd name="T119" fmla="*/ 159 h 172"/>
                      <a:gd name="T120" fmla="*/ 19 w 195"/>
                      <a:gd name="T121" fmla="*/ 164 h 172"/>
                      <a:gd name="T122" fmla="*/ 23 w 195"/>
                      <a:gd name="T123" fmla="*/ 169 h 172"/>
                      <a:gd name="T124" fmla="*/ 104 w 195"/>
                      <a:gd name="T125" fmla="*/ 10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5" h="172">
                        <a:moveTo>
                          <a:pt x="195" y="54"/>
                        </a:moveTo>
                        <a:lnTo>
                          <a:pt x="195" y="53"/>
                        </a:lnTo>
                        <a:lnTo>
                          <a:pt x="194" y="52"/>
                        </a:lnTo>
                        <a:lnTo>
                          <a:pt x="193" y="51"/>
                        </a:lnTo>
                        <a:lnTo>
                          <a:pt x="193" y="50"/>
                        </a:lnTo>
                        <a:lnTo>
                          <a:pt x="192" y="49"/>
                        </a:lnTo>
                        <a:lnTo>
                          <a:pt x="192" y="48"/>
                        </a:lnTo>
                        <a:lnTo>
                          <a:pt x="191" y="47"/>
                        </a:lnTo>
                        <a:lnTo>
                          <a:pt x="190" y="46"/>
                        </a:lnTo>
                        <a:lnTo>
                          <a:pt x="190" y="45"/>
                        </a:lnTo>
                        <a:lnTo>
                          <a:pt x="189" y="44"/>
                        </a:lnTo>
                        <a:lnTo>
                          <a:pt x="188" y="43"/>
                        </a:lnTo>
                        <a:lnTo>
                          <a:pt x="187" y="42"/>
                        </a:lnTo>
                        <a:lnTo>
                          <a:pt x="187" y="41"/>
                        </a:lnTo>
                        <a:lnTo>
                          <a:pt x="186" y="40"/>
                        </a:lnTo>
                        <a:lnTo>
                          <a:pt x="185" y="39"/>
                        </a:lnTo>
                        <a:lnTo>
                          <a:pt x="184" y="38"/>
                        </a:lnTo>
                        <a:lnTo>
                          <a:pt x="184" y="37"/>
                        </a:lnTo>
                        <a:lnTo>
                          <a:pt x="183" y="36"/>
                        </a:lnTo>
                        <a:lnTo>
                          <a:pt x="182" y="35"/>
                        </a:lnTo>
                        <a:lnTo>
                          <a:pt x="181" y="34"/>
                        </a:lnTo>
                        <a:lnTo>
                          <a:pt x="180" y="33"/>
                        </a:lnTo>
                        <a:lnTo>
                          <a:pt x="179" y="32"/>
                        </a:lnTo>
                        <a:lnTo>
                          <a:pt x="178" y="31"/>
                        </a:lnTo>
                        <a:lnTo>
                          <a:pt x="177" y="30"/>
                        </a:lnTo>
                        <a:lnTo>
                          <a:pt x="176" y="29"/>
                        </a:lnTo>
                        <a:lnTo>
                          <a:pt x="175" y="28"/>
                        </a:lnTo>
                        <a:lnTo>
                          <a:pt x="174" y="27"/>
                        </a:lnTo>
                        <a:lnTo>
                          <a:pt x="173" y="26"/>
                        </a:lnTo>
                        <a:lnTo>
                          <a:pt x="172" y="25"/>
                        </a:lnTo>
                        <a:lnTo>
                          <a:pt x="171" y="24"/>
                        </a:lnTo>
                        <a:lnTo>
                          <a:pt x="170" y="24"/>
                        </a:lnTo>
                        <a:lnTo>
                          <a:pt x="169" y="23"/>
                        </a:lnTo>
                        <a:lnTo>
                          <a:pt x="168" y="22"/>
                        </a:lnTo>
                        <a:lnTo>
                          <a:pt x="167" y="21"/>
                        </a:lnTo>
                        <a:lnTo>
                          <a:pt x="166" y="21"/>
                        </a:lnTo>
                        <a:lnTo>
                          <a:pt x="165" y="20"/>
                        </a:lnTo>
                        <a:lnTo>
                          <a:pt x="164" y="19"/>
                        </a:lnTo>
                        <a:lnTo>
                          <a:pt x="163" y="18"/>
                        </a:lnTo>
                        <a:lnTo>
                          <a:pt x="162" y="18"/>
                        </a:lnTo>
                        <a:lnTo>
                          <a:pt x="161" y="17"/>
                        </a:lnTo>
                        <a:lnTo>
                          <a:pt x="160" y="16"/>
                        </a:lnTo>
                        <a:lnTo>
                          <a:pt x="159" y="16"/>
                        </a:lnTo>
                        <a:lnTo>
                          <a:pt x="158" y="15"/>
                        </a:lnTo>
                        <a:lnTo>
                          <a:pt x="157" y="15"/>
                        </a:lnTo>
                        <a:lnTo>
                          <a:pt x="156" y="14"/>
                        </a:lnTo>
                        <a:lnTo>
                          <a:pt x="155" y="13"/>
                        </a:lnTo>
                        <a:lnTo>
                          <a:pt x="154" y="13"/>
                        </a:lnTo>
                        <a:lnTo>
                          <a:pt x="153" y="12"/>
                        </a:lnTo>
                        <a:lnTo>
                          <a:pt x="152" y="12"/>
                        </a:lnTo>
                        <a:lnTo>
                          <a:pt x="151" y="11"/>
                        </a:lnTo>
                        <a:lnTo>
                          <a:pt x="150" y="11"/>
                        </a:lnTo>
                        <a:lnTo>
                          <a:pt x="149" y="10"/>
                        </a:lnTo>
                        <a:lnTo>
                          <a:pt x="148" y="10"/>
                        </a:lnTo>
                        <a:lnTo>
                          <a:pt x="147" y="9"/>
                        </a:lnTo>
                        <a:lnTo>
                          <a:pt x="146" y="9"/>
                        </a:lnTo>
                        <a:lnTo>
                          <a:pt x="145" y="8"/>
                        </a:lnTo>
                        <a:lnTo>
                          <a:pt x="144" y="8"/>
                        </a:lnTo>
                        <a:lnTo>
                          <a:pt x="143" y="8"/>
                        </a:lnTo>
                        <a:lnTo>
                          <a:pt x="142" y="7"/>
                        </a:lnTo>
                        <a:lnTo>
                          <a:pt x="141" y="7"/>
                        </a:lnTo>
                        <a:lnTo>
                          <a:pt x="140" y="6"/>
                        </a:lnTo>
                        <a:lnTo>
                          <a:pt x="139" y="6"/>
                        </a:lnTo>
                        <a:lnTo>
                          <a:pt x="138" y="6"/>
                        </a:lnTo>
                        <a:lnTo>
                          <a:pt x="137" y="5"/>
                        </a:lnTo>
                        <a:lnTo>
                          <a:pt x="136" y="5"/>
                        </a:lnTo>
                        <a:lnTo>
                          <a:pt x="135" y="5"/>
                        </a:lnTo>
                        <a:lnTo>
                          <a:pt x="134" y="4"/>
                        </a:lnTo>
                        <a:lnTo>
                          <a:pt x="133" y="4"/>
                        </a:lnTo>
                        <a:lnTo>
                          <a:pt x="132" y="4"/>
                        </a:lnTo>
                        <a:lnTo>
                          <a:pt x="131" y="4"/>
                        </a:lnTo>
                        <a:lnTo>
                          <a:pt x="130" y="3"/>
                        </a:lnTo>
                        <a:lnTo>
                          <a:pt x="129" y="3"/>
                        </a:lnTo>
                        <a:lnTo>
                          <a:pt x="128" y="3"/>
                        </a:lnTo>
                        <a:lnTo>
                          <a:pt x="127" y="3"/>
                        </a:lnTo>
                        <a:lnTo>
                          <a:pt x="126" y="2"/>
                        </a:lnTo>
                        <a:lnTo>
                          <a:pt x="125" y="2"/>
                        </a:lnTo>
                        <a:lnTo>
                          <a:pt x="124" y="2"/>
                        </a:lnTo>
                        <a:lnTo>
                          <a:pt x="123" y="2"/>
                        </a:lnTo>
                        <a:lnTo>
                          <a:pt x="122" y="2"/>
                        </a:lnTo>
                        <a:lnTo>
                          <a:pt x="121" y="1"/>
                        </a:lnTo>
                        <a:lnTo>
                          <a:pt x="120" y="1"/>
                        </a:lnTo>
                        <a:lnTo>
                          <a:pt x="119" y="1"/>
                        </a:lnTo>
                        <a:lnTo>
                          <a:pt x="118" y="1"/>
                        </a:lnTo>
                        <a:lnTo>
                          <a:pt x="117" y="1"/>
                        </a:lnTo>
                        <a:lnTo>
                          <a:pt x="116" y="1"/>
                        </a:lnTo>
                        <a:lnTo>
                          <a:pt x="115" y="1"/>
                        </a:lnTo>
                        <a:lnTo>
                          <a:pt x="114" y="0"/>
                        </a:lnTo>
                        <a:lnTo>
                          <a:pt x="113" y="0"/>
                        </a:lnTo>
                        <a:lnTo>
                          <a:pt x="112" y="0"/>
                        </a:lnTo>
                        <a:lnTo>
                          <a:pt x="111" y="0"/>
                        </a:lnTo>
                        <a:lnTo>
                          <a:pt x="110" y="0"/>
                        </a:lnTo>
                        <a:lnTo>
                          <a:pt x="109" y="0"/>
                        </a:lnTo>
                        <a:lnTo>
                          <a:pt x="108" y="0"/>
                        </a:lnTo>
                        <a:lnTo>
                          <a:pt x="107" y="0"/>
                        </a:lnTo>
                        <a:lnTo>
                          <a:pt x="106" y="0"/>
                        </a:lnTo>
                        <a:lnTo>
                          <a:pt x="105" y="0"/>
                        </a:lnTo>
                        <a:lnTo>
                          <a:pt x="104" y="0"/>
                        </a:lnTo>
                        <a:lnTo>
                          <a:pt x="103" y="0"/>
                        </a:lnTo>
                        <a:lnTo>
                          <a:pt x="102" y="0"/>
                        </a:lnTo>
                        <a:lnTo>
                          <a:pt x="101" y="0"/>
                        </a:lnTo>
                        <a:lnTo>
                          <a:pt x="100" y="0"/>
                        </a:lnTo>
                        <a:lnTo>
                          <a:pt x="99" y="0"/>
                        </a:lnTo>
                        <a:lnTo>
                          <a:pt x="98" y="0"/>
                        </a:lnTo>
                        <a:lnTo>
                          <a:pt x="97" y="0"/>
                        </a:lnTo>
                        <a:lnTo>
                          <a:pt x="96" y="0"/>
                        </a:lnTo>
                        <a:lnTo>
                          <a:pt x="95" y="0"/>
                        </a:lnTo>
                        <a:lnTo>
                          <a:pt x="94" y="0"/>
                        </a:lnTo>
                        <a:lnTo>
                          <a:pt x="93" y="1"/>
                        </a:lnTo>
                        <a:lnTo>
                          <a:pt x="92" y="1"/>
                        </a:lnTo>
                        <a:lnTo>
                          <a:pt x="91" y="1"/>
                        </a:lnTo>
                        <a:lnTo>
                          <a:pt x="90" y="1"/>
                        </a:lnTo>
                        <a:lnTo>
                          <a:pt x="89" y="1"/>
                        </a:lnTo>
                        <a:lnTo>
                          <a:pt x="88" y="1"/>
                        </a:lnTo>
                        <a:lnTo>
                          <a:pt x="87" y="1"/>
                        </a:lnTo>
                        <a:lnTo>
                          <a:pt x="86" y="2"/>
                        </a:lnTo>
                        <a:lnTo>
                          <a:pt x="85" y="2"/>
                        </a:lnTo>
                        <a:lnTo>
                          <a:pt x="84" y="2"/>
                        </a:lnTo>
                        <a:lnTo>
                          <a:pt x="83" y="2"/>
                        </a:lnTo>
                        <a:lnTo>
                          <a:pt x="82" y="2"/>
                        </a:lnTo>
                        <a:lnTo>
                          <a:pt x="81" y="3"/>
                        </a:lnTo>
                        <a:lnTo>
                          <a:pt x="80" y="3"/>
                        </a:lnTo>
                        <a:lnTo>
                          <a:pt x="79" y="3"/>
                        </a:lnTo>
                        <a:lnTo>
                          <a:pt x="78" y="3"/>
                        </a:lnTo>
                        <a:lnTo>
                          <a:pt x="77" y="4"/>
                        </a:lnTo>
                        <a:lnTo>
                          <a:pt x="76" y="4"/>
                        </a:lnTo>
                        <a:lnTo>
                          <a:pt x="75" y="4"/>
                        </a:lnTo>
                        <a:lnTo>
                          <a:pt x="74" y="4"/>
                        </a:lnTo>
                        <a:lnTo>
                          <a:pt x="73" y="5"/>
                        </a:lnTo>
                        <a:lnTo>
                          <a:pt x="72" y="5"/>
                        </a:lnTo>
                        <a:lnTo>
                          <a:pt x="71" y="5"/>
                        </a:lnTo>
                        <a:lnTo>
                          <a:pt x="70" y="6"/>
                        </a:lnTo>
                        <a:lnTo>
                          <a:pt x="69" y="6"/>
                        </a:lnTo>
                        <a:lnTo>
                          <a:pt x="68" y="6"/>
                        </a:lnTo>
                        <a:lnTo>
                          <a:pt x="67" y="7"/>
                        </a:lnTo>
                        <a:lnTo>
                          <a:pt x="66" y="7"/>
                        </a:lnTo>
                        <a:lnTo>
                          <a:pt x="65" y="8"/>
                        </a:lnTo>
                        <a:lnTo>
                          <a:pt x="64" y="8"/>
                        </a:lnTo>
                        <a:lnTo>
                          <a:pt x="63" y="8"/>
                        </a:lnTo>
                        <a:lnTo>
                          <a:pt x="62" y="9"/>
                        </a:lnTo>
                        <a:lnTo>
                          <a:pt x="61" y="9"/>
                        </a:lnTo>
                        <a:lnTo>
                          <a:pt x="60" y="10"/>
                        </a:lnTo>
                        <a:lnTo>
                          <a:pt x="59" y="10"/>
                        </a:lnTo>
                        <a:lnTo>
                          <a:pt x="58" y="11"/>
                        </a:lnTo>
                        <a:lnTo>
                          <a:pt x="57" y="11"/>
                        </a:lnTo>
                        <a:lnTo>
                          <a:pt x="56" y="12"/>
                        </a:lnTo>
                        <a:lnTo>
                          <a:pt x="55" y="12"/>
                        </a:lnTo>
                        <a:lnTo>
                          <a:pt x="54" y="13"/>
                        </a:lnTo>
                        <a:lnTo>
                          <a:pt x="53" y="13"/>
                        </a:lnTo>
                        <a:lnTo>
                          <a:pt x="52" y="14"/>
                        </a:lnTo>
                        <a:lnTo>
                          <a:pt x="51" y="15"/>
                        </a:lnTo>
                        <a:lnTo>
                          <a:pt x="50" y="15"/>
                        </a:lnTo>
                        <a:lnTo>
                          <a:pt x="49" y="16"/>
                        </a:lnTo>
                        <a:lnTo>
                          <a:pt x="48" y="16"/>
                        </a:lnTo>
                        <a:lnTo>
                          <a:pt x="47" y="17"/>
                        </a:lnTo>
                        <a:lnTo>
                          <a:pt x="46" y="18"/>
                        </a:lnTo>
                        <a:lnTo>
                          <a:pt x="45" y="18"/>
                        </a:lnTo>
                        <a:lnTo>
                          <a:pt x="44" y="19"/>
                        </a:lnTo>
                        <a:lnTo>
                          <a:pt x="43" y="20"/>
                        </a:lnTo>
                        <a:lnTo>
                          <a:pt x="42" y="21"/>
                        </a:lnTo>
                        <a:lnTo>
                          <a:pt x="41" y="21"/>
                        </a:lnTo>
                        <a:lnTo>
                          <a:pt x="40" y="22"/>
                        </a:lnTo>
                        <a:lnTo>
                          <a:pt x="39" y="23"/>
                        </a:lnTo>
                        <a:lnTo>
                          <a:pt x="38" y="24"/>
                        </a:lnTo>
                        <a:lnTo>
                          <a:pt x="37" y="24"/>
                        </a:lnTo>
                        <a:lnTo>
                          <a:pt x="36" y="25"/>
                        </a:lnTo>
                        <a:lnTo>
                          <a:pt x="35" y="26"/>
                        </a:lnTo>
                        <a:lnTo>
                          <a:pt x="34" y="27"/>
                        </a:lnTo>
                        <a:lnTo>
                          <a:pt x="33" y="28"/>
                        </a:lnTo>
                        <a:lnTo>
                          <a:pt x="32" y="29"/>
                        </a:lnTo>
                        <a:lnTo>
                          <a:pt x="31" y="30"/>
                        </a:lnTo>
                        <a:lnTo>
                          <a:pt x="30" y="31"/>
                        </a:lnTo>
                        <a:lnTo>
                          <a:pt x="29" y="32"/>
                        </a:lnTo>
                        <a:lnTo>
                          <a:pt x="28" y="33"/>
                        </a:lnTo>
                        <a:lnTo>
                          <a:pt x="27" y="34"/>
                        </a:lnTo>
                        <a:lnTo>
                          <a:pt x="26" y="35"/>
                        </a:lnTo>
                        <a:lnTo>
                          <a:pt x="25" y="36"/>
                        </a:lnTo>
                        <a:lnTo>
                          <a:pt x="24" y="37"/>
                        </a:lnTo>
                        <a:lnTo>
                          <a:pt x="24" y="38"/>
                        </a:lnTo>
                        <a:lnTo>
                          <a:pt x="23" y="39"/>
                        </a:lnTo>
                        <a:lnTo>
                          <a:pt x="22" y="40"/>
                        </a:lnTo>
                        <a:lnTo>
                          <a:pt x="21" y="41"/>
                        </a:lnTo>
                        <a:lnTo>
                          <a:pt x="21" y="42"/>
                        </a:lnTo>
                        <a:lnTo>
                          <a:pt x="20" y="43"/>
                        </a:lnTo>
                        <a:lnTo>
                          <a:pt x="19" y="44"/>
                        </a:lnTo>
                        <a:lnTo>
                          <a:pt x="18" y="45"/>
                        </a:lnTo>
                        <a:lnTo>
                          <a:pt x="18" y="46"/>
                        </a:lnTo>
                        <a:lnTo>
                          <a:pt x="17" y="47"/>
                        </a:lnTo>
                        <a:lnTo>
                          <a:pt x="16" y="48"/>
                        </a:lnTo>
                        <a:lnTo>
                          <a:pt x="16" y="49"/>
                        </a:lnTo>
                        <a:lnTo>
                          <a:pt x="15" y="50"/>
                        </a:lnTo>
                        <a:lnTo>
                          <a:pt x="15" y="51"/>
                        </a:lnTo>
                        <a:lnTo>
                          <a:pt x="14" y="52"/>
                        </a:lnTo>
                        <a:lnTo>
                          <a:pt x="13" y="53"/>
                        </a:lnTo>
                        <a:lnTo>
                          <a:pt x="13" y="54"/>
                        </a:lnTo>
                        <a:lnTo>
                          <a:pt x="12" y="55"/>
                        </a:lnTo>
                        <a:lnTo>
                          <a:pt x="12" y="56"/>
                        </a:lnTo>
                        <a:lnTo>
                          <a:pt x="11" y="57"/>
                        </a:lnTo>
                        <a:lnTo>
                          <a:pt x="11" y="58"/>
                        </a:lnTo>
                        <a:lnTo>
                          <a:pt x="10" y="59"/>
                        </a:lnTo>
                        <a:lnTo>
                          <a:pt x="10" y="60"/>
                        </a:lnTo>
                        <a:lnTo>
                          <a:pt x="9" y="61"/>
                        </a:lnTo>
                        <a:lnTo>
                          <a:pt x="9" y="62"/>
                        </a:lnTo>
                        <a:lnTo>
                          <a:pt x="8" y="63"/>
                        </a:lnTo>
                        <a:lnTo>
                          <a:pt x="8" y="64"/>
                        </a:lnTo>
                        <a:lnTo>
                          <a:pt x="8" y="65"/>
                        </a:lnTo>
                        <a:lnTo>
                          <a:pt x="7" y="66"/>
                        </a:lnTo>
                        <a:lnTo>
                          <a:pt x="7" y="67"/>
                        </a:lnTo>
                        <a:lnTo>
                          <a:pt x="6" y="68"/>
                        </a:lnTo>
                        <a:lnTo>
                          <a:pt x="6" y="69"/>
                        </a:lnTo>
                        <a:lnTo>
                          <a:pt x="6" y="70"/>
                        </a:lnTo>
                        <a:lnTo>
                          <a:pt x="5" y="71"/>
                        </a:lnTo>
                        <a:lnTo>
                          <a:pt x="5" y="72"/>
                        </a:lnTo>
                        <a:lnTo>
                          <a:pt x="5" y="73"/>
                        </a:lnTo>
                        <a:lnTo>
                          <a:pt x="4" y="74"/>
                        </a:lnTo>
                        <a:lnTo>
                          <a:pt x="4" y="75"/>
                        </a:lnTo>
                        <a:lnTo>
                          <a:pt x="4" y="76"/>
                        </a:lnTo>
                        <a:lnTo>
                          <a:pt x="4" y="77"/>
                        </a:lnTo>
                        <a:lnTo>
                          <a:pt x="3" y="78"/>
                        </a:lnTo>
                        <a:lnTo>
                          <a:pt x="3" y="79"/>
                        </a:lnTo>
                        <a:lnTo>
                          <a:pt x="3" y="80"/>
                        </a:lnTo>
                        <a:lnTo>
                          <a:pt x="3" y="81"/>
                        </a:lnTo>
                        <a:lnTo>
                          <a:pt x="2" y="82"/>
                        </a:lnTo>
                        <a:lnTo>
                          <a:pt x="2" y="83"/>
                        </a:lnTo>
                        <a:lnTo>
                          <a:pt x="2" y="84"/>
                        </a:lnTo>
                        <a:lnTo>
                          <a:pt x="2" y="85"/>
                        </a:lnTo>
                        <a:lnTo>
                          <a:pt x="2" y="86"/>
                        </a:lnTo>
                        <a:lnTo>
                          <a:pt x="1" y="87"/>
                        </a:lnTo>
                        <a:lnTo>
                          <a:pt x="1" y="88"/>
                        </a:lnTo>
                        <a:lnTo>
                          <a:pt x="1" y="89"/>
                        </a:lnTo>
                        <a:lnTo>
                          <a:pt x="1" y="90"/>
                        </a:lnTo>
                        <a:lnTo>
                          <a:pt x="1" y="91"/>
                        </a:lnTo>
                        <a:lnTo>
                          <a:pt x="1" y="92"/>
                        </a:lnTo>
                        <a:lnTo>
                          <a:pt x="1" y="93"/>
                        </a:lnTo>
                        <a:lnTo>
                          <a:pt x="0" y="94"/>
                        </a:lnTo>
                        <a:lnTo>
                          <a:pt x="0" y="95"/>
                        </a:lnTo>
                        <a:lnTo>
                          <a:pt x="0" y="96"/>
                        </a:lnTo>
                        <a:lnTo>
                          <a:pt x="0" y="97"/>
                        </a:lnTo>
                        <a:lnTo>
                          <a:pt x="0" y="98"/>
                        </a:lnTo>
                        <a:lnTo>
                          <a:pt x="0" y="99"/>
                        </a:lnTo>
                        <a:lnTo>
                          <a:pt x="0" y="100"/>
                        </a:lnTo>
                        <a:lnTo>
                          <a:pt x="0" y="101"/>
                        </a:lnTo>
                        <a:lnTo>
                          <a:pt x="0" y="102"/>
                        </a:lnTo>
                        <a:lnTo>
                          <a:pt x="0" y="103"/>
                        </a:lnTo>
                        <a:lnTo>
                          <a:pt x="0" y="104"/>
                        </a:lnTo>
                        <a:lnTo>
                          <a:pt x="0" y="105"/>
                        </a:lnTo>
                        <a:lnTo>
                          <a:pt x="0" y="106"/>
                        </a:lnTo>
                        <a:lnTo>
                          <a:pt x="0" y="107"/>
                        </a:lnTo>
                        <a:lnTo>
                          <a:pt x="0" y="108"/>
                        </a:lnTo>
                        <a:lnTo>
                          <a:pt x="0" y="109"/>
                        </a:lnTo>
                        <a:lnTo>
                          <a:pt x="0" y="110"/>
                        </a:lnTo>
                        <a:lnTo>
                          <a:pt x="0" y="111"/>
                        </a:lnTo>
                        <a:lnTo>
                          <a:pt x="0" y="112"/>
                        </a:lnTo>
                        <a:lnTo>
                          <a:pt x="0" y="113"/>
                        </a:lnTo>
                        <a:lnTo>
                          <a:pt x="0" y="114"/>
                        </a:lnTo>
                        <a:lnTo>
                          <a:pt x="1" y="115"/>
                        </a:lnTo>
                        <a:lnTo>
                          <a:pt x="1" y="116"/>
                        </a:lnTo>
                        <a:lnTo>
                          <a:pt x="1" y="117"/>
                        </a:lnTo>
                        <a:lnTo>
                          <a:pt x="1" y="118"/>
                        </a:lnTo>
                        <a:lnTo>
                          <a:pt x="1" y="119"/>
                        </a:lnTo>
                        <a:lnTo>
                          <a:pt x="1" y="120"/>
                        </a:lnTo>
                        <a:lnTo>
                          <a:pt x="1" y="121"/>
                        </a:lnTo>
                        <a:lnTo>
                          <a:pt x="2" y="122"/>
                        </a:lnTo>
                        <a:lnTo>
                          <a:pt x="2" y="123"/>
                        </a:lnTo>
                        <a:lnTo>
                          <a:pt x="2" y="124"/>
                        </a:lnTo>
                        <a:lnTo>
                          <a:pt x="2" y="125"/>
                        </a:lnTo>
                        <a:lnTo>
                          <a:pt x="2" y="126"/>
                        </a:lnTo>
                        <a:lnTo>
                          <a:pt x="3" y="127"/>
                        </a:lnTo>
                        <a:lnTo>
                          <a:pt x="3" y="128"/>
                        </a:lnTo>
                        <a:lnTo>
                          <a:pt x="3" y="129"/>
                        </a:lnTo>
                        <a:lnTo>
                          <a:pt x="3" y="130"/>
                        </a:lnTo>
                        <a:lnTo>
                          <a:pt x="4" y="131"/>
                        </a:lnTo>
                        <a:lnTo>
                          <a:pt x="4" y="132"/>
                        </a:lnTo>
                        <a:lnTo>
                          <a:pt x="4" y="133"/>
                        </a:lnTo>
                        <a:lnTo>
                          <a:pt x="4" y="134"/>
                        </a:lnTo>
                        <a:lnTo>
                          <a:pt x="5" y="135"/>
                        </a:lnTo>
                        <a:lnTo>
                          <a:pt x="5" y="136"/>
                        </a:lnTo>
                        <a:lnTo>
                          <a:pt x="5" y="137"/>
                        </a:lnTo>
                        <a:lnTo>
                          <a:pt x="6" y="138"/>
                        </a:lnTo>
                        <a:lnTo>
                          <a:pt x="6" y="139"/>
                        </a:lnTo>
                        <a:lnTo>
                          <a:pt x="6" y="140"/>
                        </a:lnTo>
                        <a:lnTo>
                          <a:pt x="7" y="141"/>
                        </a:lnTo>
                        <a:lnTo>
                          <a:pt x="7" y="142"/>
                        </a:lnTo>
                        <a:lnTo>
                          <a:pt x="8" y="143"/>
                        </a:lnTo>
                        <a:lnTo>
                          <a:pt x="8" y="144"/>
                        </a:lnTo>
                        <a:lnTo>
                          <a:pt x="8" y="145"/>
                        </a:lnTo>
                        <a:lnTo>
                          <a:pt x="9" y="146"/>
                        </a:lnTo>
                        <a:lnTo>
                          <a:pt x="9" y="147"/>
                        </a:lnTo>
                        <a:lnTo>
                          <a:pt x="10" y="148"/>
                        </a:lnTo>
                        <a:lnTo>
                          <a:pt x="10" y="149"/>
                        </a:lnTo>
                        <a:lnTo>
                          <a:pt x="11" y="150"/>
                        </a:lnTo>
                        <a:lnTo>
                          <a:pt x="11" y="151"/>
                        </a:lnTo>
                        <a:lnTo>
                          <a:pt x="12" y="152"/>
                        </a:lnTo>
                        <a:lnTo>
                          <a:pt x="12" y="153"/>
                        </a:lnTo>
                        <a:lnTo>
                          <a:pt x="13" y="154"/>
                        </a:lnTo>
                        <a:lnTo>
                          <a:pt x="13" y="155"/>
                        </a:lnTo>
                        <a:lnTo>
                          <a:pt x="14" y="156"/>
                        </a:lnTo>
                        <a:lnTo>
                          <a:pt x="15" y="157"/>
                        </a:lnTo>
                        <a:lnTo>
                          <a:pt x="15" y="158"/>
                        </a:lnTo>
                        <a:lnTo>
                          <a:pt x="16" y="159"/>
                        </a:lnTo>
                        <a:lnTo>
                          <a:pt x="16" y="160"/>
                        </a:lnTo>
                        <a:lnTo>
                          <a:pt x="17" y="161"/>
                        </a:lnTo>
                        <a:lnTo>
                          <a:pt x="18" y="162"/>
                        </a:lnTo>
                        <a:lnTo>
                          <a:pt x="18" y="163"/>
                        </a:lnTo>
                        <a:lnTo>
                          <a:pt x="19" y="164"/>
                        </a:lnTo>
                        <a:lnTo>
                          <a:pt x="20" y="165"/>
                        </a:lnTo>
                        <a:lnTo>
                          <a:pt x="21" y="166"/>
                        </a:lnTo>
                        <a:lnTo>
                          <a:pt x="21" y="167"/>
                        </a:lnTo>
                        <a:lnTo>
                          <a:pt x="22" y="168"/>
                        </a:lnTo>
                        <a:lnTo>
                          <a:pt x="23" y="169"/>
                        </a:lnTo>
                        <a:lnTo>
                          <a:pt x="24" y="170"/>
                        </a:lnTo>
                        <a:lnTo>
                          <a:pt x="24" y="171"/>
                        </a:lnTo>
                        <a:lnTo>
                          <a:pt x="25" y="172"/>
                        </a:lnTo>
                        <a:lnTo>
                          <a:pt x="25" y="172"/>
                        </a:lnTo>
                        <a:lnTo>
                          <a:pt x="104" y="104"/>
                        </a:lnTo>
                        <a:lnTo>
                          <a:pt x="195" y="54"/>
                        </a:lnTo>
                        <a:close/>
                      </a:path>
                    </a:pathLst>
                  </a:custGeom>
                  <a:solidFill>
                    <a:srgbClr val="004C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96" name="Freeform 95"/>
                  <p:cNvSpPr>
                    <a:spLocks/>
                  </p:cNvSpPr>
                  <p:nvPr/>
                </p:nvSpPr>
                <p:spPr bwMode="auto">
                  <a:xfrm>
                    <a:off x="3173" y="2461"/>
                    <a:ext cx="214" cy="165"/>
                  </a:xfrm>
                  <a:custGeom>
                    <a:avLst/>
                    <a:gdLst>
                      <a:gd name="T0" fmla="*/ 2 w 135"/>
                      <a:gd name="T1" fmla="*/ 70 h 104"/>
                      <a:gd name="T2" fmla="*/ 5 w 135"/>
                      <a:gd name="T3" fmla="*/ 73 h 104"/>
                      <a:gd name="T4" fmla="*/ 8 w 135"/>
                      <a:gd name="T5" fmla="*/ 76 h 104"/>
                      <a:gd name="T6" fmla="*/ 11 w 135"/>
                      <a:gd name="T7" fmla="*/ 79 h 104"/>
                      <a:gd name="T8" fmla="*/ 14 w 135"/>
                      <a:gd name="T9" fmla="*/ 81 h 104"/>
                      <a:gd name="T10" fmla="*/ 17 w 135"/>
                      <a:gd name="T11" fmla="*/ 83 h 104"/>
                      <a:gd name="T12" fmla="*/ 20 w 135"/>
                      <a:gd name="T13" fmla="*/ 86 h 104"/>
                      <a:gd name="T14" fmla="*/ 23 w 135"/>
                      <a:gd name="T15" fmla="*/ 88 h 104"/>
                      <a:gd name="T16" fmla="*/ 26 w 135"/>
                      <a:gd name="T17" fmla="*/ 89 h 104"/>
                      <a:gd name="T18" fmla="*/ 29 w 135"/>
                      <a:gd name="T19" fmla="*/ 91 h 104"/>
                      <a:gd name="T20" fmla="*/ 32 w 135"/>
                      <a:gd name="T21" fmla="*/ 93 h 104"/>
                      <a:gd name="T22" fmla="*/ 35 w 135"/>
                      <a:gd name="T23" fmla="*/ 94 h 104"/>
                      <a:gd name="T24" fmla="*/ 38 w 135"/>
                      <a:gd name="T25" fmla="*/ 96 h 104"/>
                      <a:gd name="T26" fmla="*/ 41 w 135"/>
                      <a:gd name="T27" fmla="*/ 97 h 104"/>
                      <a:gd name="T28" fmla="*/ 44 w 135"/>
                      <a:gd name="T29" fmla="*/ 98 h 104"/>
                      <a:gd name="T30" fmla="*/ 47 w 135"/>
                      <a:gd name="T31" fmla="*/ 99 h 104"/>
                      <a:gd name="T32" fmla="*/ 50 w 135"/>
                      <a:gd name="T33" fmla="*/ 100 h 104"/>
                      <a:gd name="T34" fmla="*/ 53 w 135"/>
                      <a:gd name="T35" fmla="*/ 101 h 104"/>
                      <a:gd name="T36" fmla="*/ 56 w 135"/>
                      <a:gd name="T37" fmla="*/ 101 h 104"/>
                      <a:gd name="T38" fmla="*/ 59 w 135"/>
                      <a:gd name="T39" fmla="*/ 102 h 104"/>
                      <a:gd name="T40" fmla="*/ 62 w 135"/>
                      <a:gd name="T41" fmla="*/ 103 h 104"/>
                      <a:gd name="T42" fmla="*/ 65 w 135"/>
                      <a:gd name="T43" fmla="*/ 103 h 104"/>
                      <a:gd name="T44" fmla="*/ 68 w 135"/>
                      <a:gd name="T45" fmla="*/ 103 h 104"/>
                      <a:gd name="T46" fmla="*/ 71 w 135"/>
                      <a:gd name="T47" fmla="*/ 104 h 104"/>
                      <a:gd name="T48" fmla="*/ 74 w 135"/>
                      <a:gd name="T49" fmla="*/ 104 h 104"/>
                      <a:gd name="T50" fmla="*/ 77 w 135"/>
                      <a:gd name="T51" fmla="*/ 104 h 104"/>
                      <a:gd name="T52" fmla="*/ 80 w 135"/>
                      <a:gd name="T53" fmla="*/ 104 h 104"/>
                      <a:gd name="T54" fmla="*/ 83 w 135"/>
                      <a:gd name="T55" fmla="*/ 104 h 104"/>
                      <a:gd name="T56" fmla="*/ 86 w 135"/>
                      <a:gd name="T57" fmla="*/ 104 h 104"/>
                      <a:gd name="T58" fmla="*/ 89 w 135"/>
                      <a:gd name="T59" fmla="*/ 104 h 104"/>
                      <a:gd name="T60" fmla="*/ 92 w 135"/>
                      <a:gd name="T61" fmla="*/ 103 h 104"/>
                      <a:gd name="T62" fmla="*/ 95 w 135"/>
                      <a:gd name="T63" fmla="*/ 103 h 104"/>
                      <a:gd name="T64" fmla="*/ 98 w 135"/>
                      <a:gd name="T65" fmla="*/ 102 h 104"/>
                      <a:gd name="T66" fmla="*/ 101 w 135"/>
                      <a:gd name="T67" fmla="*/ 102 h 104"/>
                      <a:gd name="T68" fmla="*/ 104 w 135"/>
                      <a:gd name="T69" fmla="*/ 101 h 104"/>
                      <a:gd name="T70" fmla="*/ 107 w 135"/>
                      <a:gd name="T71" fmla="*/ 100 h 104"/>
                      <a:gd name="T72" fmla="*/ 110 w 135"/>
                      <a:gd name="T73" fmla="*/ 99 h 104"/>
                      <a:gd name="T74" fmla="*/ 113 w 135"/>
                      <a:gd name="T75" fmla="*/ 98 h 104"/>
                      <a:gd name="T76" fmla="*/ 116 w 135"/>
                      <a:gd name="T77" fmla="*/ 97 h 104"/>
                      <a:gd name="T78" fmla="*/ 119 w 135"/>
                      <a:gd name="T79" fmla="*/ 96 h 104"/>
                      <a:gd name="T80" fmla="*/ 122 w 135"/>
                      <a:gd name="T81" fmla="*/ 95 h 104"/>
                      <a:gd name="T82" fmla="*/ 125 w 135"/>
                      <a:gd name="T83" fmla="*/ 93 h 104"/>
                      <a:gd name="T84" fmla="*/ 128 w 135"/>
                      <a:gd name="T85" fmla="*/ 92 h 104"/>
                      <a:gd name="T86" fmla="*/ 131 w 135"/>
                      <a:gd name="T87" fmla="*/ 90 h 104"/>
                      <a:gd name="T88" fmla="*/ 134 w 135"/>
                      <a:gd name="T89" fmla="*/ 88 h 104"/>
                      <a:gd name="T90" fmla="*/ 79 w 135"/>
                      <a:gd name="T91"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5" h="104">
                        <a:moveTo>
                          <a:pt x="0" y="68"/>
                        </a:moveTo>
                        <a:lnTo>
                          <a:pt x="1" y="69"/>
                        </a:lnTo>
                        <a:lnTo>
                          <a:pt x="2" y="70"/>
                        </a:lnTo>
                        <a:lnTo>
                          <a:pt x="3" y="71"/>
                        </a:lnTo>
                        <a:lnTo>
                          <a:pt x="4" y="72"/>
                        </a:lnTo>
                        <a:lnTo>
                          <a:pt x="5" y="73"/>
                        </a:lnTo>
                        <a:lnTo>
                          <a:pt x="6" y="74"/>
                        </a:lnTo>
                        <a:lnTo>
                          <a:pt x="7" y="75"/>
                        </a:lnTo>
                        <a:lnTo>
                          <a:pt x="8" y="76"/>
                        </a:lnTo>
                        <a:lnTo>
                          <a:pt x="9" y="77"/>
                        </a:lnTo>
                        <a:lnTo>
                          <a:pt x="10" y="78"/>
                        </a:lnTo>
                        <a:lnTo>
                          <a:pt x="11" y="79"/>
                        </a:lnTo>
                        <a:lnTo>
                          <a:pt x="12" y="80"/>
                        </a:lnTo>
                        <a:lnTo>
                          <a:pt x="13" y="80"/>
                        </a:lnTo>
                        <a:lnTo>
                          <a:pt x="14" y="81"/>
                        </a:lnTo>
                        <a:lnTo>
                          <a:pt x="15" y="82"/>
                        </a:lnTo>
                        <a:lnTo>
                          <a:pt x="16" y="83"/>
                        </a:lnTo>
                        <a:lnTo>
                          <a:pt x="17" y="83"/>
                        </a:lnTo>
                        <a:lnTo>
                          <a:pt x="18" y="84"/>
                        </a:lnTo>
                        <a:lnTo>
                          <a:pt x="19" y="85"/>
                        </a:lnTo>
                        <a:lnTo>
                          <a:pt x="20" y="86"/>
                        </a:lnTo>
                        <a:lnTo>
                          <a:pt x="21" y="86"/>
                        </a:lnTo>
                        <a:lnTo>
                          <a:pt x="22" y="87"/>
                        </a:lnTo>
                        <a:lnTo>
                          <a:pt x="23" y="88"/>
                        </a:lnTo>
                        <a:lnTo>
                          <a:pt x="24" y="88"/>
                        </a:lnTo>
                        <a:lnTo>
                          <a:pt x="25" y="89"/>
                        </a:lnTo>
                        <a:lnTo>
                          <a:pt x="26" y="89"/>
                        </a:lnTo>
                        <a:lnTo>
                          <a:pt x="27" y="90"/>
                        </a:lnTo>
                        <a:lnTo>
                          <a:pt x="28" y="91"/>
                        </a:lnTo>
                        <a:lnTo>
                          <a:pt x="29" y="91"/>
                        </a:lnTo>
                        <a:lnTo>
                          <a:pt x="30" y="92"/>
                        </a:lnTo>
                        <a:lnTo>
                          <a:pt x="31" y="92"/>
                        </a:lnTo>
                        <a:lnTo>
                          <a:pt x="32" y="93"/>
                        </a:lnTo>
                        <a:lnTo>
                          <a:pt x="33" y="93"/>
                        </a:lnTo>
                        <a:lnTo>
                          <a:pt x="34" y="94"/>
                        </a:lnTo>
                        <a:lnTo>
                          <a:pt x="35" y="94"/>
                        </a:lnTo>
                        <a:lnTo>
                          <a:pt x="36" y="95"/>
                        </a:lnTo>
                        <a:lnTo>
                          <a:pt x="37" y="95"/>
                        </a:lnTo>
                        <a:lnTo>
                          <a:pt x="38" y="96"/>
                        </a:lnTo>
                        <a:lnTo>
                          <a:pt x="39" y="96"/>
                        </a:lnTo>
                        <a:lnTo>
                          <a:pt x="40" y="96"/>
                        </a:lnTo>
                        <a:lnTo>
                          <a:pt x="41" y="97"/>
                        </a:lnTo>
                        <a:lnTo>
                          <a:pt x="42" y="97"/>
                        </a:lnTo>
                        <a:lnTo>
                          <a:pt x="43" y="98"/>
                        </a:lnTo>
                        <a:lnTo>
                          <a:pt x="44" y="98"/>
                        </a:lnTo>
                        <a:lnTo>
                          <a:pt x="45" y="98"/>
                        </a:lnTo>
                        <a:lnTo>
                          <a:pt x="46" y="99"/>
                        </a:lnTo>
                        <a:lnTo>
                          <a:pt x="47" y="99"/>
                        </a:lnTo>
                        <a:lnTo>
                          <a:pt x="48" y="99"/>
                        </a:lnTo>
                        <a:lnTo>
                          <a:pt x="49" y="100"/>
                        </a:lnTo>
                        <a:lnTo>
                          <a:pt x="50" y="100"/>
                        </a:lnTo>
                        <a:lnTo>
                          <a:pt x="51" y="100"/>
                        </a:lnTo>
                        <a:lnTo>
                          <a:pt x="52" y="100"/>
                        </a:lnTo>
                        <a:lnTo>
                          <a:pt x="53" y="101"/>
                        </a:lnTo>
                        <a:lnTo>
                          <a:pt x="54" y="101"/>
                        </a:lnTo>
                        <a:lnTo>
                          <a:pt x="55" y="101"/>
                        </a:lnTo>
                        <a:lnTo>
                          <a:pt x="56" y="101"/>
                        </a:lnTo>
                        <a:lnTo>
                          <a:pt x="57" y="102"/>
                        </a:lnTo>
                        <a:lnTo>
                          <a:pt x="58" y="102"/>
                        </a:lnTo>
                        <a:lnTo>
                          <a:pt x="59" y="102"/>
                        </a:lnTo>
                        <a:lnTo>
                          <a:pt x="60" y="102"/>
                        </a:lnTo>
                        <a:lnTo>
                          <a:pt x="61" y="102"/>
                        </a:lnTo>
                        <a:lnTo>
                          <a:pt x="62" y="103"/>
                        </a:lnTo>
                        <a:lnTo>
                          <a:pt x="63" y="103"/>
                        </a:lnTo>
                        <a:lnTo>
                          <a:pt x="64" y="103"/>
                        </a:lnTo>
                        <a:lnTo>
                          <a:pt x="65" y="103"/>
                        </a:lnTo>
                        <a:lnTo>
                          <a:pt x="66" y="103"/>
                        </a:lnTo>
                        <a:lnTo>
                          <a:pt x="67" y="103"/>
                        </a:lnTo>
                        <a:lnTo>
                          <a:pt x="68" y="103"/>
                        </a:lnTo>
                        <a:lnTo>
                          <a:pt x="69" y="104"/>
                        </a:lnTo>
                        <a:lnTo>
                          <a:pt x="70" y="104"/>
                        </a:lnTo>
                        <a:lnTo>
                          <a:pt x="71" y="104"/>
                        </a:lnTo>
                        <a:lnTo>
                          <a:pt x="72" y="104"/>
                        </a:lnTo>
                        <a:lnTo>
                          <a:pt x="73" y="104"/>
                        </a:lnTo>
                        <a:lnTo>
                          <a:pt x="74" y="104"/>
                        </a:lnTo>
                        <a:lnTo>
                          <a:pt x="75" y="104"/>
                        </a:lnTo>
                        <a:lnTo>
                          <a:pt x="76" y="104"/>
                        </a:lnTo>
                        <a:lnTo>
                          <a:pt x="77" y="104"/>
                        </a:lnTo>
                        <a:lnTo>
                          <a:pt x="78" y="104"/>
                        </a:lnTo>
                        <a:lnTo>
                          <a:pt x="79" y="104"/>
                        </a:lnTo>
                        <a:lnTo>
                          <a:pt x="80" y="104"/>
                        </a:lnTo>
                        <a:lnTo>
                          <a:pt x="81" y="104"/>
                        </a:lnTo>
                        <a:lnTo>
                          <a:pt x="82" y="104"/>
                        </a:lnTo>
                        <a:lnTo>
                          <a:pt x="83" y="104"/>
                        </a:lnTo>
                        <a:lnTo>
                          <a:pt x="84" y="104"/>
                        </a:lnTo>
                        <a:lnTo>
                          <a:pt x="85" y="104"/>
                        </a:lnTo>
                        <a:lnTo>
                          <a:pt x="86" y="104"/>
                        </a:lnTo>
                        <a:lnTo>
                          <a:pt x="87" y="104"/>
                        </a:lnTo>
                        <a:lnTo>
                          <a:pt x="88" y="104"/>
                        </a:lnTo>
                        <a:lnTo>
                          <a:pt x="89" y="104"/>
                        </a:lnTo>
                        <a:lnTo>
                          <a:pt x="90" y="103"/>
                        </a:lnTo>
                        <a:lnTo>
                          <a:pt x="91" y="103"/>
                        </a:lnTo>
                        <a:lnTo>
                          <a:pt x="92" y="103"/>
                        </a:lnTo>
                        <a:lnTo>
                          <a:pt x="93" y="103"/>
                        </a:lnTo>
                        <a:lnTo>
                          <a:pt x="94" y="103"/>
                        </a:lnTo>
                        <a:lnTo>
                          <a:pt x="95" y="103"/>
                        </a:lnTo>
                        <a:lnTo>
                          <a:pt x="96" y="103"/>
                        </a:lnTo>
                        <a:lnTo>
                          <a:pt x="97" y="102"/>
                        </a:lnTo>
                        <a:lnTo>
                          <a:pt x="98" y="102"/>
                        </a:lnTo>
                        <a:lnTo>
                          <a:pt x="99" y="102"/>
                        </a:lnTo>
                        <a:lnTo>
                          <a:pt x="100" y="102"/>
                        </a:lnTo>
                        <a:lnTo>
                          <a:pt x="101" y="102"/>
                        </a:lnTo>
                        <a:lnTo>
                          <a:pt x="102" y="101"/>
                        </a:lnTo>
                        <a:lnTo>
                          <a:pt x="103" y="101"/>
                        </a:lnTo>
                        <a:lnTo>
                          <a:pt x="104" y="101"/>
                        </a:lnTo>
                        <a:lnTo>
                          <a:pt x="105" y="101"/>
                        </a:lnTo>
                        <a:lnTo>
                          <a:pt x="106" y="100"/>
                        </a:lnTo>
                        <a:lnTo>
                          <a:pt x="107" y="100"/>
                        </a:lnTo>
                        <a:lnTo>
                          <a:pt x="108" y="100"/>
                        </a:lnTo>
                        <a:lnTo>
                          <a:pt x="109" y="100"/>
                        </a:lnTo>
                        <a:lnTo>
                          <a:pt x="110" y="99"/>
                        </a:lnTo>
                        <a:lnTo>
                          <a:pt x="111" y="99"/>
                        </a:lnTo>
                        <a:lnTo>
                          <a:pt x="112" y="99"/>
                        </a:lnTo>
                        <a:lnTo>
                          <a:pt x="113" y="98"/>
                        </a:lnTo>
                        <a:lnTo>
                          <a:pt x="114" y="98"/>
                        </a:lnTo>
                        <a:lnTo>
                          <a:pt x="115" y="98"/>
                        </a:lnTo>
                        <a:lnTo>
                          <a:pt x="116" y="97"/>
                        </a:lnTo>
                        <a:lnTo>
                          <a:pt x="117" y="97"/>
                        </a:lnTo>
                        <a:lnTo>
                          <a:pt x="118" y="96"/>
                        </a:lnTo>
                        <a:lnTo>
                          <a:pt x="119" y="96"/>
                        </a:lnTo>
                        <a:lnTo>
                          <a:pt x="120" y="96"/>
                        </a:lnTo>
                        <a:lnTo>
                          <a:pt x="121" y="95"/>
                        </a:lnTo>
                        <a:lnTo>
                          <a:pt x="122" y="95"/>
                        </a:lnTo>
                        <a:lnTo>
                          <a:pt x="123" y="94"/>
                        </a:lnTo>
                        <a:lnTo>
                          <a:pt x="124" y="94"/>
                        </a:lnTo>
                        <a:lnTo>
                          <a:pt x="125" y="93"/>
                        </a:lnTo>
                        <a:lnTo>
                          <a:pt x="126" y="93"/>
                        </a:lnTo>
                        <a:lnTo>
                          <a:pt x="127" y="92"/>
                        </a:lnTo>
                        <a:lnTo>
                          <a:pt x="128" y="92"/>
                        </a:lnTo>
                        <a:lnTo>
                          <a:pt x="129" y="91"/>
                        </a:lnTo>
                        <a:lnTo>
                          <a:pt x="130" y="91"/>
                        </a:lnTo>
                        <a:lnTo>
                          <a:pt x="131" y="90"/>
                        </a:lnTo>
                        <a:lnTo>
                          <a:pt x="132" y="89"/>
                        </a:lnTo>
                        <a:lnTo>
                          <a:pt x="133" y="89"/>
                        </a:lnTo>
                        <a:lnTo>
                          <a:pt x="134" y="88"/>
                        </a:lnTo>
                        <a:lnTo>
                          <a:pt x="135" y="88"/>
                        </a:lnTo>
                        <a:lnTo>
                          <a:pt x="135" y="88"/>
                        </a:lnTo>
                        <a:lnTo>
                          <a:pt x="79" y="0"/>
                        </a:lnTo>
                        <a:lnTo>
                          <a:pt x="0" y="68"/>
                        </a:ln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97" name="Freeform 96"/>
                  <p:cNvSpPr>
                    <a:spLocks/>
                  </p:cNvSpPr>
                  <p:nvPr/>
                </p:nvSpPr>
                <p:spPr bwMode="auto">
                  <a:xfrm>
                    <a:off x="3298" y="2461"/>
                    <a:ext cx="165" cy="139"/>
                  </a:xfrm>
                  <a:custGeom>
                    <a:avLst/>
                    <a:gdLst>
                      <a:gd name="T0" fmla="*/ 57 w 104"/>
                      <a:gd name="T1" fmla="*/ 87 h 88"/>
                      <a:gd name="T2" fmla="*/ 59 w 104"/>
                      <a:gd name="T3" fmla="*/ 86 h 88"/>
                      <a:gd name="T4" fmla="*/ 61 w 104"/>
                      <a:gd name="T5" fmla="*/ 84 h 88"/>
                      <a:gd name="T6" fmla="*/ 63 w 104"/>
                      <a:gd name="T7" fmla="*/ 83 h 88"/>
                      <a:gd name="T8" fmla="*/ 65 w 104"/>
                      <a:gd name="T9" fmla="*/ 81 h 88"/>
                      <a:gd name="T10" fmla="*/ 67 w 104"/>
                      <a:gd name="T11" fmla="*/ 80 h 88"/>
                      <a:gd name="T12" fmla="*/ 69 w 104"/>
                      <a:gd name="T13" fmla="*/ 78 h 88"/>
                      <a:gd name="T14" fmla="*/ 71 w 104"/>
                      <a:gd name="T15" fmla="*/ 76 h 88"/>
                      <a:gd name="T16" fmla="*/ 73 w 104"/>
                      <a:gd name="T17" fmla="*/ 74 h 88"/>
                      <a:gd name="T18" fmla="*/ 75 w 104"/>
                      <a:gd name="T19" fmla="*/ 72 h 88"/>
                      <a:gd name="T20" fmla="*/ 77 w 104"/>
                      <a:gd name="T21" fmla="*/ 70 h 88"/>
                      <a:gd name="T22" fmla="*/ 79 w 104"/>
                      <a:gd name="T23" fmla="*/ 68 h 88"/>
                      <a:gd name="T24" fmla="*/ 80 w 104"/>
                      <a:gd name="T25" fmla="*/ 66 h 88"/>
                      <a:gd name="T26" fmla="*/ 82 w 104"/>
                      <a:gd name="T27" fmla="*/ 64 h 88"/>
                      <a:gd name="T28" fmla="*/ 83 w 104"/>
                      <a:gd name="T29" fmla="*/ 62 h 88"/>
                      <a:gd name="T30" fmla="*/ 85 w 104"/>
                      <a:gd name="T31" fmla="*/ 60 h 88"/>
                      <a:gd name="T32" fmla="*/ 86 w 104"/>
                      <a:gd name="T33" fmla="*/ 58 h 88"/>
                      <a:gd name="T34" fmla="*/ 88 w 104"/>
                      <a:gd name="T35" fmla="*/ 56 h 88"/>
                      <a:gd name="T36" fmla="*/ 89 w 104"/>
                      <a:gd name="T37" fmla="*/ 54 h 88"/>
                      <a:gd name="T38" fmla="*/ 90 w 104"/>
                      <a:gd name="T39" fmla="*/ 52 h 88"/>
                      <a:gd name="T40" fmla="*/ 91 w 104"/>
                      <a:gd name="T41" fmla="*/ 50 h 88"/>
                      <a:gd name="T42" fmla="*/ 92 w 104"/>
                      <a:gd name="T43" fmla="*/ 48 h 88"/>
                      <a:gd name="T44" fmla="*/ 93 w 104"/>
                      <a:gd name="T45" fmla="*/ 46 h 88"/>
                      <a:gd name="T46" fmla="*/ 94 w 104"/>
                      <a:gd name="T47" fmla="*/ 44 h 88"/>
                      <a:gd name="T48" fmla="*/ 95 w 104"/>
                      <a:gd name="T49" fmla="*/ 42 h 88"/>
                      <a:gd name="T50" fmla="*/ 96 w 104"/>
                      <a:gd name="T51" fmla="*/ 40 h 88"/>
                      <a:gd name="T52" fmla="*/ 97 w 104"/>
                      <a:gd name="T53" fmla="*/ 38 h 88"/>
                      <a:gd name="T54" fmla="*/ 98 w 104"/>
                      <a:gd name="T55" fmla="*/ 36 h 88"/>
                      <a:gd name="T56" fmla="*/ 98 w 104"/>
                      <a:gd name="T57" fmla="*/ 34 h 88"/>
                      <a:gd name="T58" fmla="*/ 99 w 104"/>
                      <a:gd name="T59" fmla="*/ 32 h 88"/>
                      <a:gd name="T60" fmla="*/ 100 w 104"/>
                      <a:gd name="T61" fmla="*/ 30 h 88"/>
                      <a:gd name="T62" fmla="*/ 100 w 104"/>
                      <a:gd name="T63" fmla="*/ 28 h 88"/>
                      <a:gd name="T64" fmla="*/ 101 w 104"/>
                      <a:gd name="T65" fmla="*/ 26 h 88"/>
                      <a:gd name="T66" fmla="*/ 101 w 104"/>
                      <a:gd name="T67" fmla="*/ 24 h 88"/>
                      <a:gd name="T68" fmla="*/ 102 w 104"/>
                      <a:gd name="T69" fmla="*/ 22 h 88"/>
                      <a:gd name="T70" fmla="*/ 102 w 104"/>
                      <a:gd name="T71" fmla="*/ 20 h 88"/>
                      <a:gd name="T72" fmla="*/ 102 w 104"/>
                      <a:gd name="T73" fmla="*/ 18 h 88"/>
                      <a:gd name="T74" fmla="*/ 103 w 104"/>
                      <a:gd name="T75" fmla="*/ 16 h 88"/>
                      <a:gd name="T76" fmla="*/ 103 w 104"/>
                      <a:gd name="T77" fmla="*/ 14 h 88"/>
                      <a:gd name="T78" fmla="*/ 103 w 104"/>
                      <a:gd name="T79" fmla="*/ 12 h 88"/>
                      <a:gd name="T80" fmla="*/ 104 w 104"/>
                      <a:gd name="T81" fmla="*/ 10 h 88"/>
                      <a:gd name="T82" fmla="*/ 104 w 104"/>
                      <a:gd name="T83" fmla="*/ 8 h 88"/>
                      <a:gd name="T84" fmla="*/ 104 w 104"/>
                      <a:gd name="T85" fmla="*/ 6 h 88"/>
                      <a:gd name="T86" fmla="*/ 104 w 104"/>
                      <a:gd name="T87" fmla="*/ 4 h 88"/>
                      <a:gd name="T88" fmla="*/ 104 w 104"/>
                      <a:gd name="T89" fmla="*/ 2 h 88"/>
                      <a:gd name="T90" fmla="*/ 104 w 104"/>
                      <a:gd name="T91" fmla="*/ 0 h 88"/>
                      <a:gd name="T92" fmla="*/ 0 w 104"/>
                      <a:gd name="T93"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4" h="88">
                        <a:moveTo>
                          <a:pt x="56" y="88"/>
                        </a:moveTo>
                        <a:lnTo>
                          <a:pt x="57" y="87"/>
                        </a:lnTo>
                        <a:lnTo>
                          <a:pt x="58" y="86"/>
                        </a:lnTo>
                        <a:lnTo>
                          <a:pt x="59" y="86"/>
                        </a:lnTo>
                        <a:lnTo>
                          <a:pt x="60" y="85"/>
                        </a:lnTo>
                        <a:lnTo>
                          <a:pt x="61" y="84"/>
                        </a:lnTo>
                        <a:lnTo>
                          <a:pt x="62" y="83"/>
                        </a:lnTo>
                        <a:lnTo>
                          <a:pt x="63" y="83"/>
                        </a:lnTo>
                        <a:lnTo>
                          <a:pt x="64" y="82"/>
                        </a:lnTo>
                        <a:lnTo>
                          <a:pt x="65" y="81"/>
                        </a:lnTo>
                        <a:lnTo>
                          <a:pt x="66" y="80"/>
                        </a:lnTo>
                        <a:lnTo>
                          <a:pt x="67" y="80"/>
                        </a:lnTo>
                        <a:lnTo>
                          <a:pt x="68" y="79"/>
                        </a:lnTo>
                        <a:lnTo>
                          <a:pt x="69" y="78"/>
                        </a:lnTo>
                        <a:lnTo>
                          <a:pt x="70" y="77"/>
                        </a:lnTo>
                        <a:lnTo>
                          <a:pt x="71" y="76"/>
                        </a:lnTo>
                        <a:lnTo>
                          <a:pt x="72" y="75"/>
                        </a:lnTo>
                        <a:lnTo>
                          <a:pt x="73" y="74"/>
                        </a:lnTo>
                        <a:lnTo>
                          <a:pt x="74" y="73"/>
                        </a:lnTo>
                        <a:lnTo>
                          <a:pt x="75" y="72"/>
                        </a:lnTo>
                        <a:lnTo>
                          <a:pt x="76" y="71"/>
                        </a:lnTo>
                        <a:lnTo>
                          <a:pt x="77" y="70"/>
                        </a:lnTo>
                        <a:lnTo>
                          <a:pt x="78" y="69"/>
                        </a:lnTo>
                        <a:lnTo>
                          <a:pt x="79" y="68"/>
                        </a:lnTo>
                        <a:lnTo>
                          <a:pt x="80" y="67"/>
                        </a:lnTo>
                        <a:lnTo>
                          <a:pt x="80" y="66"/>
                        </a:lnTo>
                        <a:lnTo>
                          <a:pt x="81" y="65"/>
                        </a:lnTo>
                        <a:lnTo>
                          <a:pt x="82" y="64"/>
                        </a:lnTo>
                        <a:lnTo>
                          <a:pt x="83" y="63"/>
                        </a:lnTo>
                        <a:lnTo>
                          <a:pt x="83" y="62"/>
                        </a:lnTo>
                        <a:lnTo>
                          <a:pt x="84" y="61"/>
                        </a:lnTo>
                        <a:lnTo>
                          <a:pt x="85" y="60"/>
                        </a:lnTo>
                        <a:lnTo>
                          <a:pt x="86" y="59"/>
                        </a:lnTo>
                        <a:lnTo>
                          <a:pt x="86" y="58"/>
                        </a:lnTo>
                        <a:lnTo>
                          <a:pt x="87" y="57"/>
                        </a:lnTo>
                        <a:lnTo>
                          <a:pt x="88" y="56"/>
                        </a:lnTo>
                        <a:lnTo>
                          <a:pt x="88" y="55"/>
                        </a:lnTo>
                        <a:lnTo>
                          <a:pt x="89" y="54"/>
                        </a:lnTo>
                        <a:lnTo>
                          <a:pt x="89" y="53"/>
                        </a:lnTo>
                        <a:lnTo>
                          <a:pt x="90" y="52"/>
                        </a:lnTo>
                        <a:lnTo>
                          <a:pt x="91" y="51"/>
                        </a:lnTo>
                        <a:lnTo>
                          <a:pt x="91" y="50"/>
                        </a:lnTo>
                        <a:lnTo>
                          <a:pt x="92" y="49"/>
                        </a:lnTo>
                        <a:lnTo>
                          <a:pt x="92" y="48"/>
                        </a:lnTo>
                        <a:lnTo>
                          <a:pt x="93" y="47"/>
                        </a:lnTo>
                        <a:lnTo>
                          <a:pt x="93" y="46"/>
                        </a:lnTo>
                        <a:lnTo>
                          <a:pt x="94" y="45"/>
                        </a:lnTo>
                        <a:lnTo>
                          <a:pt x="94" y="44"/>
                        </a:lnTo>
                        <a:lnTo>
                          <a:pt x="95" y="43"/>
                        </a:lnTo>
                        <a:lnTo>
                          <a:pt x="95" y="42"/>
                        </a:lnTo>
                        <a:lnTo>
                          <a:pt x="96" y="41"/>
                        </a:lnTo>
                        <a:lnTo>
                          <a:pt x="96" y="40"/>
                        </a:lnTo>
                        <a:lnTo>
                          <a:pt x="96" y="39"/>
                        </a:lnTo>
                        <a:lnTo>
                          <a:pt x="97" y="38"/>
                        </a:lnTo>
                        <a:lnTo>
                          <a:pt x="97" y="37"/>
                        </a:lnTo>
                        <a:lnTo>
                          <a:pt x="98" y="36"/>
                        </a:lnTo>
                        <a:lnTo>
                          <a:pt x="98" y="35"/>
                        </a:lnTo>
                        <a:lnTo>
                          <a:pt x="98" y="34"/>
                        </a:lnTo>
                        <a:lnTo>
                          <a:pt x="99" y="33"/>
                        </a:lnTo>
                        <a:lnTo>
                          <a:pt x="99" y="32"/>
                        </a:lnTo>
                        <a:lnTo>
                          <a:pt x="99" y="31"/>
                        </a:lnTo>
                        <a:lnTo>
                          <a:pt x="100" y="30"/>
                        </a:lnTo>
                        <a:lnTo>
                          <a:pt x="100" y="29"/>
                        </a:lnTo>
                        <a:lnTo>
                          <a:pt x="100" y="28"/>
                        </a:lnTo>
                        <a:lnTo>
                          <a:pt x="100" y="27"/>
                        </a:lnTo>
                        <a:lnTo>
                          <a:pt x="101" y="26"/>
                        </a:lnTo>
                        <a:lnTo>
                          <a:pt x="101" y="25"/>
                        </a:lnTo>
                        <a:lnTo>
                          <a:pt x="101" y="24"/>
                        </a:lnTo>
                        <a:lnTo>
                          <a:pt x="101" y="23"/>
                        </a:lnTo>
                        <a:lnTo>
                          <a:pt x="102" y="22"/>
                        </a:lnTo>
                        <a:lnTo>
                          <a:pt x="102" y="21"/>
                        </a:lnTo>
                        <a:lnTo>
                          <a:pt x="102" y="20"/>
                        </a:lnTo>
                        <a:lnTo>
                          <a:pt x="102" y="19"/>
                        </a:lnTo>
                        <a:lnTo>
                          <a:pt x="102" y="18"/>
                        </a:lnTo>
                        <a:lnTo>
                          <a:pt x="103" y="17"/>
                        </a:lnTo>
                        <a:lnTo>
                          <a:pt x="103" y="16"/>
                        </a:lnTo>
                        <a:lnTo>
                          <a:pt x="103" y="15"/>
                        </a:lnTo>
                        <a:lnTo>
                          <a:pt x="103" y="14"/>
                        </a:lnTo>
                        <a:lnTo>
                          <a:pt x="103" y="13"/>
                        </a:lnTo>
                        <a:lnTo>
                          <a:pt x="103" y="12"/>
                        </a:lnTo>
                        <a:lnTo>
                          <a:pt x="103" y="11"/>
                        </a:lnTo>
                        <a:lnTo>
                          <a:pt x="104" y="10"/>
                        </a:lnTo>
                        <a:lnTo>
                          <a:pt x="104" y="9"/>
                        </a:lnTo>
                        <a:lnTo>
                          <a:pt x="104" y="8"/>
                        </a:lnTo>
                        <a:lnTo>
                          <a:pt x="104" y="7"/>
                        </a:lnTo>
                        <a:lnTo>
                          <a:pt x="104" y="6"/>
                        </a:lnTo>
                        <a:lnTo>
                          <a:pt x="104" y="5"/>
                        </a:lnTo>
                        <a:lnTo>
                          <a:pt x="104" y="4"/>
                        </a:lnTo>
                        <a:lnTo>
                          <a:pt x="104" y="3"/>
                        </a:lnTo>
                        <a:lnTo>
                          <a:pt x="104" y="2"/>
                        </a:lnTo>
                        <a:lnTo>
                          <a:pt x="104" y="1"/>
                        </a:lnTo>
                        <a:lnTo>
                          <a:pt x="104" y="0"/>
                        </a:lnTo>
                        <a:lnTo>
                          <a:pt x="104" y="0"/>
                        </a:lnTo>
                        <a:lnTo>
                          <a:pt x="0" y="0"/>
                        </a:lnTo>
                        <a:lnTo>
                          <a:pt x="56" y="88"/>
                        </a:lnTo>
                        <a:close/>
                      </a:path>
                    </a:pathLst>
                  </a:custGeom>
                  <a:solidFill>
                    <a:srgbClr val="2892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98" name="Freeform 97"/>
                  <p:cNvSpPr>
                    <a:spLocks/>
                  </p:cNvSpPr>
                  <p:nvPr/>
                </p:nvSpPr>
                <p:spPr bwMode="auto">
                  <a:xfrm>
                    <a:off x="1611" y="1865"/>
                    <a:ext cx="330" cy="167"/>
                  </a:xfrm>
                  <a:custGeom>
                    <a:avLst/>
                    <a:gdLst>
                      <a:gd name="T0" fmla="*/ 208 w 208"/>
                      <a:gd name="T1" fmla="*/ 101 h 105"/>
                      <a:gd name="T2" fmla="*/ 208 w 208"/>
                      <a:gd name="T3" fmla="*/ 96 h 105"/>
                      <a:gd name="T4" fmla="*/ 207 w 208"/>
                      <a:gd name="T5" fmla="*/ 91 h 105"/>
                      <a:gd name="T6" fmla="*/ 206 w 208"/>
                      <a:gd name="T7" fmla="*/ 86 h 105"/>
                      <a:gd name="T8" fmla="*/ 205 w 208"/>
                      <a:gd name="T9" fmla="*/ 81 h 105"/>
                      <a:gd name="T10" fmla="*/ 204 w 208"/>
                      <a:gd name="T11" fmla="*/ 76 h 105"/>
                      <a:gd name="T12" fmla="*/ 203 w 208"/>
                      <a:gd name="T13" fmla="*/ 71 h 105"/>
                      <a:gd name="T14" fmla="*/ 201 w 208"/>
                      <a:gd name="T15" fmla="*/ 66 h 105"/>
                      <a:gd name="T16" fmla="*/ 199 w 208"/>
                      <a:gd name="T17" fmla="*/ 61 h 105"/>
                      <a:gd name="T18" fmla="*/ 196 w 208"/>
                      <a:gd name="T19" fmla="*/ 56 h 105"/>
                      <a:gd name="T20" fmla="*/ 193 w 208"/>
                      <a:gd name="T21" fmla="*/ 51 h 105"/>
                      <a:gd name="T22" fmla="*/ 190 w 208"/>
                      <a:gd name="T23" fmla="*/ 46 h 105"/>
                      <a:gd name="T24" fmla="*/ 187 w 208"/>
                      <a:gd name="T25" fmla="*/ 41 h 105"/>
                      <a:gd name="T26" fmla="*/ 183 w 208"/>
                      <a:gd name="T27" fmla="*/ 36 h 105"/>
                      <a:gd name="T28" fmla="*/ 178 w 208"/>
                      <a:gd name="T29" fmla="*/ 31 h 105"/>
                      <a:gd name="T30" fmla="*/ 173 w 208"/>
                      <a:gd name="T31" fmla="*/ 26 h 105"/>
                      <a:gd name="T32" fmla="*/ 168 w 208"/>
                      <a:gd name="T33" fmla="*/ 22 h 105"/>
                      <a:gd name="T34" fmla="*/ 163 w 208"/>
                      <a:gd name="T35" fmla="*/ 18 h 105"/>
                      <a:gd name="T36" fmla="*/ 158 w 208"/>
                      <a:gd name="T37" fmla="*/ 15 h 105"/>
                      <a:gd name="T38" fmla="*/ 153 w 208"/>
                      <a:gd name="T39" fmla="*/ 12 h 105"/>
                      <a:gd name="T40" fmla="*/ 148 w 208"/>
                      <a:gd name="T41" fmla="*/ 10 h 105"/>
                      <a:gd name="T42" fmla="*/ 143 w 208"/>
                      <a:gd name="T43" fmla="*/ 8 h 105"/>
                      <a:gd name="T44" fmla="*/ 138 w 208"/>
                      <a:gd name="T45" fmla="*/ 6 h 105"/>
                      <a:gd name="T46" fmla="*/ 133 w 208"/>
                      <a:gd name="T47" fmla="*/ 4 h 105"/>
                      <a:gd name="T48" fmla="*/ 128 w 208"/>
                      <a:gd name="T49" fmla="*/ 3 h 105"/>
                      <a:gd name="T50" fmla="*/ 123 w 208"/>
                      <a:gd name="T51" fmla="*/ 2 h 105"/>
                      <a:gd name="T52" fmla="*/ 118 w 208"/>
                      <a:gd name="T53" fmla="*/ 1 h 105"/>
                      <a:gd name="T54" fmla="*/ 113 w 208"/>
                      <a:gd name="T55" fmla="*/ 0 h 105"/>
                      <a:gd name="T56" fmla="*/ 108 w 208"/>
                      <a:gd name="T57" fmla="*/ 0 h 105"/>
                      <a:gd name="T58" fmla="*/ 103 w 208"/>
                      <a:gd name="T59" fmla="*/ 0 h 105"/>
                      <a:gd name="T60" fmla="*/ 98 w 208"/>
                      <a:gd name="T61" fmla="*/ 0 h 105"/>
                      <a:gd name="T62" fmla="*/ 93 w 208"/>
                      <a:gd name="T63" fmla="*/ 1 h 105"/>
                      <a:gd name="T64" fmla="*/ 88 w 208"/>
                      <a:gd name="T65" fmla="*/ 1 h 105"/>
                      <a:gd name="T66" fmla="*/ 83 w 208"/>
                      <a:gd name="T67" fmla="*/ 2 h 105"/>
                      <a:gd name="T68" fmla="*/ 78 w 208"/>
                      <a:gd name="T69" fmla="*/ 3 h 105"/>
                      <a:gd name="T70" fmla="*/ 73 w 208"/>
                      <a:gd name="T71" fmla="*/ 5 h 105"/>
                      <a:gd name="T72" fmla="*/ 68 w 208"/>
                      <a:gd name="T73" fmla="*/ 6 h 105"/>
                      <a:gd name="T74" fmla="*/ 63 w 208"/>
                      <a:gd name="T75" fmla="*/ 8 h 105"/>
                      <a:gd name="T76" fmla="*/ 58 w 208"/>
                      <a:gd name="T77" fmla="*/ 11 h 105"/>
                      <a:gd name="T78" fmla="*/ 53 w 208"/>
                      <a:gd name="T79" fmla="*/ 13 h 105"/>
                      <a:gd name="T80" fmla="*/ 48 w 208"/>
                      <a:gd name="T81" fmla="*/ 16 h 105"/>
                      <a:gd name="T82" fmla="*/ 43 w 208"/>
                      <a:gd name="T83" fmla="*/ 20 h 105"/>
                      <a:gd name="T84" fmla="*/ 38 w 208"/>
                      <a:gd name="T85" fmla="*/ 24 h 105"/>
                      <a:gd name="T86" fmla="*/ 33 w 208"/>
                      <a:gd name="T87" fmla="*/ 28 h 105"/>
                      <a:gd name="T88" fmla="*/ 28 w 208"/>
                      <a:gd name="T89" fmla="*/ 33 h 105"/>
                      <a:gd name="T90" fmla="*/ 24 w 208"/>
                      <a:gd name="T91" fmla="*/ 38 h 105"/>
                      <a:gd name="T92" fmla="*/ 20 w 208"/>
                      <a:gd name="T93" fmla="*/ 43 h 105"/>
                      <a:gd name="T94" fmla="*/ 17 w 208"/>
                      <a:gd name="T95" fmla="*/ 48 h 105"/>
                      <a:gd name="T96" fmla="*/ 14 w 208"/>
                      <a:gd name="T97" fmla="*/ 53 h 105"/>
                      <a:gd name="T98" fmla="*/ 11 w 208"/>
                      <a:gd name="T99" fmla="*/ 58 h 105"/>
                      <a:gd name="T100" fmla="*/ 9 w 208"/>
                      <a:gd name="T101" fmla="*/ 63 h 105"/>
                      <a:gd name="T102" fmla="*/ 7 w 208"/>
                      <a:gd name="T103" fmla="*/ 68 h 105"/>
                      <a:gd name="T104" fmla="*/ 5 w 208"/>
                      <a:gd name="T105" fmla="*/ 73 h 105"/>
                      <a:gd name="T106" fmla="*/ 3 w 208"/>
                      <a:gd name="T107" fmla="*/ 78 h 105"/>
                      <a:gd name="T108" fmla="*/ 2 w 208"/>
                      <a:gd name="T109" fmla="*/ 83 h 105"/>
                      <a:gd name="T110" fmla="*/ 1 w 208"/>
                      <a:gd name="T111" fmla="*/ 88 h 105"/>
                      <a:gd name="T112" fmla="*/ 1 w 208"/>
                      <a:gd name="T113" fmla="*/ 93 h 105"/>
                      <a:gd name="T114" fmla="*/ 0 w 208"/>
                      <a:gd name="T115" fmla="*/ 9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8" h="105">
                        <a:moveTo>
                          <a:pt x="208" y="105"/>
                        </a:moveTo>
                        <a:lnTo>
                          <a:pt x="208" y="104"/>
                        </a:lnTo>
                        <a:lnTo>
                          <a:pt x="208" y="103"/>
                        </a:lnTo>
                        <a:lnTo>
                          <a:pt x="208" y="102"/>
                        </a:lnTo>
                        <a:lnTo>
                          <a:pt x="208" y="101"/>
                        </a:lnTo>
                        <a:lnTo>
                          <a:pt x="208" y="100"/>
                        </a:lnTo>
                        <a:lnTo>
                          <a:pt x="208" y="99"/>
                        </a:lnTo>
                        <a:lnTo>
                          <a:pt x="208" y="98"/>
                        </a:lnTo>
                        <a:lnTo>
                          <a:pt x="208" y="97"/>
                        </a:lnTo>
                        <a:lnTo>
                          <a:pt x="208" y="96"/>
                        </a:lnTo>
                        <a:lnTo>
                          <a:pt x="208" y="95"/>
                        </a:lnTo>
                        <a:lnTo>
                          <a:pt x="207" y="94"/>
                        </a:lnTo>
                        <a:lnTo>
                          <a:pt x="207" y="93"/>
                        </a:lnTo>
                        <a:lnTo>
                          <a:pt x="207" y="92"/>
                        </a:lnTo>
                        <a:lnTo>
                          <a:pt x="207" y="91"/>
                        </a:lnTo>
                        <a:lnTo>
                          <a:pt x="207" y="90"/>
                        </a:lnTo>
                        <a:lnTo>
                          <a:pt x="207" y="89"/>
                        </a:lnTo>
                        <a:lnTo>
                          <a:pt x="207" y="88"/>
                        </a:lnTo>
                        <a:lnTo>
                          <a:pt x="207" y="87"/>
                        </a:lnTo>
                        <a:lnTo>
                          <a:pt x="206" y="86"/>
                        </a:lnTo>
                        <a:lnTo>
                          <a:pt x="206" y="85"/>
                        </a:lnTo>
                        <a:lnTo>
                          <a:pt x="206" y="84"/>
                        </a:lnTo>
                        <a:lnTo>
                          <a:pt x="206" y="83"/>
                        </a:lnTo>
                        <a:lnTo>
                          <a:pt x="206" y="82"/>
                        </a:lnTo>
                        <a:lnTo>
                          <a:pt x="205" y="81"/>
                        </a:lnTo>
                        <a:lnTo>
                          <a:pt x="205" y="80"/>
                        </a:lnTo>
                        <a:lnTo>
                          <a:pt x="205" y="79"/>
                        </a:lnTo>
                        <a:lnTo>
                          <a:pt x="205" y="78"/>
                        </a:lnTo>
                        <a:lnTo>
                          <a:pt x="204" y="77"/>
                        </a:lnTo>
                        <a:lnTo>
                          <a:pt x="204" y="76"/>
                        </a:lnTo>
                        <a:lnTo>
                          <a:pt x="204" y="75"/>
                        </a:lnTo>
                        <a:lnTo>
                          <a:pt x="203" y="74"/>
                        </a:lnTo>
                        <a:lnTo>
                          <a:pt x="203" y="73"/>
                        </a:lnTo>
                        <a:lnTo>
                          <a:pt x="203" y="72"/>
                        </a:lnTo>
                        <a:lnTo>
                          <a:pt x="203" y="71"/>
                        </a:lnTo>
                        <a:lnTo>
                          <a:pt x="202" y="70"/>
                        </a:lnTo>
                        <a:lnTo>
                          <a:pt x="202" y="69"/>
                        </a:lnTo>
                        <a:lnTo>
                          <a:pt x="201" y="68"/>
                        </a:lnTo>
                        <a:lnTo>
                          <a:pt x="201" y="67"/>
                        </a:lnTo>
                        <a:lnTo>
                          <a:pt x="201" y="66"/>
                        </a:lnTo>
                        <a:lnTo>
                          <a:pt x="200" y="65"/>
                        </a:lnTo>
                        <a:lnTo>
                          <a:pt x="200" y="64"/>
                        </a:lnTo>
                        <a:lnTo>
                          <a:pt x="199" y="63"/>
                        </a:lnTo>
                        <a:lnTo>
                          <a:pt x="199" y="62"/>
                        </a:lnTo>
                        <a:lnTo>
                          <a:pt x="199" y="61"/>
                        </a:lnTo>
                        <a:lnTo>
                          <a:pt x="198" y="60"/>
                        </a:lnTo>
                        <a:lnTo>
                          <a:pt x="198" y="59"/>
                        </a:lnTo>
                        <a:lnTo>
                          <a:pt x="197" y="58"/>
                        </a:lnTo>
                        <a:lnTo>
                          <a:pt x="197" y="57"/>
                        </a:lnTo>
                        <a:lnTo>
                          <a:pt x="196" y="56"/>
                        </a:lnTo>
                        <a:lnTo>
                          <a:pt x="196" y="55"/>
                        </a:lnTo>
                        <a:lnTo>
                          <a:pt x="195" y="54"/>
                        </a:lnTo>
                        <a:lnTo>
                          <a:pt x="194" y="53"/>
                        </a:lnTo>
                        <a:lnTo>
                          <a:pt x="194" y="52"/>
                        </a:lnTo>
                        <a:lnTo>
                          <a:pt x="193" y="51"/>
                        </a:lnTo>
                        <a:lnTo>
                          <a:pt x="193" y="50"/>
                        </a:lnTo>
                        <a:lnTo>
                          <a:pt x="192" y="49"/>
                        </a:lnTo>
                        <a:lnTo>
                          <a:pt x="191" y="48"/>
                        </a:lnTo>
                        <a:lnTo>
                          <a:pt x="191" y="47"/>
                        </a:lnTo>
                        <a:lnTo>
                          <a:pt x="190" y="46"/>
                        </a:lnTo>
                        <a:lnTo>
                          <a:pt x="189" y="45"/>
                        </a:lnTo>
                        <a:lnTo>
                          <a:pt x="189" y="44"/>
                        </a:lnTo>
                        <a:lnTo>
                          <a:pt x="188" y="43"/>
                        </a:lnTo>
                        <a:lnTo>
                          <a:pt x="187" y="42"/>
                        </a:lnTo>
                        <a:lnTo>
                          <a:pt x="187" y="41"/>
                        </a:lnTo>
                        <a:lnTo>
                          <a:pt x="186" y="40"/>
                        </a:lnTo>
                        <a:lnTo>
                          <a:pt x="185" y="39"/>
                        </a:lnTo>
                        <a:lnTo>
                          <a:pt x="184" y="38"/>
                        </a:lnTo>
                        <a:lnTo>
                          <a:pt x="183" y="37"/>
                        </a:lnTo>
                        <a:lnTo>
                          <a:pt x="183" y="36"/>
                        </a:lnTo>
                        <a:lnTo>
                          <a:pt x="182" y="35"/>
                        </a:lnTo>
                        <a:lnTo>
                          <a:pt x="181" y="34"/>
                        </a:lnTo>
                        <a:lnTo>
                          <a:pt x="180" y="33"/>
                        </a:lnTo>
                        <a:lnTo>
                          <a:pt x="179" y="32"/>
                        </a:lnTo>
                        <a:lnTo>
                          <a:pt x="178" y="31"/>
                        </a:lnTo>
                        <a:lnTo>
                          <a:pt x="177" y="30"/>
                        </a:lnTo>
                        <a:lnTo>
                          <a:pt x="176" y="29"/>
                        </a:lnTo>
                        <a:lnTo>
                          <a:pt x="175" y="28"/>
                        </a:lnTo>
                        <a:lnTo>
                          <a:pt x="174" y="27"/>
                        </a:lnTo>
                        <a:lnTo>
                          <a:pt x="173" y="26"/>
                        </a:lnTo>
                        <a:lnTo>
                          <a:pt x="172" y="25"/>
                        </a:lnTo>
                        <a:lnTo>
                          <a:pt x="171" y="25"/>
                        </a:lnTo>
                        <a:lnTo>
                          <a:pt x="170" y="24"/>
                        </a:lnTo>
                        <a:lnTo>
                          <a:pt x="169" y="23"/>
                        </a:lnTo>
                        <a:lnTo>
                          <a:pt x="168" y="22"/>
                        </a:lnTo>
                        <a:lnTo>
                          <a:pt x="167" y="21"/>
                        </a:lnTo>
                        <a:lnTo>
                          <a:pt x="166" y="21"/>
                        </a:lnTo>
                        <a:lnTo>
                          <a:pt x="165" y="20"/>
                        </a:lnTo>
                        <a:lnTo>
                          <a:pt x="164" y="19"/>
                        </a:lnTo>
                        <a:lnTo>
                          <a:pt x="163" y="18"/>
                        </a:lnTo>
                        <a:lnTo>
                          <a:pt x="162" y="18"/>
                        </a:lnTo>
                        <a:lnTo>
                          <a:pt x="161" y="17"/>
                        </a:lnTo>
                        <a:lnTo>
                          <a:pt x="160" y="16"/>
                        </a:lnTo>
                        <a:lnTo>
                          <a:pt x="159" y="16"/>
                        </a:lnTo>
                        <a:lnTo>
                          <a:pt x="158" y="15"/>
                        </a:lnTo>
                        <a:lnTo>
                          <a:pt x="157" y="15"/>
                        </a:lnTo>
                        <a:lnTo>
                          <a:pt x="156" y="14"/>
                        </a:lnTo>
                        <a:lnTo>
                          <a:pt x="155" y="13"/>
                        </a:lnTo>
                        <a:lnTo>
                          <a:pt x="154" y="13"/>
                        </a:lnTo>
                        <a:lnTo>
                          <a:pt x="153" y="12"/>
                        </a:lnTo>
                        <a:lnTo>
                          <a:pt x="152" y="12"/>
                        </a:lnTo>
                        <a:lnTo>
                          <a:pt x="151" y="11"/>
                        </a:lnTo>
                        <a:lnTo>
                          <a:pt x="150" y="11"/>
                        </a:lnTo>
                        <a:lnTo>
                          <a:pt x="149" y="10"/>
                        </a:lnTo>
                        <a:lnTo>
                          <a:pt x="148" y="10"/>
                        </a:lnTo>
                        <a:lnTo>
                          <a:pt x="147" y="9"/>
                        </a:lnTo>
                        <a:lnTo>
                          <a:pt x="146" y="9"/>
                        </a:lnTo>
                        <a:lnTo>
                          <a:pt x="145" y="8"/>
                        </a:lnTo>
                        <a:lnTo>
                          <a:pt x="144" y="8"/>
                        </a:lnTo>
                        <a:lnTo>
                          <a:pt x="143" y="8"/>
                        </a:lnTo>
                        <a:lnTo>
                          <a:pt x="142" y="7"/>
                        </a:lnTo>
                        <a:lnTo>
                          <a:pt x="141" y="7"/>
                        </a:lnTo>
                        <a:lnTo>
                          <a:pt x="140" y="6"/>
                        </a:lnTo>
                        <a:lnTo>
                          <a:pt x="139" y="6"/>
                        </a:lnTo>
                        <a:lnTo>
                          <a:pt x="138" y="6"/>
                        </a:lnTo>
                        <a:lnTo>
                          <a:pt x="137" y="5"/>
                        </a:lnTo>
                        <a:lnTo>
                          <a:pt x="136" y="5"/>
                        </a:lnTo>
                        <a:lnTo>
                          <a:pt x="135" y="5"/>
                        </a:lnTo>
                        <a:lnTo>
                          <a:pt x="134" y="4"/>
                        </a:lnTo>
                        <a:lnTo>
                          <a:pt x="133" y="4"/>
                        </a:lnTo>
                        <a:lnTo>
                          <a:pt x="132" y="4"/>
                        </a:lnTo>
                        <a:lnTo>
                          <a:pt x="131" y="4"/>
                        </a:lnTo>
                        <a:lnTo>
                          <a:pt x="130" y="3"/>
                        </a:lnTo>
                        <a:lnTo>
                          <a:pt x="129" y="3"/>
                        </a:lnTo>
                        <a:lnTo>
                          <a:pt x="128" y="3"/>
                        </a:lnTo>
                        <a:lnTo>
                          <a:pt x="127" y="3"/>
                        </a:lnTo>
                        <a:lnTo>
                          <a:pt x="126" y="2"/>
                        </a:lnTo>
                        <a:lnTo>
                          <a:pt x="125" y="2"/>
                        </a:lnTo>
                        <a:lnTo>
                          <a:pt x="124" y="2"/>
                        </a:lnTo>
                        <a:lnTo>
                          <a:pt x="123" y="2"/>
                        </a:lnTo>
                        <a:lnTo>
                          <a:pt x="122" y="2"/>
                        </a:lnTo>
                        <a:lnTo>
                          <a:pt x="121" y="1"/>
                        </a:lnTo>
                        <a:lnTo>
                          <a:pt x="120" y="1"/>
                        </a:lnTo>
                        <a:lnTo>
                          <a:pt x="119" y="1"/>
                        </a:lnTo>
                        <a:lnTo>
                          <a:pt x="118" y="1"/>
                        </a:lnTo>
                        <a:lnTo>
                          <a:pt x="117" y="1"/>
                        </a:lnTo>
                        <a:lnTo>
                          <a:pt x="116" y="1"/>
                        </a:lnTo>
                        <a:lnTo>
                          <a:pt x="115" y="1"/>
                        </a:lnTo>
                        <a:lnTo>
                          <a:pt x="114" y="0"/>
                        </a:lnTo>
                        <a:lnTo>
                          <a:pt x="113" y="0"/>
                        </a:lnTo>
                        <a:lnTo>
                          <a:pt x="112" y="0"/>
                        </a:lnTo>
                        <a:lnTo>
                          <a:pt x="111" y="0"/>
                        </a:lnTo>
                        <a:lnTo>
                          <a:pt x="110" y="0"/>
                        </a:lnTo>
                        <a:lnTo>
                          <a:pt x="109" y="0"/>
                        </a:lnTo>
                        <a:lnTo>
                          <a:pt x="108" y="0"/>
                        </a:lnTo>
                        <a:lnTo>
                          <a:pt x="107" y="0"/>
                        </a:lnTo>
                        <a:lnTo>
                          <a:pt x="106" y="0"/>
                        </a:lnTo>
                        <a:lnTo>
                          <a:pt x="105" y="0"/>
                        </a:lnTo>
                        <a:lnTo>
                          <a:pt x="104" y="0"/>
                        </a:lnTo>
                        <a:lnTo>
                          <a:pt x="103" y="0"/>
                        </a:lnTo>
                        <a:lnTo>
                          <a:pt x="102" y="0"/>
                        </a:lnTo>
                        <a:lnTo>
                          <a:pt x="101" y="0"/>
                        </a:lnTo>
                        <a:lnTo>
                          <a:pt x="100" y="0"/>
                        </a:lnTo>
                        <a:lnTo>
                          <a:pt x="99" y="0"/>
                        </a:lnTo>
                        <a:lnTo>
                          <a:pt x="98" y="0"/>
                        </a:lnTo>
                        <a:lnTo>
                          <a:pt x="97" y="0"/>
                        </a:lnTo>
                        <a:lnTo>
                          <a:pt x="96" y="0"/>
                        </a:lnTo>
                        <a:lnTo>
                          <a:pt x="95" y="0"/>
                        </a:lnTo>
                        <a:lnTo>
                          <a:pt x="94" y="0"/>
                        </a:lnTo>
                        <a:lnTo>
                          <a:pt x="93" y="1"/>
                        </a:lnTo>
                        <a:lnTo>
                          <a:pt x="92" y="1"/>
                        </a:lnTo>
                        <a:lnTo>
                          <a:pt x="91" y="1"/>
                        </a:lnTo>
                        <a:lnTo>
                          <a:pt x="90" y="1"/>
                        </a:lnTo>
                        <a:lnTo>
                          <a:pt x="89" y="1"/>
                        </a:lnTo>
                        <a:lnTo>
                          <a:pt x="88" y="1"/>
                        </a:lnTo>
                        <a:lnTo>
                          <a:pt x="87" y="1"/>
                        </a:lnTo>
                        <a:lnTo>
                          <a:pt x="86" y="2"/>
                        </a:lnTo>
                        <a:lnTo>
                          <a:pt x="85" y="2"/>
                        </a:lnTo>
                        <a:lnTo>
                          <a:pt x="84" y="2"/>
                        </a:lnTo>
                        <a:lnTo>
                          <a:pt x="83" y="2"/>
                        </a:lnTo>
                        <a:lnTo>
                          <a:pt x="82" y="2"/>
                        </a:lnTo>
                        <a:lnTo>
                          <a:pt x="81" y="3"/>
                        </a:lnTo>
                        <a:lnTo>
                          <a:pt x="80" y="3"/>
                        </a:lnTo>
                        <a:lnTo>
                          <a:pt x="79" y="3"/>
                        </a:lnTo>
                        <a:lnTo>
                          <a:pt x="78" y="3"/>
                        </a:lnTo>
                        <a:lnTo>
                          <a:pt x="77" y="4"/>
                        </a:lnTo>
                        <a:lnTo>
                          <a:pt x="76" y="4"/>
                        </a:lnTo>
                        <a:lnTo>
                          <a:pt x="75" y="4"/>
                        </a:lnTo>
                        <a:lnTo>
                          <a:pt x="74" y="4"/>
                        </a:lnTo>
                        <a:lnTo>
                          <a:pt x="73" y="5"/>
                        </a:lnTo>
                        <a:lnTo>
                          <a:pt x="72" y="5"/>
                        </a:lnTo>
                        <a:lnTo>
                          <a:pt x="71" y="5"/>
                        </a:lnTo>
                        <a:lnTo>
                          <a:pt x="70" y="6"/>
                        </a:lnTo>
                        <a:lnTo>
                          <a:pt x="69" y="6"/>
                        </a:lnTo>
                        <a:lnTo>
                          <a:pt x="68" y="6"/>
                        </a:lnTo>
                        <a:lnTo>
                          <a:pt x="67" y="7"/>
                        </a:lnTo>
                        <a:lnTo>
                          <a:pt x="66" y="7"/>
                        </a:lnTo>
                        <a:lnTo>
                          <a:pt x="65" y="8"/>
                        </a:lnTo>
                        <a:lnTo>
                          <a:pt x="64" y="8"/>
                        </a:lnTo>
                        <a:lnTo>
                          <a:pt x="63" y="8"/>
                        </a:lnTo>
                        <a:lnTo>
                          <a:pt x="62" y="9"/>
                        </a:lnTo>
                        <a:lnTo>
                          <a:pt x="61" y="9"/>
                        </a:lnTo>
                        <a:lnTo>
                          <a:pt x="60" y="10"/>
                        </a:lnTo>
                        <a:lnTo>
                          <a:pt x="59" y="10"/>
                        </a:lnTo>
                        <a:lnTo>
                          <a:pt x="58" y="11"/>
                        </a:lnTo>
                        <a:lnTo>
                          <a:pt x="57" y="11"/>
                        </a:lnTo>
                        <a:lnTo>
                          <a:pt x="56" y="12"/>
                        </a:lnTo>
                        <a:lnTo>
                          <a:pt x="55" y="12"/>
                        </a:lnTo>
                        <a:lnTo>
                          <a:pt x="54" y="13"/>
                        </a:lnTo>
                        <a:lnTo>
                          <a:pt x="53" y="13"/>
                        </a:lnTo>
                        <a:lnTo>
                          <a:pt x="52" y="14"/>
                        </a:lnTo>
                        <a:lnTo>
                          <a:pt x="51" y="15"/>
                        </a:lnTo>
                        <a:lnTo>
                          <a:pt x="50" y="15"/>
                        </a:lnTo>
                        <a:lnTo>
                          <a:pt x="49" y="16"/>
                        </a:lnTo>
                        <a:lnTo>
                          <a:pt x="48" y="16"/>
                        </a:lnTo>
                        <a:lnTo>
                          <a:pt x="47" y="17"/>
                        </a:lnTo>
                        <a:lnTo>
                          <a:pt x="46" y="18"/>
                        </a:lnTo>
                        <a:lnTo>
                          <a:pt x="45" y="18"/>
                        </a:lnTo>
                        <a:lnTo>
                          <a:pt x="44" y="19"/>
                        </a:lnTo>
                        <a:lnTo>
                          <a:pt x="43" y="20"/>
                        </a:lnTo>
                        <a:lnTo>
                          <a:pt x="42" y="21"/>
                        </a:lnTo>
                        <a:lnTo>
                          <a:pt x="41" y="21"/>
                        </a:lnTo>
                        <a:lnTo>
                          <a:pt x="40" y="22"/>
                        </a:lnTo>
                        <a:lnTo>
                          <a:pt x="39" y="23"/>
                        </a:lnTo>
                        <a:lnTo>
                          <a:pt x="38" y="24"/>
                        </a:lnTo>
                        <a:lnTo>
                          <a:pt x="37" y="25"/>
                        </a:lnTo>
                        <a:lnTo>
                          <a:pt x="36" y="25"/>
                        </a:lnTo>
                        <a:lnTo>
                          <a:pt x="35" y="26"/>
                        </a:lnTo>
                        <a:lnTo>
                          <a:pt x="34" y="27"/>
                        </a:lnTo>
                        <a:lnTo>
                          <a:pt x="33" y="28"/>
                        </a:lnTo>
                        <a:lnTo>
                          <a:pt x="32" y="29"/>
                        </a:lnTo>
                        <a:lnTo>
                          <a:pt x="31" y="30"/>
                        </a:lnTo>
                        <a:lnTo>
                          <a:pt x="30" y="31"/>
                        </a:lnTo>
                        <a:lnTo>
                          <a:pt x="29" y="32"/>
                        </a:lnTo>
                        <a:lnTo>
                          <a:pt x="28" y="33"/>
                        </a:lnTo>
                        <a:lnTo>
                          <a:pt x="27" y="34"/>
                        </a:lnTo>
                        <a:lnTo>
                          <a:pt x="26" y="35"/>
                        </a:lnTo>
                        <a:lnTo>
                          <a:pt x="25" y="36"/>
                        </a:lnTo>
                        <a:lnTo>
                          <a:pt x="25" y="37"/>
                        </a:lnTo>
                        <a:lnTo>
                          <a:pt x="24" y="38"/>
                        </a:lnTo>
                        <a:lnTo>
                          <a:pt x="23" y="39"/>
                        </a:lnTo>
                        <a:lnTo>
                          <a:pt x="22" y="40"/>
                        </a:lnTo>
                        <a:lnTo>
                          <a:pt x="21" y="41"/>
                        </a:lnTo>
                        <a:lnTo>
                          <a:pt x="21" y="42"/>
                        </a:lnTo>
                        <a:lnTo>
                          <a:pt x="20" y="43"/>
                        </a:lnTo>
                        <a:lnTo>
                          <a:pt x="19" y="44"/>
                        </a:lnTo>
                        <a:lnTo>
                          <a:pt x="19" y="45"/>
                        </a:lnTo>
                        <a:lnTo>
                          <a:pt x="18" y="46"/>
                        </a:lnTo>
                        <a:lnTo>
                          <a:pt x="17" y="47"/>
                        </a:lnTo>
                        <a:lnTo>
                          <a:pt x="17" y="48"/>
                        </a:lnTo>
                        <a:lnTo>
                          <a:pt x="16" y="49"/>
                        </a:lnTo>
                        <a:lnTo>
                          <a:pt x="15" y="50"/>
                        </a:lnTo>
                        <a:lnTo>
                          <a:pt x="15" y="51"/>
                        </a:lnTo>
                        <a:lnTo>
                          <a:pt x="14" y="52"/>
                        </a:lnTo>
                        <a:lnTo>
                          <a:pt x="14" y="53"/>
                        </a:lnTo>
                        <a:lnTo>
                          <a:pt x="13" y="54"/>
                        </a:lnTo>
                        <a:lnTo>
                          <a:pt x="12" y="55"/>
                        </a:lnTo>
                        <a:lnTo>
                          <a:pt x="12" y="56"/>
                        </a:lnTo>
                        <a:lnTo>
                          <a:pt x="11" y="57"/>
                        </a:lnTo>
                        <a:lnTo>
                          <a:pt x="11" y="58"/>
                        </a:lnTo>
                        <a:lnTo>
                          <a:pt x="10" y="59"/>
                        </a:lnTo>
                        <a:lnTo>
                          <a:pt x="10" y="60"/>
                        </a:lnTo>
                        <a:lnTo>
                          <a:pt x="9" y="61"/>
                        </a:lnTo>
                        <a:lnTo>
                          <a:pt x="9" y="62"/>
                        </a:lnTo>
                        <a:lnTo>
                          <a:pt x="9" y="63"/>
                        </a:lnTo>
                        <a:lnTo>
                          <a:pt x="8" y="64"/>
                        </a:lnTo>
                        <a:lnTo>
                          <a:pt x="8" y="65"/>
                        </a:lnTo>
                        <a:lnTo>
                          <a:pt x="7" y="66"/>
                        </a:lnTo>
                        <a:lnTo>
                          <a:pt x="7" y="67"/>
                        </a:lnTo>
                        <a:lnTo>
                          <a:pt x="7" y="68"/>
                        </a:lnTo>
                        <a:lnTo>
                          <a:pt x="6" y="69"/>
                        </a:lnTo>
                        <a:lnTo>
                          <a:pt x="6" y="70"/>
                        </a:lnTo>
                        <a:lnTo>
                          <a:pt x="5" y="71"/>
                        </a:lnTo>
                        <a:lnTo>
                          <a:pt x="5" y="72"/>
                        </a:lnTo>
                        <a:lnTo>
                          <a:pt x="5" y="73"/>
                        </a:lnTo>
                        <a:lnTo>
                          <a:pt x="5" y="74"/>
                        </a:lnTo>
                        <a:lnTo>
                          <a:pt x="4" y="75"/>
                        </a:lnTo>
                        <a:lnTo>
                          <a:pt x="4" y="76"/>
                        </a:lnTo>
                        <a:lnTo>
                          <a:pt x="4" y="77"/>
                        </a:lnTo>
                        <a:lnTo>
                          <a:pt x="3" y="78"/>
                        </a:lnTo>
                        <a:lnTo>
                          <a:pt x="3" y="79"/>
                        </a:lnTo>
                        <a:lnTo>
                          <a:pt x="3" y="80"/>
                        </a:lnTo>
                        <a:lnTo>
                          <a:pt x="3" y="81"/>
                        </a:lnTo>
                        <a:lnTo>
                          <a:pt x="2" y="82"/>
                        </a:lnTo>
                        <a:lnTo>
                          <a:pt x="2" y="83"/>
                        </a:lnTo>
                        <a:lnTo>
                          <a:pt x="2" y="84"/>
                        </a:lnTo>
                        <a:lnTo>
                          <a:pt x="2" y="85"/>
                        </a:lnTo>
                        <a:lnTo>
                          <a:pt x="2" y="86"/>
                        </a:lnTo>
                        <a:lnTo>
                          <a:pt x="1" y="87"/>
                        </a:lnTo>
                        <a:lnTo>
                          <a:pt x="1" y="88"/>
                        </a:lnTo>
                        <a:lnTo>
                          <a:pt x="1" y="89"/>
                        </a:lnTo>
                        <a:lnTo>
                          <a:pt x="1" y="90"/>
                        </a:lnTo>
                        <a:lnTo>
                          <a:pt x="1" y="91"/>
                        </a:lnTo>
                        <a:lnTo>
                          <a:pt x="1" y="92"/>
                        </a:lnTo>
                        <a:lnTo>
                          <a:pt x="1" y="93"/>
                        </a:lnTo>
                        <a:lnTo>
                          <a:pt x="1" y="94"/>
                        </a:lnTo>
                        <a:lnTo>
                          <a:pt x="0" y="95"/>
                        </a:lnTo>
                        <a:lnTo>
                          <a:pt x="0" y="96"/>
                        </a:lnTo>
                        <a:lnTo>
                          <a:pt x="0" y="97"/>
                        </a:lnTo>
                        <a:lnTo>
                          <a:pt x="0" y="98"/>
                        </a:lnTo>
                        <a:lnTo>
                          <a:pt x="0" y="98"/>
                        </a:lnTo>
                        <a:lnTo>
                          <a:pt x="104" y="105"/>
                        </a:lnTo>
                        <a:lnTo>
                          <a:pt x="208" y="105"/>
                        </a:lnTo>
                        <a:close/>
                      </a:path>
                    </a:pathLst>
                  </a:custGeom>
                  <a:solidFill>
                    <a:srgbClr val="004C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99" name="Freeform 98"/>
                  <p:cNvSpPr>
                    <a:spLocks/>
                  </p:cNvSpPr>
                  <p:nvPr/>
                </p:nvSpPr>
                <p:spPr bwMode="auto">
                  <a:xfrm>
                    <a:off x="1611" y="2021"/>
                    <a:ext cx="305" cy="175"/>
                  </a:xfrm>
                  <a:custGeom>
                    <a:avLst/>
                    <a:gdLst>
                      <a:gd name="T0" fmla="*/ 0 w 192"/>
                      <a:gd name="T1" fmla="*/ 3 h 111"/>
                      <a:gd name="T2" fmla="*/ 0 w 192"/>
                      <a:gd name="T3" fmla="*/ 7 h 111"/>
                      <a:gd name="T4" fmla="*/ 0 w 192"/>
                      <a:gd name="T5" fmla="*/ 11 h 111"/>
                      <a:gd name="T6" fmla="*/ 0 w 192"/>
                      <a:gd name="T7" fmla="*/ 15 h 111"/>
                      <a:gd name="T8" fmla="*/ 1 w 192"/>
                      <a:gd name="T9" fmla="*/ 19 h 111"/>
                      <a:gd name="T10" fmla="*/ 1 w 192"/>
                      <a:gd name="T11" fmla="*/ 23 h 111"/>
                      <a:gd name="T12" fmla="*/ 2 w 192"/>
                      <a:gd name="T13" fmla="*/ 27 h 111"/>
                      <a:gd name="T14" fmla="*/ 3 w 192"/>
                      <a:gd name="T15" fmla="*/ 31 h 111"/>
                      <a:gd name="T16" fmla="*/ 4 w 192"/>
                      <a:gd name="T17" fmla="*/ 35 h 111"/>
                      <a:gd name="T18" fmla="*/ 5 w 192"/>
                      <a:gd name="T19" fmla="*/ 39 h 111"/>
                      <a:gd name="T20" fmla="*/ 7 w 192"/>
                      <a:gd name="T21" fmla="*/ 43 h 111"/>
                      <a:gd name="T22" fmla="*/ 8 w 192"/>
                      <a:gd name="T23" fmla="*/ 47 h 111"/>
                      <a:gd name="T24" fmla="*/ 10 w 192"/>
                      <a:gd name="T25" fmla="*/ 51 h 111"/>
                      <a:gd name="T26" fmla="*/ 12 w 192"/>
                      <a:gd name="T27" fmla="*/ 55 h 111"/>
                      <a:gd name="T28" fmla="*/ 14 w 192"/>
                      <a:gd name="T29" fmla="*/ 59 h 111"/>
                      <a:gd name="T30" fmla="*/ 17 w 192"/>
                      <a:gd name="T31" fmla="*/ 63 h 111"/>
                      <a:gd name="T32" fmla="*/ 19 w 192"/>
                      <a:gd name="T33" fmla="*/ 67 h 111"/>
                      <a:gd name="T34" fmla="*/ 22 w 192"/>
                      <a:gd name="T35" fmla="*/ 71 h 111"/>
                      <a:gd name="T36" fmla="*/ 25 w 192"/>
                      <a:gd name="T37" fmla="*/ 75 h 111"/>
                      <a:gd name="T38" fmla="*/ 29 w 192"/>
                      <a:gd name="T39" fmla="*/ 79 h 111"/>
                      <a:gd name="T40" fmla="*/ 33 w 192"/>
                      <a:gd name="T41" fmla="*/ 83 h 111"/>
                      <a:gd name="T42" fmla="*/ 37 w 192"/>
                      <a:gd name="T43" fmla="*/ 86 h 111"/>
                      <a:gd name="T44" fmla="*/ 41 w 192"/>
                      <a:gd name="T45" fmla="*/ 90 h 111"/>
                      <a:gd name="T46" fmla="*/ 45 w 192"/>
                      <a:gd name="T47" fmla="*/ 93 h 111"/>
                      <a:gd name="T48" fmla="*/ 49 w 192"/>
                      <a:gd name="T49" fmla="*/ 95 h 111"/>
                      <a:gd name="T50" fmla="*/ 53 w 192"/>
                      <a:gd name="T51" fmla="*/ 98 h 111"/>
                      <a:gd name="T52" fmla="*/ 57 w 192"/>
                      <a:gd name="T53" fmla="*/ 100 h 111"/>
                      <a:gd name="T54" fmla="*/ 61 w 192"/>
                      <a:gd name="T55" fmla="*/ 102 h 111"/>
                      <a:gd name="T56" fmla="*/ 65 w 192"/>
                      <a:gd name="T57" fmla="*/ 103 h 111"/>
                      <a:gd name="T58" fmla="*/ 69 w 192"/>
                      <a:gd name="T59" fmla="*/ 105 h 111"/>
                      <a:gd name="T60" fmla="*/ 73 w 192"/>
                      <a:gd name="T61" fmla="*/ 106 h 111"/>
                      <a:gd name="T62" fmla="*/ 77 w 192"/>
                      <a:gd name="T63" fmla="*/ 107 h 111"/>
                      <a:gd name="T64" fmla="*/ 81 w 192"/>
                      <a:gd name="T65" fmla="*/ 108 h 111"/>
                      <a:gd name="T66" fmla="*/ 85 w 192"/>
                      <a:gd name="T67" fmla="*/ 109 h 111"/>
                      <a:gd name="T68" fmla="*/ 89 w 192"/>
                      <a:gd name="T69" fmla="*/ 110 h 111"/>
                      <a:gd name="T70" fmla="*/ 93 w 192"/>
                      <a:gd name="T71" fmla="*/ 110 h 111"/>
                      <a:gd name="T72" fmla="*/ 97 w 192"/>
                      <a:gd name="T73" fmla="*/ 111 h 111"/>
                      <a:gd name="T74" fmla="*/ 101 w 192"/>
                      <a:gd name="T75" fmla="*/ 111 h 111"/>
                      <a:gd name="T76" fmla="*/ 105 w 192"/>
                      <a:gd name="T77" fmla="*/ 111 h 111"/>
                      <a:gd name="T78" fmla="*/ 109 w 192"/>
                      <a:gd name="T79" fmla="*/ 111 h 111"/>
                      <a:gd name="T80" fmla="*/ 113 w 192"/>
                      <a:gd name="T81" fmla="*/ 111 h 111"/>
                      <a:gd name="T82" fmla="*/ 117 w 192"/>
                      <a:gd name="T83" fmla="*/ 110 h 111"/>
                      <a:gd name="T84" fmla="*/ 121 w 192"/>
                      <a:gd name="T85" fmla="*/ 110 h 111"/>
                      <a:gd name="T86" fmla="*/ 125 w 192"/>
                      <a:gd name="T87" fmla="*/ 109 h 111"/>
                      <a:gd name="T88" fmla="*/ 129 w 192"/>
                      <a:gd name="T89" fmla="*/ 108 h 111"/>
                      <a:gd name="T90" fmla="*/ 133 w 192"/>
                      <a:gd name="T91" fmla="*/ 107 h 111"/>
                      <a:gd name="T92" fmla="*/ 137 w 192"/>
                      <a:gd name="T93" fmla="*/ 106 h 111"/>
                      <a:gd name="T94" fmla="*/ 141 w 192"/>
                      <a:gd name="T95" fmla="*/ 104 h 111"/>
                      <a:gd name="T96" fmla="*/ 145 w 192"/>
                      <a:gd name="T97" fmla="*/ 103 h 111"/>
                      <a:gd name="T98" fmla="*/ 149 w 192"/>
                      <a:gd name="T99" fmla="*/ 101 h 111"/>
                      <a:gd name="T100" fmla="*/ 153 w 192"/>
                      <a:gd name="T101" fmla="*/ 99 h 111"/>
                      <a:gd name="T102" fmla="*/ 157 w 192"/>
                      <a:gd name="T103" fmla="*/ 96 h 111"/>
                      <a:gd name="T104" fmla="*/ 161 w 192"/>
                      <a:gd name="T105" fmla="*/ 94 h 111"/>
                      <a:gd name="T106" fmla="*/ 165 w 192"/>
                      <a:gd name="T107" fmla="*/ 91 h 111"/>
                      <a:gd name="T108" fmla="*/ 169 w 192"/>
                      <a:gd name="T109" fmla="*/ 88 h 111"/>
                      <a:gd name="T110" fmla="*/ 173 w 192"/>
                      <a:gd name="T111" fmla="*/ 85 h 111"/>
                      <a:gd name="T112" fmla="*/ 177 w 192"/>
                      <a:gd name="T113" fmla="*/ 81 h 111"/>
                      <a:gd name="T114" fmla="*/ 181 w 192"/>
                      <a:gd name="T115" fmla="*/ 77 h 111"/>
                      <a:gd name="T116" fmla="*/ 184 w 192"/>
                      <a:gd name="T117" fmla="*/ 73 h 111"/>
                      <a:gd name="T118" fmla="*/ 187 w 192"/>
                      <a:gd name="T119" fmla="*/ 69 h 111"/>
                      <a:gd name="T120" fmla="*/ 190 w 192"/>
                      <a:gd name="T121" fmla="*/ 65 h 111"/>
                      <a:gd name="T122" fmla="*/ 192 w 192"/>
                      <a:gd name="T123" fmla="*/ 6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2" h="111">
                        <a:moveTo>
                          <a:pt x="0" y="0"/>
                        </a:moveTo>
                        <a:lnTo>
                          <a:pt x="0" y="1"/>
                        </a:lnTo>
                        <a:lnTo>
                          <a:pt x="0" y="2"/>
                        </a:lnTo>
                        <a:lnTo>
                          <a:pt x="0" y="3"/>
                        </a:lnTo>
                        <a:lnTo>
                          <a:pt x="0" y="4"/>
                        </a:lnTo>
                        <a:lnTo>
                          <a:pt x="0" y="5"/>
                        </a:lnTo>
                        <a:lnTo>
                          <a:pt x="0" y="6"/>
                        </a:lnTo>
                        <a:lnTo>
                          <a:pt x="0" y="7"/>
                        </a:lnTo>
                        <a:lnTo>
                          <a:pt x="0" y="8"/>
                        </a:lnTo>
                        <a:lnTo>
                          <a:pt x="0" y="9"/>
                        </a:lnTo>
                        <a:lnTo>
                          <a:pt x="0" y="10"/>
                        </a:lnTo>
                        <a:lnTo>
                          <a:pt x="0" y="11"/>
                        </a:lnTo>
                        <a:lnTo>
                          <a:pt x="0" y="12"/>
                        </a:lnTo>
                        <a:lnTo>
                          <a:pt x="0" y="13"/>
                        </a:lnTo>
                        <a:lnTo>
                          <a:pt x="0" y="14"/>
                        </a:lnTo>
                        <a:lnTo>
                          <a:pt x="0" y="15"/>
                        </a:lnTo>
                        <a:lnTo>
                          <a:pt x="0" y="16"/>
                        </a:lnTo>
                        <a:lnTo>
                          <a:pt x="1" y="17"/>
                        </a:lnTo>
                        <a:lnTo>
                          <a:pt x="1" y="18"/>
                        </a:lnTo>
                        <a:lnTo>
                          <a:pt x="1" y="19"/>
                        </a:lnTo>
                        <a:lnTo>
                          <a:pt x="1" y="20"/>
                        </a:lnTo>
                        <a:lnTo>
                          <a:pt x="1" y="21"/>
                        </a:lnTo>
                        <a:lnTo>
                          <a:pt x="1" y="22"/>
                        </a:lnTo>
                        <a:lnTo>
                          <a:pt x="1" y="23"/>
                        </a:lnTo>
                        <a:lnTo>
                          <a:pt x="1" y="24"/>
                        </a:lnTo>
                        <a:lnTo>
                          <a:pt x="2" y="25"/>
                        </a:lnTo>
                        <a:lnTo>
                          <a:pt x="2" y="26"/>
                        </a:lnTo>
                        <a:lnTo>
                          <a:pt x="2" y="27"/>
                        </a:lnTo>
                        <a:lnTo>
                          <a:pt x="2" y="28"/>
                        </a:lnTo>
                        <a:lnTo>
                          <a:pt x="2" y="29"/>
                        </a:lnTo>
                        <a:lnTo>
                          <a:pt x="3" y="30"/>
                        </a:lnTo>
                        <a:lnTo>
                          <a:pt x="3" y="31"/>
                        </a:lnTo>
                        <a:lnTo>
                          <a:pt x="3" y="32"/>
                        </a:lnTo>
                        <a:lnTo>
                          <a:pt x="3" y="33"/>
                        </a:lnTo>
                        <a:lnTo>
                          <a:pt x="4" y="34"/>
                        </a:lnTo>
                        <a:lnTo>
                          <a:pt x="4" y="35"/>
                        </a:lnTo>
                        <a:lnTo>
                          <a:pt x="4" y="36"/>
                        </a:lnTo>
                        <a:lnTo>
                          <a:pt x="5" y="37"/>
                        </a:lnTo>
                        <a:lnTo>
                          <a:pt x="5" y="38"/>
                        </a:lnTo>
                        <a:lnTo>
                          <a:pt x="5" y="39"/>
                        </a:lnTo>
                        <a:lnTo>
                          <a:pt x="5" y="40"/>
                        </a:lnTo>
                        <a:lnTo>
                          <a:pt x="6" y="41"/>
                        </a:lnTo>
                        <a:lnTo>
                          <a:pt x="6" y="42"/>
                        </a:lnTo>
                        <a:lnTo>
                          <a:pt x="7" y="43"/>
                        </a:lnTo>
                        <a:lnTo>
                          <a:pt x="7" y="44"/>
                        </a:lnTo>
                        <a:lnTo>
                          <a:pt x="7" y="45"/>
                        </a:lnTo>
                        <a:lnTo>
                          <a:pt x="8" y="46"/>
                        </a:lnTo>
                        <a:lnTo>
                          <a:pt x="8" y="47"/>
                        </a:lnTo>
                        <a:lnTo>
                          <a:pt x="9" y="48"/>
                        </a:lnTo>
                        <a:lnTo>
                          <a:pt x="9" y="49"/>
                        </a:lnTo>
                        <a:lnTo>
                          <a:pt x="9" y="50"/>
                        </a:lnTo>
                        <a:lnTo>
                          <a:pt x="10" y="51"/>
                        </a:lnTo>
                        <a:lnTo>
                          <a:pt x="10" y="52"/>
                        </a:lnTo>
                        <a:lnTo>
                          <a:pt x="11" y="53"/>
                        </a:lnTo>
                        <a:lnTo>
                          <a:pt x="11" y="54"/>
                        </a:lnTo>
                        <a:lnTo>
                          <a:pt x="12" y="55"/>
                        </a:lnTo>
                        <a:lnTo>
                          <a:pt x="12" y="56"/>
                        </a:lnTo>
                        <a:lnTo>
                          <a:pt x="13" y="57"/>
                        </a:lnTo>
                        <a:lnTo>
                          <a:pt x="14" y="58"/>
                        </a:lnTo>
                        <a:lnTo>
                          <a:pt x="14" y="59"/>
                        </a:lnTo>
                        <a:lnTo>
                          <a:pt x="15" y="60"/>
                        </a:lnTo>
                        <a:lnTo>
                          <a:pt x="15" y="61"/>
                        </a:lnTo>
                        <a:lnTo>
                          <a:pt x="16" y="62"/>
                        </a:lnTo>
                        <a:lnTo>
                          <a:pt x="17" y="63"/>
                        </a:lnTo>
                        <a:lnTo>
                          <a:pt x="17" y="64"/>
                        </a:lnTo>
                        <a:lnTo>
                          <a:pt x="18" y="65"/>
                        </a:lnTo>
                        <a:lnTo>
                          <a:pt x="19" y="66"/>
                        </a:lnTo>
                        <a:lnTo>
                          <a:pt x="19" y="67"/>
                        </a:lnTo>
                        <a:lnTo>
                          <a:pt x="20" y="68"/>
                        </a:lnTo>
                        <a:lnTo>
                          <a:pt x="21" y="69"/>
                        </a:lnTo>
                        <a:lnTo>
                          <a:pt x="21" y="70"/>
                        </a:lnTo>
                        <a:lnTo>
                          <a:pt x="22" y="71"/>
                        </a:lnTo>
                        <a:lnTo>
                          <a:pt x="23" y="72"/>
                        </a:lnTo>
                        <a:lnTo>
                          <a:pt x="24" y="73"/>
                        </a:lnTo>
                        <a:lnTo>
                          <a:pt x="25" y="74"/>
                        </a:lnTo>
                        <a:lnTo>
                          <a:pt x="25" y="75"/>
                        </a:lnTo>
                        <a:lnTo>
                          <a:pt x="26" y="76"/>
                        </a:lnTo>
                        <a:lnTo>
                          <a:pt x="27" y="77"/>
                        </a:lnTo>
                        <a:lnTo>
                          <a:pt x="28" y="78"/>
                        </a:lnTo>
                        <a:lnTo>
                          <a:pt x="29" y="79"/>
                        </a:lnTo>
                        <a:lnTo>
                          <a:pt x="30" y="80"/>
                        </a:lnTo>
                        <a:lnTo>
                          <a:pt x="31" y="81"/>
                        </a:lnTo>
                        <a:lnTo>
                          <a:pt x="32" y="82"/>
                        </a:lnTo>
                        <a:lnTo>
                          <a:pt x="33" y="83"/>
                        </a:lnTo>
                        <a:lnTo>
                          <a:pt x="34" y="84"/>
                        </a:lnTo>
                        <a:lnTo>
                          <a:pt x="35" y="85"/>
                        </a:lnTo>
                        <a:lnTo>
                          <a:pt x="36" y="86"/>
                        </a:lnTo>
                        <a:lnTo>
                          <a:pt x="37" y="86"/>
                        </a:lnTo>
                        <a:lnTo>
                          <a:pt x="38" y="87"/>
                        </a:lnTo>
                        <a:lnTo>
                          <a:pt x="39" y="88"/>
                        </a:lnTo>
                        <a:lnTo>
                          <a:pt x="40" y="89"/>
                        </a:lnTo>
                        <a:lnTo>
                          <a:pt x="41" y="90"/>
                        </a:lnTo>
                        <a:lnTo>
                          <a:pt x="42" y="90"/>
                        </a:lnTo>
                        <a:lnTo>
                          <a:pt x="43" y="91"/>
                        </a:lnTo>
                        <a:lnTo>
                          <a:pt x="44" y="92"/>
                        </a:lnTo>
                        <a:lnTo>
                          <a:pt x="45" y="93"/>
                        </a:lnTo>
                        <a:lnTo>
                          <a:pt x="46" y="93"/>
                        </a:lnTo>
                        <a:lnTo>
                          <a:pt x="47" y="94"/>
                        </a:lnTo>
                        <a:lnTo>
                          <a:pt x="48" y="95"/>
                        </a:lnTo>
                        <a:lnTo>
                          <a:pt x="49" y="95"/>
                        </a:lnTo>
                        <a:lnTo>
                          <a:pt x="50" y="96"/>
                        </a:lnTo>
                        <a:lnTo>
                          <a:pt x="51" y="96"/>
                        </a:lnTo>
                        <a:lnTo>
                          <a:pt x="52" y="97"/>
                        </a:lnTo>
                        <a:lnTo>
                          <a:pt x="53" y="98"/>
                        </a:lnTo>
                        <a:lnTo>
                          <a:pt x="54" y="98"/>
                        </a:lnTo>
                        <a:lnTo>
                          <a:pt x="55" y="99"/>
                        </a:lnTo>
                        <a:lnTo>
                          <a:pt x="56" y="99"/>
                        </a:lnTo>
                        <a:lnTo>
                          <a:pt x="57" y="100"/>
                        </a:lnTo>
                        <a:lnTo>
                          <a:pt x="58" y="100"/>
                        </a:lnTo>
                        <a:lnTo>
                          <a:pt x="59" y="101"/>
                        </a:lnTo>
                        <a:lnTo>
                          <a:pt x="60" y="101"/>
                        </a:lnTo>
                        <a:lnTo>
                          <a:pt x="61" y="102"/>
                        </a:lnTo>
                        <a:lnTo>
                          <a:pt x="62" y="102"/>
                        </a:lnTo>
                        <a:lnTo>
                          <a:pt x="63" y="103"/>
                        </a:lnTo>
                        <a:lnTo>
                          <a:pt x="64" y="103"/>
                        </a:lnTo>
                        <a:lnTo>
                          <a:pt x="65" y="103"/>
                        </a:lnTo>
                        <a:lnTo>
                          <a:pt x="66" y="104"/>
                        </a:lnTo>
                        <a:lnTo>
                          <a:pt x="67" y="104"/>
                        </a:lnTo>
                        <a:lnTo>
                          <a:pt x="68" y="105"/>
                        </a:lnTo>
                        <a:lnTo>
                          <a:pt x="69" y="105"/>
                        </a:lnTo>
                        <a:lnTo>
                          <a:pt x="70" y="105"/>
                        </a:lnTo>
                        <a:lnTo>
                          <a:pt x="71" y="106"/>
                        </a:lnTo>
                        <a:lnTo>
                          <a:pt x="72" y="106"/>
                        </a:lnTo>
                        <a:lnTo>
                          <a:pt x="73" y="106"/>
                        </a:lnTo>
                        <a:lnTo>
                          <a:pt x="74" y="107"/>
                        </a:lnTo>
                        <a:lnTo>
                          <a:pt x="75" y="107"/>
                        </a:lnTo>
                        <a:lnTo>
                          <a:pt x="76" y="107"/>
                        </a:lnTo>
                        <a:lnTo>
                          <a:pt x="77" y="107"/>
                        </a:lnTo>
                        <a:lnTo>
                          <a:pt x="78" y="108"/>
                        </a:lnTo>
                        <a:lnTo>
                          <a:pt x="79" y="108"/>
                        </a:lnTo>
                        <a:lnTo>
                          <a:pt x="80" y="108"/>
                        </a:lnTo>
                        <a:lnTo>
                          <a:pt x="81" y="108"/>
                        </a:lnTo>
                        <a:lnTo>
                          <a:pt x="82" y="109"/>
                        </a:lnTo>
                        <a:lnTo>
                          <a:pt x="83" y="109"/>
                        </a:lnTo>
                        <a:lnTo>
                          <a:pt x="84" y="109"/>
                        </a:lnTo>
                        <a:lnTo>
                          <a:pt x="85" y="109"/>
                        </a:lnTo>
                        <a:lnTo>
                          <a:pt x="86" y="109"/>
                        </a:lnTo>
                        <a:lnTo>
                          <a:pt x="87" y="110"/>
                        </a:lnTo>
                        <a:lnTo>
                          <a:pt x="88" y="110"/>
                        </a:lnTo>
                        <a:lnTo>
                          <a:pt x="89" y="110"/>
                        </a:lnTo>
                        <a:lnTo>
                          <a:pt x="90" y="110"/>
                        </a:lnTo>
                        <a:lnTo>
                          <a:pt x="91" y="110"/>
                        </a:lnTo>
                        <a:lnTo>
                          <a:pt x="92" y="110"/>
                        </a:lnTo>
                        <a:lnTo>
                          <a:pt x="93" y="110"/>
                        </a:lnTo>
                        <a:lnTo>
                          <a:pt x="94" y="111"/>
                        </a:lnTo>
                        <a:lnTo>
                          <a:pt x="95" y="111"/>
                        </a:lnTo>
                        <a:lnTo>
                          <a:pt x="96" y="111"/>
                        </a:lnTo>
                        <a:lnTo>
                          <a:pt x="97" y="111"/>
                        </a:lnTo>
                        <a:lnTo>
                          <a:pt x="98" y="111"/>
                        </a:lnTo>
                        <a:lnTo>
                          <a:pt x="99" y="111"/>
                        </a:lnTo>
                        <a:lnTo>
                          <a:pt x="100" y="111"/>
                        </a:lnTo>
                        <a:lnTo>
                          <a:pt x="101" y="111"/>
                        </a:lnTo>
                        <a:lnTo>
                          <a:pt x="102" y="111"/>
                        </a:lnTo>
                        <a:lnTo>
                          <a:pt x="103" y="111"/>
                        </a:lnTo>
                        <a:lnTo>
                          <a:pt x="104" y="111"/>
                        </a:lnTo>
                        <a:lnTo>
                          <a:pt x="105" y="111"/>
                        </a:lnTo>
                        <a:lnTo>
                          <a:pt x="106" y="111"/>
                        </a:lnTo>
                        <a:lnTo>
                          <a:pt x="107" y="111"/>
                        </a:lnTo>
                        <a:lnTo>
                          <a:pt x="108" y="111"/>
                        </a:lnTo>
                        <a:lnTo>
                          <a:pt x="109" y="111"/>
                        </a:lnTo>
                        <a:lnTo>
                          <a:pt x="110" y="111"/>
                        </a:lnTo>
                        <a:lnTo>
                          <a:pt x="111" y="111"/>
                        </a:lnTo>
                        <a:lnTo>
                          <a:pt x="112" y="111"/>
                        </a:lnTo>
                        <a:lnTo>
                          <a:pt x="113" y="111"/>
                        </a:lnTo>
                        <a:lnTo>
                          <a:pt x="114" y="111"/>
                        </a:lnTo>
                        <a:lnTo>
                          <a:pt x="115" y="110"/>
                        </a:lnTo>
                        <a:lnTo>
                          <a:pt x="116" y="110"/>
                        </a:lnTo>
                        <a:lnTo>
                          <a:pt x="117" y="110"/>
                        </a:lnTo>
                        <a:lnTo>
                          <a:pt x="118" y="110"/>
                        </a:lnTo>
                        <a:lnTo>
                          <a:pt x="119" y="110"/>
                        </a:lnTo>
                        <a:lnTo>
                          <a:pt x="120" y="110"/>
                        </a:lnTo>
                        <a:lnTo>
                          <a:pt x="121" y="110"/>
                        </a:lnTo>
                        <a:lnTo>
                          <a:pt x="122" y="109"/>
                        </a:lnTo>
                        <a:lnTo>
                          <a:pt x="123" y="109"/>
                        </a:lnTo>
                        <a:lnTo>
                          <a:pt x="124" y="109"/>
                        </a:lnTo>
                        <a:lnTo>
                          <a:pt x="125" y="109"/>
                        </a:lnTo>
                        <a:lnTo>
                          <a:pt x="126" y="109"/>
                        </a:lnTo>
                        <a:lnTo>
                          <a:pt x="127" y="108"/>
                        </a:lnTo>
                        <a:lnTo>
                          <a:pt x="128" y="108"/>
                        </a:lnTo>
                        <a:lnTo>
                          <a:pt x="129" y="108"/>
                        </a:lnTo>
                        <a:lnTo>
                          <a:pt x="130" y="108"/>
                        </a:lnTo>
                        <a:lnTo>
                          <a:pt x="131" y="107"/>
                        </a:lnTo>
                        <a:lnTo>
                          <a:pt x="132" y="107"/>
                        </a:lnTo>
                        <a:lnTo>
                          <a:pt x="133" y="107"/>
                        </a:lnTo>
                        <a:lnTo>
                          <a:pt x="134" y="107"/>
                        </a:lnTo>
                        <a:lnTo>
                          <a:pt x="135" y="106"/>
                        </a:lnTo>
                        <a:lnTo>
                          <a:pt x="136" y="106"/>
                        </a:lnTo>
                        <a:lnTo>
                          <a:pt x="137" y="106"/>
                        </a:lnTo>
                        <a:lnTo>
                          <a:pt x="138" y="105"/>
                        </a:lnTo>
                        <a:lnTo>
                          <a:pt x="139" y="105"/>
                        </a:lnTo>
                        <a:lnTo>
                          <a:pt x="140" y="105"/>
                        </a:lnTo>
                        <a:lnTo>
                          <a:pt x="141" y="104"/>
                        </a:lnTo>
                        <a:lnTo>
                          <a:pt x="142" y="104"/>
                        </a:lnTo>
                        <a:lnTo>
                          <a:pt x="143" y="103"/>
                        </a:lnTo>
                        <a:lnTo>
                          <a:pt x="144" y="103"/>
                        </a:lnTo>
                        <a:lnTo>
                          <a:pt x="145" y="103"/>
                        </a:lnTo>
                        <a:lnTo>
                          <a:pt x="146" y="102"/>
                        </a:lnTo>
                        <a:lnTo>
                          <a:pt x="147" y="102"/>
                        </a:lnTo>
                        <a:lnTo>
                          <a:pt x="148" y="101"/>
                        </a:lnTo>
                        <a:lnTo>
                          <a:pt x="149" y="101"/>
                        </a:lnTo>
                        <a:lnTo>
                          <a:pt x="150" y="100"/>
                        </a:lnTo>
                        <a:lnTo>
                          <a:pt x="151" y="100"/>
                        </a:lnTo>
                        <a:lnTo>
                          <a:pt x="152" y="99"/>
                        </a:lnTo>
                        <a:lnTo>
                          <a:pt x="153" y="99"/>
                        </a:lnTo>
                        <a:lnTo>
                          <a:pt x="154" y="98"/>
                        </a:lnTo>
                        <a:lnTo>
                          <a:pt x="155" y="98"/>
                        </a:lnTo>
                        <a:lnTo>
                          <a:pt x="156" y="97"/>
                        </a:lnTo>
                        <a:lnTo>
                          <a:pt x="157" y="96"/>
                        </a:lnTo>
                        <a:lnTo>
                          <a:pt x="158" y="96"/>
                        </a:lnTo>
                        <a:lnTo>
                          <a:pt x="159" y="95"/>
                        </a:lnTo>
                        <a:lnTo>
                          <a:pt x="160" y="95"/>
                        </a:lnTo>
                        <a:lnTo>
                          <a:pt x="161" y="94"/>
                        </a:lnTo>
                        <a:lnTo>
                          <a:pt x="162" y="93"/>
                        </a:lnTo>
                        <a:lnTo>
                          <a:pt x="163" y="93"/>
                        </a:lnTo>
                        <a:lnTo>
                          <a:pt x="164" y="92"/>
                        </a:lnTo>
                        <a:lnTo>
                          <a:pt x="165" y="91"/>
                        </a:lnTo>
                        <a:lnTo>
                          <a:pt x="166" y="90"/>
                        </a:lnTo>
                        <a:lnTo>
                          <a:pt x="167" y="90"/>
                        </a:lnTo>
                        <a:lnTo>
                          <a:pt x="168" y="89"/>
                        </a:lnTo>
                        <a:lnTo>
                          <a:pt x="169" y="88"/>
                        </a:lnTo>
                        <a:lnTo>
                          <a:pt x="170" y="87"/>
                        </a:lnTo>
                        <a:lnTo>
                          <a:pt x="171" y="86"/>
                        </a:lnTo>
                        <a:lnTo>
                          <a:pt x="172" y="86"/>
                        </a:lnTo>
                        <a:lnTo>
                          <a:pt x="173" y="85"/>
                        </a:lnTo>
                        <a:lnTo>
                          <a:pt x="174" y="84"/>
                        </a:lnTo>
                        <a:lnTo>
                          <a:pt x="175" y="83"/>
                        </a:lnTo>
                        <a:lnTo>
                          <a:pt x="176" y="82"/>
                        </a:lnTo>
                        <a:lnTo>
                          <a:pt x="177" y="81"/>
                        </a:lnTo>
                        <a:lnTo>
                          <a:pt x="178" y="80"/>
                        </a:lnTo>
                        <a:lnTo>
                          <a:pt x="179" y="79"/>
                        </a:lnTo>
                        <a:lnTo>
                          <a:pt x="180" y="78"/>
                        </a:lnTo>
                        <a:lnTo>
                          <a:pt x="181" y="77"/>
                        </a:lnTo>
                        <a:lnTo>
                          <a:pt x="182" y="76"/>
                        </a:lnTo>
                        <a:lnTo>
                          <a:pt x="183" y="75"/>
                        </a:lnTo>
                        <a:lnTo>
                          <a:pt x="183" y="74"/>
                        </a:lnTo>
                        <a:lnTo>
                          <a:pt x="184" y="73"/>
                        </a:lnTo>
                        <a:lnTo>
                          <a:pt x="185" y="72"/>
                        </a:lnTo>
                        <a:lnTo>
                          <a:pt x="186" y="71"/>
                        </a:lnTo>
                        <a:lnTo>
                          <a:pt x="187" y="70"/>
                        </a:lnTo>
                        <a:lnTo>
                          <a:pt x="187" y="69"/>
                        </a:lnTo>
                        <a:lnTo>
                          <a:pt x="188" y="68"/>
                        </a:lnTo>
                        <a:lnTo>
                          <a:pt x="189" y="67"/>
                        </a:lnTo>
                        <a:lnTo>
                          <a:pt x="189" y="66"/>
                        </a:lnTo>
                        <a:lnTo>
                          <a:pt x="190" y="65"/>
                        </a:lnTo>
                        <a:lnTo>
                          <a:pt x="191" y="64"/>
                        </a:lnTo>
                        <a:lnTo>
                          <a:pt x="191" y="63"/>
                        </a:lnTo>
                        <a:lnTo>
                          <a:pt x="192" y="62"/>
                        </a:lnTo>
                        <a:lnTo>
                          <a:pt x="192" y="62"/>
                        </a:lnTo>
                        <a:lnTo>
                          <a:pt x="104" y="7"/>
                        </a:lnTo>
                        <a:lnTo>
                          <a:pt x="0" y="0"/>
                        </a:ln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100" name="Freeform 99"/>
                  <p:cNvSpPr>
                    <a:spLocks/>
                  </p:cNvSpPr>
                  <p:nvPr/>
                </p:nvSpPr>
                <p:spPr bwMode="auto">
                  <a:xfrm>
                    <a:off x="1776" y="2032"/>
                    <a:ext cx="165" cy="87"/>
                  </a:xfrm>
                  <a:custGeom>
                    <a:avLst/>
                    <a:gdLst>
                      <a:gd name="T0" fmla="*/ 88 w 104"/>
                      <a:gd name="T1" fmla="*/ 55 h 55"/>
                      <a:gd name="T2" fmla="*/ 89 w 104"/>
                      <a:gd name="T3" fmla="*/ 54 h 55"/>
                      <a:gd name="T4" fmla="*/ 89 w 104"/>
                      <a:gd name="T5" fmla="*/ 53 h 55"/>
                      <a:gd name="T6" fmla="*/ 90 w 104"/>
                      <a:gd name="T7" fmla="*/ 52 h 55"/>
                      <a:gd name="T8" fmla="*/ 90 w 104"/>
                      <a:gd name="T9" fmla="*/ 51 h 55"/>
                      <a:gd name="T10" fmla="*/ 91 w 104"/>
                      <a:gd name="T11" fmla="*/ 50 h 55"/>
                      <a:gd name="T12" fmla="*/ 92 w 104"/>
                      <a:gd name="T13" fmla="*/ 49 h 55"/>
                      <a:gd name="T14" fmla="*/ 92 w 104"/>
                      <a:gd name="T15" fmla="*/ 48 h 55"/>
                      <a:gd name="T16" fmla="*/ 93 w 104"/>
                      <a:gd name="T17" fmla="*/ 47 h 55"/>
                      <a:gd name="T18" fmla="*/ 93 w 104"/>
                      <a:gd name="T19" fmla="*/ 46 h 55"/>
                      <a:gd name="T20" fmla="*/ 94 w 104"/>
                      <a:gd name="T21" fmla="*/ 45 h 55"/>
                      <a:gd name="T22" fmla="*/ 94 w 104"/>
                      <a:gd name="T23" fmla="*/ 44 h 55"/>
                      <a:gd name="T24" fmla="*/ 95 w 104"/>
                      <a:gd name="T25" fmla="*/ 43 h 55"/>
                      <a:gd name="T26" fmla="*/ 95 w 104"/>
                      <a:gd name="T27" fmla="*/ 42 h 55"/>
                      <a:gd name="T28" fmla="*/ 95 w 104"/>
                      <a:gd name="T29" fmla="*/ 41 h 55"/>
                      <a:gd name="T30" fmla="*/ 96 w 104"/>
                      <a:gd name="T31" fmla="*/ 40 h 55"/>
                      <a:gd name="T32" fmla="*/ 96 w 104"/>
                      <a:gd name="T33" fmla="*/ 39 h 55"/>
                      <a:gd name="T34" fmla="*/ 97 w 104"/>
                      <a:gd name="T35" fmla="*/ 38 h 55"/>
                      <a:gd name="T36" fmla="*/ 97 w 104"/>
                      <a:gd name="T37" fmla="*/ 37 h 55"/>
                      <a:gd name="T38" fmla="*/ 97 w 104"/>
                      <a:gd name="T39" fmla="*/ 36 h 55"/>
                      <a:gd name="T40" fmla="*/ 98 w 104"/>
                      <a:gd name="T41" fmla="*/ 35 h 55"/>
                      <a:gd name="T42" fmla="*/ 98 w 104"/>
                      <a:gd name="T43" fmla="*/ 34 h 55"/>
                      <a:gd name="T44" fmla="*/ 99 w 104"/>
                      <a:gd name="T45" fmla="*/ 33 h 55"/>
                      <a:gd name="T46" fmla="*/ 99 w 104"/>
                      <a:gd name="T47" fmla="*/ 32 h 55"/>
                      <a:gd name="T48" fmla="*/ 99 w 104"/>
                      <a:gd name="T49" fmla="*/ 31 h 55"/>
                      <a:gd name="T50" fmla="*/ 99 w 104"/>
                      <a:gd name="T51" fmla="*/ 30 h 55"/>
                      <a:gd name="T52" fmla="*/ 100 w 104"/>
                      <a:gd name="T53" fmla="*/ 29 h 55"/>
                      <a:gd name="T54" fmla="*/ 100 w 104"/>
                      <a:gd name="T55" fmla="*/ 28 h 55"/>
                      <a:gd name="T56" fmla="*/ 100 w 104"/>
                      <a:gd name="T57" fmla="*/ 27 h 55"/>
                      <a:gd name="T58" fmla="*/ 101 w 104"/>
                      <a:gd name="T59" fmla="*/ 26 h 55"/>
                      <a:gd name="T60" fmla="*/ 101 w 104"/>
                      <a:gd name="T61" fmla="*/ 25 h 55"/>
                      <a:gd name="T62" fmla="*/ 101 w 104"/>
                      <a:gd name="T63" fmla="*/ 24 h 55"/>
                      <a:gd name="T64" fmla="*/ 101 w 104"/>
                      <a:gd name="T65" fmla="*/ 23 h 55"/>
                      <a:gd name="T66" fmla="*/ 102 w 104"/>
                      <a:gd name="T67" fmla="*/ 22 h 55"/>
                      <a:gd name="T68" fmla="*/ 102 w 104"/>
                      <a:gd name="T69" fmla="*/ 21 h 55"/>
                      <a:gd name="T70" fmla="*/ 102 w 104"/>
                      <a:gd name="T71" fmla="*/ 20 h 55"/>
                      <a:gd name="T72" fmla="*/ 102 w 104"/>
                      <a:gd name="T73" fmla="*/ 19 h 55"/>
                      <a:gd name="T74" fmla="*/ 102 w 104"/>
                      <a:gd name="T75" fmla="*/ 18 h 55"/>
                      <a:gd name="T76" fmla="*/ 103 w 104"/>
                      <a:gd name="T77" fmla="*/ 17 h 55"/>
                      <a:gd name="T78" fmla="*/ 103 w 104"/>
                      <a:gd name="T79" fmla="*/ 16 h 55"/>
                      <a:gd name="T80" fmla="*/ 103 w 104"/>
                      <a:gd name="T81" fmla="*/ 15 h 55"/>
                      <a:gd name="T82" fmla="*/ 103 w 104"/>
                      <a:gd name="T83" fmla="*/ 14 h 55"/>
                      <a:gd name="T84" fmla="*/ 103 w 104"/>
                      <a:gd name="T85" fmla="*/ 13 h 55"/>
                      <a:gd name="T86" fmla="*/ 103 w 104"/>
                      <a:gd name="T87" fmla="*/ 12 h 55"/>
                      <a:gd name="T88" fmla="*/ 103 w 104"/>
                      <a:gd name="T89" fmla="*/ 11 h 55"/>
                      <a:gd name="T90" fmla="*/ 103 w 104"/>
                      <a:gd name="T91" fmla="*/ 10 h 55"/>
                      <a:gd name="T92" fmla="*/ 104 w 104"/>
                      <a:gd name="T93" fmla="*/ 9 h 55"/>
                      <a:gd name="T94" fmla="*/ 104 w 104"/>
                      <a:gd name="T95" fmla="*/ 8 h 55"/>
                      <a:gd name="T96" fmla="*/ 104 w 104"/>
                      <a:gd name="T97" fmla="*/ 7 h 55"/>
                      <a:gd name="T98" fmla="*/ 104 w 104"/>
                      <a:gd name="T99" fmla="*/ 6 h 55"/>
                      <a:gd name="T100" fmla="*/ 104 w 104"/>
                      <a:gd name="T101" fmla="*/ 5 h 55"/>
                      <a:gd name="T102" fmla="*/ 104 w 104"/>
                      <a:gd name="T103" fmla="*/ 4 h 55"/>
                      <a:gd name="T104" fmla="*/ 104 w 104"/>
                      <a:gd name="T105" fmla="*/ 3 h 55"/>
                      <a:gd name="T106" fmla="*/ 104 w 104"/>
                      <a:gd name="T107" fmla="*/ 2 h 55"/>
                      <a:gd name="T108" fmla="*/ 104 w 104"/>
                      <a:gd name="T109" fmla="*/ 1 h 55"/>
                      <a:gd name="T110" fmla="*/ 104 w 104"/>
                      <a:gd name="T111" fmla="*/ 0 h 55"/>
                      <a:gd name="T112" fmla="*/ 104 w 104"/>
                      <a:gd name="T113" fmla="*/ 0 h 55"/>
                      <a:gd name="T114" fmla="*/ 0 w 104"/>
                      <a:gd name="T115" fmla="*/ 0 h 55"/>
                      <a:gd name="T116" fmla="*/ 88 w 104"/>
                      <a:gd name="T117"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4" h="55">
                        <a:moveTo>
                          <a:pt x="88" y="55"/>
                        </a:moveTo>
                        <a:lnTo>
                          <a:pt x="89" y="54"/>
                        </a:lnTo>
                        <a:lnTo>
                          <a:pt x="89" y="53"/>
                        </a:lnTo>
                        <a:lnTo>
                          <a:pt x="90" y="52"/>
                        </a:lnTo>
                        <a:lnTo>
                          <a:pt x="90" y="51"/>
                        </a:lnTo>
                        <a:lnTo>
                          <a:pt x="91" y="50"/>
                        </a:lnTo>
                        <a:lnTo>
                          <a:pt x="92" y="49"/>
                        </a:lnTo>
                        <a:lnTo>
                          <a:pt x="92" y="48"/>
                        </a:lnTo>
                        <a:lnTo>
                          <a:pt x="93" y="47"/>
                        </a:lnTo>
                        <a:lnTo>
                          <a:pt x="93" y="46"/>
                        </a:lnTo>
                        <a:lnTo>
                          <a:pt x="94" y="45"/>
                        </a:lnTo>
                        <a:lnTo>
                          <a:pt x="94" y="44"/>
                        </a:lnTo>
                        <a:lnTo>
                          <a:pt x="95" y="43"/>
                        </a:lnTo>
                        <a:lnTo>
                          <a:pt x="95" y="42"/>
                        </a:lnTo>
                        <a:lnTo>
                          <a:pt x="95" y="41"/>
                        </a:lnTo>
                        <a:lnTo>
                          <a:pt x="96" y="40"/>
                        </a:lnTo>
                        <a:lnTo>
                          <a:pt x="96" y="39"/>
                        </a:lnTo>
                        <a:lnTo>
                          <a:pt x="97" y="38"/>
                        </a:lnTo>
                        <a:lnTo>
                          <a:pt x="97" y="37"/>
                        </a:lnTo>
                        <a:lnTo>
                          <a:pt x="97" y="36"/>
                        </a:lnTo>
                        <a:lnTo>
                          <a:pt x="98" y="35"/>
                        </a:lnTo>
                        <a:lnTo>
                          <a:pt x="98" y="34"/>
                        </a:lnTo>
                        <a:lnTo>
                          <a:pt x="99" y="33"/>
                        </a:lnTo>
                        <a:lnTo>
                          <a:pt x="99" y="32"/>
                        </a:lnTo>
                        <a:lnTo>
                          <a:pt x="99" y="31"/>
                        </a:lnTo>
                        <a:lnTo>
                          <a:pt x="99" y="30"/>
                        </a:lnTo>
                        <a:lnTo>
                          <a:pt x="100" y="29"/>
                        </a:lnTo>
                        <a:lnTo>
                          <a:pt x="100" y="28"/>
                        </a:lnTo>
                        <a:lnTo>
                          <a:pt x="100" y="27"/>
                        </a:lnTo>
                        <a:lnTo>
                          <a:pt x="101" y="26"/>
                        </a:lnTo>
                        <a:lnTo>
                          <a:pt x="101" y="25"/>
                        </a:lnTo>
                        <a:lnTo>
                          <a:pt x="101" y="24"/>
                        </a:lnTo>
                        <a:lnTo>
                          <a:pt x="101" y="23"/>
                        </a:lnTo>
                        <a:lnTo>
                          <a:pt x="102" y="22"/>
                        </a:lnTo>
                        <a:lnTo>
                          <a:pt x="102" y="21"/>
                        </a:lnTo>
                        <a:lnTo>
                          <a:pt x="102" y="20"/>
                        </a:lnTo>
                        <a:lnTo>
                          <a:pt x="102" y="19"/>
                        </a:lnTo>
                        <a:lnTo>
                          <a:pt x="102" y="18"/>
                        </a:lnTo>
                        <a:lnTo>
                          <a:pt x="103" y="17"/>
                        </a:lnTo>
                        <a:lnTo>
                          <a:pt x="103" y="16"/>
                        </a:lnTo>
                        <a:lnTo>
                          <a:pt x="103" y="15"/>
                        </a:lnTo>
                        <a:lnTo>
                          <a:pt x="103" y="14"/>
                        </a:lnTo>
                        <a:lnTo>
                          <a:pt x="103" y="13"/>
                        </a:lnTo>
                        <a:lnTo>
                          <a:pt x="103" y="12"/>
                        </a:lnTo>
                        <a:lnTo>
                          <a:pt x="103" y="11"/>
                        </a:lnTo>
                        <a:lnTo>
                          <a:pt x="103" y="10"/>
                        </a:lnTo>
                        <a:lnTo>
                          <a:pt x="104" y="9"/>
                        </a:lnTo>
                        <a:lnTo>
                          <a:pt x="104" y="8"/>
                        </a:lnTo>
                        <a:lnTo>
                          <a:pt x="104" y="7"/>
                        </a:lnTo>
                        <a:lnTo>
                          <a:pt x="104" y="6"/>
                        </a:lnTo>
                        <a:lnTo>
                          <a:pt x="104" y="5"/>
                        </a:lnTo>
                        <a:lnTo>
                          <a:pt x="104" y="4"/>
                        </a:lnTo>
                        <a:lnTo>
                          <a:pt x="104" y="3"/>
                        </a:lnTo>
                        <a:lnTo>
                          <a:pt x="104" y="2"/>
                        </a:lnTo>
                        <a:lnTo>
                          <a:pt x="104" y="1"/>
                        </a:lnTo>
                        <a:lnTo>
                          <a:pt x="104" y="0"/>
                        </a:lnTo>
                        <a:lnTo>
                          <a:pt x="104" y="0"/>
                        </a:lnTo>
                        <a:lnTo>
                          <a:pt x="0" y="0"/>
                        </a:lnTo>
                        <a:lnTo>
                          <a:pt x="88" y="55"/>
                        </a:lnTo>
                        <a:close/>
                      </a:path>
                    </a:pathLst>
                  </a:custGeom>
                  <a:solidFill>
                    <a:srgbClr val="2892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101" name="Freeform 100"/>
                  <p:cNvSpPr>
                    <a:spLocks/>
                  </p:cNvSpPr>
                  <p:nvPr/>
                </p:nvSpPr>
                <p:spPr bwMode="auto">
                  <a:xfrm>
                    <a:off x="2182" y="3166"/>
                    <a:ext cx="164" cy="79"/>
                  </a:xfrm>
                  <a:custGeom>
                    <a:avLst/>
                    <a:gdLst>
                      <a:gd name="T0" fmla="*/ 104 w 104"/>
                      <a:gd name="T1" fmla="*/ 50 h 50"/>
                      <a:gd name="T2" fmla="*/ 104 w 104"/>
                      <a:gd name="T3" fmla="*/ 49 h 50"/>
                      <a:gd name="T4" fmla="*/ 104 w 104"/>
                      <a:gd name="T5" fmla="*/ 48 h 50"/>
                      <a:gd name="T6" fmla="*/ 104 w 104"/>
                      <a:gd name="T7" fmla="*/ 47 h 50"/>
                      <a:gd name="T8" fmla="*/ 104 w 104"/>
                      <a:gd name="T9" fmla="*/ 46 h 50"/>
                      <a:gd name="T10" fmla="*/ 104 w 104"/>
                      <a:gd name="T11" fmla="*/ 45 h 50"/>
                      <a:gd name="T12" fmla="*/ 104 w 104"/>
                      <a:gd name="T13" fmla="*/ 44 h 50"/>
                      <a:gd name="T14" fmla="*/ 104 w 104"/>
                      <a:gd name="T15" fmla="*/ 43 h 50"/>
                      <a:gd name="T16" fmla="*/ 104 w 104"/>
                      <a:gd name="T17" fmla="*/ 42 h 50"/>
                      <a:gd name="T18" fmla="*/ 104 w 104"/>
                      <a:gd name="T19" fmla="*/ 41 h 50"/>
                      <a:gd name="T20" fmla="*/ 104 w 104"/>
                      <a:gd name="T21" fmla="*/ 40 h 50"/>
                      <a:gd name="T22" fmla="*/ 103 w 104"/>
                      <a:gd name="T23" fmla="*/ 39 h 50"/>
                      <a:gd name="T24" fmla="*/ 103 w 104"/>
                      <a:gd name="T25" fmla="*/ 38 h 50"/>
                      <a:gd name="T26" fmla="*/ 103 w 104"/>
                      <a:gd name="T27" fmla="*/ 37 h 50"/>
                      <a:gd name="T28" fmla="*/ 103 w 104"/>
                      <a:gd name="T29" fmla="*/ 36 h 50"/>
                      <a:gd name="T30" fmla="*/ 103 w 104"/>
                      <a:gd name="T31" fmla="*/ 35 h 50"/>
                      <a:gd name="T32" fmla="*/ 103 w 104"/>
                      <a:gd name="T33" fmla="*/ 34 h 50"/>
                      <a:gd name="T34" fmla="*/ 103 w 104"/>
                      <a:gd name="T35" fmla="*/ 33 h 50"/>
                      <a:gd name="T36" fmla="*/ 102 w 104"/>
                      <a:gd name="T37" fmla="*/ 32 h 50"/>
                      <a:gd name="T38" fmla="*/ 102 w 104"/>
                      <a:gd name="T39" fmla="*/ 31 h 50"/>
                      <a:gd name="T40" fmla="*/ 102 w 104"/>
                      <a:gd name="T41" fmla="*/ 30 h 50"/>
                      <a:gd name="T42" fmla="*/ 102 w 104"/>
                      <a:gd name="T43" fmla="*/ 29 h 50"/>
                      <a:gd name="T44" fmla="*/ 102 w 104"/>
                      <a:gd name="T45" fmla="*/ 28 h 50"/>
                      <a:gd name="T46" fmla="*/ 101 w 104"/>
                      <a:gd name="T47" fmla="*/ 27 h 50"/>
                      <a:gd name="T48" fmla="*/ 101 w 104"/>
                      <a:gd name="T49" fmla="*/ 26 h 50"/>
                      <a:gd name="T50" fmla="*/ 101 w 104"/>
                      <a:gd name="T51" fmla="*/ 25 h 50"/>
                      <a:gd name="T52" fmla="*/ 101 w 104"/>
                      <a:gd name="T53" fmla="*/ 24 h 50"/>
                      <a:gd name="T54" fmla="*/ 100 w 104"/>
                      <a:gd name="T55" fmla="*/ 23 h 50"/>
                      <a:gd name="T56" fmla="*/ 100 w 104"/>
                      <a:gd name="T57" fmla="*/ 22 h 50"/>
                      <a:gd name="T58" fmla="*/ 100 w 104"/>
                      <a:gd name="T59" fmla="*/ 21 h 50"/>
                      <a:gd name="T60" fmla="*/ 100 w 104"/>
                      <a:gd name="T61" fmla="*/ 20 h 50"/>
                      <a:gd name="T62" fmla="*/ 99 w 104"/>
                      <a:gd name="T63" fmla="*/ 19 h 50"/>
                      <a:gd name="T64" fmla="*/ 99 w 104"/>
                      <a:gd name="T65" fmla="*/ 18 h 50"/>
                      <a:gd name="T66" fmla="*/ 99 w 104"/>
                      <a:gd name="T67" fmla="*/ 17 h 50"/>
                      <a:gd name="T68" fmla="*/ 98 w 104"/>
                      <a:gd name="T69" fmla="*/ 16 h 50"/>
                      <a:gd name="T70" fmla="*/ 98 w 104"/>
                      <a:gd name="T71" fmla="*/ 15 h 50"/>
                      <a:gd name="T72" fmla="*/ 98 w 104"/>
                      <a:gd name="T73" fmla="*/ 14 h 50"/>
                      <a:gd name="T74" fmla="*/ 97 w 104"/>
                      <a:gd name="T75" fmla="*/ 13 h 50"/>
                      <a:gd name="T76" fmla="*/ 97 w 104"/>
                      <a:gd name="T77" fmla="*/ 12 h 50"/>
                      <a:gd name="T78" fmla="*/ 96 w 104"/>
                      <a:gd name="T79" fmla="*/ 11 h 50"/>
                      <a:gd name="T80" fmla="*/ 96 w 104"/>
                      <a:gd name="T81" fmla="*/ 10 h 50"/>
                      <a:gd name="T82" fmla="*/ 96 w 104"/>
                      <a:gd name="T83" fmla="*/ 9 h 50"/>
                      <a:gd name="T84" fmla="*/ 95 w 104"/>
                      <a:gd name="T85" fmla="*/ 8 h 50"/>
                      <a:gd name="T86" fmla="*/ 95 w 104"/>
                      <a:gd name="T87" fmla="*/ 7 h 50"/>
                      <a:gd name="T88" fmla="*/ 94 w 104"/>
                      <a:gd name="T89" fmla="*/ 6 h 50"/>
                      <a:gd name="T90" fmla="*/ 94 w 104"/>
                      <a:gd name="T91" fmla="*/ 5 h 50"/>
                      <a:gd name="T92" fmla="*/ 93 w 104"/>
                      <a:gd name="T93" fmla="*/ 4 h 50"/>
                      <a:gd name="T94" fmla="*/ 93 w 104"/>
                      <a:gd name="T95" fmla="*/ 3 h 50"/>
                      <a:gd name="T96" fmla="*/ 92 w 104"/>
                      <a:gd name="T97" fmla="*/ 2 h 50"/>
                      <a:gd name="T98" fmla="*/ 92 w 104"/>
                      <a:gd name="T99" fmla="*/ 1 h 50"/>
                      <a:gd name="T100" fmla="*/ 91 w 104"/>
                      <a:gd name="T101" fmla="*/ 0 h 50"/>
                      <a:gd name="T102" fmla="*/ 91 w 104"/>
                      <a:gd name="T103" fmla="*/ 0 h 50"/>
                      <a:gd name="T104" fmla="*/ 0 w 104"/>
                      <a:gd name="T105" fmla="*/ 50 h 50"/>
                      <a:gd name="T106" fmla="*/ 104 w 104"/>
                      <a:gd name="T10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4" h="50">
                        <a:moveTo>
                          <a:pt x="104" y="50"/>
                        </a:moveTo>
                        <a:lnTo>
                          <a:pt x="104" y="49"/>
                        </a:lnTo>
                        <a:lnTo>
                          <a:pt x="104" y="48"/>
                        </a:lnTo>
                        <a:lnTo>
                          <a:pt x="104" y="47"/>
                        </a:lnTo>
                        <a:lnTo>
                          <a:pt x="104" y="46"/>
                        </a:lnTo>
                        <a:lnTo>
                          <a:pt x="104" y="45"/>
                        </a:lnTo>
                        <a:lnTo>
                          <a:pt x="104" y="44"/>
                        </a:lnTo>
                        <a:lnTo>
                          <a:pt x="104" y="43"/>
                        </a:lnTo>
                        <a:lnTo>
                          <a:pt x="104" y="42"/>
                        </a:lnTo>
                        <a:lnTo>
                          <a:pt x="104" y="41"/>
                        </a:lnTo>
                        <a:lnTo>
                          <a:pt x="104" y="40"/>
                        </a:lnTo>
                        <a:lnTo>
                          <a:pt x="103" y="39"/>
                        </a:lnTo>
                        <a:lnTo>
                          <a:pt x="103" y="38"/>
                        </a:lnTo>
                        <a:lnTo>
                          <a:pt x="103" y="37"/>
                        </a:lnTo>
                        <a:lnTo>
                          <a:pt x="103" y="36"/>
                        </a:lnTo>
                        <a:lnTo>
                          <a:pt x="103" y="35"/>
                        </a:lnTo>
                        <a:lnTo>
                          <a:pt x="103" y="34"/>
                        </a:lnTo>
                        <a:lnTo>
                          <a:pt x="103" y="33"/>
                        </a:lnTo>
                        <a:lnTo>
                          <a:pt x="102" y="32"/>
                        </a:lnTo>
                        <a:lnTo>
                          <a:pt x="102" y="31"/>
                        </a:lnTo>
                        <a:lnTo>
                          <a:pt x="102" y="30"/>
                        </a:lnTo>
                        <a:lnTo>
                          <a:pt x="102" y="29"/>
                        </a:lnTo>
                        <a:lnTo>
                          <a:pt x="102" y="28"/>
                        </a:lnTo>
                        <a:lnTo>
                          <a:pt x="101" y="27"/>
                        </a:lnTo>
                        <a:lnTo>
                          <a:pt x="101" y="26"/>
                        </a:lnTo>
                        <a:lnTo>
                          <a:pt x="101" y="25"/>
                        </a:lnTo>
                        <a:lnTo>
                          <a:pt x="101" y="24"/>
                        </a:lnTo>
                        <a:lnTo>
                          <a:pt x="100" y="23"/>
                        </a:lnTo>
                        <a:lnTo>
                          <a:pt x="100" y="22"/>
                        </a:lnTo>
                        <a:lnTo>
                          <a:pt x="100" y="21"/>
                        </a:lnTo>
                        <a:lnTo>
                          <a:pt x="100" y="20"/>
                        </a:lnTo>
                        <a:lnTo>
                          <a:pt x="99" y="19"/>
                        </a:lnTo>
                        <a:lnTo>
                          <a:pt x="99" y="18"/>
                        </a:lnTo>
                        <a:lnTo>
                          <a:pt x="99" y="17"/>
                        </a:lnTo>
                        <a:lnTo>
                          <a:pt x="98" y="16"/>
                        </a:lnTo>
                        <a:lnTo>
                          <a:pt x="98" y="15"/>
                        </a:lnTo>
                        <a:lnTo>
                          <a:pt x="98" y="14"/>
                        </a:lnTo>
                        <a:lnTo>
                          <a:pt x="97" y="13"/>
                        </a:lnTo>
                        <a:lnTo>
                          <a:pt x="97" y="12"/>
                        </a:lnTo>
                        <a:lnTo>
                          <a:pt x="96" y="11"/>
                        </a:lnTo>
                        <a:lnTo>
                          <a:pt x="96" y="10"/>
                        </a:lnTo>
                        <a:lnTo>
                          <a:pt x="96" y="9"/>
                        </a:lnTo>
                        <a:lnTo>
                          <a:pt x="95" y="8"/>
                        </a:lnTo>
                        <a:lnTo>
                          <a:pt x="95" y="7"/>
                        </a:lnTo>
                        <a:lnTo>
                          <a:pt x="94" y="6"/>
                        </a:lnTo>
                        <a:lnTo>
                          <a:pt x="94" y="5"/>
                        </a:lnTo>
                        <a:lnTo>
                          <a:pt x="93" y="4"/>
                        </a:lnTo>
                        <a:lnTo>
                          <a:pt x="93" y="3"/>
                        </a:lnTo>
                        <a:lnTo>
                          <a:pt x="92" y="2"/>
                        </a:lnTo>
                        <a:lnTo>
                          <a:pt x="92" y="1"/>
                        </a:lnTo>
                        <a:lnTo>
                          <a:pt x="91" y="0"/>
                        </a:lnTo>
                        <a:lnTo>
                          <a:pt x="91" y="0"/>
                        </a:lnTo>
                        <a:lnTo>
                          <a:pt x="0" y="50"/>
                        </a:lnTo>
                        <a:lnTo>
                          <a:pt x="104" y="50"/>
                        </a:lnTo>
                        <a:close/>
                      </a:path>
                    </a:pathLst>
                  </a:custGeom>
                  <a:solidFill>
                    <a:srgbClr val="E64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102" name="Freeform 101"/>
                  <p:cNvSpPr>
                    <a:spLocks/>
                  </p:cNvSpPr>
                  <p:nvPr/>
                </p:nvSpPr>
                <p:spPr bwMode="auto">
                  <a:xfrm>
                    <a:off x="2015" y="3080"/>
                    <a:ext cx="311" cy="216"/>
                  </a:xfrm>
                  <a:custGeom>
                    <a:avLst/>
                    <a:gdLst>
                      <a:gd name="T0" fmla="*/ 194 w 196"/>
                      <a:gd name="T1" fmla="*/ 50 h 136"/>
                      <a:gd name="T2" fmla="*/ 191 w 196"/>
                      <a:gd name="T3" fmla="*/ 45 h 136"/>
                      <a:gd name="T4" fmla="*/ 187 w 196"/>
                      <a:gd name="T5" fmla="*/ 40 h 136"/>
                      <a:gd name="T6" fmla="*/ 183 w 196"/>
                      <a:gd name="T7" fmla="*/ 35 h 136"/>
                      <a:gd name="T8" fmla="*/ 178 w 196"/>
                      <a:gd name="T9" fmla="*/ 30 h 136"/>
                      <a:gd name="T10" fmla="*/ 173 w 196"/>
                      <a:gd name="T11" fmla="*/ 25 h 136"/>
                      <a:gd name="T12" fmla="*/ 168 w 196"/>
                      <a:gd name="T13" fmla="*/ 21 h 136"/>
                      <a:gd name="T14" fmla="*/ 163 w 196"/>
                      <a:gd name="T15" fmla="*/ 18 h 136"/>
                      <a:gd name="T16" fmla="*/ 158 w 196"/>
                      <a:gd name="T17" fmla="*/ 15 h 136"/>
                      <a:gd name="T18" fmla="*/ 153 w 196"/>
                      <a:gd name="T19" fmla="*/ 12 h 136"/>
                      <a:gd name="T20" fmla="*/ 148 w 196"/>
                      <a:gd name="T21" fmla="*/ 9 h 136"/>
                      <a:gd name="T22" fmla="*/ 143 w 196"/>
                      <a:gd name="T23" fmla="*/ 7 h 136"/>
                      <a:gd name="T24" fmla="*/ 138 w 196"/>
                      <a:gd name="T25" fmla="*/ 5 h 136"/>
                      <a:gd name="T26" fmla="*/ 133 w 196"/>
                      <a:gd name="T27" fmla="*/ 4 h 136"/>
                      <a:gd name="T28" fmla="*/ 128 w 196"/>
                      <a:gd name="T29" fmla="*/ 3 h 136"/>
                      <a:gd name="T30" fmla="*/ 123 w 196"/>
                      <a:gd name="T31" fmla="*/ 2 h 136"/>
                      <a:gd name="T32" fmla="*/ 118 w 196"/>
                      <a:gd name="T33" fmla="*/ 1 h 136"/>
                      <a:gd name="T34" fmla="*/ 113 w 196"/>
                      <a:gd name="T35" fmla="*/ 0 h 136"/>
                      <a:gd name="T36" fmla="*/ 108 w 196"/>
                      <a:gd name="T37" fmla="*/ 0 h 136"/>
                      <a:gd name="T38" fmla="*/ 103 w 196"/>
                      <a:gd name="T39" fmla="*/ 0 h 136"/>
                      <a:gd name="T40" fmla="*/ 98 w 196"/>
                      <a:gd name="T41" fmla="*/ 0 h 136"/>
                      <a:gd name="T42" fmla="*/ 93 w 196"/>
                      <a:gd name="T43" fmla="*/ 1 h 136"/>
                      <a:gd name="T44" fmla="*/ 88 w 196"/>
                      <a:gd name="T45" fmla="*/ 1 h 136"/>
                      <a:gd name="T46" fmla="*/ 83 w 196"/>
                      <a:gd name="T47" fmla="*/ 2 h 136"/>
                      <a:gd name="T48" fmla="*/ 78 w 196"/>
                      <a:gd name="T49" fmla="*/ 3 h 136"/>
                      <a:gd name="T50" fmla="*/ 73 w 196"/>
                      <a:gd name="T51" fmla="*/ 5 h 136"/>
                      <a:gd name="T52" fmla="*/ 68 w 196"/>
                      <a:gd name="T53" fmla="*/ 7 h 136"/>
                      <a:gd name="T54" fmla="*/ 63 w 196"/>
                      <a:gd name="T55" fmla="*/ 9 h 136"/>
                      <a:gd name="T56" fmla="*/ 58 w 196"/>
                      <a:gd name="T57" fmla="*/ 11 h 136"/>
                      <a:gd name="T58" fmla="*/ 53 w 196"/>
                      <a:gd name="T59" fmla="*/ 14 h 136"/>
                      <a:gd name="T60" fmla="*/ 48 w 196"/>
                      <a:gd name="T61" fmla="*/ 17 h 136"/>
                      <a:gd name="T62" fmla="*/ 43 w 196"/>
                      <a:gd name="T63" fmla="*/ 20 h 136"/>
                      <a:gd name="T64" fmla="*/ 38 w 196"/>
                      <a:gd name="T65" fmla="*/ 24 h 136"/>
                      <a:gd name="T66" fmla="*/ 33 w 196"/>
                      <a:gd name="T67" fmla="*/ 28 h 136"/>
                      <a:gd name="T68" fmla="*/ 28 w 196"/>
                      <a:gd name="T69" fmla="*/ 33 h 136"/>
                      <a:gd name="T70" fmla="*/ 24 w 196"/>
                      <a:gd name="T71" fmla="*/ 38 h 136"/>
                      <a:gd name="T72" fmla="*/ 20 w 196"/>
                      <a:gd name="T73" fmla="*/ 43 h 136"/>
                      <a:gd name="T74" fmla="*/ 16 w 196"/>
                      <a:gd name="T75" fmla="*/ 48 h 136"/>
                      <a:gd name="T76" fmla="*/ 13 w 196"/>
                      <a:gd name="T77" fmla="*/ 53 h 136"/>
                      <a:gd name="T78" fmla="*/ 11 w 196"/>
                      <a:gd name="T79" fmla="*/ 58 h 136"/>
                      <a:gd name="T80" fmla="*/ 8 w 196"/>
                      <a:gd name="T81" fmla="*/ 63 h 136"/>
                      <a:gd name="T82" fmla="*/ 6 w 196"/>
                      <a:gd name="T83" fmla="*/ 68 h 136"/>
                      <a:gd name="T84" fmla="*/ 5 w 196"/>
                      <a:gd name="T85" fmla="*/ 73 h 136"/>
                      <a:gd name="T86" fmla="*/ 3 w 196"/>
                      <a:gd name="T87" fmla="*/ 78 h 136"/>
                      <a:gd name="T88" fmla="*/ 2 w 196"/>
                      <a:gd name="T89" fmla="*/ 83 h 136"/>
                      <a:gd name="T90" fmla="*/ 1 w 196"/>
                      <a:gd name="T91" fmla="*/ 88 h 136"/>
                      <a:gd name="T92" fmla="*/ 1 w 196"/>
                      <a:gd name="T93" fmla="*/ 93 h 136"/>
                      <a:gd name="T94" fmla="*/ 0 w 196"/>
                      <a:gd name="T95" fmla="*/ 98 h 136"/>
                      <a:gd name="T96" fmla="*/ 0 w 196"/>
                      <a:gd name="T97" fmla="*/ 103 h 136"/>
                      <a:gd name="T98" fmla="*/ 0 w 196"/>
                      <a:gd name="T99" fmla="*/ 108 h 136"/>
                      <a:gd name="T100" fmla="*/ 0 w 196"/>
                      <a:gd name="T101" fmla="*/ 113 h 136"/>
                      <a:gd name="T102" fmla="*/ 1 w 196"/>
                      <a:gd name="T103" fmla="*/ 118 h 136"/>
                      <a:gd name="T104" fmla="*/ 2 w 196"/>
                      <a:gd name="T105" fmla="*/ 123 h 136"/>
                      <a:gd name="T106" fmla="*/ 3 w 196"/>
                      <a:gd name="T107" fmla="*/ 128 h 136"/>
                      <a:gd name="T108" fmla="*/ 4 w 196"/>
                      <a:gd name="T109" fmla="*/ 133 h 136"/>
                      <a:gd name="T110" fmla="*/ 6 w 196"/>
                      <a:gd name="T111"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136">
                        <a:moveTo>
                          <a:pt x="196" y="54"/>
                        </a:moveTo>
                        <a:lnTo>
                          <a:pt x="196" y="53"/>
                        </a:lnTo>
                        <a:lnTo>
                          <a:pt x="195" y="52"/>
                        </a:lnTo>
                        <a:lnTo>
                          <a:pt x="194" y="51"/>
                        </a:lnTo>
                        <a:lnTo>
                          <a:pt x="194" y="50"/>
                        </a:lnTo>
                        <a:lnTo>
                          <a:pt x="193" y="49"/>
                        </a:lnTo>
                        <a:lnTo>
                          <a:pt x="193" y="48"/>
                        </a:lnTo>
                        <a:lnTo>
                          <a:pt x="192" y="47"/>
                        </a:lnTo>
                        <a:lnTo>
                          <a:pt x="191" y="46"/>
                        </a:lnTo>
                        <a:lnTo>
                          <a:pt x="191" y="45"/>
                        </a:lnTo>
                        <a:lnTo>
                          <a:pt x="190" y="44"/>
                        </a:lnTo>
                        <a:lnTo>
                          <a:pt x="189" y="43"/>
                        </a:lnTo>
                        <a:lnTo>
                          <a:pt x="188" y="42"/>
                        </a:lnTo>
                        <a:lnTo>
                          <a:pt x="188" y="41"/>
                        </a:lnTo>
                        <a:lnTo>
                          <a:pt x="187" y="40"/>
                        </a:lnTo>
                        <a:lnTo>
                          <a:pt x="186" y="39"/>
                        </a:lnTo>
                        <a:lnTo>
                          <a:pt x="185" y="38"/>
                        </a:lnTo>
                        <a:lnTo>
                          <a:pt x="184" y="37"/>
                        </a:lnTo>
                        <a:lnTo>
                          <a:pt x="184" y="36"/>
                        </a:lnTo>
                        <a:lnTo>
                          <a:pt x="183" y="35"/>
                        </a:lnTo>
                        <a:lnTo>
                          <a:pt x="182" y="34"/>
                        </a:lnTo>
                        <a:lnTo>
                          <a:pt x="181" y="33"/>
                        </a:lnTo>
                        <a:lnTo>
                          <a:pt x="180" y="32"/>
                        </a:lnTo>
                        <a:lnTo>
                          <a:pt x="179" y="31"/>
                        </a:lnTo>
                        <a:lnTo>
                          <a:pt x="178" y="30"/>
                        </a:lnTo>
                        <a:lnTo>
                          <a:pt x="177" y="29"/>
                        </a:lnTo>
                        <a:lnTo>
                          <a:pt x="176" y="28"/>
                        </a:lnTo>
                        <a:lnTo>
                          <a:pt x="175" y="27"/>
                        </a:lnTo>
                        <a:lnTo>
                          <a:pt x="174" y="26"/>
                        </a:lnTo>
                        <a:lnTo>
                          <a:pt x="173" y="25"/>
                        </a:lnTo>
                        <a:lnTo>
                          <a:pt x="172" y="25"/>
                        </a:lnTo>
                        <a:lnTo>
                          <a:pt x="171" y="24"/>
                        </a:lnTo>
                        <a:lnTo>
                          <a:pt x="170" y="23"/>
                        </a:lnTo>
                        <a:lnTo>
                          <a:pt x="169" y="22"/>
                        </a:lnTo>
                        <a:lnTo>
                          <a:pt x="168" y="21"/>
                        </a:lnTo>
                        <a:lnTo>
                          <a:pt x="167" y="21"/>
                        </a:lnTo>
                        <a:lnTo>
                          <a:pt x="166" y="20"/>
                        </a:lnTo>
                        <a:lnTo>
                          <a:pt x="165" y="19"/>
                        </a:lnTo>
                        <a:lnTo>
                          <a:pt x="164" y="19"/>
                        </a:lnTo>
                        <a:lnTo>
                          <a:pt x="163" y="18"/>
                        </a:lnTo>
                        <a:lnTo>
                          <a:pt x="162" y="17"/>
                        </a:lnTo>
                        <a:lnTo>
                          <a:pt x="161" y="17"/>
                        </a:lnTo>
                        <a:lnTo>
                          <a:pt x="160" y="16"/>
                        </a:lnTo>
                        <a:lnTo>
                          <a:pt x="159" y="15"/>
                        </a:lnTo>
                        <a:lnTo>
                          <a:pt x="158" y="15"/>
                        </a:lnTo>
                        <a:lnTo>
                          <a:pt x="157" y="14"/>
                        </a:lnTo>
                        <a:lnTo>
                          <a:pt x="156" y="14"/>
                        </a:lnTo>
                        <a:lnTo>
                          <a:pt x="155" y="13"/>
                        </a:lnTo>
                        <a:lnTo>
                          <a:pt x="154" y="12"/>
                        </a:lnTo>
                        <a:lnTo>
                          <a:pt x="153" y="12"/>
                        </a:lnTo>
                        <a:lnTo>
                          <a:pt x="152" y="11"/>
                        </a:lnTo>
                        <a:lnTo>
                          <a:pt x="151" y="11"/>
                        </a:lnTo>
                        <a:lnTo>
                          <a:pt x="150" y="10"/>
                        </a:lnTo>
                        <a:lnTo>
                          <a:pt x="149" y="10"/>
                        </a:lnTo>
                        <a:lnTo>
                          <a:pt x="148" y="9"/>
                        </a:lnTo>
                        <a:lnTo>
                          <a:pt x="147" y="9"/>
                        </a:lnTo>
                        <a:lnTo>
                          <a:pt x="146" y="9"/>
                        </a:lnTo>
                        <a:lnTo>
                          <a:pt x="145" y="8"/>
                        </a:lnTo>
                        <a:lnTo>
                          <a:pt x="144" y="8"/>
                        </a:lnTo>
                        <a:lnTo>
                          <a:pt x="143" y="7"/>
                        </a:lnTo>
                        <a:lnTo>
                          <a:pt x="142" y="7"/>
                        </a:lnTo>
                        <a:lnTo>
                          <a:pt x="141" y="7"/>
                        </a:lnTo>
                        <a:lnTo>
                          <a:pt x="140" y="6"/>
                        </a:lnTo>
                        <a:lnTo>
                          <a:pt x="139" y="6"/>
                        </a:lnTo>
                        <a:lnTo>
                          <a:pt x="138" y="5"/>
                        </a:lnTo>
                        <a:lnTo>
                          <a:pt x="137" y="5"/>
                        </a:lnTo>
                        <a:lnTo>
                          <a:pt x="136" y="5"/>
                        </a:lnTo>
                        <a:lnTo>
                          <a:pt x="135" y="5"/>
                        </a:lnTo>
                        <a:lnTo>
                          <a:pt x="134" y="4"/>
                        </a:lnTo>
                        <a:lnTo>
                          <a:pt x="133" y="4"/>
                        </a:lnTo>
                        <a:lnTo>
                          <a:pt x="132" y="4"/>
                        </a:lnTo>
                        <a:lnTo>
                          <a:pt x="131" y="3"/>
                        </a:lnTo>
                        <a:lnTo>
                          <a:pt x="130" y="3"/>
                        </a:lnTo>
                        <a:lnTo>
                          <a:pt x="129" y="3"/>
                        </a:lnTo>
                        <a:lnTo>
                          <a:pt x="128" y="3"/>
                        </a:lnTo>
                        <a:lnTo>
                          <a:pt x="127" y="2"/>
                        </a:lnTo>
                        <a:lnTo>
                          <a:pt x="126" y="2"/>
                        </a:lnTo>
                        <a:lnTo>
                          <a:pt x="125" y="2"/>
                        </a:lnTo>
                        <a:lnTo>
                          <a:pt x="124" y="2"/>
                        </a:lnTo>
                        <a:lnTo>
                          <a:pt x="123" y="2"/>
                        </a:lnTo>
                        <a:lnTo>
                          <a:pt x="122" y="1"/>
                        </a:lnTo>
                        <a:lnTo>
                          <a:pt x="121" y="1"/>
                        </a:lnTo>
                        <a:lnTo>
                          <a:pt x="120" y="1"/>
                        </a:lnTo>
                        <a:lnTo>
                          <a:pt x="119" y="1"/>
                        </a:lnTo>
                        <a:lnTo>
                          <a:pt x="118" y="1"/>
                        </a:lnTo>
                        <a:lnTo>
                          <a:pt x="117" y="1"/>
                        </a:lnTo>
                        <a:lnTo>
                          <a:pt x="116" y="1"/>
                        </a:lnTo>
                        <a:lnTo>
                          <a:pt x="115" y="1"/>
                        </a:lnTo>
                        <a:lnTo>
                          <a:pt x="114" y="0"/>
                        </a:lnTo>
                        <a:lnTo>
                          <a:pt x="113" y="0"/>
                        </a:lnTo>
                        <a:lnTo>
                          <a:pt x="112" y="0"/>
                        </a:lnTo>
                        <a:lnTo>
                          <a:pt x="111" y="0"/>
                        </a:lnTo>
                        <a:lnTo>
                          <a:pt x="110" y="0"/>
                        </a:lnTo>
                        <a:lnTo>
                          <a:pt x="109" y="0"/>
                        </a:lnTo>
                        <a:lnTo>
                          <a:pt x="108" y="0"/>
                        </a:lnTo>
                        <a:lnTo>
                          <a:pt x="107" y="0"/>
                        </a:lnTo>
                        <a:lnTo>
                          <a:pt x="106" y="0"/>
                        </a:lnTo>
                        <a:lnTo>
                          <a:pt x="105" y="0"/>
                        </a:lnTo>
                        <a:lnTo>
                          <a:pt x="104" y="0"/>
                        </a:lnTo>
                        <a:lnTo>
                          <a:pt x="103" y="0"/>
                        </a:lnTo>
                        <a:lnTo>
                          <a:pt x="102" y="0"/>
                        </a:lnTo>
                        <a:lnTo>
                          <a:pt x="101" y="0"/>
                        </a:lnTo>
                        <a:lnTo>
                          <a:pt x="100" y="0"/>
                        </a:lnTo>
                        <a:lnTo>
                          <a:pt x="99" y="0"/>
                        </a:lnTo>
                        <a:lnTo>
                          <a:pt x="98" y="0"/>
                        </a:lnTo>
                        <a:lnTo>
                          <a:pt x="97" y="0"/>
                        </a:lnTo>
                        <a:lnTo>
                          <a:pt x="96" y="0"/>
                        </a:lnTo>
                        <a:lnTo>
                          <a:pt x="95" y="0"/>
                        </a:lnTo>
                        <a:lnTo>
                          <a:pt x="94" y="1"/>
                        </a:lnTo>
                        <a:lnTo>
                          <a:pt x="93" y="1"/>
                        </a:lnTo>
                        <a:lnTo>
                          <a:pt x="92" y="1"/>
                        </a:lnTo>
                        <a:lnTo>
                          <a:pt x="91" y="1"/>
                        </a:lnTo>
                        <a:lnTo>
                          <a:pt x="90" y="1"/>
                        </a:lnTo>
                        <a:lnTo>
                          <a:pt x="89" y="1"/>
                        </a:lnTo>
                        <a:lnTo>
                          <a:pt x="88" y="1"/>
                        </a:lnTo>
                        <a:lnTo>
                          <a:pt x="87" y="1"/>
                        </a:lnTo>
                        <a:lnTo>
                          <a:pt x="86" y="2"/>
                        </a:lnTo>
                        <a:lnTo>
                          <a:pt x="85" y="2"/>
                        </a:lnTo>
                        <a:lnTo>
                          <a:pt x="84" y="2"/>
                        </a:lnTo>
                        <a:lnTo>
                          <a:pt x="83" y="2"/>
                        </a:lnTo>
                        <a:lnTo>
                          <a:pt x="82" y="2"/>
                        </a:lnTo>
                        <a:lnTo>
                          <a:pt x="81" y="3"/>
                        </a:lnTo>
                        <a:lnTo>
                          <a:pt x="80" y="3"/>
                        </a:lnTo>
                        <a:lnTo>
                          <a:pt x="79" y="3"/>
                        </a:lnTo>
                        <a:lnTo>
                          <a:pt x="78" y="3"/>
                        </a:lnTo>
                        <a:lnTo>
                          <a:pt x="77" y="4"/>
                        </a:lnTo>
                        <a:lnTo>
                          <a:pt x="76" y="4"/>
                        </a:lnTo>
                        <a:lnTo>
                          <a:pt x="75" y="4"/>
                        </a:lnTo>
                        <a:lnTo>
                          <a:pt x="74" y="5"/>
                        </a:lnTo>
                        <a:lnTo>
                          <a:pt x="73" y="5"/>
                        </a:lnTo>
                        <a:lnTo>
                          <a:pt x="72" y="5"/>
                        </a:lnTo>
                        <a:lnTo>
                          <a:pt x="71" y="5"/>
                        </a:lnTo>
                        <a:lnTo>
                          <a:pt x="70" y="6"/>
                        </a:lnTo>
                        <a:lnTo>
                          <a:pt x="69" y="6"/>
                        </a:lnTo>
                        <a:lnTo>
                          <a:pt x="68" y="7"/>
                        </a:lnTo>
                        <a:lnTo>
                          <a:pt x="67" y="7"/>
                        </a:lnTo>
                        <a:lnTo>
                          <a:pt x="66" y="7"/>
                        </a:lnTo>
                        <a:lnTo>
                          <a:pt x="65" y="8"/>
                        </a:lnTo>
                        <a:lnTo>
                          <a:pt x="64" y="8"/>
                        </a:lnTo>
                        <a:lnTo>
                          <a:pt x="63" y="9"/>
                        </a:lnTo>
                        <a:lnTo>
                          <a:pt x="62" y="9"/>
                        </a:lnTo>
                        <a:lnTo>
                          <a:pt x="61" y="9"/>
                        </a:lnTo>
                        <a:lnTo>
                          <a:pt x="60" y="10"/>
                        </a:lnTo>
                        <a:lnTo>
                          <a:pt x="59" y="10"/>
                        </a:lnTo>
                        <a:lnTo>
                          <a:pt x="58" y="11"/>
                        </a:lnTo>
                        <a:lnTo>
                          <a:pt x="57" y="11"/>
                        </a:lnTo>
                        <a:lnTo>
                          <a:pt x="56" y="12"/>
                        </a:lnTo>
                        <a:lnTo>
                          <a:pt x="55" y="12"/>
                        </a:lnTo>
                        <a:lnTo>
                          <a:pt x="54" y="13"/>
                        </a:lnTo>
                        <a:lnTo>
                          <a:pt x="53" y="14"/>
                        </a:lnTo>
                        <a:lnTo>
                          <a:pt x="52" y="14"/>
                        </a:lnTo>
                        <a:lnTo>
                          <a:pt x="51" y="15"/>
                        </a:lnTo>
                        <a:lnTo>
                          <a:pt x="50" y="15"/>
                        </a:lnTo>
                        <a:lnTo>
                          <a:pt x="49" y="16"/>
                        </a:lnTo>
                        <a:lnTo>
                          <a:pt x="48" y="17"/>
                        </a:lnTo>
                        <a:lnTo>
                          <a:pt x="47" y="17"/>
                        </a:lnTo>
                        <a:lnTo>
                          <a:pt x="46" y="18"/>
                        </a:lnTo>
                        <a:lnTo>
                          <a:pt x="45" y="19"/>
                        </a:lnTo>
                        <a:lnTo>
                          <a:pt x="44" y="19"/>
                        </a:lnTo>
                        <a:lnTo>
                          <a:pt x="43" y="20"/>
                        </a:lnTo>
                        <a:lnTo>
                          <a:pt x="42" y="21"/>
                        </a:lnTo>
                        <a:lnTo>
                          <a:pt x="41" y="21"/>
                        </a:lnTo>
                        <a:lnTo>
                          <a:pt x="40" y="22"/>
                        </a:lnTo>
                        <a:lnTo>
                          <a:pt x="39" y="23"/>
                        </a:lnTo>
                        <a:lnTo>
                          <a:pt x="38" y="24"/>
                        </a:lnTo>
                        <a:lnTo>
                          <a:pt x="37" y="25"/>
                        </a:lnTo>
                        <a:lnTo>
                          <a:pt x="36" y="25"/>
                        </a:lnTo>
                        <a:lnTo>
                          <a:pt x="35" y="26"/>
                        </a:lnTo>
                        <a:lnTo>
                          <a:pt x="34" y="27"/>
                        </a:lnTo>
                        <a:lnTo>
                          <a:pt x="33" y="28"/>
                        </a:lnTo>
                        <a:lnTo>
                          <a:pt x="32" y="29"/>
                        </a:lnTo>
                        <a:lnTo>
                          <a:pt x="31" y="30"/>
                        </a:lnTo>
                        <a:lnTo>
                          <a:pt x="30" y="31"/>
                        </a:lnTo>
                        <a:lnTo>
                          <a:pt x="29" y="32"/>
                        </a:lnTo>
                        <a:lnTo>
                          <a:pt x="28" y="33"/>
                        </a:lnTo>
                        <a:lnTo>
                          <a:pt x="27" y="34"/>
                        </a:lnTo>
                        <a:lnTo>
                          <a:pt x="26" y="35"/>
                        </a:lnTo>
                        <a:lnTo>
                          <a:pt x="25" y="36"/>
                        </a:lnTo>
                        <a:lnTo>
                          <a:pt x="25" y="37"/>
                        </a:lnTo>
                        <a:lnTo>
                          <a:pt x="24" y="38"/>
                        </a:lnTo>
                        <a:lnTo>
                          <a:pt x="23" y="39"/>
                        </a:lnTo>
                        <a:lnTo>
                          <a:pt x="22" y="40"/>
                        </a:lnTo>
                        <a:lnTo>
                          <a:pt x="21" y="41"/>
                        </a:lnTo>
                        <a:lnTo>
                          <a:pt x="21" y="42"/>
                        </a:lnTo>
                        <a:lnTo>
                          <a:pt x="20" y="43"/>
                        </a:lnTo>
                        <a:lnTo>
                          <a:pt x="19" y="44"/>
                        </a:lnTo>
                        <a:lnTo>
                          <a:pt x="18" y="45"/>
                        </a:lnTo>
                        <a:lnTo>
                          <a:pt x="18" y="46"/>
                        </a:lnTo>
                        <a:lnTo>
                          <a:pt x="17" y="47"/>
                        </a:lnTo>
                        <a:lnTo>
                          <a:pt x="16" y="48"/>
                        </a:lnTo>
                        <a:lnTo>
                          <a:pt x="16" y="49"/>
                        </a:lnTo>
                        <a:lnTo>
                          <a:pt x="15" y="50"/>
                        </a:lnTo>
                        <a:lnTo>
                          <a:pt x="15" y="51"/>
                        </a:lnTo>
                        <a:lnTo>
                          <a:pt x="14" y="52"/>
                        </a:lnTo>
                        <a:lnTo>
                          <a:pt x="13" y="53"/>
                        </a:lnTo>
                        <a:lnTo>
                          <a:pt x="13" y="54"/>
                        </a:lnTo>
                        <a:lnTo>
                          <a:pt x="12" y="55"/>
                        </a:lnTo>
                        <a:lnTo>
                          <a:pt x="12" y="56"/>
                        </a:lnTo>
                        <a:lnTo>
                          <a:pt x="11" y="57"/>
                        </a:lnTo>
                        <a:lnTo>
                          <a:pt x="11" y="58"/>
                        </a:lnTo>
                        <a:lnTo>
                          <a:pt x="10" y="59"/>
                        </a:lnTo>
                        <a:lnTo>
                          <a:pt x="10" y="60"/>
                        </a:lnTo>
                        <a:lnTo>
                          <a:pt x="9" y="61"/>
                        </a:lnTo>
                        <a:lnTo>
                          <a:pt x="9" y="62"/>
                        </a:lnTo>
                        <a:lnTo>
                          <a:pt x="8" y="63"/>
                        </a:lnTo>
                        <a:lnTo>
                          <a:pt x="8" y="64"/>
                        </a:lnTo>
                        <a:lnTo>
                          <a:pt x="8" y="65"/>
                        </a:lnTo>
                        <a:lnTo>
                          <a:pt x="7" y="66"/>
                        </a:lnTo>
                        <a:lnTo>
                          <a:pt x="7" y="67"/>
                        </a:lnTo>
                        <a:lnTo>
                          <a:pt x="6" y="68"/>
                        </a:lnTo>
                        <a:lnTo>
                          <a:pt x="6" y="69"/>
                        </a:lnTo>
                        <a:lnTo>
                          <a:pt x="6" y="70"/>
                        </a:lnTo>
                        <a:lnTo>
                          <a:pt x="5" y="71"/>
                        </a:lnTo>
                        <a:lnTo>
                          <a:pt x="5" y="72"/>
                        </a:lnTo>
                        <a:lnTo>
                          <a:pt x="5" y="73"/>
                        </a:lnTo>
                        <a:lnTo>
                          <a:pt x="4" y="74"/>
                        </a:lnTo>
                        <a:lnTo>
                          <a:pt x="4" y="75"/>
                        </a:lnTo>
                        <a:lnTo>
                          <a:pt x="4" y="76"/>
                        </a:lnTo>
                        <a:lnTo>
                          <a:pt x="4" y="77"/>
                        </a:lnTo>
                        <a:lnTo>
                          <a:pt x="3" y="78"/>
                        </a:lnTo>
                        <a:lnTo>
                          <a:pt x="3" y="79"/>
                        </a:lnTo>
                        <a:lnTo>
                          <a:pt x="3" y="80"/>
                        </a:lnTo>
                        <a:lnTo>
                          <a:pt x="3" y="81"/>
                        </a:lnTo>
                        <a:lnTo>
                          <a:pt x="2" y="82"/>
                        </a:lnTo>
                        <a:lnTo>
                          <a:pt x="2" y="83"/>
                        </a:lnTo>
                        <a:lnTo>
                          <a:pt x="2" y="84"/>
                        </a:lnTo>
                        <a:lnTo>
                          <a:pt x="2" y="85"/>
                        </a:lnTo>
                        <a:lnTo>
                          <a:pt x="2" y="86"/>
                        </a:lnTo>
                        <a:lnTo>
                          <a:pt x="1" y="87"/>
                        </a:lnTo>
                        <a:lnTo>
                          <a:pt x="1" y="88"/>
                        </a:lnTo>
                        <a:lnTo>
                          <a:pt x="1" y="89"/>
                        </a:lnTo>
                        <a:lnTo>
                          <a:pt x="1" y="90"/>
                        </a:lnTo>
                        <a:lnTo>
                          <a:pt x="1" y="91"/>
                        </a:lnTo>
                        <a:lnTo>
                          <a:pt x="1" y="92"/>
                        </a:lnTo>
                        <a:lnTo>
                          <a:pt x="1" y="93"/>
                        </a:lnTo>
                        <a:lnTo>
                          <a:pt x="0" y="94"/>
                        </a:lnTo>
                        <a:lnTo>
                          <a:pt x="0" y="95"/>
                        </a:lnTo>
                        <a:lnTo>
                          <a:pt x="0" y="96"/>
                        </a:lnTo>
                        <a:lnTo>
                          <a:pt x="0" y="97"/>
                        </a:lnTo>
                        <a:lnTo>
                          <a:pt x="0" y="98"/>
                        </a:lnTo>
                        <a:lnTo>
                          <a:pt x="0" y="99"/>
                        </a:lnTo>
                        <a:lnTo>
                          <a:pt x="0" y="100"/>
                        </a:lnTo>
                        <a:lnTo>
                          <a:pt x="0" y="101"/>
                        </a:lnTo>
                        <a:lnTo>
                          <a:pt x="0" y="102"/>
                        </a:lnTo>
                        <a:lnTo>
                          <a:pt x="0" y="103"/>
                        </a:lnTo>
                        <a:lnTo>
                          <a:pt x="0" y="104"/>
                        </a:lnTo>
                        <a:lnTo>
                          <a:pt x="0" y="105"/>
                        </a:lnTo>
                        <a:lnTo>
                          <a:pt x="0" y="106"/>
                        </a:lnTo>
                        <a:lnTo>
                          <a:pt x="0" y="107"/>
                        </a:lnTo>
                        <a:lnTo>
                          <a:pt x="0" y="108"/>
                        </a:lnTo>
                        <a:lnTo>
                          <a:pt x="0" y="109"/>
                        </a:lnTo>
                        <a:lnTo>
                          <a:pt x="0" y="110"/>
                        </a:lnTo>
                        <a:lnTo>
                          <a:pt x="0" y="111"/>
                        </a:lnTo>
                        <a:lnTo>
                          <a:pt x="0" y="112"/>
                        </a:lnTo>
                        <a:lnTo>
                          <a:pt x="0" y="113"/>
                        </a:lnTo>
                        <a:lnTo>
                          <a:pt x="0" y="114"/>
                        </a:lnTo>
                        <a:lnTo>
                          <a:pt x="1" y="115"/>
                        </a:lnTo>
                        <a:lnTo>
                          <a:pt x="1" y="116"/>
                        </a:lnTo>
                        <a:lnTo>
                          <a:pt x="1" y="117"/>
                        </a:lnTo>
                        <a:lnTo>
                          <a:pt x="1" y="118"/>
                        </a:lnTo>
                        <a:lnTo>
                          <a:pt x="1" y="119"/>
                        </a:lnTo>
                        <a:lnTo>
                          <a:pt x="1" y="120"/>
                        </a:lnTo>
                        <a:lnTo>
                          <a:pt x="1" y="121"/>
                        </a:lnTo>
                        <a:lnTo>
                          <a:pt x="2" y="122"/>
                        </a:lnTo>
                        <a:lnTo>
                          <a:pt x="2" y="123"/>
                        </a:lnTo>
                        <a:lnTo>
                          <a:pt x="2" y="124"/>
                        </a:lnTo>
                        <a:lnTo>
                          <a:pt x="2" y="125"/>
                        </a:lnTo>
                        <a:lnTo>
                          <a:pt x="2" y="126"/>
                        </a:lnTo>
                        <a:lnTo>
                          <a:pt x="3" y="127"/>
                        </a:lnTo>
                        <a:lnTo>
                          <a:pt x="3" y="128"/>
                        </a:lnTo>
                        <a:lnTo>
                          <a:pt x="3" y="129"/>
                        </a:lnTo>
                        <a:lnTo>
                          <a:pt x="3" y="130"/>
                        </a:lnTo>
                        <a:lnTo>
                          <a:pt x="4" y="131"/>
                        </a:lnTo>
                        <a:lnTo>
                          <a:pt x="4" y="132"/>
                        </a:lnTo>
                        <a:lnTo>
                          <a:pt x="4" y="133"/>
                        </a:lnTo>
                        <a:lnTo>
                          <a:pt x="4" y="134"/>
                        </a:lnTo>
                        <a:lnTo>
                          <a:pt x="5" y="135"/>
                        </a:lnTo>
                        <a:lnTo>
                          <a:pt x="5" y="136"/>
                        </a:lnTo>
                        <a:lnTo>
                          <a:pt x="6" y="136"/>
                        </a:lnTo>
                        <a:lnTo>
                          <a:pt x="6" y="136"/>
                        </a:lnTo>
                        <a:lnTo>
                          <a:pt x="105" y="104"/>
                        </a:lnTo>
                        <a:lnTo>
                          <a:pt x="196" y="54"/>
                        </a:lnTo>
                        <a:close/>
                      </a:path>
                    </a:pathLst>
                  </a:custGeom>
                  <a:solidFill>
                    <a:srgbClr val="004C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103" name="Freeform 102"/>
                  <p:cNvSpPr>
                    <a:spLocks/>
                  </p:cNvSpPr>
                  <p:nvPr/>
                </p:nvSpPr>
                <p:spPr bwMode="auto">
                  <a:xfrm>
                    <a:off x="2025" y="3245"/>
                    <a:ext cx="217" cy="165"/>
                  </a:xfrm>
                  <a:custGeom>
                    <a:avLst/>
                    <a:gdLst>
                      <a:gd name="T0" fmla="*/ 0 w 137"/>
                      <a:gd name="T1" fmla="*/ 34 h 104"/>
                      <a:gd name="T2" fmla="*/ 1 w 137"/>
                      <a:gd name="T3" fmla="*/ 37 h 104"/>
                      <a:gd name="T4" fmla="*/ 2 w 137"/>
                      <a:gd name="T5" fmla="*/ 40 h 104"/>
                      <a:gd name="T6" fmla="*/ 3 w 137"/>
                      <a:gd name="T7" fmla="*/ 43 h 104"/>
                      <a:gd name="T8" fmla="*/ 5 w 137"/>
                      <a:gd name="T9" fmla="*/ 46 h 104"/>
                      <a:gd name="T10" fmla="*/ 6 w 137"/>
                      <a:gd name="T11" fmla="*/ 49 h 104"/>
                      <a:gd name="T12" fmla="*/ 8 w 137"/>
                      <a:gd name="T13" fmla="*/ 52 h 104"/>
                      <a:gd name="T14" fmla="*/ 10 w 137"/>
                      <a:gd name="T15" fmla="*/ 55 h 104"/>
                      <a:gd name="T16" fmla="*/ 12 w 137"/>
                      <a:gd name="T17" fmla="*/ 58 h 104"/>
                      <a:gd name="T18" fmla="*/ 14 w 137"/>
                      <a:gd name="T19" fmla="*/ 61 h 104"/>
                      <a:gd name="T20" fmla="*/ 16 w 137"/>
                      <a:gd name="T21" fmla="*/ 64 h 104"/>
                      <a:gd name="T22" fmla="*/ 19 w 137"/>
                      <a:gd name="T23" fmla="*/ 67 h 104"/>
                      <a:gd name="T24" fmla="*/ 21 w 137"/>
                      <a:gd name="T25" fmla="*/ 70 h 104"/>
                      <a:gd name="T26" fmla="*/ 24 w 137"/>
                      <a:gd name="T27" fmla="*/ 73 h 104"/>
                      <a:gd name="T28" fmla="*/ 27 w 137"/>
                      <a:gd name="T29" fmla="*/ 76 h 104"/>
                      <a:gd name="T30" fmla="*/ 30 w 137"/>
                      <a:gd name="T31" fmla="*/ 79 h 104"/>
                      <a:gd name="T32" fmla="*/ 33 w 137"/>
                      <a:gd name="T33" fmla="*/ 81 h 104"/>
                      <a:gd name="T34" fmla="*/ 36 w 137"/>
                      <a:gd name="T35" fmla="*/ 83 h 104"/>
                      <a:gd name="T36" fmla="*/ 39 w 137"/>
                      <a:gd name="T37" fmla="*/ 85 h 104"/>
                      <a:gd name="T38" fmla="*/ 42 w 137"/>
                      <a:gd name="T39" fmla="*/ 87 h 104"/>
                      <a:gd name="T40" fmla="*/ 45 w 137"/>
                      <a:gd name="T41" fmla="*/ 89 h 104"/>
                      <a:gd name="T42" fmla="*/ 48 w 137"/>
                      <a:gd name="T43" fmla="*/ 91 h 104"/>
                      <a:gd name="T44" fmla="*/ 51 w 137"/>
                      <a:gd name="T45" fmla="*/ 93 h 104"/>
                      <a:gd name="T46" fmla="*/ 54 w 137"/>
                      <a:gd name="T47" fmla="*/ 94 h 104"/>
                      <a:gd name="T48" fmla="*/ 57 w 137"/>
                      <a:gd name="T49" fmla="*/ 95 h 104"/>
                      <a:gd name="T50" fmla="*/ 60 w 137"/>
                      <a:gd name="T51" fmla="*/ 97 h 104"/>
                      <a:gd name="T52" fmla="*/ 63 w 137"/>
                      <a:gd name="T53" fmla="*/ 98 h 104"/>
                      <a:gd name="T54" fmla="*/ 66 w 137"/>
                      <a:gd name="T55" fmla="*/ 99 h 104"/>
                      <a:gd name="T56" fmla="*/ 69 w 137"/>
                      <a:gd name="T57" fmla="*/ 100 h 104"/>
                      <a:gd name="T58" fmla="*/ 72 w 137"/>
                      <a:gd name="T59" fmla="*/ 101 h 104"/>
                      <a:gd name="T60" fmla="*/ 75 w 137"/>
                      <a:gd name="T61" fmla="*/ 101 h 104"/>
                      <a:gd name="T62" fmla="*/ 78 w 137"/>
                      <a:gd name="T63" fmla="*/ 102 h 104"/>
                      <a:gd name="T64" fmla="*/ 81 w 137"/>
                      <a:gd name="T65" fmla="*/ 103 h 104"/>
                      <a:gd name="T66" fmla="*/ 84 w 137"/>
                      <a:gd name="T67" fmla="*/ 103 h 104"/>
                      <a:gd name="T68" fmla="*/ 87 w 137"/>
                      <a:gd name="T69" fmla="*/ 103 h 104"/>
                      <a:gd name="T70" fmla="*/ 90 w 137"/>
                      <a:gd name="T71" fmla="*/ 104 h 104"/>
                      <a:gd name="T72" fmla="*/ 93 w 137"/>
                      <a:gd name="T73" fmla="*/ 104 h 104"/>
                      <a:gd name="T74" fmla="*/ 96 w 137"/>
                      <a:gd name="T75" fmla="*/ 104 h 104"/>
                      <a:gd name="T76" fmla="*/ 99 w 137"/>
                      <a:gd name="T77" fmla="*/ 104 h 104"/>
                      <a:gd name="T78" fmla="*/ 102 w 137"/>
                      <a:gd name="T79" fmla="*/ 104 h 104"/>
                      <a:gd name="T80" fmla="*/ 105 w 137"/>
                      <a:gd name="T81" fmla="*/ 104 h 104"/>
                      <a:gd name="T82" fmla="*/ 108 w 137"/>
                      <a:gd name="T83" fmla="*/ 104 h 104"/>
                      <a:gd name="T84" fmla="*/ 111 w 137"/>
                      <a:gd name="T85" fmla="*/ 103 h 104"/>
                      <a:gd name="T86" fmla="*/ 114 w 137"/>
                      <a:gd name="T87" fmla="*/ 103 h 104"/>
                      <a:gd name="T88" fmla="*/ 117 w 137"/>
                      <a:gd name="T89" fmla="*/ 102 h 104"/>
                      <a:gd name="T90" fmla="*/ 120 w 137"/>
                      <a:gd name="T91" fmla="*/ 102 h 104"/>
                      <a:gd name="T92" fmla="*/ 123 w 137"/>
                      <a:gd name="T93" fmla="*/ 101 h 104"/>
                      <a:gd name="T94" fmla="*/ 126 w 137"/>
                      <a:gd name="T95" fmla="*/ 100 h 104"/>
                      <a:gd name="T96" fmla="*/ 129 w 137"/>
                      <a:gd name="T97" fmla="*/ 99 h 104"/>
                      <a:gd name="T98" fmla="*/ 132 w 137"/>
                      <a:gd name="T99" fmla="*/ 99 h 104"/>
                      <a:gd name="T100" fmla="*/ 135 w 137"/>
                      <a:gd name="T101" fmla="*/ 97 h 104"/>
                      <a:gd name="T102" fmla="*/ 137 w 137"/>
                      <a:gd name="T103" fmla="*/ 9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7" h="104">
                        <a:moveTo>
                          <a:pt x="0" y="32"/>
                        </a:moveTo>
                        <a:lnTo>
                          <a:pt x="0" y="33"/>
                        </a:lnTo>
                        <a:lnTo>
                          <a:pt x="0" y="34"/>
                        </a:lnTo>
                        <a:lnTo>
                          <a:pt x="0" y="35"/>
                        </a:lnTo>
                        <a:lnTo>
                          <a:pt x="0" y="36"/>
                        </a:lnTo>
                        <a:lnTo>
                          <a:pt x="1" y="37"/>
                        </a:lnTo>
                        <a:lnTo>
                          <a:pt x="1" y="38"/>
                        </a:lnTo>
                        <a:lnTo>
                          <a:pt x="2" y="39"/>
                        </a:lnTo>
                        <a:lnTo>
                          <a:pt x="2" y="40"/>
                        </a:lnTo>
                        <a:lnTo>
                          <a:pt x="2" y="41"/>
                        </a:lnTo>
                        <a:lnTo>
                          <a:pt x="3" y="42"/>
                        </a:lnTo>
                        <a:lnTo>
                          <a:pt x="3" y="43"/>
                        </a:lnTo>
                        <a:lnTo>
                          <a:pt x="4" y="44"/>
                        </a:lnTo>
                        <a:lnTo>
                          <a:pt x="4" y="45"/>
                        </a:lnTo>
                        <a:lnTo>
                          <a:pt x="5" y="46"/>
                        </a:lnTo>
                        <a:lnTo>
                          <a:pt x="5" y="47"/>
                        </a:lnTo>
                        <a:lnTo>
                          <a:pt x="6" y="48"/>
                        </a:lnTo>
                        <a:lnTo>
                          <a:pt x="6" y="49"/>
                        </a:lnTo>
                        <a:lnTo>
                          <a:pt x="7" y="50"/>
                        </a:lnTo>
                        <a:lnTo>
                          <a:pt x="7" y="51"/>
                        </a:lnTo>
                        <a:lnTo>
                          <a:pt x="8" y="52"/>
                        </a:lnTo>
                        <a:lnTo>
                          <a:pt x="9" y="53"/>
                        </a:lnTo>
                        <a:lnTo>
                          <a:pt x="9" y="54"/>
                        </a:lnTo>
                        <a:lnTo>
                          <a:pt x="10" y="55"/>
                        </a:lnTo>
                        <a:lnTo>
                          <a:pt x="10" y="56"/>
                        </a:lnTo>
                        <a:lnTo>
                          <a:pt x="11" y="57"/>
                        </a:lnTo>
                        <a:lnTo>
                          <a:pt x="12" y="58"/>
                        </a:lnTo>
                        <a:lnTo>
                          <a:pt x="12" y="59"/>
                        </a:lnTo>
                        <a:lnTo>
                          <a:pt x="13" y="60"/>
                        </a:lnTo>
                        <a:lnTo>
                          <a:pt x="14" y="61"/>
                        </a:lnTo>
                        <a:lnTo>
                          <a:pt x="15" y="62"/>
                        </a:lnTo>
                        <a:lnTo>
                          <a:pt x="15" y="63"/>
                        </a:lnTo>
                        <a:lnTo>
                          <a:pt x="16" y="64"/>
                        </a:lnTo>
                        <a:lnTo>
                          <a:pt x="17" y="65"/>
                        </a:lnTo>
                        <a:lnTo>
                          <a:pt x="18" y="66"/>
                        </a:lnTo>
                        <a:lnTo>
                          <a:pt x="19" y="67"/>
                        </a:lnTo>
                        <a:lnTo>
                          <a:pt x="19" y="68"/>
                        </a:lnTo>
                        <a:lnTo>
                          <a:pt x="20" y="69"/>
                        </a:lnTo>
                        <a:lnTo>
                          <a:pt x="21" y="70"/>
                        </a:lnTo>
                        <a:lnTo>
                          <a:pt x="22" y="71"/>
                        </a:lnTo>
                        <a:lnTo>
                          <a:pt x="23" y="72"/>
                        </a:lnTo>
                        <a:lnTo>
                          <a:pt x="24" y="73"/>
                        </a:lnTo>
                        <a:lnTo>
                          <a:pt x="25" y="74"/>
                        </a:lnTo>
                        <a:lnTo>
                          <a:pt x="26" y="75"/>
                        </a:lnTo>
                        <a:lnTo>
                          <a:pt x="27" y="76"/>
                        </a:lnTo>
                        <a:lnTo>
                          <a:pt x="28" y="77"/>
                        </a:lnTo>
                        <a:lnTo>
                          <a:pt x="29" y="78"/>
                        </a:lnTo>
                        <a:lnTo>
                          <a:pt x="30" y="79"/>
                        </a:lnTo>
                        <a:lnTo>
                          <a:pt x="31" y="79"/>
                        </a:lnTo>
                        <a:lnTo>
                          <a:pt x="32" y="80"/>
                        </a:lnTo>
                        <a:lnTo>
                          <a:pt x="33" y="81"/>
                        </a:lnTo>
                        <a:lnTo>
                          <a:pt x="34" y="82"/>
                        </a:lnTo>
                        <a:lnTo>
                          <a:pt x="35" y="83"/>
                        </a:lnTo>
                        <a:lnTo>
                          <a:pt x="36" y="83"/>
                        </a:lnTo>
                        <a:lnTo>
                          <a:pt x="37" y="84"/>
                        </a:lnTo>
                        <a:lnTo>
                          <a:pt x="38" y="85"/>
                        </a:lnTo>
                        <a:lnTo>
                          <a:pt x="39" y="85"/>
                        </a:lnTo>
                        <a:lnTo>
                          <a:pt x="40" y="86"/>
                        </a:lnTo>
                        <a:lnTo>
                          <a:pt x="41" y="87"/>
                        </a:lnTo>
                        <a:lnTo>
                          <a:pt x="42" y="87"/>
                        </a:lnTo>
                        <a:lnTo>
                          <a:pt x="43" y="88"/>
                        </a:lnTo>
                        <a:lnTo>
                          <a:pt x="44" y="89"/>
                        </a:lnTo>
                        <a:lnTo>
                          <a:pt x="45" y="89"/>
                        </a:lnTo>
                        <a:lnTo>
                          <a:pt x="46" y="90"/>
                        </a:lnTo>
                        <a:lnTo>
                          <a:pt x="47" y="90"/>
                        </a:lnTo>
                        <a:lnTo>
                          <a:pt x="48" y="91"/>
                        </a:lnTo>
                        <a:lnTo>
                          <a:pt x="49" y="92"/>
                        </a:lnTo>
                        <a:lnTo>
                          <a:pt x="50" y="92"/>
                        </a:lnTo>
                        <a:lnTo>
                          <a:pt x="51" y="93"/>
                        </a:lnTo>
                        <a:lnTo>
                          <a:pt x="52" y="93"/>
                        </a:lnTo>
                        <a:lnTo>
                          <a:pt x="53" y="94"/>
                        </a:lnTo>
                        <a:lnTo>
                          <a:pt x="54" y="94"/>
                        </a:lnTo>
                        <a:lnTo>
                          <a:pt x="55" y="95"/>
                        </a:lnTo>
                        <a:lnTo>
                          <a:pt x="56" y="95"/>
                        </a:lnTo>
                        <a:lnTo>
                          <a:pt x="57" y="95"/>
                        </a:lnTo>
                        <a:lnTo>
                          <a:pt x="58" y="96"/>
                        </a:lnTo>
                        <a:lnTo>
                          <a:pt x="59" y="96"/>
                        </a:lnTo>
                        <a:lnTo>
                          <a:pt x="60" y="97"/>
                        </a:lnTo>
                        <a:lnTo>
                          <a:pt x="61" y="97"/>
                        </a:lnTo>
                        <a:lnTo>
                          <a:pt x="62" y="97"/>
                        </a:lnTo>
                        <a:lnTo>
                          <a:pt x="63" y="98"/>
                        </a:lnTo>
                        <a:lnTo>
                          <a:pt x="64" y="98"/>
                        </a:lnTo>
                        <a:lnTo>
                          <a:pt x="65" y="99"/>
                        </a:lnTo>
                        <a:lnTo>
                          <a:pt x="66" y="99"/>
                        </a:lnTo>
                        <a:lnTo>
                          <a:pt x="67" y="99"/>
                        </a:lnTo>
                        <a:lnTo>
                          <a:pt x="68" y="99"/>
                        </a:lnTo>
                        <a:lnTo>
                          <a:pt x="69" y="100"/>
                        </a:lnTo>
                        <a:lnTo>
                          <a:pt x="70" y="100"/>
                        </a:lnTo>
                        <a:lnTo>
                          <a:pt x="71" y="100"/>
                        </a:lnTo>
                        <a:lnTo>
                          <a:pt x="72" y="101"/>
                        </a:lnTo>
                        <a:lnTo>
                          <a:pt x="73" y="101"/>
                        </a:lnTo>
                        <a:lnTo>
                          <a:pt x="74" y="101"/>
                        </a:lnTo>
                        <a:lnTo>
                          <a:pt x="75" y="101"/>
                        </a:lnTo>
                        <a:lnTo>
                          <a:pt x="76" y="102"/>
                        </a:lnTo>
                        <a:lnTo>
                          <a:pt x="77" y="102"/>
                        </a:lnTo>
                        <a:lnTo>
                          <a:pt x="78" y="102"/>
                        </a:lnTo>
                        <a:lnTo>
                          <a:pt x="79" y="102"/>
                        </a:lnTo>
                        <a:lnTo>
                          <a:pt x="80" y="102"/>
                        </a:lnTo>
                        <a:lnTo>
                          <a:pt x="81" y="103"/>
                        </a:lnTo>
                        <a:lnTo>
                          <a:pt x="82" y="103"/>
                        </a:lnTo>
                        <a:lnTo>
                          <a:pt x="83" y="103"/>
                        </a:lnTo>
                        <a:lnTo>
                          <a:pt x="84" y="103"/>
                        </a:lnTo>
                        <a:lnTo>
                          <a:pt x="85" y="103"/>
                        </a:lnTo>
                        <a:lnTo>
                          <a:pt x="86" y="103"/>
                        </a:lnTo>
                        <a:lnTo>
                          <a:pt x="87" y="103"/>
                        </a:lnTo>
                        <a:lnTo>
                          <a:pt x="88" y="103"/>
                        </a:lnTo>
                        <a:lnTo>
                          <a:pt x="89" y="104"/>
                        </a:lnTo>
                        <a:lnTo>
                          <a:pt x="90" y="104"/>
                        </a:lnTo>
                        <a:lnTo>
                          <a:pt x="91" y="104"/>
                        </a:lnTo>
                        <a:lnTo>
                          <a:pt x="92" y="104"/>
                        </a:lnTo>
                        <a:lnTo>
                          <a:pt x="93" y="104"/>
                        </a:lnTo>
                        <a:lnTo>
                          <a:pt x="94" y="104"/>
                        </a:lnTo>
                        <a:lnTo>
                          <a:pt x="95" y="104"/>
                        </a:lnTo>
                        <a:lnTo>
                          <a:pt x="96" y="104"/>
                        </a:lnTo>
                        <a:lnTo>
                          <a:pt x="97" y="104"/>
                        </a:lnTo>
                        <a:lnTo>
                          <a:pt x="98" y="104"/>
                        </a:lnTo>
                        <a:lnTo>
                          <a:pt x="99" y="104"/>
                        </a:lnTo>
                        <a:lnTo>
                          <a:pt x="100" y="104"/>
                        </a:lnTo>
                        <a:lnTo>
                          <a:pt x="101" y="104"/>
                        </a:lnTo>
                        <a:lnTo>
                          <a:pt x="102" y="104"/>
                        </a:lnTo>
                        <a:lnTo>
                          <a:pt x="103" y="104"/>
                        </a:lnTo>
                        <a:lnTo>
                          <a:pt x="104" y="104"/>
                        </a:lnTo>
                        <a:lnTo>
                          <a:pt x="105" y="104"/>
                        </a:lnTo>
                        <a:lnTo>
                          <a:pt x="106" y="104"/>
                        </a:lnTo>
                        <a:lnTo>
                          <a:pt x="107" y="104"/>
                        </a:lnTo>
                        <a:lnTo>
                          <a:pt x="108" y="104"/>
                        </a:lnTo>
                        <a:lnTo>
                          <a:pt x="109" y="103"/>
                        </a:lnTo>
                        <a:lnTo>
                          <a:pt x="110" y="103"/>
                        </a:lnTo>
                        <a:lnTo>
                          <a:pt x="111" y="103"/>
                        </a:lnTo>
                        <a:lnTo>
                          <a:pt x="112" y="103"/>
                        </a:lnTo>
                        <a:lnTo>
                          <a:pt x="113" y="103"/>
                        </a:lnTo>
                        <a:lnTo>
                          <a:pt x="114" y="103"/>
                        </a:lnTo>
                        <a:lnTo>
                          <a:pt x="115" y="103"/>
                        </a:lnTo>
                        <a:lnTo>
                          <a:pt x="116" y="103"/>
                        </a:lnTo>
                        <a:lnTo>
                          <a:pt x="117" y="102"/>
                        </a:lnTo>
                        <a:lnTo>
                          <a:pt x="118" y="102"/>
                        </a:lnTo>
                        <a:lnTo>
                          <a:pt x="119" y="102"/>
                        </a:lnTo>
                        <a:lnTo>
                          <a:pt x="120" y="102"/>
                        </a:lnTo>
                        <a:lnTo>
                          <a:pt x="121" y="102"/>
                        </a:lnTo>
                        <a:lnTo>
                          <a:pt x="122" y="101"/>
                        </a:lnTo>
                        <a:lnTo>
                          <a:pt x="123" y="101"/>
                        </a:lnTo>
                        <a:lnTo>
                          <a:pt x="124" y="101"/>
                        </a:lnTo>
                        <a:lnTo>
                          <a:pt x="125" y="101"/>
                        </a:lnTo>
                        <a:lnTo>
                          <a:pt x="126" y="100"/>
                        </a:lnTo>
                        <a:lnTo>
                          <a:pt x="127" y="100"/>
                        </a:lnTo>
                        <a:lnTo>
                          <a:pt x="128" y="100"/>
                        </a:lnTo>
                        <a:lnTo>
                          <a:pt x="129" y="99"/>
                        </a:lnTo>
                        <a:lnTo>
                          <a:pt x="130" y="99"/>
                        </a:lnTo>
                        <a:lnTo>
                          <a:pt x="131" y="99"/>
                        </a:lnTo>
                        <a:lnTo>
                          <a:pt x="132" y="99"/>
                        </a:lnTo>
                        <a:lnTo>
                          <a:pt x="133" y="98"/>
                        </a:lnTo>
                        <a:lnTo>
                          <a:pt x="134" y="98"/>
                        </a:lnTo>
                        <a:lnTo>
                          <a:pt x="135" y="97"/>
                        </a:lnTo>
                        <a:lnTo>
                          <a:pt x="136" y="97"/>
                        </a:lnTo>
                        <a:lnTo>
                          <a:pt x="137" y="97"/>
                        </a:lnTo>
                        <a:lnTo>
                          <a:pt x="137" y="97"/>
                        </a:lnTo>
                        <a:lnTo>
                          <a:pt x="99" y="0"/>
                        </a:lnTo>
                        <a:lnTo>
                          <a:pt x="0" y="32"/>
                        </a:ln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104" name="Freeform 103"/>
                  <p:cNvSpPr>
                    <a:spLocks/>
                  </p:cNvSpPr>
                  <p:nvPr/>
                </p:nvSpPr>
                <p:spPr bwMode="auto">
                  <a:xfrm>
                    <a:off x="2182" y="3245"/>
                    <a:ext cx="164" cy="154"/>
                  </a:xfrm>
                  <a:custGeom>
                    <a:avLst/>
                    <a:gdLst>
                      <a:gd name="T0" fmla="*/ 39 w 104"/>
                      <a:gd name="T1" fmla="*/ 96 h 97"/>
                      <a:gd name="T2" fmla="*/ 41 w 104"/>
                      <a:gd name="T3" fmla="*/ 95 h 97"/>
                      <a:gd name="T4" fmla="*/ 43 w 104"/>
                      <a:gd name="T5" fmla="*/ 95 h 97"/>
                      <a:gd name="T6" fmla="*/ 45 w 104"/>
                      <a:gd name="T7" fmla="*/ 94 h 97"/>
                      <a:gd name="T8" fmla="*/ 47 w 104"/>
                      <a:gd name="T9" fmla="*/ 93 h 97"/>
                      <a:gd name="T10" fmla="*/ 49 w 104"/>
                      <a:gd name="T11" fmla="*/ 92 h 97"/>
                      <a:gd name="T12" fmla="*/ 51 w 104"/>
                      <a:gd name="T13" fmla="*/ 90 h 97"/>
                      <a:gd name="T14" fmla="*/ 53 w 104"/>
                      <a:gd name="T15" fmla="*/ 89 h 97"/>
                      <a:gd name="T16" fmla="*/ 55 w 104"/>
                      <a:gd name="T17" fmla="*/ 88 h 97"/>
                      <a:gd name="T18" fmla="*/ 57 w 104"/>
                      <a:gd name="T19" fmla="*/ 87 h 97"/>
                      <a:gd name="T20" fmla="*/ 59 w 104"/>
                      <a:gd name="T21" fmla="*/ 85 h 97"/>
                      <a:gd name="T22" fmla="*/ 61 w 104"/>
                      <a:gd name="T23" fmla="*/ 84 h 97"/>
                      <a:gd name="T24" fmla="*/ 63 w 104"/>
                      <a:gd name="T25" fmla="*/ 83 h 97"/>
                      <a:gd name="T26" fmla="*/ 65 w 104"/>
                      <a:gd name="T27" fmla="*/ 81 h 97"/>
                      <a:gd name="T28" fmla="*/ 67 w 104"/>
                      <a:gd name="T29" fmla="*/ 79 h 97"/>
                      <a:gd name="T30" fmla="*/ 69 w 104"/>
                      <a:gd name="T31" fmla="*/ 78 h 97"/>
                      <a:gd name="T32" fmla="*/ 71 w 104"/>
                      <a:gd name="T33" fmla="*/ 76 h 97"/>
                      <a:gd name="T34" fmla="*/ 73 w 104"/>
                      <a:gd name="T35" fmla="*/ 74 h 97"/>
                      <a:gd name="T36" fmla="*/ 75 w 104"/>
                      <a:gd name="T37" fmla="*/ 72 h 97"/>
                      <a:gd name="T38" fmla="*/ 77 w 104"/>
                      <a:gd name="T39" fmla="*/ 70 h 97"/>
                      <a:gd name="T40" fmla="*/ 79 w 104"/>
                      <a:gd name="T41" fmla="*/ 68 h 97"/>
                      <a:gd name="T42" fmla="*/ 80 w 104"/>
                      <a:gd name="T43" fmla="*/ 66 h 97"/>
                      <a:gd name="T44" fmla="*/ 82 w 104"/>
                      <a:gd name="T45" fmla="*/ 64 h 97"/>
                      <a:gd name="T46" fmla="*/ 83 w 104"/>
                      <a:gd name="T47" fmla="*/ 62 h 97"/>
                      <a:gd name="T48" fmla="*/ 85 w 104"/>
                      <a:gd name="T49" fmla="*/ 60 h 97"/>
                      <a:gd name="T50" fmla="*/ 86 w 104"/>
                      <a:gd name="T51" fmla="*/ 58 h 97"/>
                      <a:gd name="T52" fmla="*/ 88 w 104"/>
                      <a:gd name="T53" fmla="*/ 56 h 97"/>
                      <a:gd name="T54" fmla="*/ 89 w 104"/>
                      <a:gd name="T55" fmla="*/ 54 h 97"/>
                      <a:gd name="T56" fmla="*/ 90 w 104"/>
                      <a:gd name="T57" fmla="*/ 52 h 97"/>
                      <a:gd name="T58" fmla="*/ 91 w 104"/>
                      <a:gd name="T59" fmla="*/ 50 h 97"/>
                      <a:gd name="T60" fmla="*/ 92 w 104"/>
                      <a:gd name="T61" fmla="*/ 48 h 97"/>
                      <a:gd name="T62" fmla="*/ 93 w 104"/>
                      <a:gd name="T63" fmla="*/ 46 h 97"/>
                      <a:gd name="T64" fmla="*/ 94 w 104"/>
                      <a:gd name="T65" fmla="*/ 44 h 97"/>
                      <a:gd name="T66" fmla="*/ 95 w 104"/>
                      <a:gd name="T67" fmla="*/ 42 h 97"/>
                      <a:gd name="T68" fmla="*/ 96 w 104"/>
                      <a:gd name="T69" fmla="*/ 40 h 97"/>
                      <a:gd name="T70" fmla="*/ 97 w 104"/>
                      <a:gd name="T71" fmla="*/ 38 h 97"/>
                      <a:gd name="T72" fmla="*/ 98 w 104"/>
                      <a:gd name="T73" fmla="*/ 36 h 97"/>
                      <a:gd name="T74" fmla="*/ 98 w 104"/>
                      <a:gd name="T75" fmla="*/ 34 h 97"/>
                      <a:gd name="T76" fmla="*/ 99 w 104"/>
                      <a:gd name="T77" fmla="*/ 32 h 97"/>
                      <a:gd name="T78" fmla="*/ 100 w 104"/>
                      <a:gd name="T79" fmla="*/ 30 h 97"/>
                      <a:gd name="T80" fmla="*/ 100 w 104"/>
                      <a:gd name="T81" fmla="*/ 28 h 97"/>
                      <a:gd name="T82" fmla="*/ 101 w 104"/>
                      <a:gd name="T83" fmla="*/ 26 h 97"/>
                      <a:gd name="T84" fmla="*/ 101 w 104"/>
                      <a:gd name="T85" fmla="*/ 24 h 97"/>
                      <a:gd name="T86" fmla="*/ 102 w 104"/>
                      <a:gd name="T87" fmla="*/ 22 h 97"/>
                      <a:gd name="T88" fmla="*/ 102 w 104"/>
                      <a:gd name="T89" fmla="*/ 20 h 97"/>
                      <a:gd name="T90" fmla="*/ 102 w 104"/>
                      <a:gd name="T91" fmla="*/ 18 h 97"/>
                      <a:gd name="T92" fmla="*/ 103 w 104"/>
                      <a:gd name="T93" fmla="*/ 16 h 97"/>
                      <a:gd name="T94" fmla="*/ 103 w 104"/>
                      <a:gd name="T95" fmla="*/ 14 h 97"/>
                      <a:gd name="T96" fmla="*/ 103 w 104"/>
                      <a:gd name="T97" fmla="*/ 12 h 97"/>
                      <a:gd name="T98" fmla="*/ 104 w 104"/>
                      <a:gd name="T99" fmla="*/ 10 h 97"/>
                      <a:gd name="T100" fmla="*/ 104 w 104"/>
                      <a:gd name="T101" fmla="*/ 8 h 97"/>
                      <a:gd name="T102" fmla="*/ 104 w 104"/>
                      <a:gd name="T103" fmla="*/ 6 h 97"/>
                      <a:gd name="T104" fmla="*/ 104 w 104"/>
                      <a:gd name="T105" fmla="*/ 4 h 97"/>
                      <a:gd name="T106" fmla="*/ 104 w 104"/>
                      <a:gd name="T107" fmla="*/ 2 h 97"/>
                      <a:gd name="T108" fmla="*/ 104 w 104"/>
                      <a:gd name="T109" fmla="*/ 0 h 97"/>
                      <a:gd name="T110" fmla="*/ 0 w 104"/>
                      <a:gd name="T111"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4" h="97">
                        <a:moveTo>
                          <a:pt x="38" y="97"/>
                        </a:moveTo>
                        <a:lnTo>
                          <a:pt x="39" y="96"/>
                        </a:lnTo>
                        <a:lnTo>
                          <a:pt x="40" y="96"/>
                        </a:lnTo>
                        <a:lnTo>
                          <a:pt x="41" y="95"/>
                        </a:lnTo>
                        <a:lnTo>
                          <a:pt x="42" y="95"/>
                        </a:lnTo>
                        <a:lnTo>
                          <a:pt x="43" y="95"/>
                        </a:lnTo>
                        <a:lnTo>
                          <a:pt x="44" y="94"/>
                        </a:lnTo>
                        <a:lnTo>
                          <a:pt x="45" y="94"/>
                        </a:lnTo>
                        <a:lnTo>
                          <a:pt x="46" y="93"/>
                        </a:lnTo>
                        <a:lnTo>
                          <a:pt x="47" y="93"/>
                        </a:lnTo>
                        <a:lnTo>
                          <a:pt x="48" y="92"/>
                        </a:lnTo>
                        <a:lnTo>
                          <a:pt x="49" y="92"/>
                        </a:lnTo>
                        <a:lnTo>
                          <a:pt x="50" y="91"/>
                        </a:lnTo>
                        <a:lnTo>
                          <a:pt x="51" y="90"/>
                        </a:lnTo>
                        <a:lnTo>
                          <a:pt x="52" y="90"/>
                        </a:lnTo>
                        <a:lnTo>
                          <a:pt x="53" y="89"/>
                        </a:lnTo>
                        <a:lnTo>
                          <a:pt x="54" y="89"/>
                        </a:lnTo>
                        <a:lnTo>
                          <a:pt x="55" y="88"/>
                        </a:lnTo>
                        <a:lnTo>
                          <a:pt x="56" y="87"/>
                        </a:lnTo>
                        <a:lnTo>
                          <a:pt x="57" y="87"/>
                        </a:lnTo>
                        <a:lnTo>
                          <a:pt x="58" y="86"/>
                        </a:lnTo>
                        <a:lnTo>
                          <a:pt x="59" y="85"/>
                        </a:lnTo>
                        <a:lnTo>
                          <a:pt x="60" y="85"/>
                        </a:lnTo>
                        <a:lnTo>
                          <a:pt x="61" y="84"/>
                        </a:lnTo>
                        <a:lnTo>
                          <a:pt x="62" y="83"/>
                        </a:lnTo>
                        <a:lnTo>
                          <a:pt x="63" y="83"/>
                        </a:lnTo>
                        <a:lnTo>
                          <a:pt x="64" y="82"/>
                        </a:lnTo>
                        <a:lnTo>
                          <a:pt x="65" y="81"/>
                        </a:lnTo>
                        <a:lnTo>
                          <a:pt x="66" y="80"/>
                        </a:lnTo>
                        <a:lnTo>
                          <a:pt x="67" y="79"/>
                        </a:lnTo>
                        <a:lnTo>
                          <a:pt x="68" y="79"/>
                        </a:lnTo>
                        <a:lnTo>
                          <a:pt x="69" y="78"/>
                        </a:lnTo>
                        <a:lnTo>
                          <a:pt x="70" y="77"/>
                        </a:lnTo>
                        <a:lnTo>
                          <a:pt x="71" y="76"/>
                        </a:lnTo>
                        <a:lnTo>
                          <a:pt x="72" y="75"/>
                        </a:lnTo>
                        <a:lnTo>
                          <a:pt x="73" y="74"/>
                        </a:lnTo>
                        <a:lnTo>
                          <a:pt x="74" y="73"/>
                        </a:lnTo>
                        <a:lnTo>
                          <a:pt x="75" y="72"/>
                        </a:lnTo>
                        <a:lnTo>
                          <a:pt x="76" y="71"/>
                        </a:lnTo>
                        <a:lnTo>
                          <a:pt x="77" y="70"/>
                        </a:lnTo>
                        <a:lnTo>
                          <a:pt x="78" y="69"/>
                        </a:lnTo>
                        <a:lnTo>
                          <a:pt x="79" y="68"/>
                        </a:lnTo>
                        <a:lnTo>
                          <a:pt x="79" y="67"/>
                        </a:lnTo>
                        <a:lnTo>
                          <a:pt x="80" y="66"/>
                        </a:lnTo>
                        <a:lnTo>
                          <a:pt x="81" y="65"/>
                        </a:lnTo>
                        <a:lnTo>
                          <a:pt x="82" y="64"/>
                        </a:lnTo>
                        <a:lnTo>
                          <a:pt x="83" y="63"/>
                        </a:lnTo>
                        <a:lnTo>
                          <a:pt x="83" y="62"/>
                        </a:lnTo>
                        <a:lnTo>
                          <a:pt x="84" y="61"/>
                        </a:lnTo>
                        <a:lnTo>
                          <a:pt x="85" y="60"/>
                        </a:lnTo>
                        <a:lnTo>
                          <a:pt x="86" y="59"/>
                        </a:lnTo>
                        <a:lnTo>
                          <a:pt x="86" y="58"/>
                        </a:lnTo>
                        <a:lnTo>
                          <a:pt x="87" y="57"/>
                        </a:lnTo>
                        <a:lnTo>
                          <a:pt x="88" y="56"/>
                        </a:lnTo>
                        <a:lnTo>
                          <a:pt x="88" y="55"/>
                        </a:lnTo>
                        <a:lnTo>
                          <a:pt x="89" y="54"/>
                        </a:lnTo>
                        <a:lnTo>
                          <a:pt x="89" y="53"/>
                        </a:lnTo>
                        <a:lnTo>
                          <a:pt x="90" y="52"/>
                        </a:lnTo>
                        <a:lnTo>
                          <a:pt x="91" y="51"/>
                        </a:lnTo>
                        <a:lnTo>
                          <a:pt x="91" y="50"/>
                        </a:lnTo>
                        <a:lnTo>
                          <a:pt x="92" y="49"/>
                        </a:lnTo>
                        <a:lnTo>
                          <a:pt x="92" y="48"/>
                        </a:lnTo>
                        <a:lnTo>
                          <a:pt x="93" y="47"/>
                        </a:lnTo>
                        <a:lnTo>
                          <a:pt x="93" y="46"/>
                        </a:lnTo>
                        <a:lnTo>
                          <a:pt x="94" y="45"/>
                        </a:lnTo>
                        <a:lnTo>
                          <a:pt x="94" y="44"/>
                        </a:lnTo>
                        <a:lnTo>
                          <a:pt x="95" y="43"/>
                        </a:lnTo>
                        <a:lnTo>
                          <a:pt x="95" y="42"/>
                        </a:lnTo>
                        <a:lnTo>
                          <a:pt x="96" y="41"/>
                        </a:lnTo>
                        <a:lnTo>
                          <a:pt x="96" y="40"/>
                        </a:lnTo>
                        <a:lnTo>
                          <a:pt x="96" y="39"/>
                        </a:lnTo>
                        <a:lnTo>
                          <a:pt x="97" y="38"/>
                        </a:lnTo>
                        <a:lnTo>
                          <a:pt x="97" y="37"/>
                        </a:lnTo>
                        <a:lnTo>
                          <a:pt x="98" y="36"/>
                        </a:lnTo>
                        <a:lnTo>
                          <a:pt x="98" y="35"/>
                        </a:lnTo>
                        <a:lnTo>
                          <a:pt x="98" y="34"/>
                        </a:lnTo>
                        <a:lnTo>
                          <a:pt x="99" y="33"/>
                        </a:lnTo>
                        <a:lnTo>
                          <a:pt x="99" y="32"/>
                        </a:lnTo>
                        <a:lnTo>
                          <a:pt x="99" y="31"/>
                        </a:lnTo>
                        <a:lnTo>
                          <a:pt x="100" y="30"/>
                        </a:lnTo>
                        <a:lnTo>
                          <a:pt x="100" y="29"/>
                        </a:lnTo>
                        <a:lnTo>
                          <a:pt x="100" y="28"/>
                        </a:lnTo>
                        <a:lnTo>
                          <a:pt x="100" y="27"/>
                        </a:lnTo>
                        <a:lnTo>
                          <a:pt x="101" y="26"/>
                        </a:lnTo>
                        <a:lnTo>
                          <a:pt x="101" y="25"/>
                        </a:lnTo>
                        <a:lnTo>
                          <a:pt x="101" y="24"/>
                        </a:lnTo>
                        <a:lnTo>
                          <a:pt x="101" y="23"/>
                        </a:lnTo>
                        <a:lnTo>
                          <a:pt x="102" y="22"/>
                        </a:lnTo>
                        <a:lnTo>
                          <a:pt x="102" y="21"/>
                        </a:lnTo>
                        <a:lnTo>
                          <a:pt x="102" y="20"/>
                        </a:lnTo>
                        <a:lnTo>
                          <a:pt x="102" y="19"/>
                        </a:lnTo>
                        <a:lnTo>
                          <a:pt x="102" y="18"/>
                        </a:lnTo>
                        <a:lnTo>
                          <a:pt x="103" y="17"/>
                        </a:lnTo>
                        <a:lnTo>
                          <a:pt x="103" y="16"/>
                        </a:lnTo>
                        <a:lnTo>
                          <a:pt x="103" y="15"/>
                        </a:lnTo>
                        <a:lnTo>
                          <a:pt x="103" y="14"/>
                        </a:lnTo>
                        <a:lnTo>
                          <a:pt x="103" y="13"/>
                        </a:lnTo>
                        <a:lnTo>
                          <a:pt x="103" y="12"/>
                        </a:lnTo>
                        <a:lnTo>
                          <a:pt x="103" y="11"/>
                        </a:lnTo>
                        <a:lnTo>
                          <a:pt x="104" y="10"/>
                        </a:lnTo>
                        <a:lnTo>
                          <a:pt x="104" y="9"/>
                        </a:lnTo>
                        <a:lnTo>
                          <a:pt x="104" y="8"/>
                        </a:lnTo>
                        <a:lnTo>
                          <a:pt x="104" y="7"/>
                        </a:lnTo>
                        <a:lnTo>
                          <a:pt x="104" y="6"/>
                        </a:lnTo>
                        <a:lnTo>
                          <a:pt x="104" y="5"/>
                        </a:lnTo>
                        <a:lnTo>
                          <a:pt x="104" y="4"/>
                        </a:lnTo>
                        <a:lnTo>
                          <a:pt x="104" y="3"/>
                        </a:lnTo>
                        <a:lnTo>
                          <a:pt x="104" y="2"/>
                        </a:lnTo>
                        <a:lnTo>
                          <a:pt x="104" y="1"/>
                        </a:lnTo>
                        <a:lnTo>
                          <a:pt x="104" y="0"/>
                        </a:lnTo>
                        <a:lnTo>
                          <a:pt x="104" y="0"/>
                        </a:lnTo>
                        <a:lnTo>
                          <a:pt x="0" y="0"/>
                        </a:lnTo>
                        <a:lnTo>
                          <a:pt x="38" y="97"/>
                        </a:lnTo>
                        <a:close/>
                      </a:path>
                    </a:pathLst>
                  </a:custGeom>
                  <a:solidFill>
                    <a:srgbClr val="2892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105" name="Freeform 104"/>
                  <p:cNvSpPr>
                    <a:spLocks/>
                  </p:cNvSpPr>
                  <p:nvPr/>
                </p:nvSpPr>
                <p:spPr bwMode="auto">
                  <a:xfrm>
                    <a:off x="4927" y="2659"/>
                    <a:ext cx="196" cy="166"/>
                  </a:xfrm>
                  <a:custGeom>
                    <a:avLst/>
                    <a:gdLst>
                      <a:gd name="T0" fmla="*/ 124 w 124"/>
                      <a:gd name="T1" fmla="*/ 103 h 105"/>
                      <a:gd name="T2" fmla="*/ 124 w 124"/>
                      <a:gd name="T3" fmla="*/ 100 h 105"/>
                      <a:gd name="T4" fmla="*/ 124 w 124"/>
                      <a:gd name="T5" fmla="*/ 97 h 105"/>
                      <a:gd name="T6" fmla="*/ 123 w 124"/>
                      <a:gd name="T7" fmla="*/ 94 h 105"/>
                      <a:gd name="T8" fmla="*/ 123 w 124"/>
                      <a:gd name="T9" fmla="*/ 91 h 105"/>
                      <a:gd name="T10" fmla="*/ 123 w 124"/>
                      <a:gd name="T11" fmla="*/ 88 h 105"/>
                      <a:gd name="T12" fmla="*/ 122 w 124"/>
                      <a:gd name="T13" fmla="*/ 85 h 105"/>
                      <a:gd name="T14" fmla="*/ 122 w 124"/>
                      <a:gd name="T15" fmla="*/ 82 h 105"/>
                      <a:gd name="T16" fmla="*/ 121 w 124"/>
                      <a:gd name="T17" fmla="*/ 79 h 105"/>
                      <a:gd name="T18" fmla="*/ 120 w 124"/>
                      <a:gd name="T19" fmla="*/ 76 h 105"/>
                      <a:gd name="T20" fmla="*/ 119 w 124"/>
                      <a:gd name="T21" fmla="*/ 73 h 105"/>
                      <a:gd name="T22" fmla="*/ 118 w 124"/>
                      <a:gd name="T23" fmla="*/ 70 h 105"/>
                      <a:gd name="T24" fmla="*/ 117 w 124"/>
                      <a:gd name="T25" fmla="*/ 67 h 105"/>
                      <a:gd name="T26" fmla="*/ 116 w 124"/>
                      <a:gd name="T27" fmla="*/ 64 h 105"/>
                      <a:gd name="T28" fmla="*/ 115 w 124"/>
                      <a:gd name="T29" fmla="*/ 61 h 105"/>
                      <a:gd name="T30" fmla="*/ 113 w 124"/>
                      <a:gd name="T31" fmla="*/ 58 h 105"/>
                      <a:gd name="T32" fmla="*/ 112 w 124"/>
                      <a:gd name="T33" fmla="*/ 55 h 105"/>
                      <a:gd name="T34" fmla="*/ 110 w 124"/>
                      <a:gd name="T35" fmla="*/ 52 h 105"/>
                      <a:gd name="T36" fmla="*/ 108 w 124"/>
                      <a:gd name="T37" fmla="*/ 49 h 105"/>
                      <a:gd name="T38" fmla="*/ 106 w 124"/>
                      <a:gd name="T39" fmla="*/ 46 h 105"/>
                      <a:gd name="T40" fmla="*/ 104 w 124"/>
                      <a:gd name="T41" fmla="*/ 43 h 105"/>
                      <a:gd name="T42" fmla="*/ 102 w 124"/>
                      <a:gd name="T43" fmla="*/ 40 h 105"/>
                      <a:gd name="T44" fmla="*/ 99 w 124"/>
                      <a:gd name="T45" fmla="*/ 37 h 105"/>
                      <a:gd name="T46" fmla="*/ 97 w 124"/>
                      <a:gd name="T47" fmla="*/ 34 h 105"/>
                      <a:gd name="T48" fmla="*/ 94 w 124"/>
                      <a:gd name="T49" fmla="*/ 31 h 105"/>
                      <a:gd name="T50" fmla="*/ 91 w 124"/>
                      <a:gd name="T51" fmla="*/ 28 h 105"/>
                      <a:gd name="T52" fmla="*/ 88 w 124"/>
                      <a:gd name="T53" fmla="*/ 25 h 105"/>
                      <a:gd name="T54" fmla="*/ 85 w 124"/>
                      <a:gd name="T55" fmla="*/ 23 h 105"/>
                      <a:gd name="T56" fmla="*/ 82 w 124"/>
                      <a:gd name="T57" fmla="*/ 21 h 105"/>
                      <a:gd name="T58" fmla="*/ 79 w 124"/>
                      <a:gd name="T59" fmla="*/ 18 h 105"/>
                      <a:gd name="T60" fmla="*/ 76 w 124"/>
                      <a:gd name="T61" fmla="*/ 16 h 105"/>
                      <a:gd name="T62" fmla="*/ 73 w 124"/>
                      <a:gd name="T63" fmla="*/ 15 h 105"/>
                      <a:gd name="T64" fmla="*/ 70 w 124"/>
                      <a:gd name="T65" fmla="*/ 13 h 105"/>
                      <a:gd name="T66" fmla="*/ 67 w 124"/>
                      <a:gd name="T67" fmla="*/ 11 h 105"/>
                      <a:gd name="T68" fmla="*/ 64 w 124"/>
                      <a:gd name="T69" fmla="*/ 10 h 105"/>
                      <a:gd name="T70" fmla="*/ 61 w 124"/>
                      <a:gd name="T71" fmla="*/ 8 h 105"/>
                      <a:gd name="T72" fmla="*/ 58 w 124"/>
                      <a:gd name="T73" fmla="*/ 7 h 105"/>
                      <a:gd name="T74" fmla="*/ 55 w 124"/>
                      <a:gd name="T75" fmla="*/ 6 h 105"/>
                      <a:gd name="T76" fmla="*/ 52 w 124"/>
                      <a:gd name="T77" fmla="*/ 5 h 105"/>
                      <a:gd name="T78" fmla="*/ 49 w 124"/>
                      <a:gd name="T79" fmla="*/ 4 h 105"/>
                      <a:gd name="T80" fmla="*/ 46 w 124"/>
                      <a:gd name="T81" fmla="*/ 3 h 105"/>
                      <a:gd name="T82" fmla="*/ 43 w 124"/>
                      <a:gd name="T83" fmla="*/ 3 h 105"/>
                      <a:gd name="T84" fmla="*/ 40 w 124"/>
                      <a:gd name="T85" fmla="*/ 2 h 105"/>
                      <a:gd name="T86" fmla="*/ 37 w 124"/>
                      <a:gd name="T87" fmla="*/ 1 h 105"/>
                      <a:gd name="T88" fmla="*/ 34 w 124"/>
                      <a:gd name="T89" fmla="*/ 1 h 105"/>
                      <a:gd name="T90" fmla="*/ 31 w 124"/>
                      <a:gd name="T91" fmla="*/ 1 h 105"/>
                      <a:gd name="T92" fmla="*/ 28 w 124"/>
                      <a:gd name="T93" fmla="*/ 0 h 105"/>
                      <a:gd name="T94" fmla="*/ 25 w 124"/>
                      <a:gd name="T95" fmla="*/ 0 h 105"/>
                      <a:gd name="T96" fmla="*/ 22 w 124"/>
                      <a:gd name="T97" fmla="*/ 0 h 105"/>
                      <a:gd name="T98" fmla="*/ 19 w 124"/>
                      <a:gd name="T99" fmla="*/ 0 h 105"/>
                      <a:gd name="T100" fmla="*/ 16 w 124"/>
                      <a:gd name="T101" fmla="*/ 0 h 105"/>
                      <a:gd name="T102" fmla="*/ 13 w 124"/>
                      <a:gd name="T103" fmla="*/ 0 h 105"/>
                      <a:gd name="T104" fmla="*/ 10 w 124"/>
                      <a:gd name="T105" fmla="*/ 0 h 105"/>
                      <a:gd name="T106" fmla="*/ 7 w 124"/>
                      <a:gd name="T107" fmla="*/ 1 h 105"/>
                      <a:gd name="T108" fmla="*/ 4 w 124"/>
                      <a:gd name="T109" fmla="*/ 1 h 105"/>
                      <a:gd name="T110" fmla="*/ 1 w 124"/>
                      <a:gd name="T111" fmla="*/ 2 h 105"/>
                      <a:gd name="T112" fmla="*/ 20 w 124"/>
                      <a:gd name="T11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4" h="105">
                        <a:moveTo>
                          <a:pt x="124" y="105"/>
                        </a:moveTo>
                        <a:lnTo>
                          <a:pt x="124" y="104"/>
                        </a:lnTo>
                        <a:lnTo>
                          <a:pt x="124" y="103"/>
                        </a:lnTo>
                        <a:lnTo>
                          <a:pt x="124" y="102"/>
                        </a:lnTo>
                        <a:lnTo>
                          <a:pt x="124" y="101"/>
                        </a:lnTo>
                        <a:lnTo>
                          <a:pt x="124" y="100"/>
                        </a:lnTo>
                        <a:lnTo>
                          <a:pt x="124" y="99"/>
                        </a:lnTo>
                        <a:lnTo>
                          <a:pt x="124" y="98"/>
                        </a:lnTo>
                        <a:lnTo>
                          <a:pt x="124" y="97"/>
                        </a:lnTo>
                        <a:lnTo>
                          <a:pt x="124" y="96"/>
                        </a:lnTo>
                        <a:lnTo>
                          <a:pt x="124" y="95"/>
                        </a:lnTo>
                        <a:lnTo>
                          <a:pt x="123" y="94"/>
                        </a:lnTo>
                        <a:lnTo>
                          <a:pt x="123" y="93"/>
                        </a:lnTo>
                        <a:lnTo>
                          <a:pt x="123" y="92"/>
                        </a:lnTo>
                        <a:lnTo>
                          <a:pt x="123" y="91"/>
                        </a:lnTo>
                        <a:lnTo>
                          <a:pt x="123" y="90"/>
                        </a:lnTo>
                        <a:lnTo>
                          <a:pt x="123" y="89"/>
                        </a:lnTo>
                        <a:lnTo>
                          <a:pt x="123" y="88"/>
                        </a:lnTo>
                        <a:lnTo>
                          <a:pt x="123" y="87"/>
                        </a:lnTo>
                        <a:lnTo>
                          <a:pt x="122" y="86"/>
                        </a:lnTo>
                        <a:lnTo>
                          <a:pt x="122" y="85"/>
                        </a:lnTo>
                        <a:lnTo>
                          <a:pt x="122" y="84"/>
                        </a:lnTo>
                        <a:lnTo>
                          <a:pt x="122" y="83"/>
                        </a:lnTo>
                        <a:lnTo>
                          <a:pt x="122" y="82"/>
                        </a:lnTo>
                        <a:lnTo>
                          <a:pt x="121" y="81"/>
                        </a:lnTo>
                        <a:lnTo>
                          <a:pt x="121" y="80"/>
                        </a:lnTo>
                        <a:lnTo>
                          <a:pt x="121" y="79"/>
                        </a:lnTo>
                        <a:lnTo>
                          <a:pt x="121" y="78"/>
                        </a:lnTo>
                        <a:lnTo>
                          <a:pt x="120" y="77"/>
                        </a:lnTo>
                        <a:lnTo>
                          <a:pt x="120" y="76"/>
                        </a:lnTo>
                        <a:lnTo>
                          <a:pt x="120" y="75"/>
                        </a:lnTo>
                        <a:lnTo>
                          <a:pt x="119" y="74"/>
                        </a:lnTo>
                        <a:lnTo>
                          <a:pt x="119" y="73"/>
                        </a:lnTo>
                        <a:lnTo>
                          <a:pt x="119" y="72"/>
                        </a:lnTo>
                        <a:lnTo>
                          <a:pt x="119" y="71"/>
                        </a:lnTo>
                        <a:lnTo>
                          <a:pt x="118" y="70"/>
                        </a:lnTo>
                        <a:lnTo>
                          <a:pt x="118" y="69"/>
                        </a:lnTo>
                        <a:lnTo>
                          <a:pt x="117" y="68"/>
                        </a:lnTo>
                        <a:lnTo>
                          <a:pt x="117" y="67"/>
                        </a:lnTo>
                        <a:lnTo>
                          <a:pt x="117" y="66"/>
                        </a:lnTo>
                        <a:lnTo>
                          <a:pt x="116" y="65"/>
                        </a:lnTo>
                        <a:lnTo>
                          <a:pt x="116" y="64"/>
                        </a:lnTo>
                        <a:lnTo>
                          <a:pt x="115" y="63"/>
                        </a:lnTo>
                        <a:lnTo>
                          <a:pt x="115" y="62"/>
                        </a:lnTo>
                        <a:lnTo>
                          <a:pt x="115" y="61"/>
                        </a:lnTo>
                        <a:lnTo>
                          <a:pt x="114" y="60"/>
                        </a:lnTo>
                        <a:lnTo>
                          <a:pt x="114" y="59"/>
                        </a:lnTo>
                        <a:lnTo>
                          <a:pt x="113" y="58"/>
                        </a:lnTo>
                        <a:lnTo>
                          <a:pt x="113" y="57"/>
                        </a:lnTo>
                        <a:lnTo>
                          <a:pt x="112" y="56"/>
                        </a:lnTo>
                        <a:lnTo>
                          <a:pt x="112" y="55"/>
                        </a:lnTo>
                        <a:lnTo>
                          <a:pt x="111" y="54"/>
                        </a:lnTo>
                        <a:lnTo>
                          <a:pt x="110" y="53"/>
                        </a:lnTo>
                        <a:lnTo>
                          <a:pt x="110" y="52"/>
                        </a:lnTo>
                        <a:lnTo>
                          <a:pt x="109" y="51"/>
                        </a:lnTo>
                        <a:lnTo>
                          <a:pt x="109" y="50"/>
                        </a:lnTo>
                        <a:lnTo>
                          <a:pt x="108" y="49"/>
                        </a:lnTo>
                        <a:lnTo>
                          <a:pt x="107" y="48"/>
                        </a:lnTo>
                        <a:lnTo>
                          <a:pt x="107" y="47"/>
                        </a:lnTo>
                        <a:lnTo>
                          <a:pt x="106" y="46"/>
                        </a:lnTo>
                        <a:lnTo>
                          <a:pt x="105" y="45"/>
                        </a:lnTo>
                        <a:lnTo>
                          <a:pt x="105" y="44"/>
                        </a:lnTo>
                        <a:lnTo>
                          <a:pt x="104" y="43"/>
                        </a:lnTo>
                        <a:lnTo>
                          <a:pt x="103" y="42"/>
                        </a:lnTo>
                        <a:lnTo>
                          <a:pt x="103" y="41"/>
                        </a:lnTo>
                        <a:lnTo>
                          <a:pt x="102" y="40"/>
                        </a:lnTo>
                        <a:lnTo>
                          <a:pt x="101" y="39"/>
                        </a:lnTo>
                        <a:lnTo>
                          <a:pt x="100" y="38"/>
                        </a:lnTo>
                        <a:lnTo>
                          <a:pt x="99" y="37"/>
                        </a:lnTo>
                        <a:lnTo>
                          <a:pt x="99" y="36"/>
                        </a:lnTo>
                        <a:lnTo>
                          <a:pt x="98" y="35"/>
                        </a:lnTo>
                        <a:lnTo>
                          <a:pt x="97" y="34"/>
                        </a:lnTo>
                        <a:lnTo>
                          <a:pt x="96" y="33"/>
                        </a:lnTo>
                        <a:lnTo>
                          <a:pt x="95" y="32"/>
                        </a:lnTo>
                        <a:lnTo>
                          <a:pt x="94" y="31"/>
                        </a:lnTo>
                        <a:lnTo>
                          <a:pt x="93" y="30"/>
                        </a:lnTo>
                        <a:lnTo>
                          <a:pt x="92" y="29"/>
                        </a:lnTo>
                        <a:lnTo>
                          <a:pt x="91" y="28"/>
                        </a:lnTo>
                        <a:lnTo>
                          <a:pt x="90" y="27"/>
                        </a:lnTo>
                        <a:lnTo>
                          <a:pt x="89" y="26"/>
                        </a:lnTo>
                        <a:lnTo>
                          <a:pt x="88" y="25"/>
                        </a:lnTo>
                        <a:lnTo>
                          <a:pt x="87" y="25"/>
                        </a:lnTo>
                        <a:lnTo>
                          <a:pt x="86" y="24"/>
                        </a:lnTo>
                        <a:lnTo>
                          <a:pt x="85" y="23"/>
                        </a:lnTo>
                        <a:lnTo>
                          <a:pt x="84" y="22"/>
                        </a:lnTo>
                        <a:lnTo>
                          <a:pt x="83" y="21"/>
                        </a:lnTo>
                        <a:lnTo>
                          <a:pt x="82" y="21"/>
                        </a:lnTo>
                        <a:lnTo>
                          <a:pt x="81" y="20"/>
                        </a:lnTo>
                        <a:lnTo>
                          <a:pt x="80" y="19"/>
                        </a:lnTo>
                        <a:lnTo>
                          <a:pt x="79" y="18"/>
                        </a:lnTo>
                        <a:lnTo>
                          <a:pt x="78" y="18"/>
                        </a:lnTo>
                        <a:lnTo>
                          <a:pt x="77" y="17"/>
                        </a:lnTo>
                        <a:lnTo>
                          <a:pt x="76" y="16"/>
                        </a:lnTo>
                        <a:lnTo>
                          <a:pt x="75" y="16"/>
                        </a:lnTo>
                        <a:lnTo>
                          <a:pt x="74" y="15"/>
                        </a:lnTo>
                        <a:lnTo>
                          <a:pt x="73" y="15"/>
                        </a:lnTo>
                        <a:lnTo>
                          <a:pt x="72" y="14"/>
                        </a:lnTo>
                        <a:lnTo>
                          <a:pt x="71" y="13"/>
                        </a:lnTo>
                        <a:lnTo>
                          <a:pt x="70" y="13"/>
                        </a:lnTo>
                        <a:lnTo>
                          <a:pt x="69" y="12"/>
                        </a:lnTo>
                        <a:lnTo>
                          <a:pt x="68" y="12"/>
                        </a:lnTo>
                        <a:lnTo>
                          <a:pt x="67" y="11"/>
                        </a:lnTo>
                        <a:lnTo>
                          <a:pt x="66" y="11"/>
                        </a:lnTo>
                        <a:lnTo>
                          <a:pt x="65" y="10"/>
                        </a:lnTo>
                        <a:lnTo>
                          <a:pt x="64" y="10"/>
                        </a:lnTo>
                        <a:lnTo>
                          <a:pt x="63" y="9"/>
                        </a:lnTo>
                        <a:lnTo>
                          <a:pt x="62" y="9"/>
                        </a:lnTo>
                        <a:lnTo>
                          <a:pt x="61" y="8"/>
                        </a:lnTo>
                        <a:lnTo>
                          <a:pt x="60" y="8"/>
                        </a:lnTo>
                        <a:lnTo>
                          <a:pt x="59" y="8"/>
                        </a:lnTo>
                        <a:lnTo>
                          <a:pt x="58" y="7"/>
                        </a:lnTo>
                        <a:lnTo>
                          <a:pt x="57" y="7"/>
                        </a:lnTo>
                        <a:lnTo>
                          <a:pt x="56" y="6"/>
                        </a:lnTo>
                        <a:lnTo>
                          <a:pt x="55" y="6"/>
                        </a:lnTo>
                        <a:lnTo>
                          <a:pt x="54" y="6"/>
                        </a:lnTo>
                        <a:lnTo>
                          <a:pt x="53" y="5"/>
                        </a:lnTo>
                        <a:lnTo>
                          <a:pt x="52" y="5"/>
                        </a:lnTo>
                        <a:lnTo>
                          <a:pt x="51" y="5"/>
                        </a:lnTo>
                        <a:lnTo>
                          <a:pt x="50" y="4"/>
                        </a:lnTo>
                        <a:lnTo>
                          <a:pt x="49" y="4"/>
                        </a:lnTo>
                        <a:lnTo>
                          <a:pt x="48" y="4"/>
                        </a:lnTo>
                        <a:lnTo>
                          <a:pt x="47" y="4"/>
                        </a:lnTo>
                        <a:lnTo>
                          <a:pt x="46" y="3"/>
                        </a:lnTo>
                        <a:lnTo>
                          <a:pt x="45" y="3"/>
                        </a:lnTo>
                        <a:lnTo>
                          <a:pt x="44" y="3"/>
                        </a:lnTo>
                        <a:lnTo>
                          <a:pt x="43" y="3"/>
                        </a:lnTo>
                        <a:lnTo>
                          <a:pt x="42" y="2"/>
                        </a:lnTo>
                        <a:lnTo>
                          <a:pt x="41" y="2"/>
                        </a:lnTo>
                        <a:lnTo>
                          <a:pt x="40" y="2"/>
                        </a:lnTo>
                        <a:lnTo>
                          <a:pt x="39" y="2"/>
                        </a:lnTo>
                        <a:lnTo>
                          <a:pt x="38" y="2"/>
                        </a:lnTo>
                        <a:lnTo>
                          <a:pt x="37" y="1"/>
                        </a:lnTo>
                        <a:lnTo>
                          <a:pt x="36" y="1"/>
                        </a:lnTo>
                        <a:lnTo>
                          <a:pt x="35" y="1"/>
                        </a:lnTo>
                        <a:lnTo>
                          <a:pt x="34" y="1"/>
                        </a:lnTo>
                        <a:lnTo>
                          <a:pt x="33" y="1"/>
                        </a:lnTo>
                        <a:lnTo>
                          <a:pt x="32" y="1"/>
                        </a:lnTo>
                        <a:lnTo>
                          <a:pt x="31" y="1"/>
                        </a:lnTo>
                        <a:lnTo>
                          <a:pt x="30" y="0"/>
                        </a:lnTo>
                        <a:lnTo>
                          <a:pt x="29" y="0"/>
                        </a:lnTo>
                        <a:lnTo>
                          <a:pt x="28" y="0"/>
                        </a:lnTo>
                        <a:lnTo>
                          <a:pt x="27" y="0"/>
                        </a:lnTo>
                        <a:lnTo>
                          <a:pt x="26" y="0"/>
                        </a:lnTo>
                        <a:lnTo>
                          <a:pt x="25" y="0"/>
                        </a:lnTo>
                        <a:lnTo>
                          <a:pt x="24" y="0"/>
                        </a:lnTo>
                        <a:lnTo>
                          <a:pt x="23" y="0"/>
                        </a:lnTo>
                        <a:lnTo>
                          <a:pt x="22" y="0"/>
                        </a:lnTo>
                        <a:lnTo>
                          <a:pt x="21" y="0"/>
                        </a:lnTo>
                        <a:lnTo>
                          <a:pt x="20" y="0"/>
                        </a:lnTo>
                        <a:lnTo>
                          <a:pt x="19" y="0"/>
                        </a:lnTo>
                        <a:lnTo>
                          <a:pt x="18" y="0"/>
                        </a:lnTo>
                        <a:lnTo>
                          <a:pt x="17" y="0"/>
                        </a:lnTo>
                        <a:lnTo>
                          <a:pt x="16" y="0"/>
                        </a:lnTo>
                        <a:lnTo>
                          <a:pt x="15" y="0"/>
                        </a:lnTo>
                        <a:lnTo>
                          <a:pt x="14" y="0"/>
                        </a:lnTo>
                        <a:lnTo>
                          <a:pt x="13" y="0"/>
                        </a:lnTo>
                        <a:lnTo>
                          <a:pt x="12" y="0"/>
                        </a:lnTo>
                        <a:lnTo>
                          <a:pt x="11" y="0"/>
                        </a:lnTo>
                        <a:lnTo>
                          <a:pt x="10" y="0"/>
                        </a:lnTo>
                        <a:lnTo>
                          <a:pt x="9" y="1"/>
                        </a:lnTo>
                        <a:lnTo>
                          <a:pt x="8" y="1"/>
                        </a:lnTo>
                        <a:lnTo>
                          <a:pt x="7" y="1"/>
                        </a:lnTo>
                        <a:lnTo>
                          <a:pt x="6" y="1"/>
                        </a:lnTo>
                        <a:lnTo>
                          <a:pt x="5" y="1"/>
                        </a:lnTo>
                        <a:lnTo>
                          <a:pt x="4" y="1"/>
                        </a:lnTo>
                        <a:lnTo>
                          <a:pt x="3" y="1"/>
                        </a:lnTo>
                        <a:lnTo>
                          <a:pt x="2" y="2"/>
                        </a:lnTo>
                        <a:lnTo>
                          <a:pt x="1" y="2"/>
                        </a:lnTo>
                        <a:lnTo>
                          <a:pt x="0" y="2"/>
                        </a:lnTo>
                        <a:lnTo>
                          <a:pt x="0" y="2"/>
                        </a:lnTo>
                        <a:lnTo>
                          <a:pt x="20" y="105"/>
                        </a:lnTo>
                        <a:lnTo>
                          <a:pt x="124" y="105"/>
                        </a:lnTo>
                        <a:close/>
                      </a:path>
                    </a:pathLst>
                  </a:custGeom>
                  <a:solidFill>
                    <a:srgbClr val="E69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106" name="Freeform 105"/>
                  <p:cNvSpPr>
                    <a:spLocks/>
                  </p:cNvSpPr>
                  <p:nvPr/>
                </p:nvSpPr>
                <p:spPr bwMode="auto">
                  <a:xfrm>
                    <a:off x="4794" y="2662"/>
                    <a:ext cx="165" cy="163"/>
                  </a:xfrm>
                  <a:custGeom>
                    <a:avLst/>
                    <a:gdLst>
                      <a:gd name="T0" fmla="*/ 83 w 104"/>
                      <a:gd name="T1" fmla="*/ 0 h 103"/>
                      <a:gd name="T2" fmla="*/ 81 w 104"/>
                      <a:gd name="T3" fmla="*/ 1 h 103"/>
                      <a:gd name="T4" fmla="*/ 79 w 104"/>
                      <a:gd name="T5" fmla="*/ 1 h 103"/>
                      <a:gd name="T6" fmla="*/ 77 w 104"/>
                      <a:gd name="T7" fmla="*/ 2 h 103"/>
                      <a:gd name="T8" fmla="*/ 75 w 104"/>
                      <a:gd name="T9" fmla="*/ 2 h 103"/>
                      <a:gd name="T10" fmla="*/ 73 w 104"/>
                      <a:gd name="T11" fmla="*/ 3 h 103"/>
                      <a:gd name="T12" fmla="*/ 71 w 104"/>
                      <a:gd name="T13" fmla="*/ 3 h 103"/>
                      <a:gd name="T14" fmla="*/ 69 w 104"/>
                      <a:gd name="T15" fmla="*/ 4 h 103"/>
                      <a:gd name="T16" fmla="*/ 67 w 104"/>
                      <a:gd name="T17" fmla="*/ 5 h 103"/>
                      <a:gd name="T18" fmla="*/ 65 w 104"/>
                      <a:gd name="T19" fmla="*/ 6 h 103"/>
                      <a:gd name="T20" fmla="*/ 63 w 104"/>
                      <a:gd name="T21" fmla="*/ 6 h 103"/>
                      <a:gd name="T22" fmla="*/ 61 w 104"/>
                      <a:gd name="T23" fmla="*/ 7 h 103"/>
                      <a:gd name="T24" fmla="*/ 59 w 104"/>
                      <a:gd name="T25" fmla="*/ 8 h 103"/>
                      <a:gd name="T26" fmla="*/ 57 w 104"/>
                      <a:gd name="T27" fmla="*/ 9 h 103"/>
                      <a:gd name="T28" fmla="*/ 55 w 104"/>
                      <a:gd name="T29" fmla="*/ 10 h 103"/>
                      <a:gd name="T30" fmla="*/ 53 w 104"/>
                      <a:gd name="T31" fmla="*/ 11 h 103"/>
                      <a:gd name="T32" fmla="*/ 51 w 104"/>
                      <a:gd name="T33" fmla="*/ 13 h 103"/>
                      <a:gd name="T34" fmla="*/ 49 w 104"/>
                      <a:gd name="T35" fmla="*/ 14 h 103"/>
                      <a:gd name="T36" fmla="*/ 47 w 104"/>
                      <a:gd name="T37" fmla="*/ 15 h 103"/>
                      <a:gd name="T38" fmla="*/ 45 w 104"/>
                      <a:gd name="T39" fmla="*/ 16 h 103"/>
                      <a:gd name="T40" fmla="*/ 43 w 104"/>
                      <a:gd name="T41" fmla="*/ 18 h 103"/>
                      <a:gd name="T42" fmla="*/ 41 w 104"/>
                      <a:gd name="T43" fmla="*/ 19 h 103"/>
                      <a:gd name="T44" fmla="*/ 39 w 104"/>
                      <a:gd name="T45" fmla="*/ 21 h 103"/>
                      <a:gd name="T46" fmla="*/ 37 w 104"/>
                      <a:gd name="T47" fmla="*/ 23 h 103"/>
                      <a:gd name="T48" fmla="*/ 35 w 104"/>
                      <a:gd name="T49" fmla="*/ 24 h 103"/>
                      <a:gd name="T50" fmla="*/ 33 w 104"/>
                      <a:gd name="T51" fmla="*/ 26 h 103"/>
                      <a:gd name="T52" fmla="*/ 31 w 104"/>
                      <a:gd name="T53" fmla="*/ 28 h 103"/>
                      <a:gd name="T54" fmla="*/ 29 w 104"/>
                      <a:gd name="T55" fmla="*/ 30 h 103"/>
                      <a:gd name="T56" fmla="*/ 27 w 104"/>
                      <a:gd name="T57" fmla="*/ 32 h 103"/>
                      <a:gd name="T58" fmla="*/ 25 w 104"/>
                      <a:gd name="T59" fmla="*/ 34 h 103"/>
                      <a:gd name="T60" fmla="*/ 24 w 104"/>
                      <a:gd name="T61" fmla="*/ 36 h 103"/>
                      <a:gd name="T62" fmla="*/ 22 w 104"/>
                      <a:gd name="T63" fmla="*/ 38 h 103"/>
                      <a:gd name="T64" fmla="*/ 21 w 104"/>
                      <a:gd name="T65" fmla="*/ 40 h 103"/>
                      <a:gd name="T66" fmla="*/ 19 w 104"/>
                      <a:gd name="T67" fmla="*/ 42 h 103"/>
                      <a:gd name="T68" fmla="*/ 18 w 104"/>
                      <a:gd name="T69" fmla="*/ 44 h 103"/>
                      <a:gd name="T70" fmla="*/ 17 w 104"/>
                      <a:gd name="T71" fmla="*/ 46 h 103"/>
                      <a:gd name="T72" fmla="*/ 15 w 104"/>
                      <a:gd name="T73" fmla="*/ 48 h 103"/>
                      <a:gd name="T74" fmla="*/ 14 w 104"/>
                      <a:gd name="T75" fmla="*/ 50 h 103"/>
                      <a:gd name="T76" fmla="*/ 13 w 104"/>
                      <a:gd name="T77" fmla="*/ 52 h 103"/>
                      <a:gd name="T78" fmla="*/ 12 w 104"/>
                      <a:gd name="T79" fmla="*/ 54 h 103"/>
                      <a:gd name="T80" fmla="*/ 11 w 104"/>
                      <a:gd name="T81" fmla="*/ 56 h 103"/>
                      <a:gd name="T82" fmla="*/ 10 w 104"/>
                      <a:gd name="T83" fmla="*/ 58 h 103"/>
                      <a:gd name="T84" fmla="*/ 9 w 104"/>
                      <a:gd name="T85" fmla="*/ 60 h 103"/>
                      <a:gd name="T86" fmla="*/ 8 w 104"/>
                      <a:gd name="T87" fmla="*/ 62 h 103"/>
                      <a:gd name="T88" fmla="*/ 7 w 104"/>
                      <a:gd name="T89" fmla="*/ 64 h 103"/>
                      <a:gd name="T90" fmla="*/ 7 w 104"/>
                      <a:gd name="T91" fmla="*/ 66 h 103"/>
                      <a:gd name="T92" fmla="*/ 6 w 104"/>
                      <a:gd name="T93" fmla="*/ 68 h 103"/>
                      <a:gd name="T94" fmla="*/ 5 w 104"/>
                      <a:gd name="T95" fmla="*/ 70 h 103"/>
                      <a:gd name="T96" fmla="*/ 5 w 104"/>
                      <a:gd name="T97" fmla="*/ 72 h 103"/>
                      <a:gd name="T98" fmla="*/ 4 w 104"/>
                      <a:gd name="T99" fmla="*/ 74 h 103"/>
                      <a:gd name="T100" fmla="*/ 3 w 104"/>
                      <a:gd name="T101" fmla="*/ 76 h 103"/>
                      <a:gd name="T102" fmla="*/ 3 w 104"/>
                      <a:gd name="T103" fmla="*/ 78 h 103"/>
                      <a:gd name="T104" fmla="*/ 2 w 104"/>
                      <a:gd name="T105" fmla="*/ 80 h 103"/>
                      <a:gd name="T106" fmla="*/ 2 w 104"/>
                      <a:gd name="T107" fmla="*/ 82 h 103"/>
                      <a:gd name="T108" fmla="*/ 2 w 104"/>
                      <a:gd name="T109" fmla="*/ 84 h 103"/>
                      <a:gd name="T110" fmla="*/ 1 w 104"/>
                      <a:gd name="T111" fmla="*/ 86 h 103"/>
                      <a:gd name="T112" fmla="*/ 1 w 104"/>
                      <a:gd name="T113" fmla="*/ 88 h 103"/>
                      <a:gd name="T114" fmla="*/ 1 w 104"/>
                      <a:gd name="T115" fmla="*/ 90 h 103"/>
                      <a:gd name="T116" fmla="*/ 0 w 104"/>
                      <a:gd name="T117" fmla="*/ 90 h 103"/>
                      <a:gd name="T118" fmla="*/ 84 w 104"/>
                      <a:gd name="T11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4" h="103">
                        <a:moveTo>
                          <a:pt x="84" y="0"/>
                        </a:moveTo>
                        <a:lnTo>
                          <a:pt x="83" y="0"/>
                        </a:lnTo>
                        <a:lnTo>
                          <a:pt x="82" y="0"/>
                        </a:lnTo>
                        <a:lnTo>
                          <a:pt x="81" y="1"/>
                        </a:lnTo>
                        <a:lnTo>
                          <a:pt x="80" y="1"/>
                        </a:lnTo>
                        <a:lnTo>
                          <a:pt x="79" y="1"/>
                        </a:lnTo>
                        <a:lnTo>
                          <a:pt x="78" y="1"/>
                        </a:lnTo>
                        <a:lnTo>
                          <a:pt x="77" y="2"/>
                        </a:lnTo>
                        <a:lnTo>
                          <a:pt x="76" y="2"/>
                        </a:lnTo>
                        <a:lnTo>
                          <a:pt x="75" y="2"/>
                        </a:lnTo>
                        <a:lnTo>
                          <a:pt x="74" y="2"/>
                        </a:lnTo>
                        <a:lnTo>
                          <a:pt x="73" y="3"/>
                        </a:lnTo>
                        <a:lnTo>
                          <a:pt x="72" y="3"/>
                        </a:lnTo>
                        <a:lnTo>
                          <a:pt x="71" y="3"/>
                        </a:lnTo>
                        <a:lnTo>
                          <a:pt x="70" y="4"/>
                        </a:lnTo>
                        <a:lnTo>
                          <a:pt x="69" y="4"/>
                        </a:lnTo>
                        <a:lnTo>
                          <a:pt x="68" y="4"/>
                        </a:lnTo>
                        <a:lnTo>
                          <a:pt x="67" y="5"/>
                        </a:lnTo>
                        <a:lnTo>
                          <a:pt x="66" y="5"/>
                        </a:lnTo>
                        <a:lnTo>
                          <a:pt x="65" y="6"/>
                        </a:lnTo>
                        <a:lnTo>
                          <a:pt x="64" y="6"/>
                        </a:lnTo>
                        <a:lnTo>
                          <a:pt x="63" y="6"/>
                        </a:lnTo>
                        <a:lnTo>
                          <a:pt x="62" y="7"/>
                        </a:lnTo>
                        <a:lnTo>
                          <a:pt x="61" y="7"/>
                        </a:lnTo>
                        <a:lnTo>
                          <a:pt x="60" y="8"/>
                        </a:lnTo>
                        <a:lnTo>
                          <a:pt x="59" y="8"/>
                        </a:lnTo>
                        <a:lnTo>
                          <a:pt x="58" y="9"/>
                        </a:lnTo>
                        <a:lnTo>
                          <a:pt x="57" y="9"/>
                        </a:lnTo>
                        <a:lnTo>
                          <a:pt x="56" y="10"/>
                        </a:lnTo>
                        <a:lnTo>
                          <a:pt x="55" y="10"/>
                        </a:lnTo>
                        <a:lnTo>
                          <a:pt x="54" y="11"/>
                        </a:lnTo>
                        <a:lnTo>
                          <a:pt x="53" y="11"/>
                        </a:lnTo>
                        <a:lnTo>
                          <a:pt x="52" y="12"/>
                        </a:lnTo>
                        <a:lnTo>
                          <a:pt x="51" y="13"/>
                        </a:lnTo>
                        <a:lnTo>
                          <a:pt x="50" y="13"/>
                        </a:lnTo>
                        <a:lnTo>
                          <a:pt x="49" y="14"/>
                        </a:lnTo>
                        <a:lnTo>
                          <a:pt x="48" y="14"/>
                        </a:lnTo>
                        <a:lnTo>
                          <a:pt x="47" y="15"/>
                        </a:lnTo>
                        <a:lnTo>
                          <a:pt x="46" y="16"/>
                        </a:lnTo>
                        <a:lnTo>
                          <a:pt x="45" y="16"/>
                        </a:lnTo>
                        <a:lnTo>
                          <a:pt x="44" y="17"/>
                        </a:lnTo>
                        <a:lnTo>
                          <a:pt x="43" y="18"/>
                        </a:lnTo>
                        <a:lnTo>
                          <a:pt x="42" y="19"/>
                        </a:lnTo>
                        <a:lnTo>
                          <a:pt x="41" y="19"/>
                        </a:lnTo>
                        <a:lnTo>
                          <a:pt x="40" y="20"/>
                        </a:lnTo>
                        <a:lnTo>
                          <a:pt x="39" y="21"/>
                        </a:lnTo>
                        <a:lnTo>
                          <a:pt x="38" y="22"/>
                        </a:lnTo>
                        <a:lnTo>
                          <a:pt x="37" y="23"/>
                        </a:lnTo>
                        <a:lnTo>
                          <a:pt x="36" y="23"/>
                        </a:lnTo>
                        <a:lnTo>
                          <a:pt x="35" y="24"/>
                        </a:lnTo>
                        <a:lnTo>
                          <a:pt x="34" y="25"/>
                        </a:lnTo>
                        <a:lnTo>
                          <a:pt x="33" y="26"/>
                        </a:lnTo>
                        <a:lnTo>
                          <a:pt x="32" y="27"/>
                        </a:lnTo>
                        <a:lnTo>
                          <a:pt x="31" y="28"/>
                        </a:lnTo>
                        <a:lnTo>
                          <a:pt x="30" y="29"/>
                        </a:lnTo>
                        <a:lnTo>
                          <a:pt x="29" y="30"/>
                        </a:lnTo>
                        <a:lnTo>
                          <a:pt x="28" y="31"/>
                        </a:lnTo>
                        <a:lnTo>
                          <a:pt x="27" y="32"/>
                        </a:lnTo>
                        <a:lnTo>
                          <a:pt x="26" y="33"/>
                        </a:lnTo>
                        <a:lnTo>
                          <a:pt x="25" y="34"/>
                        </a:lnTo>
                        <a:lnTo>
                          <a:pt x="25" y="35"/>
                        </a:lnTo>
                        <a:lnTo>
                          <a:pt x="24" y="36"/>
                        </a:lnTo>
                        <a:lnTo>
                          <a:pt x="23" y="37"/>
                        </a:lnTo>
                        <a:lnTo>
                          <a:pt x="22" y="38"/>
                        </a:lnTo>
                        <a:lnTo>
                          <a:pt x="21" y="39"/>
                        </a:lnTo>
                        <a:lnTo>
                          <a:pt x="21" y="40"/>
                        </a:lnTo>
                        <a:lnTo>
                          <a:pt x="20" y="41"/>
                        </a:lnTo>
                        <a:lnTo>
                          <a:pt x="19" y="42"/>
                        </a:lnTo>
                        <a:lnTo>
                          <a:pt x="19" y="43"/>
                        </a:lnTo>
                        <a:lnTo>
                          <a:pt x="18" y="44"/>
                        </a:lnTo>
                        <a:lnTo>
                          <a:pt x="17" y="45"/>
                        </a:lnTo>
                        <a:lnTo>
                          <a:pt x="17" y="46"/>
                        </a:lnTo>
                        <a:lnTo>
                          <a:pt x="16" y="47"/>
                        </a:lnTo>
                        <a:lnTo>
                          <a:pt x="15" y="48"/>
                        </a:lnTo>
                        <a:lnTo>
                          <a:pt x="15" y="49"/>
                        </a:lnTo>
                        <a:lnTo>
                          <a:pt x="14" y="50"/>
                        </a:lnTo>
                        <a:lnTo>
                          <a:pt x="14" y="51"/>
                        </a:lnTo>
                        <a:lnTo>
                          <a:pt x="13" y="52"/>
                        </a:lnTo>
                        <a:lnTo>
                          <a:pt x="12" y="53"/>
                        </a:lnTo>
                        <a:lnTo>
                          <a:pt x="12" y="54"/>
                        </a:lnTo>
                        <a:lnTo>
                          <a:pt x="11" y="55"/>
                        </a:lnTo>
                        <a:lnTo>
                          <a:pt x="11" y="56"/>
                        </a:lnTo>
                        <a:lnTo>
                          <a:pt x="10" y="57"/>
                        </a:lnTo>
                        <a:lnTo>
                          <a:pt x="10" y="58"/>
                        </a:lnTo>
                        <a:lnTo>
                          <a:pt x="9" y="59"/>
                        </a:lnTo>
                        <a:lnTo>
                          <a:pt x="9" y="60"/>
                        </a:lnTo>
                        <a:lnTo>
                          <a:pt x="9" y="61"/>
                        </a:lnTo>
                        <a:lnTo>
                          <a:pt x="8" y="62"/>
                        </a:lnTo>
                        <a:lnTo>
                          <a:pt x="8" y="63"/>
                        </a:lnTo>
                        <a:lnTo>
                          <a:pt x="7" y="64"/>
                        </a:lnTo>
                        <a:lnTo>
                          <a:pt x="7" y="65"/>
                        </a:lnTo>
                        <a:lnTo>
                          <a:pt x="7" y="66"/>
                        </a:lnTo>
                        <a:lnTo>
                          <a:pt x="6" y="67"/>
                        </a:lnTo>
                        <a:lnTo>
                          <a:pt x="6" y="68"/>
                        </a:lnTo>
                        <a:lnTo>
                          <a:pt x="5" y="69"/>
                        </a:lnTo>
                        <a:lnTo>
                          <a:pt x="5" y="70"/>
                        </a:lnTo>
                        <a:lnTo>
                          <a:pt x="5" y="71"/>
                        </a:lnTo>
                        <a:lnTo>
                          <a:pt x="5" y="72"/>
                        </a:lnTo>
                        <a:lnTo>
                          <a:pt x="4" y="73"/>
                        </a:lnTo>
                        <a:lnTo>
                          <a:pt x="4" y="74"/>
                        </a:lnTo>
                        <a:lnTo>
                          <a:pt x="4" y="75"/>
                        </a:lnTo>
                        <a:lnTo>
                          <a:pt x="3" y="76"/>
                        </a:lnTo>
                        <a:lnTo>
                          <a:pt x="3" y="77"/>
                        </a:lnTo>
                        <a:lnTo>
                          <a:pt x="3" y="78"/>
                        </a:lnTo>
                        <a:lnTo>
                          <a:pt x="3" y="79"/>
                        </a:lnTo>
                        <a:lnTo>
                          <a:pt x="2" y="80"/>
                        </a:lnTo>
                        <a:lnTo>
                          <a:pt x="2" y="81"/>
                        </a:lnTo>
                        <a:lnTo>
                          <a:pt x="2" y="82"/>
                        </a:lnTo>
                        <a:lnTo>
                          <a:pt x="2" y="83"/>
                        </a:lnTo>
                        <a:lnTo>
                          <a:pt x="2" y="84"/>
                        </a:lnTo>
                        <a:lnTo>
                          <a:pt x="1" y="85"/>
                        </a:lnTo>
                        <a:lnTo>
                          <a:pt x="1" y="86"/>
                        </a:lnTo>
                        <a:lnTo>
                          <a:pt x="1" y="87"/>
                        </a:lnTo>
                        <a:lnTo>
                          <a:pt x="1" y="88"/>
                        </a:lnTo>
                        <a:lnTo>
                          <a:pt x="1" y="89"/>
                        </a:lnTo>
                        <a:lnTo>
                          <a:pt x="1" y="90"/>
                        </a:lnTo>
                        <a:lnTo>
                          <a:pt x="0" y="90"/>
                        </a:lnTo>
                        <a:lnTo>
                          <a:pt x="0" y="90"/>
                        </a:lnTo>
                        <a:lnTo>
                          <a:pt x="104" y="103"/>
                        </a:lnTo>
                        <a:lnTo>
                          <a:pt x="84" y="0"/>
                        </a:lnTo>
                        <a:close/>
                      </a:path>
                    </a:pathLst>
                  </a:custGeom>
                  <a:solidFill>
                    <a:srgbClr val="004C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107" name="Freeform 106"/>
                  <p:cNvSpPr>
                    <a:spLocks/>
                  </p:cNvSpPr>
                  <p:nvPr/>
                </p:nvSpPr>
                <p:spPr bwMode="auto">
                  <a:xfrm>
                    <a:off x="4794" y="2805"/>
                    <a:ext cx="298" cy="185"/>
                  </a:xfrm>
                  <a:custGeom>
                    <a:avLst/>
                    <a:gdLst>
                      <a:gd name="T0" fmla="*/ 0 w 188"/>
                      <a:gd name="T1" fmla="*/ 3 h 117"/>
                      <a:gd name="T2" fmla="*/ 0 w 188"/>
                      <a:gd name="T3" fmla="*/ 7 h 117"/>
                      <a:gd name="T4" fmla="*/ 0 w 188"/>
                      <a:gd name="T5" fmla="*/ 11 h 117"/>
                      <a:gd name="T6" fmla="*/ 0 w 188"/>
                      <a:gd name="T7" fmla="*/ 15 h 117"/>
                      <a:gd name="T8" fmla="*/ 0 w 188"/>
                      <a:gd name="T9" fmla="*/ 19 h 117"/>
                      <a:gd name="T10" fmla="*/ 1 w 188"/>
                      <a:gd name="T11" fmla="*/ 23 h 117"/>
                      <a:gd name="T12" fmla="*/ 1 w 188"/>
                      <a:gd name="T13" fmla="*/ 27 h 117"/>
                      <a:gd name="T14" fmla="*/ 2 w 188"/>
                      <a:gd name="T15" fmla="*/ 31 h 117"/>
                      <a:gd name="T16" fmla="*/ 2 w 188"/>
                      <a:gd name="T17" fmla="*/ 35 h 117"/>
                      <a:gd name="T18" fmla="*/ 3 w 188"/>
                      <a:gd name="T19" fmla="*/ 39 h 117"/>
                      <a:gd name="T20" fmla="*/ 5 w 188"/>
                      <a:gd name="T21" fmla="*/ 43 h 117"/>
                      <a:gd name="T22" fmla="*/ 6 w 188"/>
                      <a:gd name="T23" fmla="*/ 47 h 117"/>
                      <a:gd name="T24" fmla="*/ 7 w 188"/>
                      <a:gd name="T25" fmla="*/ 51 h 117"/>
                      <a:gd name="T26" fmla="*/ 9 w 188"/>
                      <a:gd name="T27" fmla="*/ 55 h 117"/>
                      <a:gd name="T28" fmla="*/ 11 w 188"/>
                      <a:gd name="T29" fmla="*/ 59 h 117"/>
                      <a:gd name="T30" fmla="*/ 13 w 188"/>
                      <a:gd name="T31" fmla="*/ 63 h 117"/>
                      <a:gd name="T32" fmla="*/ 15 w 188"/>
                      <a:gd name="T33" fmla="*/ 67 h 117"/>
                      <a:gd name="T34" fmla="*/ 18 w 188"/>
                      <a:gd name="T35" fmla="*/ 71 h 117"/>
                      <a:gd name="T36" fmla="*/ 21 w 188"/>
                      <a:gd name="T37" fmla="*/ 75 h 117"/>
                      <a:gd name="T38" fmla="*/ 24 w 188"/>
                      <a:gd name="T39" fmla="*/ 79 h 117"/>
                      <a:gd name="T40" fmla="*/ 27 w 188"/>
                      <a:gd name="T41" fmla="*/ 83 h 117"/>
                      <a:gd name="T42" fmla="*/ 31 w 188"/>
                      <a:gd name="T43" fmla="*/ 87 h 117"/>
                      <a:gd name="T44" fmla="*/ 35 w 188"/>
                      <a:gd name="T45" fmla="*/ 91 h 117"/>
                      <a:gd name="T46" fmla="*/ 39 w 188"/>
                      <a:gd name="T47" fmla="*/ 94 h 117"/>
                      <a:gd name="T48" fmla="*/ 43 w 188"/>
                      <a:gd name="T49" fmla="*/ 97 h 117"/>
                      <a:gd name="T50" fmla="*/ 47 w 188"/>
                      <a:gd name="T51" fmla="*/ 100 h 117"/>
                      <a:gd name="T52" fmla="*/ 51 w 188"/>
                      <a:gd name="T53" fmla="*/ 102 h 117"/>
                      <a:gd name="T54" fmla="*/ 55 w 188"/>
                      <a:gd name="T55" fmla="*/ 105 h 117"/>
                      <a:gd name="T56" fmla="*/ 59 w 188"/>
                      <a:gd name="T57" fmla="*/ 107 h 117"/>
                      <a:gd name="T58" fmla="*/ 63 w 188"/>
                      <a:gd name="T59" fmla="*/ 109 h 117"/>
                      <a:gd name="T60" fmla="*/ 67 w 188"/>
                      <a:gd name="T61" fmla="*/ 110 h 117"/>
                      <a:gd name="T62" fmla="*/ 71 w 188"/>
                      <a:gd name="T63" fmla="*/ 112 h 117"/>
                      <a:gd name="T64" fmla="*/ 75 w 188"/>
                      <a:gd name="T65" fmla="*/ 113 h 117"/>
                      <a:gd name="T66" fmla="*/ 79 w 188"/>
                      <a:gd name="T67" fmla="*/ 114 h 117"/>
                      <a:gd name="T68" fmla="*/ 83 w 188"/>
                      <a:gd name="T69" fmla="*/ 115 h 117"/>
                      <a:gd name="T70" fmla="*/ 87 w 188"/>
                      <a:gd name="T71" fmla="*/ 116 h 117"/>
                      <a:gd name="T72" fmla="*/ 91 w 188"/>
                      <a:gd name="T73" fmla="*/ 116 h 117"/>
                      <a:gd name="T74" fmla="*/ 95 w 188"/>
                      <a:gd name="T75" fmla="*/ 117 h 117"/>
                      <a:gd name="T76" fmla="*/ 99 w 188"/>
                      <a:gd name="T77" fmla="*/ 117 h 117"/>
                      <a:gd name="T78" fmla="*/ 103 w 188"/>
                      <a:gd name="T79" fmla="*/ 117 h 117"/>
                      <a:gd name="T80" fmla="*/ 107 w 188"/>
                      <a:gd name="T81" fmla="*/ 117 h 117"/>
                      <a:gd name="T82" fmla="*/ 111 w 188"/>
                      <a:gd name="T83" fmla="*/ 117 h 117"/>
                      <a:gd name="T84" fmla="*/ 115 w 188"/>
                      <a:gd name="T85" fmla="*/ 116 h 117"/>
                      <a:gd name="T86" fmla="*/ 119 w 188"/>
                      <a:gd name="T87" fmla="*/ 116 h 117"/>
                      <a:gd name="T88" fmla="*/ 123 w 188"/>
                      <a:gd name="T89" fmla="*/ 115 h 117"/>
                      <a:gd name="T90" fmla="*/ 127 w 188"/>
                      <a:gd name="T91" fmla="*/ 114 h 117"/>
                      <a:gd name="T92" fmla="*/ 131 w 188"/>
                      <a:gd name="T93" fmla="*/ 113 h 117"/>
                      <a:gd name="T94" fmla="*/ 135 w 188"/>
                      <a:gd name="T95" fmla="*/ 112 h 117"/>
                      <a:gd name="T96" fmla="*/ 139 w 188"/>
                      <a:gd name="T97" fmla="*/ 111 h 117"/>
                      <a:gd name="T98" fmla="*/ 143 w 188"/>
                      <a:gd name="T99" fmla="*/ 109 h 117"/>
                      <a:gd name="T100" fmla="*/ 147 w 188"/>
                      <a:gd name="T101" fmla="*/ 108 h 117"/>
                      <a:gd name="T102" fmla="*/ 151 w 188"/>
                      <a:gd name="T103" fmla="*/ 106 h 117"/>
                      <a:gd name="T104" fmla="*/ 155 w 188"/>
                      <a:gd name="T105" fmla="*/ 104 h 117"/>
                      <a:gd name="T106" fmla="*/ 159 w 188"/>
                      <a:gd name="T107" fmla="*/ 101 h 117"/>
                      <a:gd name="T108" fmla="*/ 163 w 188"/>
                      <a:gd name="T109" fmla="*/ 99 h 117"/>
                      <a:gd name="T110" fmla="*/ 167 w 188"/>
                      <a:gd name="T111" fmla="*/ 96 h 117"/>
                      <a:gd name="T112" fmla="*/ 171 w 188"/>
                      <a:gd name="T113" fmla="*/ 92 h 117"/>
                      <a:gd name="T114" fmla="*/ 175 w 188"/>
                      <a:gd name="T115" fmla="*/ 89 h 117"/>
                      <a:gd name="T116" fmla="*/ 179 w 188"/>
                      <a:gd name="T117" fmla="*/ 85 h 117"/>
                      <a:gd name="T118" fmla="*/ 183 w 188"/>
                      <a:gd name="T119" fmla="*/ 81 h 117"/>
                      <a:gd name="T120" fmla="*/ 186 w 188"/>
                      <a:gd name="T121" fmla="*/ 77 h 117"/>
                      <a:gd name="T122" fmla="*/ 188 w 188"/>
                      <a:gd name="T123" fmla="*/ 7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17">
                        <a:moveTo>
                          <a:pt x="0" y="0"/>
                        </a:moveTo>
                        <a:lnTo>
                          <a:pt x="0" y="1"/>
                        </a:lnTo>
                        <a:lnTo>
                          <a:pt x="0" y="2"/>
                        </a:lnTo>
                        <a:lnTo>
                          <a:pt x="0" y="3"/>
                        </a:lnTo>
                        <a:lnTo>
                          <a:pt x="0" y="4"/>
                        </a:lnTo>
                        <a:lnTo>
                          <a:pt x="0" y="5"/>
                        </a:lnTo>
                        <a:lnTo>
                          <a:pt x="0" y="6"/>
                        </a:lnTo>
                        <a:lnTo>
                          <a:pt x="0" y="7"/>
                        </a:lnTo>
                        <a:lnTo>
                          <a:pt x="0" y="8"/>
                        </a:lnTo>
                        <a:lnTo>
                          <a:pt x="0" y="9"/>
                        </a:lnTo>
                        <a:lnTo>
                          <a:pt x="0" y="10"/>
                        </a:lnTo>
                        <a:lnTo>
                          <a:pt x="0" y="11"/>
                        </a:lnTo>
                        <a:lnTo>
                          <a:pt x="0" y="12"/>
                        </a:lnTo>
                        <a:lnTo>
                          <a:pt x="0" y="13"/>
                        </a:lnTo>
                        <a:lnTo>
                          <a:pt x="0" y="14"/>
                        </a:lnTo>
                        <a:lnTo>
                          <a:pt x="0" y="15"/>
                        </a:lnTo>
                        <a:lnTo>
                          <a:pt x="0" y="16"/>
                        </a:lnTo>
                        <a:lnTo>
                          <a:pt x="0" y="17"/>
                        </a:lnTo>
                        <a:lnTo>
                          <a:pt x="0" y="18"/>
                        </a:lnTo>
                        <a:lnTo>
                          <a:pt x="0" y="19"/>
                        </a:lnTo>
                        <a:lnTo>
                          <a:pt x="0" y="20"/>
                        </a:lnTo>
                        <a:lnTo>
                          <a:pt x="0" y="21"/>
                        </a:lnTo>
                        <a:lnTo>
                          <a:pt x="0" y="22"/>
                        </a:lnTo>
                        <a:lnTo>
                          <a:pt x="1" y="23"/>
                        </a:lnTo>
                        <a:lnTo>
                          <a:pt x="1" y="24"/>
                        </a:lnTo>
                        <a:lnTo>
                          <a:pt x="1" y="25"/>
                        </a:lnTo>
                        <a:lnTo>
                          <a:pt x="1" y="26"/>
                        </a:lnTo>
                        <a:lnTo>
                          <a:pt x="1" y="27"/>
                        </a:lnTo>
                        <a:lnTo>
                          <a:pt x="1" y="28"/>
                        </a:lnTo>
                        <a:lnTo>
                          <a:pt x="1" y="29"/>
                        </a:lnTo>
                        <a:lnTo>
                          <a:pt x="1" y="30"/>
                        </a:lnTo>
                        <a:lnTo>
                          <a:pt x="2" y="31"/>
                        </a:lnTo>
                        <a:lnTo>
                          <a:pt x="2" y="32"/>
                        </a:lnTo>
                        <a:lnTo>
                          <a:pt x="2" y="33"/>
                        </a:lnTo>
                        <a:lnTo>
                          <a:pt x="2" y="34"/>
                        </a:lnTo>
                        <a:lnTo>
                          <a:pt x="2" y="35"/>
                        </a:lnTo>
                        <a:lnTo>
                          <a:pt x="3" y="36"/>
                        </a:lnTo>
                        <a:lnTo>
                          <a:pt x="3" y="37"/>
                        </a:lnTo>
                        <a:lnTo>
                          <a:pt x="3" y="38"/>
                        </a:lnTo>
                        <a:lnTo>
                          <a:pt x="3" y="39"/>
                        </a:lnTo>
                        <a:lnTo>
                          <a:pt x="4" y="40"/>
                        </a:lnTo>
                        <a:lnTo>
                          <a:pt x="4" y="41"/>
                        </a:lnTo>
                        <a:lnTo>
                          <a:pt x="4" y="42"/>
                        </a:lnTo>
                        <a:lnTo>
                          <a:pt x="5" y="43"/>
                        </a:lnTo>
                        <a:lnTo>
                          <a:pt x="5" y="44"/>
                        </a:lnTo>
                        <a:lnTo>
                          <a:pt x="5" y="45"/>
                        </a:lnTo>
                        <a:lnTo>
                          <a:pt x="5" y="46"/>
                        </a:lnTo>
                        <a:lnTo>
                          <a:pt x="6" y="47"/>
                        </a:lnTo>
                        <a:lnTo>
                          <a:pt x="6" y="48"/>
                        </a:lnTo>
                        <a:lnTo>
                          <a:pt x="7" y="49"/>
                        </a:lnTo>
                        <a:lnTo>
                          <a:pt x="7" y="50"/>
                        </a:lnTo>
                        <a:lnTo>
                          <a:pt x="7" y="51"/>
                        </a:lnTo>
                        <a:lnTo>
                          <a:pt x="8" y="52"/>
                        </a:lnTo>
                        <a:lnTo>
                          <a:pt x="8" y="53"/>
                        </a:lnTo>
                        <a:lnTo>
                          <a:pt x="9" y="54"/>
                        </a:lnTo>
                        <a:lnTo>
                          <a:pt x="9" y="55"/>
                        </a:lnTo>
                        <a:lnTo>
                          <a:pt x="9" y="56"/>
                        </a:lnTo>
                        <a:lnTo>
                          <a:pt x="10" y="57"/>
                        </a:lnTo>
                        <a:lnTo>
                          <a:pt x="10" y="58"/>
                        </a:lnTo>
                        <a:lnTo>
                          <a:pt x="11" y="59"/>
                        </a:lnTo>
                        <a:lnTo>
                          <a:pt x="11" y="60"/>
                        </a:lnTo>
                        <a:lnTo>
                          <a:pt x="12" y="61"/>
                        </a:lnTo>
                        <a:lnTo>
                          <a:pt x="12" y="62"/>
                        </a:lnTo>
                        <a:lnTo>
                          <a:pt x="13" y="63"/>
                        </a:lnTo>
                        <a:lnTo>
                          <a:pt x="14" y="64"/>
                        </a:lnTo>
                        <a:lnTo>
                          <a:pt x="14" y="65"/>
                        </a:lnTo>
                        <a:lnTo>
                          <a:pt x="15" y="66"/>
                        </a:lnTo>
                        <a:lnTo>
                          <a:pt x="15" y="67"/>
                        </a:lnTo>
                        <a:lnTo>
                          <a:pt x="16" y="68"/>
                        </a:lnTo>
                        <a:lnTo>
                          <a:pt x="17" y="69"/>
                        </a:lnTo>
                        <a:lnTo>
                          <a:pt x="17" y="70"/>
                        </a:lnTo>
                        <a:lnTo>
                          <a:pt x="18" y="71"/>
                        </a:lnTo>
                        <a:lnTo>
                          <a:pt x="19" y="72"/>
                        </a:lnTo>
                        <a:lnTo>
                          <a:pt x="19" y="73"/>
                        </a:lnTo>
                        <a:lnTo>
                          <a:pt x="20" y="74"/>
                        </a:lnTo>
                        <a:lnTo>
                          <a:pt x="21" y="75"/>
                        </a:lnTo>
                        <a:lnTo>
                          <a:pt x="21" y="76"/>
                        </a:lnTo>
                        <a:lnTo>
                          <a:pt x="22" y="77"/>
                        </a:lnTo>
                        <a:lnTo>
                          <a:pt x="23" y="78"/>
                        </a:lnTo>
                        <a:lnTo>
                          <a:pt x="24" y="79"/>
                        </a:lnTo>
                        <a:lnTo>
                          <a:pt x="25" y="80"/>
                        </a:lnTo>
                        <a:lnTo>
                          <a:pt x="25" y="81"/>
                        </a:lnTo>
                        <a:lnTo>
                          <a:pt x="26" y="82"/>
                        </a:lnTo>
                        <a:lnTo>
                          <a:pt x="27" y="83"/>
                        </a:lnTo>
                        <a:lnTo>
                          <a:pt x="28" y="84"/>
                        </a:lnTo>
                        <a:lnTo>
                          <a:pt x="29" y="85"/>
                        </a:lnTo>
                        <a:lnTo>
                          <a:pt x="30" y="86"/>
                        </a:lnTo>
                        <a:lnTo>
                          <a:pt x="31" y="87"/>
                        </a:lnTo>
                        <a:lnTo>
                          <a:pt x="32" y="88"/>
                        </a:lnTo>
                        <a:lnTo>
                          <a:pt x="33" y="89"/>
                        </a:lnTo>
                        <a:lnTo>
                          <a:pt x="34" y="90"/>
                        </a:lnTo>
                        <a:lnTo>
                          <a:pt x="35" y="91"/>
                        </a:lnTo>
                        <a:lnTo>
                          <a:pt x="36" y="92"/>
                        </a:lnTo>
                        <a:lnTo>
                          <a:pt x="37" y="92"/>
                        </a:lnTo>
                        <a:lnTo>
                          <a:pt x="38" y="93"/>
                        </a:lnTo>
                        <a:lnTo>
                          <a:pt x="39" y="94"/>
                        </a:lnTo>
                        <a:lnTo>
                          <a:pt x="40" y="95"/>
                        </a:lnTo>
                        <a:lnTo>
                          <a:pt x="41" y="96"/>
                        </a:lnTo>
                        <a:lnTo>
                          <a:pt x="42" y="96"/>
                        </a:lnTo>
                        <a:lnTo>
                          <a:pt x="43" y="97"/>
                        </a:lnTo>
                        <a:lnTo>
                          <a:pt x="44" y="98"/>
                        </a:lnTo>
                        <a:lnTo>
                          <a:pt x="45" y="99"/>
                        </a:lnTo>
                        <a:lnTo>
                          <a:pt x="46" y="99"/>
                        </a:lnTo>
                        <a:lnTo>
                          <a:pt x="47" y="100"/>
                        </a:lnTo>
                        <a:lnTo>
                          <a:pt x="48" y="101"/>
                        </a:lnTo>
                        <a:lnTo>
                          <a:pt x="49" y="101"/>
                        </a:lnTo>
                        <a:lnTo>
                          <a:pt x="50" y="102"/>
                        </a:lnTo>
                        <a:lnTo>
                          <a:pt x="51" y="102"/>
                        </a:lnTo>
                        <a:lnTo>
                          <a:pt x="52" y="103"/>
                        </a:lnTo>
                        <a:lnTo>
                          <a:pt x="53" y="104"/>
                        </a:lnTo>
                        <a:lnTo>
                          <a:pt x="54" y="104"/>
                        </a:lnTo>
                        <a:lnTo>
                          <a:pt x="55" y="105"/>
                        </a:lnTo>
                        <a:lnTo>
                          <a:pt x="56" y="105"/>
                        </a:lnTo>
                        <a:lnTo>
                          <a:pt x="57" y="106"/>
                        </a:lnTo>
                        <a:lnTo>
                          <a:pt x="58" y="106"/>
                        </a:lnTo>
                        <a:lnTo>
                          <a:pt x="59" y="107"/>
                        </a:lnTo>
                        <a:lnTo>
                          <a:pt x="60" y="107"/>
                        </a:lnTo>
                        <a:lnTo>
                          <a:pt x="61" y="108"/>
                        </a:lnTo>
                        <a:lnTo>
                          <a:pt x="62" y="108"/>
                        </a:lnTo>
                        <a:lnTo>
                          <a:pt x="63" y="109"/>
                        </a:lnTo>
                        <a:lnTo>
                          <a:pt x="64" y="109"/>
                        </a:lnTo>
                        <a:lnTo>
                          <a:pt x="65" y="109"/>
                        </a:lnTo>
                        <a:lnTo>
                          <a:pt x="66" y="110"/>
                        </a:lnTo>
                        <a:lnTo>
                          <a:pt x="67" y="110"/>
                        </a:lnTo>
                        <a:lnTo>
                          <a:pt x="68" y="111"/>
                        </a:lnTo>
                        <a:lnTo>
                          <a:pt x="69" y="111"/>
                        </a:lnTo>
                        <a:lnTo>
                          <a:pt x="70" y="111"/>
                        </a:lnTo>
                        <a:lnTo>
                          <a:pt x="71" y="112"/>
                        </a:lnTo>
                        <a:lnTo>
                          <a:pt x="72" y="112"/>
                        </a:lnTo>
                        <a:lnTo>
                          <a:pt x="73" y="112"/>
                        </a:lnTo>
                        <a:lnTo>
                          <a:pt x="74" y="113"/>
                        </a:lnTo>
                        <a:lnTo>
                          <a:pt x="75" y="113"/>
                        </a:lnTo>
                        <a:lnTo>
                          <a:pt x="76" y="113"/>
                        </a:lnTo>
                        <a:lnTo>
                          <a:pt x="77" y="113"/>
                        </a:lnTo>
                        <a:lnTo>
                          <a:pt x="78" y="114"/>
                        </a:lnTo>
                        <a:lnTo>
                          <a:pt x="79" y="114"/>
                        </a:lnTo>
                        <a:lnTo>
                          <a:pt x="80" y="114"/>
                        </a:lnTo>
                        <a:lnTo>
                          <a:pt x="81" y="114"/>
                        </a:lnTo>
                        <a:lnTo>
                          <a:pt x="82" y="115"/>
                        </a:lnTo>
                        <a:lnTo>
                          <a:pt x="83" y="115"/>
                        </a:lnTo>
                        <a:lnTo>
                          <a:pt x="84" y="115"/>
                        </a:lnTo>
                        <a:lnTo>
                          <a:pt x="85" y="115"/>
                        </a:lnTo>
                        <a:lnTo>
                          <a:pt x="86" y="115"/>
                        </a:lnTo>
                        <a:lnTo>
                          <a:pt x="87" y="116"/>
                        </a:lnTo>
                        <a:lnTo>
                          <a:pt x="88" y="116"/>
                        </a:lnTo>
                        <a:lnTo>
                          <a:pt x="89" y="116"/>
                        </a:lnTo>
                        <a:lnTo>
                          <a:pt x="90" y="116"/>
                        </a:lnTo>
                        <a:lnTo>
                          <a:pt x="91" y="116"/>
                        </a:lnTo>
                        <a:lnTo>
                          <a:pt x="92" y="116"/>
                        </a:lnTo>
                        <a:lnTo>
                          <a:pt x="93" y="116"/>
                        </a:lnTo>
                        <a:lnTo>
                          <a:pt x="94" y="117"/>
                        </a:lnTo>
                        <a:lnTo>
                          <a:pt x="95" y="117"/>
                        </a:lnTo>
                        <a:lnTo>
                          <a:pt x="96" y="117"/>
                        </a:lnTo>
                        <a:lnTo>
                          <a:pt x="97" y="117"/>
                        </a:lnTo>
                        <a:lnTo>
                          <a:pt x="98" y="117"/>
                        </a:lnTo>
                        <a:lnTo>
                          <a:pt x="99" y="117"/>
                        </a:lnTo>
                        <a:lnTo>
                          <a:pt x="100" y="117"/>
                        </a:lnTo>
                        <a:lnTo>
                          <a:pt x="101" y="117"/>
                        </a:lnTo>
                        <a:lnTo>
                          <a:pt x="102" y="117"/>
                        </a:lnTo>
                        <a:lnTo>
                          <a:pt x="103" y="117"/>
                        </a:lnTo>
                        <a:lnTo>
                          <a:pt x="104" y="117"/>
                        </a:lnTo>
                        <a:lnTo>
                          <a:pt x="105" y="117"/>
                        </a:lnTo>
                        <a:lnTo>
                          <a:pt x="106" y="117"/>
                        </a:lnTo>
                        <a:lnTo>
                          <a:pt x="107" y="117"/>
                        </a:lnTo>
                        <a:lnTo>
                          <a:pt x="108" y="117"/>
                        </a:lnTo>
                        <a:lnTo>
                          <a:pt x="109" y="117"/>
                        </a:lnTo>
                        <a:lnTo>
                          <a:pt x="110" y="117"/>
                        </a:lnTo>
                        <a:lnTo>
                          <a:pt x="111" y="117"/>
                        </a:lnTo>
                        <a:lnTo>
                          <a:pt x="112" y="117"/>
                        </a:lnTo>
                        <a:lnTo>
                          <a:pt x="113" y="117"/>
                        </a:lnTo>
                        <a:lnTo>
                          <a:pt x="114" y="117"/>
                        </a:lnTo>
                        <a:lnTo>
                          <a:pt x="115" y="116"/>
                        </a:lnTo>
                        <a:lnTo>
                          <a:pt x="116" y="116"/>
                        </a:lnTo>
                        <a:lnTo>
                          <a:pt x="117" y="116"/>
                        </a:lnTo>
                        <a:lnTo>
                          <a:pt x="118" y="116"/>
                        </a:lnTo>
                        <a:lnTo>
                          <a:pt x="119" y="116"/>
                        </a:lnTo>
                        <a:lnTo>
                          <a:pt x="120" y="116"/>
                        </a:lnTo>
                        <a:lnTo>
                          <a:pt x="121" y="116"/>
                        </a:lnTo>
                        <a:lnTo>
                          <a:pt x="122" y="115"/>
                        </a:lnTo>
                        <a:lnTo>
                          <a:pt x="123" y="115"/>
                        </a:lnTo>
                        <a:lnTo>
                          <a:pt x="124" y="115"/>
                        </a:lnTo>
                        <a:lnTo>
                          <a:pt x="125" y="115"/>
                        </a:lnTo>
                        <a:lnTo>
                          <a:pt x="126" y="115"/>
                        </a:lnTo>
                        <a:lnTo>
                          <a:pt x="127" y="114"/>
                        </a:lnTo>
                        <a:lnTo>
                          <a:pt x="128" y="114"/>
                        </a:lnTo>
                        <a:lnTo>
                          <a:pt x="129" y="114"/>
                        </a:lnTo>
                        <a:lnTo>
                          <a:pt x="130" y="114"/>
                        </a:lnTo>
                        <a:lnTo>
                          <a:pt x="131" y="113"/>
                        </a:lnTo>
                        <a:lnTo>
                          <a:pt x="132" y="113"/>
                        </a:lnTo>
                        <a:lnTo>
                          <a:pt x="133" y="113"/>
                        </a:lnTo>
                        <a:lnTo>
                          <a:pt x="134" y="113"/>
                        </a:lnTo>
                        <a:lnTo>
                          <a:pt x="135" y="112"/>
                        </a:lnTo>
                        <a:lnTo>
                          <a:pt x="136" y="112"/>
                        </a:lnTo>
                        <a:lnTo>
                          <a:pt x="137" y="112"/>
                        </a:lnTo>
                        <a:lnTo>
                          <a:pt x="138" y="111"/>
                        </a:lnTo>
                        <a:lnTo>
                          <a:pt x="139" y="111"/>
                        </a:lnTo>
                        <a:lnTo>
                          <a:pt x="140" y="111"/>
                        </a:lnTo>
                        <a:lnTo>
                          <a:pt x="141" y="110"/>
                        </a:lnTo>
                        <a:lnTo>
                          <a:pt x="142" y="110"/>
                        </a:lnTo>
                        <a:lnTo>
                          <a:pt x="143" y="109"/>
                        </a:lnTo>
                        <a:lnTo>
                          <a:pt x="144" y="109"/>
                        </a:lnTo>
                        <a:lnTo>
                          <a:pt x="145" y="109"/>
                        </a:lnTo>
                        <a:lnTo>
                          <a:pt x="146" y="108"/>
                        </a:lnTo>
                        <a:lnTo>
                          <a:pt x="147" y="108"/>
                        </a:lnTo>
                        <a:lnTo>
                          <a:pt x="148" y="107"/>
                        </a:lnTo>
                        <a:lnTo>
                          <a:pt x="149" y="107"/>
                        </a:lnTo>
                        <a:lnTo>
                          <a:pt x="150" y="106"/>
                        </a:lnTo>
                        <a:lnTo>
                          <a:pt x="151" y="106"/>
                        </a:lnTo>
                        <a:lnTo>
                          <a:pt x="152" y="105"/>
                        </a:lnTo>
                        <a:lnTo>
                          <a:pt x="153" y="105"/>
                        </a:lnTo>
                        <a:lnTo>
                          <a:pt x="154" y="104"/>
                        </a:lnTo>
                        <a:lnTo>
                          <a:pt x="155" y="104"/>
                        </a:lnTo>
                        <a:lnTo>
                          <a:pt x="156" y="103"/>
                        </a:lnTo>
                        <a:lnTo>
                          <a:pt x="157" y="102"/>
                        </a:lnTo>
                        <a:lnTo>
                          <a:pt x="158" y="102"/>
                        </a:lnTo>
                        <a:lnTo>
                          <a:pt x="159" y="101"/>
                        </a:lnTo>
                        <a:lnTo>
                          <a:pt x="160" y="101"/>
                        </a:lnTo>
                        <a:lnTo>
                          <a:pt x="161" y="100"/>
                        </a:lnTo>
                        <a:lnTo>
                          <a:pt x="162" y="99"/>
                        </a:lnTo>
                        <a:lnTo>
                          <a:pt x="163" y="99"/>
                        </a:lnTo>
                        <a:lnTo>
                          <a:pt x="164" y="98"/>
                        </a:lnTo>
                        <a:lnTo>
                          <a:pt x="165" y="97"/>
                        </a:lnTo>
                        <a:lnTo>
                          <a:pt x="166" y="96"/>
                        </a:lnTo>
                        <a:lnTo>
                          <a:pt x="167" y="96"/>
                        </a:lnTo>
                        <a:lnTo>
                          <a:pt x="168" y="95"/>
                        </a:lnTo>
                        <a:lnTo>
                          <a:pt x="169" y="94"/>
                        </a:lnTo>
                        <a:lnTo>
                          <a:pt x="170" y="93"/>
                        </a:lnTo>
                        <a:lnTo>
                          <a:pt x="171" y="92"/>
                        </a:lnTo>
                        <a:lnTo>
                          <a:pt x="172" y="92"/>
                        </a:lnTo>
                        <a:lnTo>
                          <a:pt x="173" y="91"/>
                        </a:lnTo>
                        <a:lnTo>
                          <a:pt x="174" y="90"/>
                        </a:lnTo>
                        <a:lnTo>
                          <a:pt x="175" y="89"/>
                        </a:lnTo>
                        <a:lnTo>
                          <a:pt x="176" y="88"/>
                        </a:lnTo>
                        <a:lnTo>
                          <a:pt x="177" y="87"/>
                        </a:lnTo>
                        <a:lnTo>
                          <a:pt x="178" y="86"/>
                        </a:lnTo>
                        <a:lnTo>
                          <a:pt x="179" y="85"/>
                        </a:lnTo>
                        <a:lnTo>
                          <a:pt x="180" y="84"/>
                        </a:lnTo>
                        <a:lnTo>
                          <a:pt x="181" y="83"/>
                        </a:lnTo>
                        <a:lnTo>
                          <a:pt x="182" y="82"/>
                        </a:lnTo>
                        <a:lnTo>
                          <a:pt x="183" y="81"/>
                        </a:lnTo>
                        <a:lnTo>
                          <a:pt x="183" y="80"/>
                        </a:lnTo>
                        <a:lnTo>
                          <a:pt x="184" y="79"/>
                        </a:lnTo>
                        <a:lnTo>
                          <a:pt x="185" y="78"/>
                        </a:lnTo>
                        <a:lnTo>
                          <a:pt x="186" y="77"/>
                        </a:lnTo>
                        <a:lnTo>
                          <a:pt x="187" y="76"/>
                        </a:lnTo>
                        <a:lnTo>
                          <a:pt x="187" y="75"/>
                        </a:lnTo>
                        <a:lnTo>
                          <a:pt x="188" y="74"/>
                        </a:lnTo>
                        <a:lnTo>
                          <a:pt x="188" y="74"/>
                        </a:lnTo>
                        <a:lnTo>
                          <a:pt x="104" y="13"/>
                        </a:lnTo>
                        <a:lnTo>
                          <a:pt x="0" y="0"/>
                        </a:ln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108" name="Freeform 107"/>
                  <p:cNvSpPr>
                    <a:spLocks/>
                  </p:cNvSpPr>
                  <p:nvPr/>
                </p:nvSpPr>
                <p:spPr bwMode="auto">
                  <a:xfrm>
                    <a:off x="4959" y="2825"/>
                    <a:ext cx="164" cy="97"/>
                  </a:xfrm>
                  <a:custGeom>
                    <a:avLst/>
                    <a:gdLst>
                      <a:gd name="T0" fmla="*/ 85 w 104"/>
                      <a:gd name="T1" fmla="*/ 60 h 61"/>
                      <a:gd name="T2" fmla="*/ 86 w 104"/>
                      <a:gd name="T3" fmla="*/ 58 h 61"/>
                      <a:gd name="T4" fmla="*/ 87 w 104"/>
                      <a:gd name="T5" fmla="*/ 56 h 61"/>
                      <a:gd name="T6" fmla="*/ 89 w 104"/>
                      <a:gd name="T7" fmla="*/ 54 h 61"/>
                      <a:gd name="T8" fmla="*/ 90 w 104"/>
                      <a:gd name="T9" fmla="*/ 52 h 61"/>
                      <a:gd name="T10" fmla="*/ 91 w 104"/>
                      <a:gd name="T11" fmla="*/ 50 h 61"/>
                      <a:gd name="T12" fmla="*/ 92 w 104"/>
                      <a:gd name="T13" fmla="*/ 48 h 61"/>
                      <a:gd name="T14" fmla="*/ 93 w 104"/>
                      <a:gd name="T15" fmla="*/ 46 h 61"/>
                      <a:gd name="T16" fmla="*/ 94 w 104"/>
                      <a:gd name="T17" fmla="*/ 44 h 61"/>
                      <a:gd name="T18" fmla="*/ 95 w 104"/>
                      <a:gd name="T19" fmla="*/ 42 h 61"/>
                      <a:gd name="T20" fmla="*/ 96 w 104"/>
                      <a:gd name="T21" fmla="*/ 40 h 61"/>
                      <a:gd name="T22" fmla="*/ 97 w 104"/>
                      <a:gd name="T23" fmla="*/ 38 h 61"/>
                      <a:gd name="T24" fmla="*/ 97 w 104"/>
                      <a:gd name="T25" fmla="*/ 36 h 61"/>
                      <a:gd name="T26" fmla="*/ 98 w 104"/>
                      <a:gd name="T27" fmla="*/ 34 h 61"/>
                      <a:gd name="T28" fmla="*/ 99 w 104"/>
                      <a:gd name="T29" fmla="*/ 32 h 61"/>
                      <a:gd name="T30" fmla="*/ 99 w 104"/>
                      <a:gd name="T31" fmla="*/ 30 h 61"/>
                      <a:gd name="T32" fmla="*/ 100 w 104"/>
                      <a:gd name="T33" fmla="*/ 28 h 61"/>
                      <a:gd name="T34" fmla="*/ 101 w 104"/>
                      <a:gd name="T35" fmla="*/ 26 h 61"/>
                      <a:gd name="T36" fmla="*/ 101 w 104"/>
                      <a:gd name="T37" fmla="*/ 24 h 61"/>
                      <a:gd name="T38" fmla="*/ 102 w 104"/>
                      <a:gd name="T39" fmla="*/ 22 h 61"/>
                      <a:gd name="T40" fmla="*/ 102 w 104"/>
                      <a:gd name="T41" fmla="*/ 20 h 61"/>
                      <a:gd name="T42" fmla="*/ 102 w 104"/>
                      <a:gd name="T43" fmla="*/ 18 h 61"/>
                      <a:gd name="T44" fmla="*/ 103 w 104"/>
                      <a:gd name="T45" fmla="*/ 16 h 61"/>
                      <a:gd name="T46" fmla="*/ 103 w 104"/>
                      <a:gd name="T47" fmla="*/ 14 h 61"/>
                      <a:gd name="T48" fmla="*/ 103 w 104"/>
                      <a:gd name="T49" fmla="*/ 12 h 61"/>
                      <a:gd name="T50" fmla="*/ 103 w 104"/>
                      <a:gd name="T51" fmla="*/ 10 h 61"/>
                      <a:gd name="T52" fmla="*/ 104 w 104"/>
                      <a:gd name="T53" fmla="*/ 8 h 61"/>
                      <a:gd name="T54" fmla="*/ 104 w 104"/>
                      <a:gd name="T55" fmla="*/ 6 h 61"/>
                      <a:gd name="T56" fmla="*/ 104 w 104"/>
                      <a:gd name="T57" fmla="*/ 4 h 61"/>
                      <a:gd name="T58" fmla="*/ 104 w 104"/>
                      <a:gd name="T59" fmla="*/ 2 h 61"/>
                      <a:gd name="T60" fmla="*/ 104 w 104"/>
                      <a:gd name="T61" fmla="*/ 0 h 61"/>
                      <a:gd name="T62" fmla="*/ 0 w 104"/>
                      <a:gd name="T63"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 h="61">
                        <a:moveTo>
                          <a:pt x="84" y="61"/>
                        </a:moveTo>
                        <a:lnTo>
                          <a:pt x="85" y="60"/>
                        </a:lnTo>
                        <a:lnTo>
                          <a:pt x="85" y="59"/>
                        </a:lnTo>
                        <a:lnTo>
                          <a:pt x="86" y="58"/>
                        </a:lnTo>
                        <a:lnTo>
                          <a:pt x="87" y="57"/>
                        </a:lnTo>
                        <a:lnTo>
                          <a:pt x="87" y="56"/>
                        </a:lnTo>
                        <a:lnTo>
                          <a:pt x="88" y="55"/>
                        </a:lnTo>
                        <a:lnTo>
                          <a:pt x="89" y="54"/>
                        </a:lnTo>
                        <a:lnTo>
                          <a:pt x="89" y="53"/>
                        </a:lnTo>
                        <a:lnTo>
                          <a:pt x="90" y="52"/>
                        </a:lnTo>
                        <a:lnTo>
                          <a:pt x="90" y="51"/>
                        </a:lnTo>
                        <a:lnTo>
                          <a:pt x="91" y="50"/>
                        </a:lnTo>
                        <a:lnTo>
                          <a:pt x="92" y="49"/>
                        </a:lnTo>
                        <a:lnTo>
                          <a:pt x="92" y="48"/>
                        </a:lnTo>
                        <a:lnTo>
                          <a:pt x="93" y="47"/>
                        </a:lnTo>
                        <a:lnTo>
                          <a:pt x="93" y="46"/>
                        </a:lnTo>
                        <a:lnTo>
                          <a:pt x="94" y="45"/>
                        </a:lnTo>
                        <a:lnTo>
                          <a:pt x="94" y="44"/>
                        </a:lnTo>
                        <a:lnTo>
                          <a:pt x="95" y="43"/>
                        </a:lnTo>
                        <a:lnTo>
                          <a:pt x="95" y="42"/>
                        </a:lnTo>
                        <a:lnTo>
                          <a:pt x="95" y="41"/>
                        </a:lnTo>
                        <a:lnTo>
                          <a:pt x="96" y="40"/>
                        </a:lnTo>
                        <a:lnTo>
                          <a:pt x="96" y="39"/>
                        </a:lnTo>
                        <a:lnTo>
                          <a:pt x="97" y="38"/>
                        </a:lnTo>
                        <a:lnTo>
                          <a:pt x="97" y="37"/>
                        </a:lnTo>
                        <a:lnTo>
                          <a:pt x="97" y="36"/>
                        </a:lnTo>
                        <a:lnTo>
                          <a:pt x="98" y="35"/>
                        </a:lnTo>
                        <a:lnTo>
                          <a:pt x="98" y="34"/>
                        </a:lnTo>
                        <a:lnTo>
                          <a:pt x="99" y="33"/>
                        </a:lnTo>
                        <a:lnTo>
                          <a:pt x="99" y="32"/>
                        </a:lnTo>
                        <a:lnTo>
                          <a:pt x="99" y="31"/>
                        </a:lnTo>
                        <a:lnTo>
                          <a:pt x="99" y="30"/>
                        </a:lnTo>
                        <a:lnTo>
                          <a:pt x="100" y="29"/>
                        </a:lnTo>
                        <a:lnTo>
                          <a:pt x="100" y="28"/>
                        </a:lnTo>
                        <a:lnTo>
                          <a:pt x="100" y="27"/>
                        </a:lnTo>
                        <a:lnTo>
                          <a:pt x="101" y="26"/>
                        </a:lnTo>
                        <a:lnTo>
                          <a:pt x="101" y="25"/>
                        </a:lnTo>
                        <a:lnTo>
                          <a:pt x="101" y="24"/>
                        </a:lnTo>
                        <a:lnTo>
                          <a:pt x="101" y="23"/>
                        </a:lnTo>
                        <a:lnTo>
                          <a:pt x="102" y="22"/>
                        </a:lnTo>
                        <a:lnTo>
                          <a:pt x="102" y="21"/>
                        </a:lnTo>
                        <a:lnTo>
                          <a:pt x="102" y="20"/>
                        </a:lnTo>
                        <a:lnTo>
                          <a:pt x="102" y="19"/>
                        </a:lnTo>
                        <a:lnTo>
                          <a:pt x="102" y="18"/>
                        </a:lnTo>
                        <a:lnTo>
                          <a:pt x="103" y="17"/>
                        </a:lnTo>
                        <a:lnTo>
                          <a:pt x="103" y="16"/>
                        </a:lnTo>
                        <a:lnTo>
                          <a:pt x="103" y="15"/>
                        </a:lnTo>
                        <a:lnTo>
                          <a:pt x="103" y="14"/>
                        </a:lnTo>
                        <a:lnTo>
                          <a:pt x="103" y="13"/>
                        </a:lnTo>
                        <a:lnTo>
                          <a:pt x="103" y="12"/>
                        </a:lnTo>
                        <a:lnTo>
                          <a:pt x="103" y="11"/>
                        </a:lnTo>
                        <a:lnTo>
                          <a:pt x="103" y="10"/>
                        </a:lnTo>
                        <a:lnTo>
                          <a:pt x="104" y="9"/>
                        </a:lnTo>
                        <a:lnTo>
                          <a:pt x="104" y="8"/>
                        </a:lnTo>
                        <a:lnTo>
                          <a:pt x="104" y="7"/>
                        </a:lnTo>
                        <a:lnTo>
                          <a:pt x="104" y="6"/>
                        </a:lnTo>
                        <a:lnTo>
                          <a:pt x="104" y="5"/>
                        </a:lnTo>
                        <a:lnTo>
                          <a:pt x="104" y="4"/>
                        </a:lnTo>
                        <a:lnTo>
                          <a:pt x="104" y="3"/>
                        </a:lnTo>
                        <a:lnTo>
                          <a:pt x="104" y="2"/>
                        </a:lnTo>
                        <a:lnTo>
                          <a:pt x="104" y="1"/>
                        </a:lnTo>
                        <a:lnTo>
                          <a:pt x="104" y="0"/>
                        </a:lnTo>
                        <a:lnTo>
                          <a:pt x="104" y="0"/>
                        </a:lnTo>
                        <a:lnTo>
                          <a:pt x="0" y="0"/>
                        </a:lnTo>
                        <a:lnTo>
                          <a:pt x="84" y="61"/>
                        </a:lnTo>
                        <a:close/>
                      </a:path>
                    </a:pathLst>
                  </a:custGeom>
                  <a:solidFill>
                    <a:srgbClr val="2892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109" name="Rectangle 108"/>
                  <p:cNvSpPr>
                    <a:spLocks noChangeArrowheads="1"/>
                  </p:cNvSpPr>
                  <p:nvPr/>
                </p:nvSpPr>
                <p:spPr bwMode="auto">
                  <a:xfrm>
                    <a:off x="5450" y="2347"/>
                    <a:ext cx="140"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buClrTx/>
                      <a:buFontTx/>
                      <a:buNone/>
                    </a:pPr>
                    <a:r>
                      <a:rPr lang="en-US" altLang="en-US" sz="1200" kern="1200" dirty="0">
                        <a:solidFill>
                          <a:srgbClr val="000000"/>
                        </a:solidFill>
                        <a:ea typeface="+mn-ea"/>
                        <a:cs typeface="Arial" panose="020B0604020202020204" pitchFamily="34" charset="0"/>
                      </a:rPr>
                      <a:t>Est</a:t>
                    </a:r>
                    <a:endParaRPr lang="en-US" altLang="en-US" sz="1800" kern="1200" dirty="0">
                      <a:solidFill>
                        <a:prstClr val="black"/>
                      </a:solidFill>
                      <a:ea typeface="+mn-ea"/>
                      <a:cs typeface="Arial" panose="020B0604020202020204" pitchFamily="34" charset="0"/>
                    </a:endParaRPr>
                  </a:p>
                </p:txBody>
              </p:sp>
              <p:sp>
                <p:nvSpPr>
                  <p:cNvPr id="110" name="Rectangle 109"/>
                  <p:cNvSpPr>
                    <a:spLocks noChangeArrowheads="1"/>
                  </p:cNvSpPr>
                  <p:nvPr/>
                </p:nvSpPr>
                <p:spPr bwMode="auto">
                  <a:xfrm>
                    <a:off x="4493" y="992"/>
                    <a:ext cx="24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buClrTx/>
                      <a:buFontTx/>
                      <a:buNone/>
                    </a:pPr>
                    <a:r>
                      <a:rPr lang="en-US" altLang="en-US" sz="1200" kern="1200" dirty="0">
                        <a:solidFill>
                          <a:srgbClr val="000000"/>
                        </a:solidFill>
                        <a:ea typeface="+mn-ea"/>
                        <a:cs typeface="Arial" panose="020B0604020202020204" pitchFamily="34" charset="0"/>
                      </a:rPr>
                      <a:t>Sahel</a:t>
                    </a:r>
                    <a:endParaRPr lang="en-US" altLang="en-US" sz="1800" kern="1200" dirty="0">
                      <a:solidFill>
                        <a:prstClr val="black"/>
                      </a:solidFill>
                      <a:ea typeface="+mn-ea"/>
                      <a:cs typeface="Arial" panose="020B0604020202020204" pitchFamily="34" charset="0"/>
                    </a:endParaRPr>
                  </a:p>
                </p:txBody>
              </p:sp>
              <p:sp>
                <p:nvSpPr>
                  <p:cNvPr id="111" name="Rectangle 110"/>
                  <p:cNvSpPr>
                    <a:spLocks noChangeArrowheads="1"/>
                  </p:cNvSpPr>
                  <p:nvPr/>
                </p:nvSpPr>
                <p:spPr bwMode="auto">
                  <a:xfrm>
                    <a:off x="3508" y="1582"/>
                    <a:ext cx="209"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buClrTx/>
                      <a:buFontTx/>
                      <a:buNone/>
                    </a:pPr>
                    <a:r>
                      <a:rPr lang="en-US" altLang="en-US" sz="1200" kern="1200" dirty="0">
                        <a:solidFill>
                          <a:srgbClr val="000000"/>
                        </a:solidFill>
                        <a:ea typeface="+mn-ea"/>
                        <a:cs typeface="Arial" panose="020B0604020202020204" pitchFamily="34" charset="0"/>
                      </a:rPr>
                      <a:t>Nord</a:t>
                    </a:r>
                    <a:endParaRPr lang="en-US" altLang="en-US" sz="1800" kern="1200" dirty="0">
                      <a:solidFill>
                        <a:prstClr val="black"/>
                      </a:solidFill>
                      <a:ea typeface="+mn-ea"/>
                      <a:cs typeface="Arial" panose="020B0604020202020204" pitchFamily="34" charset="0"/>
                    </a:endParaRPr>
                  </a:p>
                </p:txBody>
              </p:sp>
              <p:sp>
                <p:nvSpPr>
                  <p:cNvPr id="112" name="Rectangle 111"/>
                  <p:cNvSpPr>
                    <a:spLocks noChangeArrowheads="1"/>
                  </p:cNvSpPr>
                  <p:nvPr/>
                </p:nvSpPr>
                <p:spPr bwMode="auto">
                  <a:xfrm>
                    <a:off x="2270" y="2844"/>
                    <a:ext cx="748" cy="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buClrTx/>
                      <a:buFontTx/>
                      <a:buNone/>
                    </a:pPr>
                    <a:r>
                      <a:rPr lang="en-US" altLang="en-US" sz="1200" kern="1200" dirty="0">
                        <a:solidFill>
                          <a:srgbClr val="000000"/>
                        </a:solidFill>
                        <a:ea typeface="+mn-ea"/>
                        <a:cs typeface="Arial" panose="020B0604020202020204" pitchFamily="34" charset="0"/>
                      </a:rPr>
                      <a:t>Haut-Bassins</a:t>
                    </a:r>
                    <a:endParaRPr lang="en-US" altLang="en-US" sz="1800" kern="1200" dirty="0">
                      <a:solidFill>
                        <a:prstClr val="black"/>
                      </a:solidFill>
                      <a:ea typeface="+mn-ea"/>
                      <a:cs typeface="Arial" panose="020B0604020202020204" pitchFamily="34" charset="0"/>
                    </a:endParaRPr>
                  </a:p>
                </p:txBody>
              </p:sp>
              <p:sp>
                <p:nvSpPr>
                  <p:cNvPr id="113" name="Rectangle 112"/>
                  <p:cNvSpPr>
                    <a:spLocks noChangeArrowheads="1"/>
                  </p:cNvSpPr>
                  <p:nvPr/>
                </p:nvSpPr>
                <p:spPr bwMode="auto">
                  <a:xfrm>
                    <a:off x="2033" y="3611"/>
                    <a:ext cx="429"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buClrTx/>
                      <a:buFontTx/>
                      <a:buNone/>
                    </a:pPr>
                    <a:r>
                      <a:rPr lang="en-US" altLang="en-US" sz="1200" kern="1200" dirty="0">
                        <a:solidFill>
                          <a:srgbClr val="000000"/>
                        </a:solidFill>
                        <a:ea typeface="+mn-ea"/>
                        <a:cs typeface="Arial" panose="020B0604020202020204" pitchFamily="34" charset="0"/>
                      </a:rPr>
                      <a:t>Cascades</a:t>
                    </a:r>
                    <a:endParaRPr lang="en-US" altLang="en-US" sz="1800" kern="1200" dirty="0">
                      <a:solidFill>
                        <a:prstClr val="black"/>
                      </a:solidFill>
                      <a:ea typeface="+mn-ea"/>
                      <a:cs typeface="Arial" panose="020B0604020202020204" pitchFamily="34" charset="0"/>
                    </a:endParaRPr>
                  </a:p>
                </p:txBody>
              </p:sp>
              <p:sp>
                <p:nvSpPr>
                  <p:cNvPr id="114" name="Rectangle 113"/>
                  <p:cNvSpPr>
                    <a:spLocks noChangeArrowheads="1"/>
                  </p:cNvSpPr>
                  <p:nvPr/>
                </p:nvSpPr>
                <p:spPr bwMode="auto">
                  <a:xfrm>
                    <a:off x="2421" y="2056"/>
                    <a:ext cx="858"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buClrTx/>
                      <a:buFontTx/>
                      <a:buNone/>
                    </a:pPr>
                    <a:r>
                      <a:rPr lang="en-US" altLang="en-US" sz="1200" kern="1200" dirty="0">
                        <a:solidFill>
                          <a:srgbClr val="000000"/>
                        </a:solidFill>
                        <a:ea typeface="+mn-ea"/>
                        <a:cs typeface="Arial" panose="020B0604020202020204" pitchFamily="34" charset="0"/>
                      </a:rPr>
                      <a:t>Boucle du Mouhoun</a:t>
                    </a:r>
                    <a:endParaRPr lang="en-US" altLang="en-US" sz="1800" kern="1200" dirty="0">
                      <a:solidFill>
                        <a:prstClr val="black"/>
                      </a:solidFill>
                      <a:ea typeface="+mn-ea"/>
                      <a:cs typeface="Arial" panose="020B0604020202020204" pitchFamily="34" charset="0"/>
                    </a:endParaRPr>
                  </a:p>
                </p:txBody>
              </p:sp>
              <p:sp>
                <p:nvSpPr>
                  <p:cNvPr id="115" name="Rectangle 114"/>
                  <p:cNvSpPr>
                    <a:spLocks noChangeArrowheads="1"/>
                  </p:cNvSpPr>
                  <p:nvPr/>
                </p:nvSpPr>
                <p:spPr bwMode="auto">
                  <a:xfrm>
                    <a:off x="4085" y="1699"/>
                    <a:ext cx="531"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buClrTx/>
                      <a:buFontTx/>
                      <a:buNone/>
                    </a:pPr>
                    <a:r>
                      <a:rPr lang="en-US" altLang="en-US" sz="1200" kern="1200" dirty="0">
                        <a:solidFill>
                          <a:srgbClr val="000000"/>
                        </a:solidFill>
                        <a:ea typeface="+mn-ea"/>
                        <a:cs typeface="Arial" panose="020B0604020202020204" pitchFamily="34" charset="0"/>
                      </a:rPr>
                      <a:t>Centre-Nord</a:t>
                    </a:r>
                    <a:endParaRPr lang="en-US" altLang="en-US" sz="1800" kern="1200" dirty="0">
                      <a:solidFill>
                        <a:prstClr val="black"/>
                      </a:solidFill>
                      <a:ea typeface="+mn-ea"/>
                      <a:cs typeface="Arial" panose="020B0604020202020204" pitchFamily="34" charset="0"/>
                    </a:endParaRPr>
                  </a:p>
                </p:txBody>
              </p:sp>
              <p:sp>
                <p:nvSpPr>
                  <p:cNvPr id="116" name="Rectangle 115"/>
                  <p:cNvSpPr>
                    <a:spLocks noChangeArrowheads="1"/>
                  </p:cNvSpPr>
                  <p:nvPr/>
                </p:nvSpPr>
                <p:spPr bwMode="auto">
                  <a:xfrm>
                    <a:off x="2726" y="3436"/>
                    <a:ext cx="462"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buClrTx/>
                      <a:buFontTx/>
                      <a:buNone/>
                    </a:pPr>
                    <a:r>
                      <a:rPr lang="en-US" altLang="en-US" sz="1200" kern="1200" dirty="0">
                        <a:solidFill>
                          <a:srgbClr val="000000"/>
                        </a:solidFill>
                        <a:ea typeface="+mn-ea"/>
                        <a:cs typeface="Arial" panose="020B0604020202020204" pitchFamily="34" charset="0"/>
                      </a:rPr>
                      <a:t>Sud-Ouest</a:t>
                    </a:r>
                    <a:endParaRPr lang="en-US" altLang="en-US" sz="1800" kern="1200" dirty="0">
                      <a:solidFill>
                        <a:prstClr val="black"/>
                      </a:solidFill>
                      <a:ea typeface="+mn-ea"/>
                      <a:cs typeface="Arial" panose="020B0604020202020204" pitchFamily="34" charset="0"/>
                    </a:endParaRPr>
                  </a:p>
                </p:txBody>
              </p:sp>
              <p:sp>
                <p:nvSpPr>
                  <p:cNvPr id="117" name="Rectangle 116"/>
                  <p:cNvSpPr>
                    <a:spLocks noChangeArrowheads="1"/>
                  </p:cNvSpPr>
                  <p:nvPr/>
                </p:nvSpPr>
                <p:spPr bwMode="auto">
                  <a:xfrm>
                    <a:off x="5107" y="2958"/>
                    <a:ext cx="462"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buClrTx/>
                      <a:buFontTx/>
                      <a:buNone/>
                    </a:pPr>
                    <a:r>
                      <a:rPr lang="en-US" altLang="en-US" sz="1200" kern="1200" dirty="0">
                        <a:solidFill>
                          <a:srgbClr val="000000"/>
                        </a:solidFill>
                        <a:ea typeface="+mn-ea"/>
                        <a:cs typeface="Arial" panose="020B0604020202020204" pitchFamily="34" charset="0"/>
                      </a:rPr>
                      <a:t>Centre-Est</a:t>
                    </a:r>
                    <a:endParaRPr lang="en-US" altLang="en-US" sz="1800" kern="1200" dirty="0">
                      <a:solidFill>
                        <a:prstClr val="black"/>
                      </a:solidFill>
                      <a:ea typeface="+mn-ea"/>
                      <a:cs typeface="Arial" panose="020B0604020202020204" pitchFamily="34" charset="0"/>
                    </a:endParaRPr>
                  </a:p>
                </p:txBody>
              </p:sp>
              <p:sp>
                <p:nvSpPr>
                  <p:cNvPr id="118" name="Rectangle 117"/>
                  <p:cNvSpPr>
                    <a:spLocks noChangeArrowheads="1"/>
                  </p:cNvSpPr>
                  <p:nvPr/>
                </p:nvSpPr>
                <p:spPr bwMode="auto">
                  <a:xfrm>
                    <a:off x="3440" y="2690"/>
                    <a:ext cx="756" cy="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buClrTx/>
                      <a:buFontTx/>
                      <a:buNone/>
                    </a:pPr>
                    <a:r>
                      <a:rPr lang="en-US" altLang="en-US" sz="1200" kern="1200" dirty="0">
                        <a:solidFill>
                          <a:srgbClr val="000000"/>
                        </a:solidFill>
                        <a:ea typeface="+mn-ea"/>
                        <a:cs typeface="Arial" panose="020B0604020202020204" pitchFamily="34" charset="0"/>
                      </a:rPr>
                      <a:t>Centre-Ouest</a:t>
                    </a:r>
                    <a:endParaRPr lang="en-US" altLang="en-US" sz="1800" kern="1200" dirty="0">
                      <a:solidFill>
                        <a:prstClr val="black"/>
                      </a:solidFill>
                      <a:ea typeface="+mn-ea"/>
                      <a:cs typeface="Arial" panose="020B0604020202020204" pitchFamily="34" charset="0"/>
                    </a:endParaRPr>
                  </a:p>
                </p:txBody>
              </p:sp>
              <p:sp>
                <p:nvSpPr>
                  <p:cNvPr id="119" name="Rectangle 118"/>
                  <p:cNvSpPr>
                    <a:spLocks noChangeArrowheads="1"/>
                  </p:cNvSpPr>
                  <p:nvPr/>
                </p:nvSpPr>
                <p:spPr bwMode="auto">
                  <a:xfrm>
                    <a:off x="3998" y="2922"/>
                    <a:ext cx="643" cy="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buClrTx/>
                      <a:buFontTx/>
                      <a:buNone/>
                    </a:pPr>
                    <a:r>
                      <a:rPr lang="en-US" altLang="en-US" sz="1200" kern="1200" dirty="0">
                        <a:solidFill>
                          <a:srgbClr val="000000"/>
                        </a:solidFill>
                        <a:ea typeface="+mn-ea"/>
                        <a:cs typeface="Arial" panose="020B0604020202020204" pitchFamily="34" charset="0"/>
                      </a:rPr>
                      <a:t>Centre-Sud</a:t>
                    </a:r>
                    <a:endParaRPr lang="en-US" altLang="en-US" sz="1800" kern="1200" dirty="0">
                      <a:solidFill>
                        <a:prstClr val="black"/>
                      </a:solidFill>
                      <a:ea typeface="+mn-ea"/>
                      <a:cs typeface="Arial" panose="020B0604020202020204" pitchFamily="34" charset="0"/>
                    </a:endParaRPr>
                  </a:p>
                </p:txBody>
              </p:sp>
              <p:sp>
                <p:nvSpPr>
                  <p:cNvPr id="120" name="Rectangle 119"/>
                  <p:cNvSpPr>
                    <a:spLocks noChangeArrowheads="1"/>
                  </p:cNvSpPr>
                  <p:nvPr/>
                </p:nvSpPr>
                <p:spPr bwMode="auto">
                  <a:xfrm>
                    <a:off x="4307" y="2233"/>
                    <a:ext cx="670"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buClrTx/>
                      <a:buFontTx/>
                      <a:buNone/>
                    </a:pPr>
                    <a:r>
                      <a:rPr lang="en-US" altLang="en-US" sz="1200" kern="1200" dirty="0">
                        <a:solidFill>
                          <a:srgbClr val="000000"/>
                        </a:solidFill>
                        <a:ea typeface="+mn-ea"/>
                        <a:cs typeface="Arial" panose="020B0604020202020204" pitchFamily="34" charset="0"/>
                      </a:rPr>
                      <a:t>Plateau-Central</a:t>
                    </a:r>
                    <a:endParaRPr lang="en-US" altLang="en-US" sz="1800" kern="1200" dirty="0">
                      <a:solidFill>
                        <a:prstClr val="black"/>
                      </a:solidFill>
                      <a:ea typeface="+mn-ea"/>
                      <a:cs typeface="Arial" panose="020B0604020202020204" pitchFamily="34" charset="0"/>
                    </a:endParaRPr>
                  </a:p>
                </p:txBody>
              </p:sp>
              <p:sp>
                <p:nvSpPr>
                  <p:cNvPr id="121" name="Rectangle 120"/>
                  <p:cNvSpPr>
                    <a:spLocks noChangeArrowheads="1"/>
                  </p:cNvSpPr>
                  <p:nvPr/>
                </p:nvSpPr>
                <p:spPr bwMode="auto">
                  <a:xfrm>
                    <a:off x="3956" y="2275"/>
                    <a:ext cx="290"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buClrTx/>
                      <a:buFontTx/>
                      <a:buNone/>
                    </a:pPr>
                    <a:r>
                      <a:rPr lang="en-US" altLang="en-US" sz="1200" kern="1200" dirty="0">
                        <a:solidFill>
                          <a:srgbClr val="000000"/>
                        </a:solidFill>
                        <a:ea typeface="+mn-ea"/>
                        <a:cs typeface="Arial" panose="020B0604020202020204" pitchFamily="34" charset="0"/>
                      </a:rPr>
                      <a:t>Centre</a:t>
                    </a:r>
                    <a:endParaRPr lang="en-US" altLang="en-US" sz="1800" kern="1200" dirty="0">
                      <a:solidFill>
                        <a:prstClr val="black"/>
                      </a:solidFill>
                      <a:ea typeface="+mn-ea"/>
                      <a:cs typeface="Arial" panose="020B0604020202020204" pitchFamily="34" charset="0"/>
                    </a:endParaRPr>
                  </a:p>
                </p:txBody>
              </p:sp>
              <p:sp>
                <p:nvSpPr>
                  <p:cNvPr id="122" name="Freeform 121"/>
                  <p:cNvSpPr>
                    <a:spLocks/>
                  </p:cNvSpPr>
                  <p:nvPr/>
                </p:nvSpPr>
                <p:spPr bwMode="auto">
                  <a:xfrm>
                    <a:off x="3038" y="1240"/>
                    <a:ext cx="241" cy="241"/>
                  </a:xfrm>
                  <a:custGeom>
                    <a:avLst/>
                    <a:gdLst>
                      <a:gd name="T0" fmla="*/ 152 w 152"/>
                      <a:gd name="T1" fmla="*/ 70 h 152"/>
                      <a:gd name="T2" fmla="*/ 151 w 152"/>
                      <a:gd name="T3" fmla="*/ 63 h 152"/>
                      <a:gd name="T4" fmla="*/ 149 w 152"/>
                      <a:gd name="T5" fmla="*/ 56 h 152"/>
                      <a:gd name="T6" fmla="*/ 147 w 152"/>
                      <a:gd name="T7" fmla="*/ 49 h 152"/>
                      <a:gd name="T8" fmla="*/ 144 w 152"/>
                      <a:gd name="T9" fmla="*/ 42 h 152"/>
                      <a:gd name="T10" fmla="*/ 140 w 152"/>
                      <a:gd name="T11" fmla="*/ 35 h 152"/>
                      <a:gd name="T12" fmla="*/ 135 w 152"/>
                      <a:gd name="T13" fmla="*/ 28 h 152"/>
                      <a:gd name="T14" fmla="*/ 128 w 152"/>
                      <a:gd name="T15" fmla="*/ 21 h 152"/>
                      <a:gd name="T16" fmla="*/ 121 w 152"/>
                      <a:gd name="T17" fmla="*/ 15 h 152"/>
                      <a:gd name="T18" fmla="*/ 114 w 152"/>
                      <a:gd name="T19" fmla="*/ 10 h 152"/>
                      <a:gd name="T20" fmla="*/ 107 w 152"/>
                      <a:gd name="T21" fmla="*/ 7 h 152"/>
                      <a:gd name="T22" fmla="*/ 100 w 152"/>
                      <a:gd name="T23" fmla="*/ 4 h 152"/>
                      <a:gd name="T24" fmla="*/ 93 w 152"/>
                      <a:gd name="T25" fmla="*/ 2 h 152"/>
                      <a:gd name="T26" fmla="*/ 86 w 152"/>
                      <a:gd name="T27" fmla="*/ 1 h 152"/>
                      <a:gd name="T28" fmla="*/ 79 w 152"/>
                      <a:gd name="T29" fmla="*/ 0 h 152"/>
                      <a:gd name="T30" fmla="*/ 72 w 152"/>
                      <a:gd name="T31" fmla="*/ 0 h 152"/>
                      <a:gd name="T32" fmla="*/ 65 w 152"/>
                      <a:gd name="T33" fmla="*/ 1 h 152"/>
                      <a:gd name="T34" fmla="*/ 58 w 152"/>
                      <a:gd name="T35" fmla="*/ 2 h 152"/>
                      <a:gd name="T36" fmla="*/ 51 w 152"/>
                      <a:gd name="T37" fmla="*/ 4 h 152"/>
                      <a:gd name="T38" fmla="*/ 44 w 152"/>
                      <a:gd name="T39" fmla="*/ 7 h 152"/>
                      <a:gd name="T40" fmla="*/ 37 w 152"/>
                      <a:gd name="T41" fmla="*/ 11 h 152"/>
                      <a:gd name="T42" fmla="*/ 30 w 152"/>
                      <a:gd name="T43" fmla="*/ 16 h 152"/>
                      <a:gd name="T44" fmla="*/ 23 w 152"/>
                      <a:gd name="T45" fmla="*/ 22 h 152"/>
                      <a:gd name="T46" fmla="*/ 16 w 152"/>
                      <a:gd name="T47" fmla="*/ 29 h 152"/>
                      <a:gd name="T48" fmla="*/ 11 w 152"/>
                      <a:gd name="T49" fmla="*/ 36 h 152"/>
                      <a:gd name="T50" fmla="*/ 8 w 152"/>
                      <a:gd name="T51" fmla="*/ 43 h 152"/>
                      <a:gd name="T52" fmla="*/ 5 w 152"/>
                      <a:gd name="T53" fmla="*/ 50 h 152"/>
                      <a:gd name="T54" fmla="*/ 2 w 152"/>
                      <a:gd name="T55" fmla="*/ 57 h 152"/>
                      <a:gd name="T56" fmla="*/ 1 w 152"/>
                      <a:gd name="T57" fmla="*/ 64 h 152"/>
                      <a:gd name="T58" fmla="*/ 0 w 152"/>
                      <a:gd name="T59" fmla="*/ 71 h 152"/>
                      <a:gd name="T60" fmla="*/ 0 w 152"/>
                      <a:gd name="T61" fmla="*/ 78 h 152"/>
                      <a:gd name="T62" fmla="*/ 1 w 152"/>
                      <a:gd name="T63" fmla="*/ 85 h 152"/>
                      <a:gd name="T64" fmla="*/ 2 w 152"/>
                      <a:gd name="T65" fmla="*/ 92 h 152"/>
                      <a:gd name="T66" fmla="*/ 4 w 152"/>
                      <a:gd name="T67" fmla="*/ 99 h 152"/>
                      <a:gd name="T68" fmla="*/ 6 w 152"/>
                      <a:gd name="T69" fmla="*/ 106 h 152"/>
                      <a:gd name="T70" fmla="*/ 10 w 152"/>
                      <a:gd name="T71" fmla="*/ 113 h 152"/>
                      <a:gd name="T72" fmla="*/ 14 w 152"/>
                      <a:gd name="T73" fmla="*/ 120 h 152"/>
                      <a:gd name="T74" fmla="*/ 20 w 152"/>
                      <a:gd name="T75" fmla="*/ 127 h 152"/>
                      <a:gd name="T76" fmla="*/ 27 w 152"/>
                      <a:gd name="T77" fmla="*/ 134 h 152"/>
                      <a:gd name="T78" fmla="*/ 34 w 152"/>
                      <a:gd name="T79" fmla="*/ 139 h 152"/>
                      <a:gd name="T80" fmla="*/ 41 w 152"/>
                      <a:gd name="T81" fmla="*/ 143 h 152"/>
                      <a:gd name="T82" fmla="*/ 48 w 152"/>
                      <a:gd name="T83" fmla="*/ 147 h 152"/>
                      <a:gd name="T84" fmla="*/ 55 w 152"/>
                      <a:gd name="T85" fmla="*/ 149 h 152"/>
                      <a:gd name="T86" fmla="*/ 62 w 152"/>
                      <a:gd name="T87" fmla="*/ 151 h 152"/>
                      <a:gd name="T88" fmla="*/ 69 w 152"/>
                      <a:gd name="T89" fmla="*/ 152 h 152"/>
                      <a:gd name="T90" fmla="*/ 76 w 152"/>
                      <a:gd name="T91" fmla="*/ 152 h 152"/>
                      <a:gd name="T92" fmla="*/ 83 w 152"/>
                      <a:gd name="T93" fmla="*/ 152 h 152"/>
                      <a:gd name="T94" fmla="*/ 90 w 152"/>
                      <a:gd name="T95" fmla="*/ 151 h 152"/>
                      <a:gd name="T96" fmla="*/ 97 w 152"/>
                      <a:gd name="T97" fmla="*/ 149 h 152"/>
                      <a:gd name="T98" fmla="*/ 104 w 152"/>
                      <a:gd name="T99" fmla="*/ 147 h 152"/>
                      <a:gd name="T100" fmla="*/ 111 w 152"/>
                      <a:gd name="T101" fmla="*/ 143 h 152"/>
                      <a:gd name="T102" fmla="*/ 118 w 152"/>
                      <a:gd name="T103" fmla="*/ 139 h 152"/>
                      <a:gd name="T104" fmla="*/ 125 w 152"/>
                      <a:gd name="T105" fmla="*/ 134 h 152"/>
                      <a:gd name="T106" fmla="*/ 132 w 152"/>
                      <a:gd name="T107" fmla="*/ 127 h 152"/>
                      <a:gd name="T108" fmla="*/ 138 w 152"/>
                      <a:gd name="T109" fmla="*/ 120 h 152"/>
                      <a:gd name="T110" fmla="*/ 142 w 152"/>
                      <a:gd name="T111" fmla="*/ 113 h 152"/>
                      <a:gd name="T112" fmla="*/ 146 w 152"/>
                      <a:gd name="T113" fmla="*/ 106 h 152"/>
                      <a:gd name="T114" fmla="*/ 148 w 152"/>
                      <a:gd name="T115" fmla="*/ 99 h 152"/>
                      <a:gd name="T116" fmla="*/ 150 w 152"/>
                      <a:gd name="T117" fmla="*/ 92 h 152"/>
                      <a:gd name="T118" fmla="*/ 151 w 152"/>
                      <a:gd name="T119" fmla="*/ 85 h 152"/>
                      <a:gd name="T120" fmla="*/ 152 w 152"/>
                      <a:gd name="T121" fmla="*/ 7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2" h="152">
                        <a:moveTo>
                          <a:pt x="152" y="76"/>
                        </a:moveTo>
                        <a:lnTo>
                          <a:pt x="152" y="75"/>
                        </a:lnTo>
                        <a:lnTo>
                          <a:pt x="152" y="74"/>
                        </a:lnTo>
                        <a:lnTo>
                          <a:pt x="152" y="73"/>
                        </a:lnTo>
                        <a:lnTo>
                          <a:pt x="152" y="72"/>
                        </a:lnTo>
                        <a:lnTo>
                          <a:pt x="152" y="71"/>
                        </a:lnTo>
                        <a:lnTo>
                          <a:pt x="152" y="70"/>
                        </a:lnTo>
                        <a:lnTo>
                          <a:pt x="152" y="69"/>
                        </a:lnTo>
                        <a:lnTo>
                          <a:pt x="152" y="68"/>
                        </a:lnTo>
                        <a:lnTo>
                          <a:pt x="151" y="67"/>
                        </a:lnTo>
                        <a:lnTo>
                          <a:pt x="151" y="66"/>
                        </a:lnTo>
                        <a:lnTo>
                          <a:pt x="151" y="65"/>
                        </a:lnTo>
                        <a:lnTo>
                          <a:pt x="151" y="64"/>
                        </a:lnTo>
                        <a:lnTo>
                          <a:pt x="151" y="63"/>
                        </a:lnTo>
                        <a:lnTo>
                          <a:pt x="151" y="62"/>
                        </a:lnTo>
                        <a:lnTo>
                          <a:pt x="151" y="61"/>
                        </a:lnTo>
                        <a:lnTo>
                          <a:pt x="150" y="60"/>
                        </a:lnTo>
                        <a:lnTo>
                          <a:pt x="150" y="59"/>
                        </a:lnTo>
                        <a:lnTo>
                          <a:pt x="150" y="58"/>
                        </a:lnTo>
                        <a:lnTo>
                          <a:pt x="150" y="57"/>
                        </a:lnTo>
                        <a:lnTo>
                          <a:pt x="149" y="56"/>
                        </a:lnTo>
                        <a:lnTo>
                          <a:pt x="149" y="55"/>
                        </a:lnTo>
                        <a:lnTo>
                          <a:pt x="149" y="54"/>
                        </a:lnTo>
                        <a:lnTo>
                          <a:pt x="148" y="53"/>
                        </a:lnTo>
                        <a:lnTo>
                          <a:pt x="148" y="52"/>
                        </a:lnTo>
                        <a:lnTo>
                          <a:pt x="148" y="51"/>
                        </a:lnTo>
                        <a:lnTo>
                          <a:pt x="147" y="50"/>
                        </a:lnTo>
                        <a:lnTo>
                          <a:pt x="147" y="49"/>
                        </a:lnTo>
                        <a:lnTo>
                          <a:pt x="147" y="48"/>
                        </a:lnTo>
                        <a:lnTo>
                          <a:pt x="146" y="47"/>
                        </a:lnTo>
                        <a:lnTo>
                          <a:pt x="146" y="46"/>
                        </a:lnTo>
                        <a:lnTo>
                          <a:pt x="145" y="45"/>
                        </a:lnTo>
                        <a:lnTo>
                          <a:pt x="145" y="44"/>
                        </a:lnTo>
                        <a:lnTo>
                          <a:pt x="144" y="43"/>
                        </a:lnTo>
                        <a:lnTo>
                          <a:pt x="144" y="42"/>
                        </a:lnTo>
                        <a:lnTo>
                          <a:pt x="143" y="41"/>
                        </a:lnTo>
                        <a:lnTo>
                          <a:pt x="143" y="40"/>
                        </a:lnTo>
                        <a:lnTo>
                          <a:pt x="142" y="39"/>
                        </a:lnTo>
                        <a:lnTo>
                          <a:pt x="142" y="38"/>
                        </a:lnTo>
                        <a:lnTo>
                          <a:pt x="141" y="37"/>
                        </a:lnTo>
                        <a:lnTo>
                          <a:pt x="141" y="36"/>
                        </a:lnTo>
                        <a:lnTo>
                          <a:pt x="140" y="35"/>
                        </a:lnTo>
                        <a:lnTo>
                          <a:pt x="139" y="34"/>
                        </a:lnTo>
                        <a:lnTo>
                          <a:pt x="139" y="33"/>
                        </a:lnTo>
                        <a:lnTo>
                          <a:pt x="138" y="32"/>
                        </a:lnTo>
                        <a:lnTo>
                          <a:pt x="137" y="31"/>
                        </a:lnTo>
                        <a:lnTo>
                          <a:pt x="136" y="30"/>
                        </a:lnTo>
                        <a:lnTo>
                          <a:pt x="136" y="29"/>
                        </a:lnTo>
                        <a:lnTo>
                          <a:pt x="135" y="28"/>
                        </a:lnTo>
                        <a:lnTo>
                          <a:pt x="134" y="27"/>
                        </a:lnTo>
                        <a:lnTo>
                          <a:pt x="133" y="26"/>
                        </a:lnTo>
                        <a:lnTo>
                          <a:pt x="132" y="25"/>
                        </a:lnTo>
                        <a:lnTo>
                          <a:pt x="131" y="24"/>
                        </a:lnTo>
                        <a:lnTo>
                          <a:pt x="130" y="23"/>
                        </a:lnTo>
                        <a:lnTo>
                          <a:pt x="129" y="22"/>
                        </a:lnTo>
                        <a:lnTo>
                          <a:pt x="128" y="21"/>
                        </a:lnTo>
                        <a:lnTo>
                          <a:pt x="127" y="20"/>
                        </a:lnTo>
                        <a:lnTo>
                          <a:pt x="126" y="19"/>
                        </a:lnTo>
                        <a:lnTo>
                          <a:pt x="125" y="18"/>
                        </a:lnTo>
                        <a:lnTo>
                          <a:pt x="124" y="17"/>
                        </a:lnTo>
                        <a:lnTo>
                          <a:pt x="123" y="16"/>
                        </a:lnTo>
                        <a:lnTo>
                          <a:pt x="122" y="16"/>
                        </a:lnTo>
                        <a:lnTo>
                          <a:pt x="121" y="15"/>
                        </a:lnTo>
                        <a:lnTo>
                          <a:pt x="120" y="14"/>
                        </a:lnTo>
                        <a:lnTo>
                          <a:pt x="119" y="13"/>
                        </a:lnTo>
                        <a:lnTo>
                          <a:pt x="118" y="13"/>
                        </a:lnTo>
                        <a:lnTo>
                          <a:pt x="117" y="12"/>
                        </a:lnTo>
                        <a:lnTo>
                          <a:pt x="116" y="11"/>
                        </a:lnTo>
                        <a:lnTo>
                          <a:pt x="115" y="11"/>
                        </a:lnTo>
                        <a:lnTo>
                          <a:pt x="114" y="10"/>
                        </a:lnTo>
                        <a:lnTo>
                          <a:pt x="113" y="10"/>
                        </a:lnTo>
                        <a:lnTo>
                          <a:pt x="112" y="9"/>
                        </a:lnTo>
                        <a:lnTo>
                          <a:pt x="111" y="9"/>
                        </a:lnTo>
                        <a:lnTo>
                          <a:pt x="110" y="8"/>
                        </a:lnTo>
                        <a:lnTo>
                          <a:pt x="109" y="8"/>
                        </a:lnTo>
                        <a:lnTo>
                          <a:pt x="108" y="7"/>
                        </a:lnTo>
                        <a:lnTo>
                          <a:pt x="107" y="7"/>
                        </a:lnTo>
                        <a:lnTo>
                          <a:pt x="106" y="6"/>
                        </a:lnTo>
                        <a:lnTo>
                          <a:pt x="105" y="6"/>
                        </a:lnTo>
                        <a:lnTo>
                          <a:pt x="104" y="5"/>
                        </a:lnTo>
                        <a:lnTo>
                          <a:pt x="103" y="5"/>
                        </a:lnTo>
                        <a:lnTo>
                          <a:pt x="102" y="5"/>
                        </a:lnTo>
                        <a:lnTo>
                          <a:pt x="101" y="4"/>
                        </a:lnTo>
                        <a:lnTo>
                          <a:pt x="100" y="4"/>
                        </a:lnTo>
                        <a:lnTo>
                          <a:pt x="99" y="4"/>
                        </a:lnTo>
                        <a:lnTo>
                          <a:pt x="98" y="3"/>
                        </a:lnTo>
                        <a:lnTo>
                          <a:pt x="97" y="3"/>
                        </a:lnTo>
                        <a:lnTo>
                          <a:pt x="96" y="3"/>
                        </a:lnTo>
                        <a:lnTo>
                          <a:pt x="95" y="2"/>
                        </a:lnTo>
                        <a:lnTo>
                          <a:pt x="94" y="2"/>
                        </a:lnTo>
                        <a:lnTo>
                          <a:pt x="93" y="2"/>
                        </a:lnTo>
                        <a:lnTo>
                          <a:pt x="92" y="2"/>
                        </a:lnTo>
                        <a:lnTo>
                          <a:pt x="91" y="1"/>
                        </a:lnTo>
                        <a:lnTo>
                          <a:pt x="90" y="1"/>
                        </a:lnTo>
                        <a:lnTo>
                          <a:pt x="89" y="1"/>
                        </a:lnTo>
                        <a:lnTo>
                          <a:pt x="88" y="1"/>
                        </a:lnTo>
                        <a:lnTo>
                          <a:pt x="87" y="1"/>
                        </a:lnTo>
                        <a:lnTo>
                          <a:pt x="86" y="1"/>
                        </a:lnTo>
                        <a:lnTo>
                          <a:pt x="85" y="1"/>
                        </a:lnTo>
                        <a:lnTo>
                          <a:pt x="84" y="0"/>
                        </a:lnTo>
                        <a:lnTo>
                          <a:pt x="83" y="0"/>
                        </a:lnTo>
                        <a:lnTo>
                          <a:pt x="82" y="0"/>
                        </a:lnTo>
                        <a:lnTo>
                          <a:pt x="81" y="0"/>
                        </a:lnTo>
                        <a:lnTo>
                          <a:pt x="80" y="0"/>
                        </a:lnTo>
                        <a:lnTo>
                          <a:pt x="79" y="0"/>
                        </a:lnTo>
                        <a:lnTo>
                          <a:pt x="78" y="0"/>
                        </a:lnTo>
                        <a:lnTo>
                          <a:pt x="77" y="0"/>
                        </a:lnTo>
                        <a:lnTo>
                          <a:pt x="76" y="0"/>
                        </a:lnTo>
                        <a:lnTo>
                          <a:pt x="75" y="0"/>
                        </a:lnTo>
                        <a:lnTo>
                          <a:pt x="74" y="0"/>
                        </a:lnTo>
                        <a:lnTo>
                          <a:pt x="73" y="0"/>
                        </a:lnTo>
                        <a:lnTo>
                          <a:pt x="72" y="0"/>
                        </a:lnTo>
                        <a:lnTo>
                          <a:pt x="71" y="0"/>
                        </a:lnTo>
                        <a:lnTo>
                          <a:pt x="70" y="0"/>
                        </a:lnTo>
                        <a:lnTo>
                          <a:pt x="69" y="0"/>
                        </a:lnTo>
                        <a:lnTo>
                          <a:pt x="68" y="0"/>
                        </a:lnTo>
                        <a:lnTo>
                          <a:pt x="67" y="1"/>
                        </a:lnTo>
                        <a:lnTo>
                          <a:pt x="66" y="1"/>
                        </a:lnTo>
                        <a:lnTo>
                          <a:pt x="65" y="1"/>
                        </a:lnTo>
                        <a:lnTo>
                          <a:pt x="64" y="1"/>
                        </a:lnTo>
                        <a:lnTo>
                          <a:pt x="63" y="1"/>
                        </a:lnTo>
                        <a:lnTo>
                          <a:pt x="62" y="1"/>
                        </a:lnTo>
                        <a:lnTo>
                          <a:pt x="61" y="1"/>
                        </a:lnTo>
                        <a:lnTo>
                          <a:pt x="60" y="2"/>
                        </a:lnTo>
                        <a:lnTo>
                          <a:pt x="59" y="2"/>
                        </a:lnTo>
                        <a:lnTo>
                          <a:pt x="58" y="2"/>
                        </a:lnTo>
                        <a:lnTo>
                          <a:pt x="57" y="2"/>
                        </a:lnTo>
                        <a:lnTo>
                          <a:pt x="56" y="3"/>
                        </a:lnTo>
                        <a:lnTo>
                          <a:pt x="55" y="3"/>
                        </a:lnTo>
                        <a:lnTo>
                          <a:pt x="54" y="3"/>
                        </a:lnTo>
                        <a:lnTo>
                          <a:pt x="53" y="4"/>
                        </a:lnTo>
                        <a:lnTo>
                          <a:pt x="52" y="4"/>
                        </a:lnTo>
                        <a:lnTo>
                          <a:pt x="51" y="4"/>
                        </a:lnTo>
                        <a:lnTo>
                          <a:pt x="50" y="5"/>
                        </a:lnTo>
                        <a:lnTo>
                          <a:pt x="49" y="5"/>
                        </a:lnTo>
                        <a:lnTo>
                          <a:pt x="48" y="5"/>
                        </a:lnTo>
                        <a:lnTo>
                          <a:pt x="47" y="6"/>
                        </a:lnTo>
                        <a:lnTo>
                          <a:pt x="46" y="6"/>
                        </a:lnTo>
                        <a:lnTo>
                          <a:pt x="45" y="7"/>
                        </a:lnTo>
                        <a:lnTo>
                          <a:pt x="44" y="7"/>
                        </a:lnTo>
                        <a:lnTo>
                          <a:pt x="43" y="8"/>
                        </a:lnTo>
                        <a:lnTo>
                          <a:pt x="42" y="8"/>
                        </a:lnTo>
                        <a:lnTo>
                          <a:pt x="41" y="9"/>
                        </a:lnTo>
                        <a:lnTo>
                          <a:pt x="40" y="9"/>
                        </a:lnTo>
                        <a:lnTo>
                          <a:pt x="39" y="10"/>
                        </a:lnTo>
                        <a:lnTo>
                          <a:pt x="38" y="10"/>
                        </a:lnTo>
                        <a:lnTo>
                          <a:pt x="37" y="11"/>
                        </a:lnTo>
                        <a:lnTo>
                          <a:pt x="36" y="11"/>
                        </a:lnTo>
                        <a:lnTo>
                          <a:pt x="35" y="12"/>
                        </a:lnTo>
                        <a:lnTo>
                          <a:pt x="34" y="13"/>
                        </a:lnTo>
                        <a:lnTo>
                          <a:pt x="33" y="13"/>
                        </a:lnTo>
                        <a:lnTo>
                          <a:pt x="32" y="14"/>
                        </a:lnTo>
                        <a:lnTo>
                          <a:pt x="31" y="15"/>
                        </a:lnTo>
                        <a:lnTo>
                          <a:pt x="30" y="16"/>
                        </a:lnTo>
                        <a:lnTo>
                          <a:pt x="29" y="16"/>
                        </a:lnTo>
                        <a:lnTo>
                          <a:pt x="28" y="17"/>
                        </a:lnTo>
                        <a:lnTo>
                          <a:pt x="27" y="18"/>
                        </a:lnTo>
                        <a:lnTo>
                          <a:pt x="26" y="19"/>
                        </a:lnTo>
                        <a:lnTo>
                          <a:pt x="25" y="20"/>
                        </a:lnTo>
                        <a:lnTo>
                          <a:pt x="24" y="21"/>
                        </a:lnTo>
                        <a:lnTo>
                          <a:pt x="23" y="22"/>
                        </a:lnTo>
                        <a:lnTo>
                          <a:pt x="22" y="23"/>
                        </a:lnTo>
                        <a:lnTo>
                          <a:pt x="21" y="24"/>
                        </a:lnTo>
                        <a:lnTo>
                          <a:pt x="20" y="25"/>
                        </a:lnTo>
                        <a:lnTo>
                          <a:pt x="19" y="26"/>
                        </a:lnTo>
                        <a:lnTo>
                          <a:pt x="18" y="27"/>
                        </a:lnTo>
                        <a:lnTo>
                          <a:pt x="17" y="28"/>
                        </a:lnTo>
                        <a:lnTo>
                          <a:pt x="16" y="29"/>
                        </a:lnTo>
                        <a:lnTo>
                          <a:pt x="16" y="30"/>
                        </a:lnTo>
                        <a:lnTo>
                          <a:pt x="15" y="31"/>
                        </a:lnTo>
                        <a:lnTo>
                          <a:pt x="14" y="32"/>
                        </a:lnTo>
                        <a:lnTo>
                          <a:pt x="13" y="33"/>
                        </a:lnTo>
                        <a:lnTo>
                          <a:pt x="13" y="34"/>
                        </a:lnTo>
                        <a:lnTo>
                          <a:pt x="12" y="35"/>
                        </a:lnTo>
                        <a:lnTo>
                          <a:pt x="11" y="36"/>
                        </a:lnTo>
                        <a:lnTo>
                          <a:pt x="11" y="37"/>
                        </a:lnTo>
                        <a:lnTo>
                          <a:pt x="10" y="38"/>
                        </a:lnTo>
                        <a:lnTo>
                          <a:pt x="10" y="39"/>
                        </a:lnTo>
                        <a:lnTo>
                          <a:pt x="9" y="40"/>
                        </a:lnTo>
                        <a:lnTo>
                          <a:pt x="9" y="41"/>
                        </a:lnTo>
                        <a:lnTo>
                          <a:pt x="8" y="42"/>
                        </a:lnTo>
                        <a:lnTo>
                          <a:pt x="8" y="43"/>
                        </a:lnTo>
                        <a:lnTo>
                          <a:pt x="7" y="44"/>
                        </a:lnTo>
                        <a:lnTo>
                          <a:pt x="7" y="45"/>
                        </a:lnTo>
                        <a:lnTo>
                          <a:pt x="6" y="46"/>
                        </a:lnTo>
                        <a:lnTo>
                          <a:pt x="6" y="47"/>
                        </a:lnTo>
                        <a:lnTo>
                          <a:pt x="5" y="48"/>
                        </a:lnTo>
                        <a:lnTo>
                          <a:pt x="5" y="49"/>
                        </a:lnTo>
                        <a:lnTo>
                          <a:pt x="5" y="50"/>
                        </a:lnTo>
                        <a:lnTo>
                          <a:pt x="4" y="51"/>
                        </a:lnTo>
                        <a:lnTo>
                          <a:pt x="4" y="52"/>
                        </a:lnTo>
                        <a:lnTo>
                          <a:pt x="4" y="53"/>
                        </a:lnTo>
                        <a:lnTo>
                          <a:pt x="3" y="54"/>
                        </a:lnTo>
                        <a:lnTo>
                          <a:pt x="3" y="55"/>
                        </a:lnTo>
                        <a:lnTo>
                          <a:pt x="3" y="56"/>
                        </a:lnTo>
                        <a:lnTo>
                          <a:pt x="2" y="57"/>
                        </a:lnTo>
                        <a:lnTo>
                          <a:pt x="2" y="58"/>
                        </a:lnTo>
                        <a:lnTo>
                          <a:pt x="2" y="59"/>
                        </a:lnTo>
                        <a:lnTo>
                          <a:pt x="2" y="60"/>
                        </a:lnTo>
                        <a:lnTo>
                          <a:pt x="1" y="61"/>
                        </a:lnTo>
                        <a:lnTo>
                          <a:pt x="1" y="62"/>
                        </a:lnTo>
                        <a:lnTo>
                          <a:pt x="1" y="63"/>
                        </a:lnTo>
                        <a:lnTo>
                          <a:pt x="1" y="64"/>
                        </a:lnTo>
                        <a:lnTo>
                          <a:pt x="1" y="65"/>
                        </a:lnTo>
                        <a:lnTo>
                          <a:pt x="1" y="66"/>
                        </a:lnTo>
                        <a:lnTo>
                          <a:pt x="1" y="67"/>
                        </a:lnTo>
                        <a:lnTo>
                          <a:pt x="0" y="68"/>
                        </a:lnTo>
                        <a:lnTo>
                          <a:pt x="0" y="69"/>
                        </a:lnTo>
                        <a:lnTo>
                          <a:pt x="0" y="70"/>
                        </a:lnTo>
                        <a:lnTo>
                          <a:pt x="0" y="71"/>
                        </a:lnTo>
                        <a:lnTo>
                          <a:pt x="0" y="72"/>
                        </a:lnTo>
                        <a:lnTo>
                          <a:pt x="0" y="73"/>
                        </a:lnTo>
                        <a:lnTo>
                          <a:pt x="0" y="74"/>
                        </a:lnTo>
                        <a:lnTo>
                          <a:pt x="0" y="75"/>
                        </a:lnTo>
                        <a:lnTo>
                          <a:pt x="0" y="76"/>
                        </a:lnTo>
                        <a:lnTo>
                          <a:pt x="0" y="77"/>
                        </a:lnTo>
                        <a:lnTo>
                          <a:pt x="0" y="78"/>
                        </a:lnTo>
                        <a:lnTo>
                          <a:pt x="0" y="79"/>
                        </a:lnTo>
                        <a:lnTo>
                          <a:pt x="0" y="80"/>
                        </a:lnTo>
                        <a:lnTo>
                          <a:pt x="0" y="81"/>
                        </a:lnTo>
                        <a:lnTo>
                          <a:pt x="0" y="82"/>
                        </a:lnTo>
                        <a:lnTo>
                          <a:pt x="0" y="83"/>
                        </a:lnTo>
                        <a:lnTo>
                          <a:pt x="0" y="84"/>
                        </a:lnTo>
                        <a:lnTo>
                          <a:pt x="1" y="85"/>
                        </a:lnTo>
                        <a:lnTo>
                          <a:pt x="1" y="86"/>
                        </a:lnTo>
                        <a:lnTo>
                          <a:pt x="1" y="87"/>
                        </a:lnTo>
                        <a:lnTo>
                          <a:pt x="1" y="88"/>
                        </a:lnTo>
                        <a:lnTo>
                          <a:pt x="1" y="89"/>
                        </a:lnTo>
                        <a:lnTo>
                          <a:pt x="1" y="90"/>
                        </a:lnTo>
                        <a:lnTo>
                          <a:pt x="1" y="91"/>
                        </a:lnTo>
                        <a:lnTo>
                          <a:pt x="2" y="92"/>
                        </a:lnTo>
                        <a:lnTo>
                          <a:pt x="2" y="93"/>
                        </a:lnTo>
                        <a:lnTo>
                          <a:pt x="2" y="94"/>
                        </a:lnTo>
                        <a:lnTo>
                          <a:pt x="2" y="95"/>
                        </a:lnTo>
                        <a:lnTo>
                          <a:pt x="3" y="96"/>
                        </a:lnTo>
                        <a:lnTo>
                          <a:pt x="3" y="97"/>
                        </a:lnTo>
                        <a:lnTo>
                          <a:pt x="3" y="98"/>
                        </a:lnTo>
                        <a:lnTo>
                          <a:pt x="4" y="99"/>
                        </a:lnTo>
                        <a:lnTo>
                          <a:pt x="4" y="100"/>
                        </a:lnTo>
                        <a:lnTo>
                          <a:pt x="4" y="101"/>
                        </a:lnTo>
                        <a:lnTo>
                          <a:pt x="5" y="102"/>
                        </a:lnTo>
                        <a:lnTo>
                          <a:pt x="5" y="103"/>
                        </a:lnTo>
                        <a:lnTo>
                          <a:pt x="5" y="104"/>
                        </a:lnTo>
                        <a:lnTo>
                          <a:pt x="6" y="105"/>
                        </a:lnTo>
                        <a:lnTo>
                          <a:pt x="6" y="106"/>
                        </a:lnTo>
                        <a:lnTo>
                          <a:pt x="7" y="107"/>
                        </a:lnTo>
                        <a:lnTo>
                          <a:pt x="7" y="108"/>
                        </a:lnTo>
                        <a:lnTo>
                          <a:pt x="8" y="109"/>
                        </a:lnTo>
                        <a:lnTo>
                          <a:pt x="8" y="110"/>
                        </a:lnTo>
                        <a:lnTo>
                          <a:pt x="9" y="111"/>
                        </a:lnTo>
                        <a:lnTo>
                          <a:pt x="9" y="112"/>
                        </a:lnTo>
                        <a:lnTo>
                          <a:pt x="10" y="113"/>
                        </a:lnTo>
                        <a:lnTo>
                          <a:pt x="10" y="114"/>
                        </a:lnTo>
                        <a:lnTo>
                          <a:pt x="11" y="115"/>
                        </a:lnTo>
                        <a:lnTo>
                          <a:pt x="11" y="116"/>
                        </a:lnTo>
                        <a:lnTo>
                          <a:pt x="12" y="117"/>
                        </a:lnTo>
                        <a:lnTo>
                          <a:pt x="13" y="118"/>
                        </a:lnTo>
                        <a:lnTo>
                          <a:pt x="13" y="119"/>
                        </a:lnTo>
                        <a:lnTo>
                          <a:pt x="14" y="120"/>
                        </a:lnTo>
                        <a:lnTo>
                          <a:pt x="15" y="121"/>
                        </a:lnTo>
                        <a:lnTo>
                          <a:pt x="16" y="122"/>
                        </a:lnTo>
                        <a:lnTo>
                          <a:pt x="16" y="123"/>
                        </a:lnTo>
                        <a:lnTo>
                          <a:pt x="17" y="124"/>
                        </a:lnTo>
                        <a:lnTo>
                          <a:pt x="18" y="125"/>
                        </a:lnTo>
                        <a:lnTo>
                          <a:pt x="19" y="126"/>
                        </a:lnTo>
                        <a:lnTo>
                          <a:pt x="20" y="127"/>
                        </a:lnTo>
                        <a:lnTo>
                          <a:pt x="21" y="128"/>
                        </a:lnTo>
                        <a:lnTo>
                          <a:pt x="22" y="129"/>
                        </a:lnTo>
                        <a:lnTo>
                          <a:pt x="23" y="130"/>
                        </a:lnTo>
                        <a:lnTo>
                          <a:pt x="24" y="131"/>
                        </a:lnTo>
                        <a:lnTo>
                          <a:pt x="25" y="132"/>
                        </a:lnTo>
                        <a:lnTo>
                          <a:pt x="26" y="133"/>
                        </a:lnTo>
                        <a:lnTo>
                          <a:pt x="27" y="134"/>
                        </a:lnTo>
                        <a:lnTo>
                          <a:pt x="28" y="135"/>
                        </a:lnTo>
                        <a:lnTo>
                          <a:pt x="29" y="136"/>
                        </a:lnTo>
                        <a:lnTo>
                          <a:pt x="30" y="136"/>
                        </a:lnTo>
                        <a:lnTo>
                          <a:pt x="31" y="137"/>
                        </a:lnTo>
                        <a:lnTo>
                          <a:pt x="32" y="138"/>
                        </a:lnTo>
                        <a:lnTo>
                          <a:pt x="33" y="139"/>
                        </a:lnTo>
                        <a:lnTo>
                          <a:pt x="34" y="139"/>
                        </a:lnTo>
                        <a:lnTo>
                          <a:pt x="35" y="140"/>
                        </a:lnTo>
                        <a:lnTo>
                          <a:pt x="36" y="141"/>
                        </a:lnTo>
                        <a:lnTo>
                          <a:pt x="37" y="141"/>
                        </a:lnTo>
                        <a:lnTo>
                          <a:pt x="38" y="142"/>
                        </a:lnTo>
                        <a:lnTo>
                          <a:pt x="39" y="142"/>
                        </a:lnTo>
                        <a:lnTo>
                          <a:pt x="40" y="143"/>
                        </a:lnTo>
                        <a:lnTo>
                          <a:pt x="41" y="143"/>
                        </a:lnTo>
                        <a:lnTo>
                          <a:pt x="42" y="144"/>
                        </a:lnTo>
                        <a:lnTo>
                          <a:pt x="43" y="144"/>
                        </a:lnTo>
                        <a:lnTo>
                          <a:pt x="44" y="145"/>
                        </a:lnTo>
                        <a:lnTo>
                          <a:pt x="45" y="145"/>
                        </a:lnTo>
                        <a:lnTo>
                          <a:pt x="46" y="146"/>
                        </a:lnTo>
                        <a:lnTo>
                          <a:pt x="47" y="146"/>
                        </a:lnTo>
                        <a:lnTo>
                          <a:pt x="48" y="147"/>
                        </a:lnTo>
                        <a:lnTo>
                          <a:pt x="49" y="147"/>
                        </a:lnTo>
                        <a:lnTo>
                          <a:pt x="50" y="147"/>
                        </a:lnTo>
                        <a:lnTo>
                          <a:pt x="51" y="148"/>
                        </a:lnTo>
                        <a:lnTo>
                          <a:pt x="52" y="148"/>
                        </a:lnTo>
                        <a:lnTo>
                          <a:pt x="53" y="148"/>
                        </a:lnTo>
                        <a:lnTo>
                          <a:pt x="54" y="149"/>
                        </a:lnTo>
                        <a:lnTo>
                          <a:pt x="55" y="149"/>
                        </a:lnTo>
                        <a:lnTo>
                          <a:pt x="56" y="149"/>
                        </a:lnTo>
                        <a:lnTo>
                          <a:pt x="57" y="150"/>
                        </a:lnTo>
                        <a:lnTo>
                          <a:pt x="58" y="150"/>
                        </a:lnTo>
                        <a:lnTo>
                          <a:pt x="59" y="150"/>
                        </a:lnTo>
                        <a:lnTo>
                          <a:pt x="60" y="150"/>
                        </a:lnTo>
                        <a:lnTo>
                          <a:pt x="61" y="151"/>
                        </a:lnTo>
                        <a:lnTo>
                          <a:pt x="62" y="151"/>
                        </a:lnTo>
                        <a:lnTo>
                          <a:pt x="63" y="151"/>
                        </a:lnTo>
                        <a:lnTo>
                          <a:pt x="64" y="151"/>
                        </a:lnTo>
                        <a:lnTo>
                          <a:pt x="65" y="151"/>
                        </a:lnTo>
                        <a:lnTo>
                          <a:pt x="66" y="151"/>
                        </a:lnTo>
                        <a:lnTo>
                          <a:pt x="67" y="151"/>
                        </a:lnTo>
                        <a:lnTo>
                          <a:pt x="68" y="152"/>
                        </a:lnTo>
                        <a:lnTo>
                          <a:pt x="69" y="152"/>
                        </a:lnTo>
                        <a:lnTo>
                          <a:pt x="70" y="152"/>
                        </a:lnTo>
                        <a:lnTo>
                          <a:pt x="71" y="152"/>
                        </a:lnTo>
                        <a:lnTo>
                          <a:pt x="72" y="152"/>
                        </a:lnTo>
                        <a:lnTo>
                          <a:pt x="73" y="152"/>
                        </a:lnTo>
                        <a:lnTo>
                          <a:pt x="74" y="152"/>
                        </a:lnTo>
                        <a:lnTo>
                          <a:pt x="75" y="152"/>
                        </a:lnTo>
                        <a:lnTo>
                          <a:pt x="76" y="152"/>
                        </a:lnTo>
                        <a:lnTo>
                          <a:pt x="77" y="152"/>
                        </a:lnTo>
                        <a:lnTo>
                          <a:pt x="78" y="152"/>
                        </a:lnTo>
                        <a:lnTo>
                          <a:pt x="79" y="152"/>
                        </a:lnTo>
                        <a:lnTo>
                          <a:pt x="80" y="152"/>
                        </a:lnTo>
                        <a:lnTo>
                          <a:pt x="81" y="152"/>
                        </a:lnTo>
                        <a:lnTo>
                          <a:pt x="82" y="152"/>
                        </a:lnTo>
                        <a:lnTo>
                          <a:pt x="83" y="152"/>
                        </a:lnTo>
                        <a:lnTo>
                          <a:pt x="84" y="152"/>
                        </a:lnTo>
                        <a:lnTo>
                          <a:pt x="85" y="151"/>
                        </a:lnTo>
                        <a:lnTo>
                          <a:pt x="86" y="151"/>
                        </a:lnTo>
                        <a:lnTo>
                          <a:pt x="87" y="151"/>
                        </a:lnTo>
                        <a:lnTo>
                          <a:pt x="88" y="151"/>
                        </a:lnTo>
                        <a:lnTo>
                          <a:pt x="89" y="151"/>
                        </a:lnTo>
                        <a:lnTo>
                          <a:pt x="90" y="151"/>
                        </a:lnTo>
                        <a:lnTo>
                          <a:pt x="91" y="151"/>
                        </a:lnTo>
                        <a:lnTo>
                          <a:pt x="92" y="150"/>
                        </a:lnTo>
                        <a:lnTo>
                          <a:pt x="93" y="150"/>
                        </a:lnTo>
                        <a:lnTo>
                          <a:pt x="94" y="150"/>
                        </a:lnTo>
                        <a:lnTo>
                          <a:pt x="95" y="150"/>
                        </a:lnTo>
                        <a:lnTo>
                          <a:pt x="96" y="149"/>
                        </a:lnTo>
                        <a:lnTo>
                          <a:pt x="97" y="149"/>
                        </a:lnTo>
                        <a:lnTo>
                          <a:pt x="98" y="149"/>
                        </a:lnTo>
                        <a:lnTo>
                          <a:pt x="99" y="148"/>
                        </a:lnTo>
                        <a:lnTo>
                          <a:pt x="100" y="148"/>
                        </a:lnTo>
                        <a:lnTo>
                          <a:pt x="101" y="148"/>
                        </a:lnTo>
                        <a:lnTo>
                          <a:pt x="102" y="147"/>
                        </a:lnTo>
                        <a:lnTo>
                          <a:pt x="103" y="147"/>
                        </a:lnTo>
                        <a:lnTo>
                          <a:pt x="104" y="147"/>
                        </a:lnTo>
                        <a:lnTo>
                          <a:pt x="105" y="146"/>
                        </a:lnTo>
                        <a:lnTo>
                          <a:pt x="106" y="146"/>
                        </a:lnTo>
                        <a:lnTo>
                          <a:pt x="107" y="145"/>
                        </a:lnTo>
                        <a:lnTo>
                          <a:pt x="108" y="145"/>
                        </a:lnTo>
                        <a:lnTo>
                          <a:pt x="109" y="144"/>
                        </a:lnTo>
                        <a:lnTo>
                          <a:pt x="110" y="144"/>
                        </a:lnTo>
                        <a:lnTo>
                          <a:pt x="111" y="143"/>
                        </a:lnTo>
                        <a:lnTo>
                          <a:pt x="112" y="143"/>
                        </a:lnTo>
                        <a:lnTo>
                          <a:pt x="113" y="142"/>
                        </a:lnTo>
                        <a:lnTo>
                          <a:pt x="114" y="142"/>
                        </a:lnTo>
                        <a:lnTo>
                          <a:pt x="115" y="141"/>
                        </a:lnTo>
                        <a:lnTo>
                          <a:pt x="116" y="141"/>
                        </a:lnTo>
                        <a:lnTo>
                          <a:pt x="117" y="140"/>
                        </a:lnTo>
                        <a:lnTo>
                          <a:pt x="118" y="139"/>
                        </a:lnTo>
                        <a:lnTo>
                          <a:pt x="119" y="139"/>
                        </a:lnTo>
                        <a:lnTo>
                          <a:pt x="120" y="138"/>
                        </a:lnTo>
                        <a:lnTo>
                          <a:pt x="121" y="137"/>
                        </a:lnTo>
                        <a:lnTo>
                          <a:pt x="122" y="136"/>
                        </a:lnTo>
                        <a:lnTo>
                          <a:pt x="123" y="136"/>
                        </a:lnTo>
                        <a:lnTo>
                          <a:pt x="124" y="135"/>
                        </a:lnTo>
                        <a:lnTo>
                          <a:pt x="125" y="134"/>
                        </a:lnTo>
                        <a:lnTo>
                          <a:pt x="126" y="133"/>
                        </a:lnTo>
                        <a:lnTo>
                          <a:pt x="127" y="132"/>
                        </a:lnTo>
                        <a:lnTo>
                          <a:pt x="128" y="131"/>
                        </a:lnTo>
                        <a:lnTo>
                          <a:pt x="129" y="130"/>
                        </a:lnTo>
                        <a:lnTo>
                          <a:pt x="130" y="129"/>
                        </a:lnTo>
                        <a:lnTo>
                          <a:pt x="131" y="128"/>
                        </a:lnTo>
                        <a:lnTo>
                          <a:pt x="132" y="127"/>
                        </a:lnTo>
                        <a:lnTo>
                          <a:pt x="133" y="126"/>
                        </a:lnTo>
                        <a:lnTo>
                          <a:pt x="134" y="125"/>
                        </a:lnTo>
                        <a:lnTo>
                          <a:pt x="135" y="124"/>
                        </a:lnTo>
                        <a:lnTo>
                          <a:pt x="136" y="123"/>
                        </a:lnTo>
                        <a:lnTo>
                          <a:pt x="136" y="122"/>
                        </a:lnTo>
                        <a:lnTo>
                          <a:pt x="137" y="121"/>
                        </a:lnTo>
                        <a:lnTo>
                          <a:pt x="138" y="120"/>
                        </a:lnTo>
                        <a:lnTo>
                          <a:pt x="139" y="119"/>
                        </a:lnTo>
                        <a:lnTo>
                          <a:pt x="139" y="118"/>
                        </a:lnTo>
                        <a:lnTo>
                          <a:pt x="140" y="117"/>
                        </a:lnTo>
                        <a:lnTo>
                          <a:pt x="141" y="116"/>
                        </a:lnTo>
                        <a:lnTo>
                          <a:pt x="141" y="115"/>
                        </a:lnTo>
                        <a:lnTo>
                          <a:pt x="142" y="114"/>
                        </a:lnTo>
                        <a:lnTo>
                          <a:pt x="142" y="113"/>
                        </a:lnTo>
                        <a:lnTo>
                          <a:pt x="143" y="112"/>
                        </a:lnTo>
                        <a:lnTo>
                          <a:pt x="143" y="111"/>
                        </a:lnTo>
                        <a:lnTo>
                          <a:pt x="144" y="110"/>
                        </a:lnTo>
                        <a:lnTo>
                          <a:pt x="144" y="109"/>
                        </a:lnTo>
                        <a:lnTo>
                          <a:pt x="145" y="108"/>
                        </a:lnTo>
                        <a:lnTo>
                          <a:pt x="145" y="107"/>
                        </a:lnTo>
                        <a:lnTo>
                          <a:pt x="146" y="106"/>
                        </a:lnTo>
                        <a:lnTo>
                          <a:pt x="146" y="105"/>
                        </a:lnTo>
                        <a:lnTo>
                          <a:pt x="147" y="104"/>
                        </a:lnTo>
                        <a:lnTo>
                          <a:pt x="147" y="103"/>
                        </a:lnTo>
                        <a:lnTo>
                          <a:pt x="147" y="102"/>
                        </a:lnTo>
                        <a:lnTo>
                          <a:pt x="148" y="101"/>
                        </a:lnTo>
                        <a:lnTo>
                          <a:pt x="148" y="100"/>
                        </a:lnTo>
                        <a:lnTo>
                          <a:pt x="148" y="99"/>
                        </a:lnTo>
                        <a:lnTo>
                          <a:pt x="149" y="98"/>
                        </a:lnTo>
                        <a:lnTo>
                          <a:pt x="149" y="97"/>
                        </a:lnTo>
                        <a:lnTo>
                          <a:pt x="149" y="96"/>
                        </a:lnTo>
                        <a:lnTo>
                          <a:pt x="150" y="95"/>
                        </a:lnTo>
                        <a:lnTo>
                          <a:pt x="150" y="94"/>
                        </a:lnTo>
                        <a:lnTo>
                          <a:pt x="150" y="93"/>
                        </a:lnTo>
                        <a:lnTo>
                          <a:pt x="150" y="92"/>
                        </a:lnTo>
                        <a:lnTo>
                          <a:pt x="151" y="91"/>
                        </a:lnTo>
                        <a:lnTo>
                          <a:pt x="151" y="90"/>
                        </a:lnTo>
                        <a:lnTo>
                          <a:pt x="151" y="89"/>
                        </a:lnTo>
                        <a:lnTo>
                          <a:pt x="151" y="88"/>
                        </a:lnTo>
                        <a:lnTo>
                          <a:pt x="151" y="87"/>
                        </a:lnTo>
                        <a:lnTo>
                          <a:pt x="151" y="86"/>
                        </a:lnTo>
                        <a:lnTo>
                          <a:pt x="151" y="85"/>
                        </a:lnTo>
                        <a:lnTo>
                          <a:pt x="152" y="84"/>
                        </a:lnTo>
                        <a:lnTo>
                          <a:pt x="152" y="83"/>
                        </a:lnTo>
                        <a:lnTo>
                          <a:pt x="152" y="82"/>
                        </a:lnTo>
                        <a:lnTo>
                          <a:pt x="152" y="81"/>
                        </a:lnTo>
                        <a:lnTo>
                          <a:pt x="152" y="80"/>
                        </a:lnTo>
                        <a:lnTo>
                          <a:pt x="152" y="79"/>
                        </a:lnTo>
                        <a:lnTo>
                          <a:pt x="152" y="78"/>
                        </a:lnTo>
                        <a:lnTo>
                          <a:pt x="152" y="77"/>
                        </a:lnTo>
                        <a:lnTo>
                          <a:pt x="152" y="76"/>
                        </a:lnTo>
                        <a:close/>
                      </a:path>
                    </a:pathLst>
                  </a:custGeom>
                  <a:solidFill>
                    <a:srgbClr val="004C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123" name="Freeform 122"/>
                  <p:cNvSpPr>
                    <a:spLocks/>
                  </p:cNvSpPr>
                  <p:nvPr/>
                </p:nvSpPr>
                <p:spPr bwMode="auto">
                  <a:xfrm>
                    <a:off x="3557" y="849"/>
                    <a:ext cx="243" cy="243"/>
                  </a:xfrm>
                  <a:custGeom>
                    <a:avLst/>
                    <a:gdLst>
                      <a:gd name="T0" fmla="*/ 153 w 153"/>
                      <a:gd name="T1" fmla="*/ 71 h 153"/>
                      <a:gd name="T2" fmla="*/ 152 w 153"/>
                      <a:gd name="T3" fmla="*/ 64 h 153"/>
                      <a:gd name="T4" fmla="*/ 150 w 153"/>
                      <a:gd name="T5" fmla="*/ 57 h 153"/>
                      <a:gd name="T6" fmla="*/ 148 w 153"/>
                      <a:gd name="T7" fmla="*/ 50 h 153"/>
                      <a:gd name="T8" fmla="*/ 145 w 153"/>
                      <a:gd name="T9" fmla="*/ 43 h 153"/>
                      <a:gd name="T10" fmla="*/ 141 w 153"/>
                      <a:gd name="T11" fmla="*/ 36 h 153"/>
                      <a:gd name="T12" fmla="*/ 136 w 153"/>
                      <a:gd name="T13" fmla="*/ 29 h 153"/>
                      <a:gd name="T14" fmla="*/ 130 w 153"/>
                      <a:gd name="T15" fmla="*/ 22 h 153"/>
                      <a:gd name="T16" fmla="*/ 123 w 153"/>
                      <a:gd name="T17" fmla="*/ 16 h 153"/>
                      <a:gd name="T18" fmla="*/ 116 w 153"/>
                      <a:gd name="T19" fmla="*/ 11 h 153"/>
                      <a:gd name="T20" fmla="*/ 109 w 153"/>
                      <a:gd name="T21" fmla="*/ 7 h 153"/>
                      <a:gd name="T22" fmla="*/ 102 w 153"/>
                      <a:gd name="T23" fmla="*/ 4 h 153"/>
                      <a:gd name="T24" fmla="*/ 95 w 153"/>
                      <a:gd name="T25" fmla="*/ 2 h 153"/>
                      <a:gd name="T26" fmla="*/ 88 w 153"/>
                      <a:gd name="T27" fmla="*/ 1 h 153"/>
                      <a:gd name="T28" fmla="*/ 81 w 153"/>
                      <a:gd name="T29" fmla="*/ 0 h 153"/>
                      <a:gd name="T30" fmla="*/ 74 w 153"/>
                      <a:gd name="T31" fmla="*/ 0 h 153"/>
                      <a:gd name="T32" fmla="*/ 67 w 153"/>
                      <a:gd name="T33" fmla="*/ 1 h 153"/>
                      <a:gd name="T34" fmla="*/ 60 w 153"/>
                      <a:gd name="T35" fmla="*/ 2 h 153"/>
                      <a:gd name="T36" fmla="*/ 53 w 153"/>
                      <a:gd name="T37" fmla="*/ 4 h 153"/>
                      <a:gd name="T38" fmla="*/ 46 w 153"/>
                      <a:gd name="T39" fmla="*/ 6 h 153"/>
                      <a:gd name="T40" fmla="*/ 39 w 153"/>
                      <a:gd name="T41" fmla="*/ 10 h 153"/>
                      <a:gd name="T42" fmla="*/ 32 w 153"/>
                      <a:gd name="T43" fmla="*/ 14 h 153"/>
                      <a:gd name="T44" fmla="*/ 25 w 153"/>
                      <a:gd name="T45" fmla="*/ 20 h 153"/>
                      <a:gd name="T46" fmla="*/ 18 w 153"/>
                      <a:gd name="T47" fmla="*/ 27 h 153"/>
                      <a:gd name="T48" fmla="*/ 13 w 153"/>
                      <a:gd name="T49" fmla="*/ 34 h 153"/>
                      <a:gd name="T50" fmla="*/ 9 w 153"/>
                      <a:gd name="T51" fmla="*/ 41 h 153"/>
                      <a:gd name="T52" fmla="*/ 6 w 153"/>
                      <a:gd name="T53" fmla="*/ 48 h 153"/>
                      <a:gd name="T54" fmla="*/ 3 w 153"/>
                      <a:gd name="T55" fmla="*/ 55 h 153"/>
                      <a:gd name="T56" fmla="*/ 1 w 153"/>
                      <a:gd name="T57" fmla="*/ 62 h 153"/>
                      <a:gd name="T58" fmla="*/ 0 w 153"/>
                      <a:gd name="T59" fmla="*/ 69 h 153"/>
                      <a:gd name="T60" fmla="*/ 0 w 153"/>
                      <a:gd name="T61" fmla="*/ 76 h 153"/>
                      <a:gd name="T62" fmla="*/ 0 w 153"/>
                      <a:gd name="T63" fmla="*/ 83 h 153"/>
                      <a:gd name="T64" fmla="*/ 1 w 153"/>
                      <a:gd name="T65" fmla="*/ 90 h 153"/>
                      <a:gd name="T66" fmla="*/ 3 w 153"/>
                      <a:gd name="T67" fmla="*/ 97 h 153"/>
                      <a:gd name="T68" fmla="*/ 5 w 153"/>
                      <a:gd name="T69" fmla="*/ 104 h 153"/>
                      <a:gd name="T70" fmla="*/ 8 w 153"/>
                      <a:gd name="T71" fmla="*/ 111 h 153"/>
                      <a:gd name="T72" fmla="*/ 12 w 153"/>
                      <a:gd name="T73" fmla="*/ 118 h 153"/>
                      <a:gd name="T74" fmla="*/ 17 w 153"/>
                      <a:gd name="T75" fmla="*/ 125 h 153"/>
                      <a:gd name="T76" fmla="*/ 24 w 153"/>
                      <a:gd name="T77" fmla="*/ 132 h 153"/>
                      <a:gd name="T78" fmla="*/ 31 w 153"/>
                      <a:gd name="T79" fmla="*/ 138 h 153"/>
                      <a:gd name="T80" fmla="*/ 38 w 153"/>
                      <a:gd name="T81" fmla="*/ 143 h 153"/>
                      <a:gd name="T82" fmla="*/ 45 w 153"/>
                      <a:gd name="T83" fmla="*/ 146 h 153"/>
                      <a:gd name="T84" fmla="*/ 52 w 153"/>
                      <a:gd name="T85" fmla="*/ 149 h 153"/>
                      <a:gd name="T86" fmla="*/ 59 w 153"/>
                      <a:gd name="T87" fmla="*/ 151 h 153"/>
                      <a:gd name="T88" fmla="*/ 66 w 153"/>
                      <a:gd name="T89" fmla="*/ 152 h 153"/>
                      <a:gd name="T90" fmla="*/ 73 w 153"/>
                      <a:gd name="T91" fmla="*/ 153 h 153"/>
                      <a:gd name="T92" fmla="*/ 80 w 153"/>
                      <a:gd name="T93" fmla="*/ 153 h 153"/>
                      <a:gd name="T94" fmla="*/ 87 w 153"/>
                      <a:gd name="T95" fmla="*/ 152 h 153"/>
                      <a:gd name="T96" fmla="*/ 94 w 153"/>
                      <a:gd name="T97" fmla="*/ 151 h 153"/>
                      <a:gd name="T98" fmla="*/ 101 w 153"/>
                      <a:gd name="T99" fmla="*/ 149 h 153"/>
                      <a:gd name="T100" fmla="*/ 108 w 153"/>
                      <a:gd name="T101" fmla="*/ 146 h 153"/>
                      <a:gd name="T102" fmla="*/ 115 w 153"/>
                      <a:gd name="T103" fmla="*/ 143 h 153"/>
                      <a:gd name="T104" fmla="*/ 122 w 153"/>
                      <a:gd name="T105" fmla="*/ 138 h 153"/>
                      <a:gd name="T106" fmla="*/ 129 w 153"/>
                      <a:gd name="T107" fmla="*/ 132 h 153"/>
                      <a:gd name="T108" fmla="*/ 136 w 153"/>
                      <a:gd name="T109" fmla="*/ 125 h 153"/>
                      <a:gd name="T110" fmla="*/ 141 w 153"/>
                      <a:gd name="T111" fmla="*/ 118 h 153"/>
                      <a:gd name="T112" fmla="*/ 145 w 153"/>
                      <a:gd name="T113" fmla="*/ 111 h 153"/>
                      <a:gd name="T114" fmla="*/ 148 w 153"/>
                      <a:gd name="T115" fmla="*/ 104 h 153"/>
                      <a:gd name="T116" fmla="*/ 150 w 153"/>
                      <a:gd name="T117" fmla="*/ 97 h 153"/>
                      <a:gd name="T118" fmla="*/ 152 w 153"/>
                      <a:gd name="T119" fmla="*/ 90 h 153"/>
                      <a:gd name="T120" fmla="*/ 153 w 153"/>
                      <a:gd name="T121" fmla="*/ 8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3" h="153">
                        <a:moveTo>
                          <a:pt x="153" y="77"/>
                        </a:moveTo>
                        <a:lnTo>
                          <a:pt x="153" y="76"/>
                        </a:lnTo>
                        <a:lnTo>
                          <a:pt x="153" y="75"/>
                        </a:lnTo>
                        <a:lnTo>
                          <a:pt x="153" y="74"/>
                        </a:lnTo>
                        <a:lnTo>
                          <a:pt x="153" y="73"/>
                        </a:lnTo>
                        <a:lnTo>
                          <a:pt x="153" y="72"/>
                        </a:lnTo>
                        <a:lnTo>
                          <a:pt x="153" y="71"/>
                        </a:lnTo>
                        <a:lnTo>
                          <a:pt x="153" y="70"/>
                        </a:lnTo>
                        <a:lnTo>
                          <a:pt x="153" y="69"/>
                        </a:lnTo>
                        <a:lnTo>
                          <a:pt x="153" y="68"/>
                        </a:lnTo>
                        <a:lnTo>
                          <a:pt x="152" y="67"/>
                        </a:lnTo>
                        <a:lnTo>
                          <a:pt x="152" y="66"/>
                        </a:lnTo>
                        <a:lnTo>
                          <a:pt x="152" y="65"/>
                        </a:lnTo>
                        <a:lnTo>
                          <a:pt x="152" y="64"/>
                        </a:lnTo>
                        <a:lnTo>
                          <a:pt x="152" y="63"/>
                        </a:lnTo>
                        <a:lnTo>
                          <a:pt x="152" y="62"/>
                        </a:lnTo>
                        <a:lnTo>
                          <a:pt x="151" y="61"/>
                        </a:lnTo>
                        <a:lnTo>
                          <a:pt x="151" y="60"/>
                        </a:lnTo>
                        <a:lnTo>
                          <a:pt x="151" y="59"/>
                        </a:lnTo>
                        <a:lnTo>
                          <a:pt x="151" y="58"/>
                        </a:lnTo>
                        <a:lnTo>
                          <a:pt x="150" y="57"/>
                        </a:lnTo>
                        <a:lnTo>
                          <a:pt x="150" y="56"/>
                        </a:lnTo>
                        <a:lnTo>
                          <a:pt x="150" y="55"/>
                        </a:lnTo>
                        <a:lnTo>
                          <a:pt x="150" y="54"/>
                        </a:lnTo>
                        <a:lnTo>
                          <a:pt x="149" y="53"/>
                        </a:lnTo>
                        <a:lnTo>
                          <a:pt x="149" y="52"/>
                        </a:lnTo>
                        <a:lnTo>
                          <a:pt x="149" y="51"/>
                        </a:lnTo>
                        <a:lnTo>
                          <a:pt x="148" y="50"/>
                        </a:lnTo>
                        <a:lnTo>
                          <a:pt x="148" y="49"/>
                        </a:lnTo>
                        <a:lnTo>
                          <a:pt x="147" y="48"/>
                        </a:lnTo>
                        <a:lnTo>
                          <a:pt x="147" y="47"/>
                        </a:lnTo>
                        <a:lnTo>
                          <a:pt x="147" y="46"/>
                        </a:lnTo>
                        <a:lnTo>
                          <a:pt x="146" y="45"/>
                        </a:lnTo>
                        <a:lnTo>
                          <a:pt x="146" y="44"/>
                        </a:lnTo>
                        <a:lnTo>
                          <a:pt x="145" y="43"/>
                        </a:lnTo>
                        <a:lnTo>
                          <a:pt x="145" y="42"/>
                        </a:lnTo>
                        <a:lnTo>
                          <a:pt x="144" y="41"/>
                        </a:lnTo>
                        <a:lnTo>
                          <a:pt x="144" y="40"/>
                        </a:lnTo>
                        <a:lnTo>
                          <a:pt x="143" y="39"/>
                        </a:lnTo>
                        <a:lnTo>
                          <a:pt x="143" y="38"/>
                        </a:lnTo>
                        <a:lnTo>
                          <a:pt x="142" y="37"/>
                        </a:lnTo>
                        <a:lnTo>
                          <a:pt x="141" y="36"/>
                        </a:lnTo>
                        <a:lnTo>
                          <a:pt x="141" y="35"/>
                        </a:lnTo>
                        <a:lnTo>
                          <a:pt x="140" y="34"/>
                        </a:lnTo>
                        <a:lnTo>
                          <a:pt x="139" y="33"/>
                        </a:lnTo>
                        <a:lnTo>
                          <a:pt x="139" y="32"/>
                        </a:lnTo>
                        <a:lnTo>
                          <a:pt x="138" y="31"/>
                        </a:lnTo>
                        <a:lnTo>
                          <a:pt x="137" y="30"/>
                        </a:lnTo>
                        <a:lnTo>
                          <a:pt x="136" y="29"/>
                        </a:lnTo>
                        <a:lnTo>
                          <a:pt x="136" y="28"/>
                        </a:lnTo>
                        <a:lnTo>
                          <a:pt x="135" y="27"/>
                        </a:lnTo>
                        <a:lnTo>
                          <a:pt x="134" y="26"/>
                        </a:lnTo>
                        <a:lnTo>
                          <a:pt x="133" y="25"/>
                        </a:lnTo>
                        <a:lnTo>
                          <a:pt x="132" y="24"/>
                        </a:lnTo>
                        <a:lnTo>
                          <a:pt x="131" y="23"/>
                        </a:lnTo>
                        <a:lnTo>
                          <a:pt x="130" y="22"/>
                        </a:lnTo>
                        <a:lnTo>
                          <a:pt x="129" y="21"/>
                        </a:lnTo>
                        <a:lnTo>
                          <a:pt x="128" y="20"/>
                        </a:lnTo>
                        <a:lnTo>
                          <a:pt x="127" y="19"/>
                        </a:lnTo>
                        <a:lnTo>
                          <a:pt x="126" y="18"/>
                        </a:lnTo>
                        <a:lnTo>
                          <a:pt x="125" y="17"/>
                        </a:lnTo>
                        <a:lnTo>
                          <a:pt x="124" y="17"/>
                        </a:lnTo>
                        <a:lnTo>
                          <a:pt x="123" y="16"/>
                        </a:lnTo>
                        <a:lnTo>
                          <a:pt x="122" y="15"/>
                        </a:lnTo>
                        <a:lnTo>
                          <a:pt x="121" y="14"/>
                        </a:lnTo>
                        <a:lnTo>
                          <a:pt x="120" y="14"/>
                        </a:lnTo>
                        <a:lnTo>
                          <a:pt x="119" y="13"/>
                        </a:lnTo>
                        <a:lnTo>
                          <a:pt x="118" y="12"/>
                        </a:lnTo>
                        <a:lnTo>
                          <a:pt x="117" y="12"/>
                        </a:lnTo>
                        <a:lnTo>
                          <a:pt x="116" y="11"/>
                        </a:lnTo>
                        <a:lnTo>
                          <a:pt x="115" y="10"/>
                        </a:lnTo>
                        <a:lnTo>
                          <a:pt x="114" y="10"/>
                        </a:lnTo>
                        <a:lnTo>
                          <a:pt x="113" y="9"/>
                        </a:lnTo>
                        <a:lnTo>
                          <a:pt x="112" y="9"/>
                        </a:lnTo>
                        <a:lnTo>
                          <a:pt x="111" y="8"/>
                        </a:lnTo>
                        <a:lnTo>
                          <a:pt x="110" y="8"/>
                        </a:lnTo>
                        <a:lnTo>
                          <a:pt x="109" y="7"/>
                        </a:lnTo>
                        <a:lnTo>
                          <a:pt x="108" y="7"/>
                        </a:lnTo>
                        <a:lnTo>
                          <a:pt x="107" y="6"/>
                        </a:lnTo>
                        <a:lnTo>
                          <a:pt x="106" y="6"/>
                        </a:lnTo>
                        <a:lnTo>
                          <a:pt x="105" y="6"/>
                        </a:lnTo>
                        <a:lnTo>
                          <a:pt x="104" y="5"/>
                        </a:lnTo>
                        <a:lnTo>
                          <a:pt x="103" y="5"/>
                        </a:lnTo>
                        <a:lnTo>
                          <a:pt x="102" y="4"/>
                        </a:lnTo>
                        <a:lnTo>
                          <a:pt x="101" y="4"/>
                        </a:lnTo>
                        <a:lnTo>
                          <a:pt x="100" y="4"/>
                        </a:lnTo>
                        <a:lnTo>
                          <a:pt x="99" y="3"/>
                        </a:lnTo>
                        <a:lnTo>
                          <a:pt x="98" y="3"/>
                        </a:lnTo>
                        <a:lnTo>
                          <a:pt x="97" y="3"/>
                        </a:lnTo>
                        <a:lnTo>
                          <a:pt x="96" y="3"/>
                        </a:lnTo>
                        <a:lnTo>
                          <a:pt x="95" y="2"/>
                        </a:lnTo>
                        <a:lnTo>
                          <a:pt x="94" y="2"/>
                        </a:lnTo>
                        <a:lnTo>
                          <a:pt x="93" y="2"/>
                        </a:lnTo>
                        <a:lnTo>
                          <a:pt x="92" y="2"/>
                        </a:lnTo>
                        <a:lnTo>
                          <a:pt x="91" y="1"/>
                        </a:lnTo>
                        <a:lnTo>
                          <a:pt x="90" y="1"/>
                        </a:lnTo>
                        <a:lnTo>
                          <a:pt x="89" y="1"/>
                        </a:lnTo>
                        <a:lnTo>
                          <a:pt x="88" y="1"/>
                        </a:lnTo>
                        <a:lnTo>
                          <a:pt x="87" y="1"/>
                        </a:lnTo>
                        <a:lnTo>
                          <a:pt x="86" y="1"/>
                        </a:lnTo>
                        <a:lnTo>
                          <a:pt x="85" y="0"/>
                        </a:lnTo>
                        <a:lnTo>
                          <a:pt x="84" y="0"/>
                        </a:lnTo>
                        <a:lnTo>
                          <a:pt x="83" y="0"/>
                        </a:lnTo>
                        <a:lnTo>
                          <a:pt x="82" y="0"/>
                        </a:lnTo>
                        <a:lnTo>
                          <a:pt x="81" y="0"/>
                        </a:lnTo>
                        <a:lnTo>
                          <a:pt x="80" y="0"/>
                        </a:lnTo>
                        <a:lnTo>
                          <a:pt x="79" y="0"/>
                        </a:lnTo>
                        <a:lnTo>
                          <a:pt x="78" y="0"/>
                        </a:lnTo>
                        <a:lnTo>
                          <a:pt x="77" y="0"/>
                        </a:lnTo>
                        <a:lnTo>
                          <a:pt x="76" y="0"/>
                        </a:lnTo>
                        <a:lnTo>
                          <a:pt x="75" y="0"/>
                        </a:lnTo>
                        <a:lnTo>
                          <a:pt x="74" y="0"/>
                        </a:lnTo>
                        <a:lnTo>
                          <a:pt x="73" y="0"/>
                        </a:lnTo>
                        <a:lnTo>
                          <a:pt x="72" y="0"/>
                        </a:lnTo>
                        <a:lnTo>
                          <a:pt x="71" y="0"/>
                        </a:lnTo>
                        <a:lnTo>
                          <a:pt x="70" y="0"/>
                        </a:lnTo>
                        <a:lnTo>
                          <a:pt x="69" y="0"/>
                        </a:lnTo>
                        <a:lnTo>
                          <a:pt x="68" y="0"/>
                        </a:lnTo>
                        <a:lnTo>
                          <a:pt x="67" y="1"/>
                        </a:lnTo>
                        <a:lnTo>
                          <a:pt x="66" y="1"/>
                        </a:lnTo>
                        <a:lnTo>
                          <a:pt x="65" y="1"/>
                        </a:lnTo>
                        <a:lnTo>
                          <a:pt x="64" y="1"/>
                        </a:lnTo>
                        <a:lnTo>
                          <a:pt x="63" y="1"/>
                        </a:lnTo>
                        <a:lnTo>
                          <a:pt x="62" y="1"/>
                        </a:lnTo>
                        <a:lnTo>
                          <a:pt x="61" y="2"/>
                        </a:lnTo>
                        <a:lnTo>
                          <a:pt x="60" y="2"/>
                        </a:lnTo>
                        <a:lnTo>
                          <a:pt x="59" y="2"/>
                        </a:lnTo>
                        <a:lnTo>
                          <a:pt x="58" y="2"/>
                        </a:lnTo>
                        <a:lnTo>
                          <a:pt x="57" y="3"/>
                        </a:lnTo>
                        <a:lnTo>
                          <a:pt x="56" y="3"/>
                        </a:lnTo>
                        <a:lnTo>
                          <a:pt x="55" y="3"/>
                        </a:lnTo>
                        <a:lnTo>
                          <a:pt x="54" y="3"/>
                        </a:lnTo>
                        <a:lnTo>
                          <a:pt x="53" y="4"/>
                        </a:lnTo>
                        <a:lnTo>
                          <a:pt x="52" y="4"/>
                        </a:lnTo>
                        <a:lnTo>
                          <a:pt x="51" y="4"/>
                        </a:lnTo>
                        <a:lnTo>
                          <a:pt x="50" y="5"/>
                        </a:lnTo>
                        <a:lnTo>
                          <a:pt x="49" y="5"/>
                        </a:lnTo>
                        <a:lnTo>
                          <a:pt x="48" y="6"/>
                        </a:lnTo>
                        <a:lnTo>
                          <a:pt x="47" y="6"/>
                        </a:lnTo>
                        <a:lnTo>
                          <a:pt x="46" y="6"/>
                        </a:lnTo>
                        <a:lnTo>
                          <a:pt x="45" y="7"/>
                        </a:lnTo>
                        <a:lnTo>
                          <a:pt x="44" y="7"/>
                        </a:lnTo>
                        <a:lnTo>
                          <a:pt x="43" y="8"/>
                        </a:lnTo>
                        <a:lnTo>
                          <a:pt x="42" y="8"/>
                        </a:lnTo>
                        <a:lnTo>
                          <a:pt x="41" y="9"/>
                        </a:lnTo>
                        <a:lnTo>
                          <a:pt x="40" y="9"/>
                        </a:lnTo>
                        <a:lnTo>
                          <a:pt x="39" y="10"/>
                        </a:lnTo>
                        <a:lnTo>
                          <a:pt x="38" y="10"/>
                        </a:lnTo>
                        <a:lnTo>
                          <a:pt x="37" y="11"/>
                        </a:lnTo>
                        <a:lnTo>
                          <a:pt x="36" y="12"/>
                        </a:lnTo>
                        <a:lnTo>
                          <a:pt x="35" y="12"/>
                        </a:lnTo>
                        <a:lnTo>
                          <a:pt x="34" y="13"/>
                        </a:lnTo>
                        <a:lnTo>
                          <a:pt x="33" y="14"/>
                        </a:lnTo>
                        <a:lnTo>
                          <a:pt x="32" y="14"/>
                        </a:lnTo>
                        <a:lnTo>
                          <a:pt x="31" y="15"/>
                        </a:lnTo>
                        <a:lnTo>
                          <a:pt x="30" y="16"/>
                        </a:lnTo>
                        <a:lnTo>
                          <a:pt x="29" y="17"/>
                        </a:lnTo>
                        <a:lnTo>
                          <a:pt x="28" y="17"/>
                        </a:lnTo>
                        <a:lnTo>
                          <a:pt x="27" y="18"/>
                        </a:lnTo>
                        <a:lnTo>
                          <a:pt x="26" y="19"/>
                        </a:lnTo>
                        <a:lnTo>
                          <a:pt x="25" y="20"/>
                        </a:lnTo>
                        <a:lnTo>
                          <a:pt x="24" y="21"/>
                        </a:lnTo>
                        <a:lnTo>
                          <a:pt x="23" y="22"/>
                        </a:lnTo>
                        <a:lnTo>
                          <a:pt x="22" y="23"/>
                        </a:lnTo>
                        <a:lnTo>
                          <a:pt x="21" y="24"/>
                        </a:lnTo>
                        <a:lnTo>
                          <a:pt x="20" y="25"/>
                        </a:lnTo>
                        <a:lnTo>
                          <a:pt x="19" y="26"/>
                        </a:lnTo>
                        <a:lnTo>
                          <a:pt x="18" y="27"/>
                        </a:lnTo>
                        <a:lnTo>
                          <a:pt x="17" y="28"/>
                        </a:lnTo>
                        <a:lnTo>
                          <a:pt x="17" y="29"/>
                        </a:lnTo>
                        <a:lnTo>
                          <a:pt x="16" y="30"/>
                        </a:lnTo>
                        <a:lnTo>
                          <a:pt x="15" y="31"/>
                        </a:lnTo>
                        <a:lnTo>
                          <a:pt x="14" y="32"/>
                        </a:lnTo>
                        <a:lnTo>
                          <a:pt x="14" y="33"/>
                        </a:lnTo>
                        <a:lnTo>
                          <a:pt x="13" y="34"/>
                        </a:lnTo>
                        <a:lnTo>
                          <a:pt x="12" y="35"/>
                        </a:lnTo>
                        <a:lnTo>
                          <a:pt x="12" y="36"/>
                        </a:lnTo>
                        <a:lnTo>
                          <a:pt x="11" y="37"/>
                        </a:lnTo>
                        <a:lnTo>
                          <a:pt x="10" y="38"/>
                        </a:lnTo>
                        <a:lnTo>
                          <a:pt x="10" y="39"/>
                        </a:lnTo>
                        <a:lnTo>
                          <a:pt x="9" y="40"/>
                        </a:lnTo>
                        <a:lnTo>
                          <a:pt x="9" y="41"/>
                        </a:lnTo>
                        <a:lnTo>
                          <a:pt x="8" y="42"/>
                        </a:lnTo>
                        <a:lnTo>
                          <a:pt x="8" y="43"/>
                        </a:lnTo>
                        <a:lnTo>
                          <a:pt x="7" y="44"/>
                        </a:lnTo>
                        <a:lnTo>
                          <a:pt x="7" y="45"/>
                        </a:lnTo>
                        <a:lnTo>
                          <a:pt x="6" y="46"/>
                        </a:lnTo>
                        <a:lnTo>
                          <a:pt x="6" y="47"/>
                        </a:lnTo>
                        <a:lnTo>
                          <a:pt x="6" y="48"/>
                        </a:lnTo>
                        <a:lnTo>
                          <a:pt x="5" y="49"/>
                        </a:lnTo>
                        <a:lnTo>
                          <a:pt x="5" y="50"/>
                        </a:lnTo>
                        <a:lnTo>
                          <a:pt x="4" y="51"/>
                        </a:lnTo>
                        <a:lnTo>
                          <a:pt x="4" y="52"/>
                        </a:lnTo>
                        <a:lnTo>
                          <a:pt x="4" y="53"/>
                        </a:lnTo>
                        <a:lnTo>
                          <a:pt x="3" y="54"/>
                        </a:lnTo>
                        <a:lnTo>
                          <a:pt x="3" y="55"/>
                        </a:lnTo>
                        <a:lnTo>
                          <a:pt x="3" y="56"/>
                        </a:lnTo>
                        <a:lnTo>
                          <a:pt x="3" y="57"/>
                        </a:lnTo>
                        <a:lnTo>
                          <a:pt x="2" y="58"/>
                        </a:lnTo>
                        <a:lnTo>
                          <a:pt x="2" y="59"/>
                        </a:lnTo>
                        <a:lnTo>
                          <a:pt x="2" y="60"/>
                        </a:lnTo>
                        <a:lnTo>
                          <a:pt x="2" y="61"/>
                        </a:lnTo>
                        <a:lnTo>
                          <a:pt x="1" y="62"/>
                        </a:lnTo>
                        <a:lnTo>
                          <a:pt x="1" y="63"/>
                        </a:lnTo>
                        <a:lnTo>
                          <a:pt x="1" y="64"/>
                        </a:lnTo>
                        <a:lnTo>
                          <a:pt x="1" y="65"/>
                        </a:lnTo>
                        <a:lnTo>
                          <a:pt x="1" y="66"/>
                        </a:lnTo>
                        <a:lnTo>
                          <a:pt x="1" y="67"/>
                        </a:lnTo>
                        <a:lnTo>
                          <a:pt x="0" y="68"/>
                        </a:lnTo>
                        <a:lnTo>
                          <a:pt x="0" y="69"/>
                        </a:lnTo>
                        <a:lnTo>
                          <a:pt x="0" y="70"/>
                        </a:lnTo>
                        <a:lnTo>
                          <a:pt x="0" y="71"/>
                        </a:lnTo>
                        <a:lnTo>
                          <a:pt x="0" y="72"/>
                        </a:lnTo>
                        <a:lnTo>
                          <a:pt x="0" y="73"/>
                        </a:lnTo>
                        <a:lnTo>
                          <a:pt x="0" y="74"/>
                        </a:lnTo>
                        <a:lnTo>
                          <a:pt x="0" y="75"/>
                        </a:lnTo>
                        <a:lnTo>
                          <a:pt x="0" y="76"/>
                        </a:lnTo>
                        <a:lnTo>
                          <a:pt x="0" y="77"/>
                        </a:lnTo>
                        <a:lnTo>
                          <a:pt x="0" y="78"/>
                        </a:lnTo>
                        <a:lnTo>
                          <a:pt x="0" y="79"/>
                        </a:lnTo>
                        <a:lnTo>
                          <a:pt x="0" y="80"/>
                        </a:lnTo>
                        <a:lnTo>
                          <a:pt x="0" y="81"/>
                        </a:lnTo>
                        <a:lnTo>
                          <a:pt x="0" y="82"/>
                        </a:lnTo>
                        <a:lnTo>
                          <a:pt x="0" y="83"/>
                        </a:lnTo>
                        <a:lnTo>
                          <a:pt x="0" y="84"/>
                        </a:lnTo>
                        <a:lnTo>
                          <a:pt x="0" y="85"/>
                        </a:lnTo>
                        <a:lnTo>
                          <a:pt x="1" y="86"/>
                        </a:lnTo>
                        <a:lnTo>
                          <a:pt x="1" y="87"/>
                        </a:lnTo>
                        <a:lnTo>
                          <a:pt x="1" y="88"/>
                        </a:lnTo>
                        <a:lnTo>
                          <a:pt x="1" y="89"/>
                        </a:lnTo>
                        <a:lnTo>
                          <a:pt x="1" y="90"/>
                        </a:lnTo>
                        <a:lnTo>
                          <a:pt x="1" y="91"/>
                        </a:lnTo>
                        <a:lnTo>
                          <a:pt x="2" y="92"/>
                        </a:lnTo>
                        <a:lnTo>
                          <a:pt x="2" y="93"/>
                        </a:lnTo>
                        <a:lnTo>
                          <a:pt x="2" y="94"/>
                        </a:lnTo>
                        <a:lnTo>
                          <a:pt x="2" y="95"/>
                        </a:lnTo>
                        <a:lnTo>
                          <a:pt x="3" y="96"/>
                        </a:lnTo>
                        <a:lnTo>
                          <a:pt x="3" y="97"/>
                        </a:lnTo>
                        <a:lnTo>
                          <a:pt x="3" y="98"/>
                        </a:lnTo>
                        <a:lnTo>
                          <a:pt x="3" y="99"/>
                        </a:lnTo>
                        <a:lnTo>
                          <a:pt x="4" y="100"/>
                        </a:lnTo>
                        <a:lnTo>
                          <a:pt x="4" y="101"/>
                        </a:lnTo>
                        <a:lnTo>
                          <a:pt x="4" y="102"/>
                        </a:lnTo>
                        <a:lnTo>
                          <a:pt x="5" y="103"/>
                        </a:lnTo>
                        <a:lnTo>
                          <a:pt x="5" y="104"/>
                        </a:lnTo>
                        <a:lnTo>
                          <a:pt x="6" y="105"/>
                        </a:lnTo>
                        <a:lnTo>
                          <a:pt x="6" y="106"/>
                        </a:lnTo>
                        <a:lnTo>
                          <a:pt x="6" y="107"/>
                        </a:lnTo>
                        <a:lnTo>
                          <a:pt x="7" y="108"/>
                        </a:lnTo>
                        <a:lnTo>
                          <a:pt x="7" y="109"/>
                        </a:lnTo>
                        <a:lnTo>
                          <a:pt x="8" y="110"/>
                        </a:lnTo>
                        <a:lnTo>
                          <a:pt x="8" y="111"/>
                        </a:lnTo>
                        <a:lnTo>
                          <a:pt x="9" y="112"/>
                        </a:lnTo>
                        <a:lnTo>
                          <a:pt x="9" y="113"/>
                        </a:lnTo>
                        <a:lnTo>
                          <a:pt x="10" y="114"/>
                        </a:lnTo>
                        <a:lnTo>
                          <a:pt x="10" y="115"/>
                        </a:lnTo>
                        <a:lnTo>
                          <a:pt x="11" y="116"/>
                        </a:lnTo>
                        <a:lnTo>
                          <a:pt x="12" y="117"/>
                        </a:lnTo>
                        <a:lnTo>
                          <a:pt x="12" y="118"/>
                        </a:lnTo>
                        <a:lnTo>
                          <a:pt x="13" y="119"/>
                        </a:lnTo>
                        <a:lnTo>
                          <a:pt x="14" y="120"/>
                        </a:lnTo>
                        <a:lnTo>
                          <a:pt x="14" y="121"/>
                        </a:lnTo>
                        <a:lnTo>
                          <a:pt x="15" y="122"/>
                        </a:lnTo>
                        <a:lnTo>
                          <a:pt x="16" y="123"/>
                        </a:lnTo>
                        <a:lnTo>
                          <a:pt x="17" y="124"/>
                        </a:lnTo>
                        <a:lnTo>
                          <a:pt x="17" y="125"/>
                        </a:lnTo>
                        <a:lnTo>
                          <a:pt x="18" y="126"/>
                        </a:lnTo>
                        <a:lnTo>
                          <a:pt x="19" y="127"/>
                        </a:lnTo>
                        <a:lnTo>
                          <a:pt x="20" y="128"/>
                        </a:lnTo>
                        <a:lnTo>
                          <a:pt x="21" y="129"/>
                        </a:lnTo>
                        <a:lnTo>
                          <a:pt x="22" y="130"/>
                        </a:lnTo>
                        <a:lnTo>
                          <a:pt x="23" y="131"/>
                        </a:lnTo>
                        <a:lnTo>
                          <a:pt x="24" y="132"/>
                        </a:lnTo>
                        <a:lnTo>
                          <a:pt x="25" y="133"/>
                        </a:lnTo>
                        <a:lnTo>
                          <a:pt x="26" y="134"/>
                        </a:lnTo>
                        <a:lnTo>
                          <a:pt x="27" y="135"/>
                        </a:lnTo>
                        <a:lnTo>
                          <a:pt x="28" y="136"/>
                        </a:lnTo>
                        <a:lnTo>
                          <a:pt x="29" y="136"/>
                        </a:lnTo>
                        <a:lnTo>
                          <a:pt x="30" y="137"/>
                        </a:lnTo>
                        <a:lnTo>
                          <a:pt x="31" y="138"/>
                        </a:lnTo>
                        <a:lnTo>
                          <a:pt x="32" y="139"/>
                        </a:lnTo>
                        <a:lnTo>
                          <a:pt x="33" y="139"/>
                        </a:lnTo>
                        <a:lnTo>
                          <a:pt x="34" y="140"/>
                        </a:lnTo>
                        <a:lnTo>
                          <a:pt x="35" y="141"/>
                        </a:lnTo>
                        <a:lnTo>
                          <a:pt x="36" y="141"/>
                        </a:lnTo>
                        <a:lnTo>
                          <a:pt x="37" y="142"/>
                        </a:lnTo>
                        <a:lnTo>
                          <a:pt x="38" y="143"/>
                        </a:lnTo>
                        <a:lnTo>
                          <a:pt x="39" y="143"/>
                        </a:lnTo>
                        <a:lnTo>
                          <a:pt x="40" y="144"/>
                        </a:lnTo>
                        <a:lnTo>
                          <a:pt x="41" y="144"/>
                        </a:lnTo>
                        <a:lnTo>
                          <a:pt x="42" y="145"/>
                        </a:lnTo>
                        <a:lnTo>
                          <a:pt x="43" y="145"/>
                        </a:lnTo>
                        <a:lnTo>
                          <a:pt x="44" y="146"/>
                        </a:lnTo>
                        <a:lnTo>
                          <a:pt x="45" y="146"/>
                        </a:lnTo>
                        <a:lnTo>
                          <a:pt x="46" y="147"/>
                        </a:lnTo>
                        <a:lnTo>
                          <a:pt x="47" y="147"/>
                        </a:lnTo>
                        <a:lnTo>
                          <a:pt x="48" y="147"/>
                        </a:lnTo>
                        <a:lnTo>
                          <a:pt x="49" y="148"/>
                        </a:lnTo>
                        <a:lnTo>
                          <a:pt x="50" y="148"/>
                        </a:lnTo>
                        <a:lnTo>
                          <a:pt x="51" y="149"/>
                        </a:lnTo>
                        <a:lnTo>
                          <a:pt x="52" y="149"/>
                        </a:lnTo>
                        <a:lnTo>
                          <a:pt x="53" y="149"/>
                        </a:lnTo>
                        <a:lnTo>
                          <a:pt x="54" y="150"/>
                        </a:lnTo>
                        <a:lnTo>
                          <a:pt x="55" y="150"/>
                        </a:lnTo>
                        <a:lnTo>
                          <a:pt x="56" y="150"/>
                        </a:lnTo>
                        <a:lnTo>
                          <a:pt x="57" y="150"/>
                        </a:lnTo>
                        <a:lnTo>
                          <a:pt x="58" y="151"/>
                        </a:lnTo>
                        <a:lnTo>
                          <a:pt x="59" y="151"/>
                        </a:lnTo>
                        <a:lnTo>
                          <a:pt x="60" y="151"/>
                        </a:lnTo>
                        <a:lnTo>
                          <a:pt x="61" y="151"/>
                        </a:lnTo>
                        <a:lnTo>
                          <a:pt x="62" y="152"/>
                        </a:lnTo>
                        <a:lnTo>
                          <a:pt x="63" y="152"/>
                        </a:lnTo>
                        <a:lnTo>
                          <a:pt x="64" y="152"/>
                        </a:lnTo>
                        <a:lnTo>
                          <a:pt x="65" y="152"/>
                        </a:lnTo>
                        <a:lnTo>
                          <a:pt x="66" y="152"/>
                        </a:lnTo>
                        <a:lnTo>
                          <a:pt x="67" y="152"/>
                        </a:lnTo>
                        <a:lnTo>
                          <a:pt x="68" y="153"/>
                        </a:lnTo>
                        <a:lnTo>
                          <a:pt x="69" y="153"/>
                        </a:lnTo>
                        <a:lnTo>
                          <a:pt x="70" y="153"/>
                        </a:lnTo>
                        <a:lnTo>
                          <a:pt x="71" y="153"/>
                        </a:lnTo>
                        <a:lnTo>
                          <a:pt x="72" y="153"/>
                        </a:lnTo>
                        <a:lnTo>
                          <a:pt x="73" y="153"/>
                        </a:lnTo>
                        <a:lnTo>
                          <a:pt x="74" y="153"/>
                        </a:lnTo>
                        <a:lnTo>
                          <a:pt x="75" y="153"/>
                        </a:lnTo>
                        <a:lnTo>
                          <a:pt x="76" y="153"/>
                        </a:lnTo>
                        <a:lnTo>
                          <a:pt x="77" y="153"/>
                        </a:lnTo>
                        <a:lnTo>
                          <a:pt x="78" y="153"/>
                        </a:lnTo>
                        <a:lnTo>
                          <a:pt x="79" y="153"/>
                        </a:lnTo>
                        <a:lnTo>
                          <a:pt x="80" y="153"/>
                        </a:lnTo>
                        <a:lnTo>
                          <a:pt x="81" y="153"/>
                        </a:lnTo>
                        <a:lnTo>
                          <a:pt x="82" y="153"/>
                        </a:lnTo>
                        <a:lnTo>
                          <a:pt x="83" y="153"/>
                        </a:lnTo>
                        <a:lnTo>
                          <a:pt x="84" y="153"/>
                        </a:lnTo>
                        <a:lnTo>
                          <a:pt x="85" y="153"/>
                        </a:lnTo>
                        <a:lnTo>
                          <a:pt x="86" y="152"/>
                        </a:lnTo>
                        <a:lnTo>
                          <a:pt x="87" y="152"/>
                        </a:lnTo>
                        <a:lnTo>
                          <a:pt x="88" y="152"/>
                        </a:lnTo>
                        <a:lnTo>
                          <a:pt x="89" y="152"/>
                        </a:lnTo>
                        <a:lnTo>
                          <a:pt x="90" y="152"/>
                        </a:lnTo>
                        <a:lnTo>
                          <a:pt x="91" y="152"/>
                        </a:lnTo>
                        <a:lnTo>
                          <a:pt x="92" y="151"/>
                        </a:lnTo>
                        <a:lnTo>
                          <a:pt x="93" y="151"/>
                        </a:lnTo>
                        <a:lnTo>
                          <a:pt x="94" y="151"/>
                        </a:lnTo>
                        <a:lnTo>
                          <a:pt x="95" y="151"/>
                        </a:lnTo>
                        <a:lnTo>
                          <a:pt x="96" y="150"/>
                        </a:lnTo>
                        <a:lnTo>
                          <a:pt x="97" y="150"/>
                        </a:lnTo>
                        <a:lnTo>
                          <a:pt x="98" y="150"/>
                        </a:lnTo>
                        <a:lnTo>
                          <a:pt x="99" y="150"/>
                        </a:lnTo>
                        <a:lnTo>
                          <a:pt x="100" y="149"/>
                        </a:lnTo>
                        <a:lnTo>
                          <a:pt x="101" y="149"/>
                        </a:lnTo>
                        <a:lnTo>
                          <a:pt x="102" y="149"/>
                        </a:lnTo>
                        <a:lnTo>
                          <a:pt x="103" y="148"/>
                        </a:lnTo>
                        <a:lnTo>
                          <a:pt x="104" y="148"/>
                        </a:lnTo>
                        <a:lnTo>
                          <a:pt x="105" y="147"/>
                        </a:lnTo>
                        <a:lnTo>
                          <a:pt x="106" y="147"/>
                        </a:lnTo>
                        <a:lnTo>
                          <a:pt x="107" y="147"/>
                        </a:lnTo>
                        <a:lnTo>
                          <a:pt x="108" y="146"/>
                        </a:lnTo>
                        <a:lnTo>
                          <a:pt x="109" y="146"/>
                        </a:lnTo>
                        <a:lnTo>
                          <a:pt x="110" y="145"/>
                        </a:lnTo>
                        <a:lnTo>
                          <a:pt x="111" y="145"/>
                        </a:lnTo>
                        <a:lnTo>
                          <a:pt x="112" y="144"/>
                        </a:lnTo>
                        <a:lnTo>
                          <a:pt x="113" y="144"/>
                        </a:lnTo>
                        <a:lnTo>
                          <a:pt x="114" y="143"/>
                        </a:lnTo>
                        <a:lnTo>
                          <a:pt x="115" y="143"/>
                        </a:lnTo>
                        <a:lnTo>
                          <a:pt x="116" y="142"/>
                        </a:lnTo>
                        <a:lnTo>
                          <a:pt x="117" y="141"/>
                        </a:lnTo>
                        <a:lnTo>
                          <a:pt x="118" y="141"/>
                        </a:lnTo>
                        <a:lnTo>
                          <a:pt x="119" y="140"/>
                        </a:lnTo>
                        <a:lnTo>
                          <a:pt x="120" y="139"/>
                        </a:lnTo>
                        <a:lnTo>
                          <a:pt x="121" y="139"/>
                        </a:lnTo>
                        <a:lnTo>
                          <a:pt x="122" y="138"/>
                        </a:lnTo>
                        <a:lnTo>
                          <a:pt x="123" y="137"/>
                        </a:lnTo>
                        <a:lnTo>
                          <a:pt x="124" y="136"/>
                        </a:lnTo>
                        <a:lnTo>
                          <a:pt x="125" y="136"/>
                        </a:lnTo>
                        <a:lnTo>
                          <a:pt x="126" y="135"/>
                        </a:lnTo>
                        <a:lnTo>
                          <a:pt x="127" y="134"/>
                        </a:lnTo>
                        <a:lnTo>
                          <a:pt x="128" y="133"/>
                        </a:lnTo>
                        <a:lnTo>
                          <a:pt x="129" y="132"/>
                        </a:lnTo>
                        <a:lnTo>
                          <a:pt x="130" y="131"/>
                        </a:lnTo>
                        <a:lnTo>
                          <a:pt x="131" y="130"/>
                        </a:lnTo>
                        <a:lnTo>
                          <a:pt x="132" y="129"/>
                        </a:lnTo>
                        <a:lnTo>
                          <a:pt x="133" y="128"/>
                        </a:lnTo>
                        <a:lnTo>
                          <a:pt x="134" y="127"/>
                        </a:lnTo>
                        <a:lnTo>
                          <a:pt x="135" y="126"/>
                        </a:lnTo>
                        <a:lnTo>
                          <a:pt x="136" y="125"/>
                        </a:lnTo>
                        <a:lnTo>
                          <a:pt x="136" y="124"/>
                        </a:lnTo>
                        <a:lnTo>
                          <a:pt x="137" y="123"/>
                        </a:lnTo>
                        <a:lnTo>
                          <a:pt x="138" y="122"/>
                        </a:lnTo>
                        <a:lnTo>
                          <a:pt x="139" y="121"/>
                        </a:lnTo>
                        <a:lnTo>
                          <a:pt x="139" y="120"/>
                        </a:lnTo>
                        <a:lnTo>
                          <a:pt x="140" y="119"/>
                        </a:lnTo>
                        <a:lnTo>
                          <a:pt x="141" y="118"/>
                        </a:lnTo>
                        <a:lnTo>
                          <a:pt x="141" y="117"/>
                        </a:lnTo>
                        <a:lnTo>
                          <a:pt x="142" y="116"/>
                        </a:lnTo>
                        <a:lnTo>
                          <a:pt x="143" y="115"/>
                        </a:lnTo>
                        <a:lnTo>
                          <a:pt x="143" y="114"/>
                        </a:lnTo>
                        <a:lnTo>
                          <a:pt x="144" y="113"/>
                        </a:lnTo>
                        <a:lnTo>
                          <a:pt x="144" y="112"/>
                        </a:lnTo>
                        <a:lnTo>
                          <a:pt x="145" y="111"/>
                        </a:lnTo>
                        <a:lnTo>
                          <a:pt x="145" y="110"/>
                        </a:lnTo>
                        <a:lnTo>
                          <a:pt x="146" y="109"/>
                        </a:lnTo>
                        <a:lnTo>
                          <a:pt x="146" y="108"/>
                        </a:lnTo>
                        <a:lnTo>
                          <a:pt x="147" y="107"/>
                        </a:lnTo>
                        <a:lnTo>
                          <a:pt x="147" y="106"/>
                        </a:lnTo>
                        <a:lnTo>
                          <a:pt x="147" y="105"/>
                        </a:lnTo>
                        <a:lnTo>
                          <a:pt x="148" y="104"/>
                        </a:lnTo>
                        <a:lnTo>
                          <a:pt x="148" y="103"/>
                        </a:lnTo>
                        <a:lnTo>
                          <a:pt x="149" y="102"/>
                        </a:lnTo>
                        <a:lnTo>
                          <a:pt x="149" y="101"/>
                        </a:lnTo>
                        <a:lnTo>
                          <a:pt x="149" y="100"/>
                        </a:lnTo>
                        <a:lnTo>
                          <a:pt x="150" y="99"/>
                        </a:lnTo>
                        <a:lnTo>
                          <a:pt x="150" y="98"/>
                        </a:lnTo>
                        <a:lnTo>
                          <a:pt x="150" y="97"/>
                        </a:lnTo>
                        <a:lnTo>
                          <a:pt x="150" y="96"/>
                        </a:lnTo>
                        <a:lnTo>
                          <a:pt x="151" y="95"/>
                        </a:lnTo>
                        <a:lnTo>
                          <a:pt x="151" y="94"/>
                        </a:lnTo>
                        <a:lnTo>
                          <a:pt x="151" y="93"/>
                        </a:lnTo>
                        <a:lnTo>
                          <a:pt x="151" y="92"/>
                        </a:lnTo>
                        <a:lnTo>
                          <a:pt x="152" y="91"/>
                        </a:lnTo>
                        <a:lnTo>
                          <a:pt x="152" y="90"/>
                        </a:lnTo>
                        <a:lnTo>
                          <a:pt x="152" y="89"/>
                        </a:lnTo>
                        <a:lnTo>
                          <a:pt x="152" y="88"/>
                        </a:lnTo>
                        <a:lnTo>
                          <a:pt x="152" y="87"/>
                        </a:lnTo>
                        <a:lnTo>
                          <a:pt x="152" y="86"/>
                        </a:lnTo>
                        <a:lnTo>
                          <a:pt x="153" y="85"/>
                        </a:lnTo>
                        <a:lnTo>
                          <a:pt x="153" y="84"/>
                        </a:lnTo>
                        <a:lnTo>
                          <a:pt x="153" y="83"/>
                        </a:lnTo>
                        <a:lnTo>
                          <a:pt x="153" y="82"/>
                        </a:lnTo>
                        <a:lnTo>
                          <a:pt x="153" y="81"/>
                        </a:lnTo>
                        <a:lnTo>
                          <a:pt x="153" y="80"/>
                        </a:lnTo>
                        <a:lnTo>
                          <a:pt x="153" y="79"/>
                        </a:lnTo>
                        <a:lnTo>
                          <a:pt x="153" y="78"/>
                        </a:lnTo>
                        <a:lnTo>
                          <a:pt x="153" y="77"/>
                        </a:lnTo>
                        <a:close/>
                      </a:path>
                    </a:pathLst>
                  </a:custGeom>
                  <a:solidFill>
                    <a:srgbClr val="98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124" name="Line 103"/>
                  <p:cNvSpPr>
                    <a:spLocks noChangeShapeType="1"/>
                  </p:cNvSpPr>
                  <p:nvPr/>
                </p:nvSpPr>
                <p:spPr bwMode="auto">
                  <a:xfrm flipV="1">
                    <a:off x="5036" y="592"/>
                    <a:ext cx="0" cy="3480"/>
                  </a:xfrm>
                  <a:prstGeom prst="line">
                    <a:avLst/>
                  </a:prstGeom>
                  <a:noFill/>
                  <a:ln w="3175">
                    <a:solidFill>
                      <a:srgbClr val="E1E1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125" name="Line 104"/>
                  <p:cNvSpPr>
                    <a:spLocks noChangeShapeType="1"/>
                  </p:cNvSpPr>
                  <p:nvPr/>
                </p:nvSpPr>
                <p:spPr bwMode="auto">
                  <a:xfrm flipV="1">
                    <a:off x="3188" y="592"/>
                    <a:ext cx="0" cy="3480"/>
                  </a:xfrm>
                  <a:prstGeom prst="line">
                    <a:avLst/>
                  </a:prstGeom>
                  <a:noFill/>
                  <a:ln w="3175">
                    <a:solidFill>
                      <a:srgbClr val="E1E1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126" name="Line 105"/>
                  <p:cNvSpPr>
                    <a:spLocks noChangeShapeType="1"/>
                  </p:cNvSpPr>
                  <p:nvPr/>
                </p:nvSpPr>
                <p:spPr bwMode="auto">
                  <a:xfrm flipV="1">
                    <a:off x="1339" y="592"/>
                    <a:ext cx="0" cy="3480"/>
                  </a:xfrm>
                  <a:prstGeom prst="line">
                    <a:avLst/>
                  </a:prstGeom>
                  <a:noFill/>
                  <a:ln w="3175">
                    <a:solidFill>
                      <a:srgbClr val="E1E1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127" name="Line 106"/>
                  <p:cNvSpPr>
                    <a:spLocks noChangeShapeType="1"/>
                  </p:cNvSpPr>
                  <p:nvPr/>
                </p:nvSpPr>
                <p:spPr bwMode="auto">
                  <a:xfrm>
                    <a:off x="574" y="1303"/>
                    <a:ext cx="6266" cy="0"/>
                  </a:xfrm>
                  <a:prstGeom prst="line">
                    <a:avLst/>
                  </a:prstGeom>
                  <a:noFill/>
                  <a:ln w="3175">
                    <a:solidFill>
                      <a:srgbClr val="E1E1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128" name="Line 107"/>
                  <p:cNvSpPr>
                    <a:spLocks noChangeShapeType="1"/>
                  </p:cNvSpPr>
                  <p:nvPr/>
                </p:nvSpPr>
                <p:spPr bwMode="auto">
                  <a:xfrm>
                    <a:off x="574" y="2535"/>
                    <a:ext cx="6266" cy="0"/>
                  </a:xfrm>
                  <a:prstGeom prst="line">
                    <a:avLst/>
                  </a:prstGeom>
                  <a:noFill/>
                  <a:ln w="3175">
                    <a:solidFill>
                      <a:srgbClr val="E1E1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129" name="Line 108"/>
                  <p:cNvSpPr>
                    <a:spLocks noChangeShapeType="1"/>
                  </p:cNvSpPr>
                  <p:nvPr/>
                </p:nvSpPr>
                <p:spPr bwMode="auto">
                  <a:xfrm>
                    <a:off x="574" y="3766"/>
                    <a:ext cx="6266" cy="0"/>
                  </a:xfrm>
                  <a:prstGeom prst="line">
                    <a:avLst/>
                  </a:prstGeom>
                  <a:noFill/>
                  <a:ln w="3175">
                    <a:solidFill>
                      <a:srgbClr val="E1E1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130" name="Line 111"/>
                  <p:cNvSpPr>
                    <a:spLocks noChangeShapeType="1"/>
                  </p:cNvSpPr>
                  <p:nvPr/>
                </p:nvSpPr>
                <p:spPr bwMode="auto">
                  <a:xfrm flipV="1">
                    <a:off x="5036" y="560"/>
                    <a:ext cx="0" cy="32"/>
                  </a:xfrm>
                  <a:prstGeom prst="line">
                    <a:avLst/>
                  </a:prstGeom>
                  <a:noFill/>
                  <a:ln w="158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131" name="Rectangle 130"/>
                  <p:cNvSpPr>
                    <a:spLocks noChangeArrowheads="1"/>
                  </p:cNvSpPr>
                  <p:nvPr/>
                </p:nvSpPr>
                <p:spPr bwMode="auto">
                  <a:xfrm>
                    <a:off x="4975" y="509"/>
                    <a:ext cx="105"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buClrTx/>
                      <a:buFontTx/>
                      <a:buNone/>
                    </a:pPr>
                    <a:r>
                      <a:rPr lang="en-US" altLang="en-US" sz="500" kern="1200" dirty="0">
                        <a:solidFill>
                          <a:srgbClr val="000000"/>
                        </a:solidFill>
                        <a:ea typeface="+mn-ea"/>
                        <a:cs typeface="Arial" panose="020B0604020202020204" pitchFamily="34" charset="0"/>
                      </a:rPr>
                      <a:t>0°0'0"</a:t>
                    </a:r>
                    <a:endParaRPr lang="en-US" altLang="en-US" sz="1800" kern="1200" dirty="0">
                      <a:solidFill>
                        <a:prstClr val="black"/>
                      </a:solidFill>
                      <a:ea typeface="+mn-ea"/>
                      <a:cs typeface="Arial" panose="020B0604020202020204" pitchFamily="34" charset="0"/>
                    </a:endParaRPr>
                  </a:p>
                </p:txBody>
              </p:sp>
              <p:sp>
                <p:nvSpPr>
                  <p:cNvPr id="132" name="Line 113"/>
                  <p:cNvSpPr>
                    <a:spLocks noChangeShapeType="1"/>
                  </p:cNvSpPr>
                  <p:nvPr/>
                </p:nvSpPr>
                <p:spPr bwMode="auto">
                  <a:xfrm>
                    <a:off x="3188" y="4072"/>
                    <a:ext cx="0" cy="33"/>
                  </a:xfrm>
                  <a:prstGeom prst="line">
                    <a:avLst/>
                  </a:prstGeom>
                  <a:noFill/>
                  <a:ln w="158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133" name="Rectangle 132"/>
                  <p:cNvSpPr>
                    <a:spLocks noChangeArrowheads="1"/>
                  </p:cNvSpPr>
                  <p:nvPr/>
                </p:nvSpPr>
                <p:spPr bwMode="auto">
                  <a:xfrm>
                    <a:off x="3107" y="4112"/>
                    <a:ext cx="143"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buClrTx/>
                      <a:buFontTx/>
                      <a:buNone/>
                    </a:pPr>
                    <a:r>
                      <a:rPr lang="en-US" altLang="en-US" sz="500" kern="1200" dirty="0">
                        <a:solidFill>
                          <a:srgbClr val="000000"/>
                        </a:solidFill>
                        <a:ea typeface="+mn-ea"/>
                        <a:cs typeface="Arial" panose="020B0604020202020204" pitchFamily="34" charset="0"/>
                      </a:rPr>
                      <a:t>3°0'0"W</a:t>
                    </a:r>
                    <a:endParaRPr lang="en-US" altLang="en-US" sz="1800" kern="1200" dirty="0">
                      <a:solidFill>
                        <a:prstClr val="black"/>
                      </a:solidFill>
                      <a:ea typeface="+mn-ea"/>
                      <a:cs typeface="Arial" panose="020B0604020202020204" pitchFamily="34" charset="0"/>
                    </a:endParaRPr>
                  </a:p>
                </p:txBody>
              </p:sp>
              <p:sp>
                <p:nvSpPr>
                  <p:cNvPr id="134" name="Line 115"/>
                  <p:cNvSpPr>
                    <a:spLocks noChangeShapeType="1"/>
                  </p:cNvSpPr>
                  <p:nvPr/>
                </p:nvSpPr>
                <p:spPr bwMode="auto">
                  <a:xfrm flipV="1">
                    <a:off x="3188" y="560"/>
                    <a:ext cx="0" cy="32"/>
                  </a:xfrm>
                  <a:prstGeom prst="line">
                    <a:avLst/>
                  </a:prstGeom>
                  <a:noFill/>
                  <a:ln w="158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135" name="Rectangle 134"/>
                  <p:cNvSpPr>
                    <a:spLocks noChangeArrowheads="1"/>
                  </p:cNvSpPr>
                  <p:nvPr/>
                </p:nvSpPr>
                <p:spPr bwMode="auto">
                  <a:xfrm>
                    <a:off x="3107" y="509"/>
                    <a:ext cx="143"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buClrTx/>
                      <a:buFontTx/>
                      <a:buNone/>
                    </a:pPr>
                    <a:r>
                      <a:rPr lang="en-US" altLang="en-US" sz="500" kern="1200" dirty="0">
                        <a:solidFill>
                          <a:srgbClr val="000000"/>
                        </a:solidFill>
                        <a:ea typeface="+mn-ea"/>
                        <a:cs typeface="Arial" panose="020B0604020202020204" pitchFamily="34" charset="0"/>
                      </a:rPr>
                      <a:t>3°0'0"W</a:t>
                    </a:r>
                    <a:endParaRPr lang="en-US" altLang="en-US" sz="1800" kern="1200" dirty="0">
                      <a:solidFill>
                        <a:prstClr val="black"/>
                      </a:solidFill>
                      <a:ea typeface="+mn-ea"/>
                      <a:cs typeface="Arial" panose="020B0604020202020204" pitchFamily="34" charset="0"/>
                    </a:endParaRPr>
                  </a:p>
                </p:txBody>
              </p:sp>
              <p:sp>
                <p:nvSpPr>
                  <p:cNvPr id="136" name="Line 117"/>
                  <p:cNvSpPr>
                    <a:spLocks noChangeShapeType="1"/>
                  </p:cNvSpPr>
                  <p:nvPr/>
                </p:nvSpPr>
                <p:spPr bwMode="auto">
                  <a:xfrm>
                    <a:off x="1339" y="4072"/>
                    <a:ext cx="0" cy="33"/>
                  </a:xfrm>
                  <a:prstGeom prst="line">
                    <a:avLst/>
                  </a:prstGeom>
                  <a:noFill/>
                  <a:ln w="158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137" name="Rectangle 136"/>
                  <p:cNvSpPr>
                    <a:spLocks noChangeArrowheads="1"/>
                  </p:cNvSpPr>
                  <p:nvPr/>
                </p:nvSpPr>
                <p:spPr bwMode="auto">
                  <a:xfrm>
                    <a:off x="1258" y="4112"/>
                    <a:ext cx="143"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buClrTx/>
                      <a:buFontTx/>
                      <a:buNone/>
                    </a:pPr>
                    <a:r>
                      <a:rPr lang="en-US" altLang="en-US" sz="500" kern="1200" dirty="0">
                        <a:solidFill>
                          <a:srgbClr val="000000"/>
                        </a:solidFill>
                        <a:ea typeface="+mn-ea"/>
                        <a:cs typeface="Arial" panose="020B0604020202020204" pitchFamily="34" charset="0"/>
                      </a:rPr>
                      <a:t>6°0'0"W</a:t>
                    </a:r>
                    <a:endParaRPr lang="en-US" altLang="en-US" sz="1800" kern="1200" dirty="0">
                      <a:solidFill>
                        <a:prstClr val="black"/>
                      </a:solidFill>
                      <a:ea typeface="+mn-ea"/>
                      <a:cs typeface="Arial" panose="020B0604020202020204" pitchFamily="34" charset="0"/>
                    </a:endParaRPr>
                  </a:p>
                </p:txBody>
              </p:sp>
              <p:sp>
                <p:nvSpPr>
                  <p:cNvPr id="138" name="Line 119"/>
                  <p:cNvSpPr>
                    <a:spLocks noChangeShapeType="1"/>
                  </p:cNvSpPr>
                  <p:nvPr/>
                </p:nvSpPr>
                <p:spPr bwMode="auto">
                  <a:xfrm flipV="1">
                    <a:off x="1339" y="560"/>
                    <a:ext cx="0" cy="32"/>
                  </a:xfrm>
                  <a:prstGeom prst="line">
                    <a:avLst/>
                  </a:prstGeom>
                  <a:noFill/>
                  <a:ln w="158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139" name="Rectangle 138"/>
                  <p:cNvSpPr>
                    <a:spLocks noChangeArrowheads="1"/>
                  </p:cNvSpPr>
                  <p:nvPr/>
                </p:nvSpPr>
                <p:spPr bwMode="auto">
                  <a:xfrm>
                    <a:off x="1258" y="509"/>
                    <a:ext cx="143"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buClrTx/>
                      <a:buFontTx/>
                      <a:buNone/>
                    </a:pPr>
                    <a:r>
                      <a:rPr lang="en-US" altLang="en-US" sz="500" kern="1200" dirty="0">
                        <a:solidFill>
                          <a:srgbClr val="000000"/>
                        </a:solidFill>
                        <a:ea typeface="+mn-ea"/>
                        <a:cs typeface="Arial" panose="020B0604020202020204" pitchFamily="34" charset="0"/>
                      </a:rPr>
                      <a:t>6°0'0"W</a:t>
                    </a:r>
                    <a:endParaRPr lang="en-US" altLang="en-US" sz="1800" kern="1200" dirty="0">
                      <a:solidFill>
                        <a:prstClr val="black"/>
                      </a:solidFill>
                      <a:ea typeface="+mn-ea"/>
                      <a:cs typeface="Arial" panose="020B0604020202020204" pitchFamily="34" charset="0"/>
                    </a:endParaRPr>
                  </a:p>
                </p:txBody>
              </p:sp>
              <p:sp>
                <p:nvSpPr>
                  <p:cNvPr id="140" name="Line 121"/>
                  <p:cNvSpPr>
                    <a:spLocks noChangeShapeType="1"/>
                  </p:cNvSpPr>
                  <p:nvPr/>
                </p:nvSpPr>
                <p:spPr bwMode="auto">
                  <a:xfrm flipH="1">
                    <a:off x="541" y="1303"/>
                    <a:ext cx="33" cy="0"/>
                  </a:xfrm>
                  <a:prstGeom prst="line">
                    <a:avLst/>
                  </a:prstGeom>
                  <a:noFill/>
                  <a:ln w="158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141" name="Rectangle 140"/>
                  <p:cNvSpPr>
                    <a:spLocks noChangeArrowheads="1"/>
                  </p:cNvSpPr>
                  <p:nvPr/>
                </p:nvSpPr>
                <p:spPr bwMode="auto">
                  <a:xfrm>
                    <a:off x="361" y="1284"/>
                    <a:ext cx="157"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buClrTx/>
                      <a:buFontTx/>
                      <a:buNone/>
                    </a:pPr>
                    <a:r>
                      <a:rPr lang="en-US" altLang="en-US" sz="500" kern="1200" dirty="0">
                        <a:solidFill>
                          <a:srgbClr val="000000"/>
                        </a:solidFill>
                        <a:ea typeface="+mn-ea"/>
                        <a:cs typeface="Arial" panose="020B0604020202020204" pitchFamily="34" charset="0"/>
                      </a:rPr>
                      <a:t>14°0'0"N</a:t>
                    </a:r>
                    <a:endParaRPr lang="en-US" altLang="en-US" sz="1800" kern="1200" dirty="0">
                      <a:solidFill>
                        <a:prstClr val="black"/>
                      </a:solidFill>
                      <a:ea typeface="+mn-ea"/>
                      <a:cs typeface="Arial" panose="020B0604020202020204" pitchFamily="34" charset="0"/>
                    </a:endParaRPr>
                  </a:p>
                </p:txBody>
              </p:sp>
              <p:sp>
                <p:nvSpPr>
                  <p:cNvPr id="142" name="Line 123"/>
                  <p:cNvSpPr>
                    <a:spLocks noChangeShapeType="1"/>
                  </p:cNvSpPr>
                  <p:nvPr/>
                </p:nvSpPr>
                <p:spPr bwMode="auto">
                  <a:xfrm>
                    <a:off x="6840" y="1303"/>
                    <a:ext cx="34" cy="0"/>
                  </a:xfrm>
                  <a:prstGeom prst="line">
                    <a:avLst/>
                  </a:prstGeom>
                  <a:noFill/>
                  <a:ln w="158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143" name="Line 125"/>
                  <p:cNvSpPr>
                    <a:spLocks noChangeShapeType="1"/>
                  </p:cNvSpPr>
                  <p:nvPr/>
                </p:nvSpPr>
                <p:spPr bwMode="auto">
                  <a:xfrm flipH="1">
                    <a:off x="541" y="2535"/>
                    <a:ext cx="33" cy="0"/>
                  </a:xfrm>
                  <a:prstGeom prst="line">
                    <a:avLst/>
                  </a:prstGeom>
                  <a:noFill/>
                  <a:ln w="158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144" name="Rectangle 143"/>
                  <p:cNvSpPr>
                    <a:spLocks noChangeArrowheads="1"/>
                  </p:cNvSpPr>
                  <p:nvPr/>
                </p:nvSpPr>
                <p:spPr bwMode="auto">
                  <a:xfrm>
                    <a:off x="361" y="2517"/>
                    <a:ext cx="157"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buClrTx/>
                      <a:buFontTx/>
                      <a:buNone/>
                    </a:pPr>
                    <a:r>
                      <a:rPr lang="en-US" altLang="en-US" sz="500" kern="1200" dirty="0">
                        <a:solidFill>
                          <a:srgbClr val="000000"/>
                        </a:solidFill>
                        <a:ea typeface="+mn-ea"/>
                        <a:cs typeface="Arial" panose="020B0604020202020204" pitchFamily="34" charset="0"/>
                      </a:rPr>
                      <a:t>12°0'0"N</a:t>
                    </a:r>
                    <a:endParaRPr lang="en-US" altLang="en-US" sz="1800" kern="1200" dirty="0">
                      <a:solidFill>
                        <a:prstClr val="black"/>
                      </a:solidFill>
                      <a:ea typeface="+mn-ea"/>
                      <a:cs typeface="Arial" panose="020B0604020202020204" pitchFamily="34" charset="0"/>
                    </a:endParaRPr>
                  </a:p>
                </p:txBody>
              </p:sp>
              <p:sp>
                <p:nvSpPr>
                  <p:cNvPr id="145" name="Line 127"/>
                  <p:cNvSpPr>
                    <a:spLocks noChangeShapeType="1"/>
                  </p:cNvSpPr>
                  <p:nvPr/>
                </p:nvSpPr>
                <p:spPr bwMode="auto">
                  <a:xfrm>
                    <a:off x="6840" y="2535"/>
                    <a:ext cx="34" cy="0"/>
                  </a:xfrm>
                  <a:prstGeom prst="line">
                    <a:avLst/>
                  </a:prstGeom>
                  <a:noFill/>
                  <a:ln w="158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146" name="Rectangle 145"/>
                  <p:cNvSpPr>
                    <a:spLocks noChangeArrowheads="1"/>
                  </p:cNvSpPr>
                  <p:nvPr/>
                </p:nvSpPr>
                <p:spPr bwMode="auto">
                  <a:xfrm>
                    <a:off x="6880" y="2517"/>
                    <a:ext cx="157"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buClrTx/>
                      <a:buFontTx/>
                      <a:buNone/>
                    </a:pPr>
                    <a:r>
                      <a:rPr lang="en-US" altLang="en-US" sz="500" kern="1200" dirty="0">
                        <a:solidFill>
                          <a:srgbClr val="000000"/>
                        </a:solidFill>
                        <a:ea typeface="+mn-ea"/>
                        <a:cs typeface="Arial" panose="020B0604020202020204" pitchFamily="34" charset="0"/>
                      </a:rPr>
                      <a:t>12°0'0"N</a:t>
                    </a:r>
                    <a:endParaRPr lang="en-US" altLang="en-US" sz="1800" kern="1200" dirty="0">
                      <a:solidFill>
                        <a:prstClr val="black"/>
                      </a:solidFill>
                      <a:ea typeface="+mn-ea"/>
                      <a:cs typeface="Arial" panose="020B0604020202020204" pitchFamily="34" charset="0"/>
                    </a:endParaRPr>
                  </a:p>
                </p:txBody>
              </p:sp>
              <p:sp>
                <p:nvSpPr>
                  <p:cNvPr id="147" name="Line 129"/>
                  <p:cNvSpPr>
                    <a:spLocks noChangeShapeType="1"/>
                  </p:cNvSpPr>
                  <p:nvPr/>
                </p:nvSpPr>
                <p:spPr bwMode="auto">
                  <a:xfrm flipH="1">
                    <a:off x="541" y="3766"/>
                    <a:ext cx="33" cy="0"/>
                  </a:xfrm>
                  <a:prstGeom prst="line">
                    <a:avLst/>
                  </a:prstGeom>
                  <a:noFill/>
                  <a:ln w="158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148" name="Rectangle 147"/>
                  <p:cNvSpPr>
                    <a:spLocks noChangeArrowheads="1"/>
                  </p:cNvSpPr>
                  <p:nvPr/>
                </p:nvSpPr>
                <p:spPr bwMode="auto">
                  <a:xfrm>
                    <a:off x="361" y="3748"/>
                    <a:ext cx="157"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buClrTx/>
                      <a:buFontTx/>
                      <a:buNone/>
                    </a:pPr>
                    <a:r>
                      <a:rPr lang="en-US" altLang="en-US" sz="500" kern="1200" dirty="0">
                        <a:solidFill>
                          <a:srgbClr val="000000"/>
                        </a:solidFill>
                        <a:ea typeface="+mn-ea"/>
                        <a:cs typeface="Arial" panose="020B0604020202020204" pitchFamily="34" charset="0"/>
                      </a:rPr>
                      <a:t>10°0'0"N</a:t>
                    </a:r>
                    <a:endParaRPr lang="en-US" altLang="en-US" sz="1800" kern="1200" dirty="0">
                      <a:solidFill>
                        <a:prstClr val="black"/>
                      </a:solidFill>
                      <a:ea typeface="+mn-ea"/>
                      <a:cs typeface="Arial" panose="020B0604020202020204" pitchFamily="34" charset="0"/>
                    </a:endParaRPr>
                  </a:p>
                </p:txBody>
              </p:sp>
              <p:sp>
                <p:nvSpPr>
                  <p:cNvPr id="149" name="Rectangle 148"/>
                  <p:cNvSpPr>
                    <a:spLocks noChangeArrowheads="1"/>
                  </p:cNvSpPr>
                  <p:nvPr/>
                </p:nvSpPr>
                <p:spPr bwMode="auto">
                  <a:xfrm>
                    <a:off x="6880" y="3748"/>
                    <a:ext cx="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buClrTx/>
                      <a:buFontTx/>
                      <a:buNone/>
                    </a:pPr>
                    <a:endParaRPr lang="en-US" altLang="en-US" sz="1800" kern="1200" dirty="0">
                      <a:solidFill>
                        <a:prstClr val="black"/>
                      </a:solidFill>
                      <a:ea typeface="+mn-ea"/>
                      <a:cs typeface="Arial" panose="020B0604020202020204" pitchFamily="34" charset="0"/>
                    </a:endParaRPr>
                  </a:p>
                </p:txBody>
              </p:sp>
              <p:sp>
                <p:nvSpPr>
                  <p:cNvPr id="150" name="Rectangle 149"/>
                  <p:cNvSpPr>
                    <a:spLocks noChangeArrowheads="1"/>
                  </p:cNvSpPr>
                  <p:nvPr/>
                </p:nvSpPr>
                <p:spPr bwMode="auto">
                  <a:xfrm>
                    <a:off x="7002" y="2575"/>
                    <a:ext cx="286"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buClrTx/>
                      <a:buFontTx/>
                      <a:buNone/>
                    </a:pPr>
                    <a:r>
                      <a:rPr lang="en-US" altLang="en-US" sz="1100" b="1" kern="1200" dirty="0">
                        <a:solidFill>
                          <a:srgbClr val="000000"/>
                        </a:solidFill>
                        <a:ea typeface="+mn-ea"/>
                        <a:cs typeface="Arial" panose="020B0604020202020204" pitchFamily="34" charset="0"/>
                      </a:rPr>
                      <a:t>Grants</a:t>
                    </a:r>
                    <a:endParaRPr lang="en-US" altLang="en-US" sz="1800" kern="1200" dirty="0">
                      <a:solidFill>
                        <a:prstClr val="black"/>
                      </a:solidFill>
                      <a:ea typeface="+mn-ea"/>
                      <a:cs typeface="Arial" panose="020B0604020202020204" pitchFamily="34" charset="0"/>
                    </a:endParaRPr>
                  </a:p>
                </p:txBody>
              </p:sp>
              <p:sp>
                <p:nvSpPr>
                  <p:cNvPr id="151" name="Rectangle 150"/>
                  <p:cNvSpPr>
                    <a:spLocks noChangeArrowheads="1"/>
                  </p:cNvSpPr>
                  <p:nvPr/>
                </p:nvSpPr>
                <p:spPr bwMode="auto">
                  <a:xfrm>
                    <a:off x="6746" y="2699"/>
                    <a:ext cx="185" cy="92"/>
                  </a:xfrm>
                  <a:prstGeom prst="rect">
                    <a:avLst/>
                  </a:prstGeom>
                  <a:solidFill>
                    <a:srgbClr val="E698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152" name="Rectangle 151"/>
                  <p:cNvSpPr>
                    <a:spLocks noChangeArrowheads="1"/>
                  </p:cNvSpPr>
                  <p:nvPr/>
                </p:nvSpPr>
                <p:spPr bwMode="auto">
                  <a:xfrm>
                    <a:off x="6964" y="2712"/>
                    <a:ext cx="653"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buClrTx/>
                      <a:buFontTx/>
                      <a:buNone/>
                    </a:pPr>
                    <a:r>
                      <a:rPr lang="en-US" altLang="en-US" sz="800" kern="1200" dirty="0" smtClean="0">
                        <a:solidFill>
                          <a:srgbClr val="000000"/>
                        </a:solidFill>
                        <a:ea typeface="+mn-ea"/>
                        <a:cs typeface="Arial" panose="020B0604020202020204" pitchFamily="34" charset="0"/>
                      </a:rPr>
                      <a:t>Inclusive Finance</a:t>
                    </a:r>
                    <a:endParaRPr lang="en-US" altLang="en-US" sz="1800" kern="1200" dirty="0">
                      <a:solidFill>
                        <a:prstClr val="black"/>
                      </a:solidFill>
                      <a:ea typeface="+mn-ea"/>
                      <a:cs typeface="Arial" panose="020B0604020202020204" pitchFamily="34" charset="0"/>
                    </a:endParaRPr>
                  </a:p>
                </p:txBody>
              </p:sp>
              <p:sp>
                <p:nvSpPr>
                  <p:cNvPr id="153" name="Rectangle 152"/>
                  <p:cNvSpPr>
                    <a:spLocks noChangeArrowheads="1"/>
                  </p:cNvSpPr>
                  <p:nvPr/>
                </p:nvSpPr>
                <p:spPr bwMode="auto">
                  <a:xfrm>
                    <a:off x="6746" y="2824"/>
                    <a:ext cx="185" cy="92"/>
                  </a:xfrm>
                  <a:prstGeom prst="rect">
                    <a:avLst/>
                  </a:prstGeom>
                  <a:solidFill>
                    <a:srgbClr val="E64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154" name="Rectangle 153"/>
                  <p:cNvSpPr>
                    <a:spLocks noChangeArrowheads="1"/>
                  </p:cNvSpPr>
                  <p:nvPr/>
                </p:nvSpPr>
                <p:spPr bwMode="auto">
                  <a:xfrm>
                    <a:off x="6964" y="2837"/>
                    <a:ext cx="414"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buClrTx/>
                      <a:buFontTx/>
                      <a:buNone/>
                    </a:pPr>
                    <a:r>
                      <a:rPr lang="en-US" altLang="en-US" sz="800" kern="1200" dirty="0">
                        <a:solidFill>
                          <a:srgbClr val="000000"/>
                        </a:solidFill>
                        <a:ea typeface="+mn-ea"/>
                        <a:cs typeface="Arial" panose="020B0604020202020204" pitchFamily="34" charset="0"/>
                      </a:rPr>
                      <a:t>Agrodealer</a:t>
                    </a:r>
                    <a:endParaRPr lang="en-US" altLang="en-US" sz="1800" kern="1200" dirty="0">
                      <a:solidFill>
                        <a:prstClr val="black"/>
                      </a:solidFill>
                      <a:ea typeface="+mn-ea"/>
                      <a:cs typeface="Arial" panose="020B0604020202020204" pitchFamily="34" charset="0"/>
                    </a:endParaRPr>
                  </a:p>
                </p:txBody>
              </p:sp>
              <p:sp>
                <p:nvSpPr>
                  <p:cNvPr id="155" name="Rectangle 154"/>
                  <p:cNvSpPr>
                    <a:spLocks noChangeArrowheads="1"/>
                  </p:cNvSpPr>
                  <p:nvPr/>
                </p:nvSpPr>
                <p:spPr bwMode="auto">
                  <a:xfrm>
                    <a:off x="6746" y="2949"/>
                    <a:ext cx="185" cy="92"/>
                  </a:xfrm>
                  <a:prstGeom prst="rect">
                    <a:avLst/>
                  </a:prstGeom>
                  <a:solidFill>
                    <a:srgbClr val="004C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156" name="Rectangle 155"/>
                  <p:cNvSpPr>
                    <a:spLocks noChangeArrowheads="1"/>
                  </p:cNvSpPr>
                  <p:nvPr/>
                </p:nvSpPr>
                <p:spPr bwMode="auto">
                  <a:xfrm>
                    <a:off x="6964" y="2962"/>
                    <a:ext cx="286"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buClrTx/>
                      <a:buFontTx/>
                      <a:buNone/>
                    </a:pPr>
                    <a:r>
                      <a:rPr lang="en-US" altLang="en-US" sz="800" kern="1200" dirty="0">
                        <a:solidFill>
                          <a:srgbClr val="000000"/>
                        </a:solidFill>
                        <a:ea typeface="+mn-ea"/>
                        <a:cs typeface="Arial" panose="020B0604020202020204" pitchFamily="34" charset="0"/>
                      </a:rPr>
                      <a:t>Extension</a:t>
                    </a:r>
                    <a:endParaRPr lang="en-US" altLang="en-US" sz="1800" kern="1200" dirty="0">
                      <a:solidFill>
                        <a:prstClr val="black"/>
                      </a:solidFill>
                      <a:ea typeface="+mn-ea"/>
                      <a:cs typeface="Arial" panose="020B0604020202020204" pitchFamily="34" charset="0"/>
                    </a:endParaRPr>
                  </a:p>
                </p:txBody>
              </p:sp>
              <p:sp>
                <p:nvSpPr>
                  <p:cNvPr id="157" name="Rectangle 156"/>
                  <p:cNvSpPr>
                    <a:spLocks noChangeArrowheads="1"/>
                  </p:cNvSpPr>
                  <p:nvPr/>
                </p:nvSpPr>
                <p:spPr bwMode="auto">
                  <a:xfrm>
                    <a:off x="6746" y="3075"/>
                    <a:ext cx="185" cy="93"/>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158" name="Rectangle 157"/>
                  <p:cNvSpPr>
                    <a:spLocks noChangeArrowheads="1"/>
                  </p:cNvSpPr>
                  <p:nvPr/>
                </p:nvSpPr>
                <p:spPr bwMode="auto">
                  <a:xfrm>
                    <a:off x="6964" y="3087"/>
                    <a:ext cx="2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buClrTx/>
                      <a:buFontTx/>
                      <a:buNone/>
                    </a:pPr>
                    <a:r>
                      <a:rPr lang="en-US" altLang="en-US" sz="800" kern="1200" dirty="0">
                        <a:solidFill>
                          <a:srgbClr val="000000"/>
                        </a:solidFill>
                        <a:ea typeface="+mn-ea"/>
                        <a:cs typeface="Arial" panose="020B0604020202020204" pitchFamily="34" charset="0"/>
                      </a:rPr>
                      <a:t>Markets</a:t>
                    </a:r>
                    <a:endParaRPr lang="en-US" altLang="en-US" sz="1800" kern="1200" dirty="0">
                      <a:solidFill>
                        <a:prstClr val="black"/>
                      </a:solidFill>
                      <a:ea typeface="+mn-ea"/>
                      <a:cs typeface="Arial" panose="020B0604020202020204" pitchFamily="34" charset="0"/>
                    </a:endParaRPr>
                  </a:p>
                </p:txBody>
              </p:sp>
              <p:sp>
                <p:nvSpPr>
                  <p:cNvPr id="159" name="Rectangle 158"/>
                  <p:cNvSpPr>
                    <a:spLocks noChangeArrowheads="1"/>
                  </p:cNvSpPr>
                  <p:nvPr/>
                </p:nvSpPr>
                <p:spPr bwMode="auto">
                  <a:xfrm>
                    <a:off x="6746" y="3200"/>
                    <a:ext cx="185" cy="93"/>
                  </a:xfrm>
                  <a:prstGeom prst="rect">
                    <a:avLst/>
                  </a:prstGeom>
                  <a:solidFill>
                    <a:srgbClr val="2892C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160" name="Rectangle 159"/>
                  <p:cNvSpPr>
                    <a:spLocks noChangeArrowheads="1"/>
                  </p:cNvSpPr>
                  <p:nvPr/>
                </p:nvSpPr>
                <p:spPr bwMode="auto">
                  <a:xfrm>
                    <a:off x="6964" y="3214"/>
                    <a:ext cx="185"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buClrTx/>
                      <a:buFontTx/>
                      <a:buNone/>
                    </a:pPr>
                    <a:r>
                      <a:rPr lang="en-US" altLang="en-US" sz="800" kern="1200" dirty="0">
                        <a:solidFill>
                          <a:srgbClr val="000000"/>
                        </a:solidFill>
                        <a:ea typeface="+mn-ea"/>
                        <a:cs typeface="Arial" panose="020B0604020202020204" pitchFamily="34" charset="0"/>
                      </a:rPr>
                      <a:t>Seeds</a:t>
                    </a:r>
                    <a:endParaRPr lang="en-US" altLang="en-US" sz="1800" kern="1200" dirty="0">
                      <a:solidFill>
                        <a:prstClr val="black"/>
                      </a:solidFill>
                      <a:ea typeface="+mn-ea"/>
                      <a:cs typeface="Arial" panose="020B0604020202020204" pitchFamily="34" charset="0"/>
                    </a:endParaRPr>
                  </a:p>
                </p:txBody>
              </p:sp>
              <p:sp>
                <p:nvSpPr>
                  <p:cNvPr id="161" name="Rectangle 160"/>
                  <p:cNvSpPr>
                    <a:spLocks noChangeArrowheads="1"/>
                  </p:cNvSpPr>
                  <p:nvPr/>
                </p:nvSpPr>
                <p:spPr bwMode="auto">
                  <a:xfrm>
                    <a:off x="6746" y="3326"/>
                    <a:ext cx="185" cy="92"/>
                  </a:xfrm>
                  <a:prstGeom prst="rect">
                    <a:avLst/>
                  </a:prstGeom>
                  <a:solidFill>
                    <a:srgbClr val="E698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162" name="Rectangle 161"/>
                  <p:cNvSpPr>
                    <a:spLocks noChangeArrowheads="1"/>
                  </p:cNvSpPr>
                  <p:nvPr/>
                </p:nvSpPr>
                <p:spPr bwMode="auto">
                  <a:xfrm>
                    <a:off x="6964" y="3339"/>
                    <a:ext cx="50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buClrTx/>
                      <a:buFontTx/>
                      <a:buNone/>
                    </a:pPr>
                    <a:r>
                      <a:rPr lang="en-US" altLang="en-US" sz="800" kern="1200" dirty="0">
                        <a:solidFill>
                          <a:srgbClr val="000000"/>
                        </a:solidFill>
                        <a:ea typeface="+mn-ea"/>
                        <a:cs typeface="Arial" panose="020B0604020202020204" pitchFamily="34" charset="0"/>
                      </a:rPr>
                      <a:t>Inclusive Finance</a:t>
                    </a:r>
                    <a:endParaRPr lang="en-US" altLang="en-US" sz="1800" kern="1200" dirty="0">
                      <a:solidFill>
                        <a:prstClr val="black"/>
                      </a:solidFill>
                      <a:ea typeface="+mn-ea"/>
                      <a:cs typeface="Arial" panose="020B0604020202020204" pitchFamily="34" charset="0"/>
                    </a:endParaRPr>
                  </a:p>
                </p:txBody>
              </p:sp>
              <p:sp>
                <p:nvSpPr>
                  <p:cNvPr id="163" name="Rectangle 162"/>
                  <p:cNvSpPr>
                    <a:spLocks noChangeArrowheads="1"/>
                  </p:cNvSpPr>
                  <p:nvPr/>
                </p:nvSpPr>
                <p:spPr bwMode="auto">
                  <a:xfrm>
                    <a:off x="6680" y="3807"/>
                    <a:ext cx="931"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buClrTx/>
                      <a:buFontTx/>
                      <a:buNone/>
                    </a:pPr>
                    <a:r>
                      <a:rPr lang="en-US" altLang="en-US" sz="1000" b="1" kern="1200" dirty="0">
                        <a:solidFill>
                          <a:srgbClr val="000000"/>
                        </a:solidFill>
                        <a:ea typeface="+mn-ea"/>
                        <a:cs typeface="Arial" panose="020B0604020202020204" pitchFamily="34" charset="0"/>
                      </a:rPr>
                      <a:t>AGRA Selected Regions</a:t>
                    </a:r>
                    <a:endParaRPr lang="en-US" altLang="en-US" sz="1000" kern="1200" dirty="0">
                      <a:solidFill>
                        <a:prstClr val="black"/>
                      </a:solidFill>
                      <a:ea typeface="+mn-ea"/>
                      <a:cs typeface="Arial" panose="020B0604020202020204" pitchFamily="34" charset="0"/>
                    </a:endParaRPr>
                  </a:p>
                </p:txBody>
              </p:sp>
              <p:sp>
                <p:nvSpPr>
                  <p:cNvPr id="164" name="Rectangle 163"/>
                  <p:cNvSpPr>
                    <a:spLocks noChangeArrowheads="1"/>
                  </p:cNvSpPr>
                  <p:nvPr/>
                </p:nvSpPr>
                <p:spPr bwMode="auto">
                  <a:xfrm>
                    <a:off x="6680" y="3928"/>
                    <a:ext cx="68" cy="159"/>
                  </a:xfrm>
                  <a:prstGeom prst="rect">
                    <a:avLst/>
                  </a:prstGeom>
                  <a:solidFill>
                    <a:srgbClr val="9DCC10"/>
                  </a:solidFill>
                  <a:ln w="4763">
                    <a:solidFill>
                      <a:srgbClr val="6E6E6E"/>
                    </a:solidFill>
                    <a:prstDash val="solid"/>
                    <a:miter lim="800000"/>
                    <a:headEnd/>
                    <a:tailEnd/>
                  </a:ln>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165" name="Rectangle 164"/>
                  <p:cNvSpPr>
                    <a:spLocks noChangeArrowheads="1"/>
                  </p:cNvSpPr>
                  <p:nvPr/>
                </p:nvSpPr>
                <p:spPr bwMode="auto">
                  <a:xfrm>
                    <a:off x="6763" y="3928"/>
                    <a:ext cx="68" cy="159"/>
                  </a:xfrm>
                  <a:prstGeom prst="rect">
                    <a:avLst/>
                  </a:prstGeom>
                  <a:solidFill>
                    <a:srgbClr val="C7E371"/>
                  </a:solidFill>
                  <a:ln w="4763">
                    <a:solidFill>
                      <a:srgbClr val="6E6E6E"/>
                    </a:solidFill>
                    <a:prstDash val="solid"/>
                    <a:miter lim="800000"/>
                    <a:headEnd/>
                    <a:tailEnd/>
                  </a:ln>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166" name="Rectangle 165"/>
                  <p:cNvSpPr>
                    <a:spLocks noChangeArrowheads="1"/>
                  </p:cNvSpPr>
                  <p:nvPr/>
                </p:nvSpPr>
                <p:spPr bwMode="auto">
                  <a:xfrm>
                    <a:off x="6849" y="3928"/>
                    <a:ext cx="68" cy="159"/>
                  </a:xfrm>
                  <a:prstGeom prst="rect">
                    <a:avLst/>
                  </a:prstGeom>
                  <a:solidFill>
                    <a:srgbClr val="ECFCCC"/>
                  </a:solidFill>
                  <a:ln w="4763">
                    <a:solidFill>
                      <a:srgbClr val="6E6E6E"/>
                    </a:solidFill>
                    <a:prstDash val="solid"/>
                    <a:miter lim="800000"/>
                    <a:headEnd/>
                    <a:tailEnd/>
                  </a:ln>
                </p:spPr>
                <p:txBody>
                  <a:bodyPr vert="horz" wrap="square" lIns="91440" tIns="45720" rIns="91440" bIns="45720" numCol="1" anchor="t" anchorCtr="0" compatLnSpc="1">
                    <a:prstTxWarp prst="textNoShape">
                      <a:avLst/>
                    </a:prstTxWarp>
                  </a:bodyPr>
                  <a:lstStyle/>
                  <a:p>
                    <a:pPr>
                      <a:buClrTx/>
                      <a:buFontTx/>
                      <a:buNone/>
                    </a:pPr>
                    <a:r>
                      <a:rPr lang="en-US" sz="1800" kern="1200" dirty="0">
                        <a:solidFill>
                          <a:prstClr val="black"/>
                        </a:solidFill>
                        <a:latin typeface="Arial" panose="020B0604020202020204" pitchFamily="34" charset="0"/>
                        <a:ea typeface="+mn-ea"/>
                        <a:cs typeface="Arial" panose="020B0604020202020204" pitchFamily="34" charset="0"/>
                      </a:rPr>
                      <a:t> </a:t>
                    </a: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167" name="Rectangle 166"/>
                  <p:cNvSpPr>
                    <a:spLocks noChangeArrowheads="1"/>
                  </p:cNvSpPr>
                  <p:nvPr/>
                </p:nvSpPr>
                <p:spPr bwMode="auto">
                  <a:xfrm>
                    <a:off x="6672" y="4161"/>
                    <a:ext cx="185" cy="92"/>
                  </a:xfrm>
                  <a:prstGeom prst="rect">
                    <a:avLst/>
                  </a:prstGeom>
                  <a:solidFill>
                    <a:srgbClr val="E1E1E1"/>
                  </a:solidFill>
                  <a:ln w="4763">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168" name="Rectangle 167"/>
                  <p:cNvSpPr>
                    <a:spLocks noChangeArrowheads="1"/>
                  </p:cNvSpPr>
                  <p:nvPr/>
                </p:nvSpPr>
                <p:spPr bwMode="auto">
                  <a:xfrm>
                    <a:off x="6915" y="4166"/>
                    <a:ext cx="419"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buClrTx/>
                      <a:buFontTx/>
                      <a:buNone/>
                    </a:pPr>
                    <a:r>
                      <a:rPr lang="en-US" altLang="en-US" sz="800" kern="1200" dirty="0">
                        <a:solidFill>
                          <a:srgbClr val="000000"/>
                        </a:solidFill>
                        <a:ea typeface="+mn-ea"/>
                        <a:cs typeface="Arial" panose="020B0604020202020204" pitchFamily="34" charset="0"/>
                      </a:rPr>
                      <a:t>Other Regions</a:t>
                    </a:r>
                    <a:endParaRPr lang="en-US" altLang="en-US" sz="1800" kern="1200" dirty="0">
                      <a:solidFill>
                        <a:prstClr val="black"/>
                      </a:solidFill>
                      <a:ea typeface="+mn-ea"/>
                      <a:cs typeface="Arial" panose="020B0604020202020204" pitchFamily="34" charset="0"/>
                    </a:endParaRPr>
                  </a:p>
                </p:txBody>
              </p:sp>
              <p:sp>
                <p:nvSpPr>
                  <p:cNvPr id="169" name="Freeform 168"/>
                  <p:cNvSpPr>
                    <a:spLocks noEditPoints="1"/>
                  </p:cNvSpPr>
                  <p:nvPr/>
                </p:nvSpPr>
                <p:spPr bwMode="auto">
                  <a:xfrm>
                    <a:off x="6717" y="1819"/>
                    <a:ext cx="36" cy="366"/>
                  </a:xfrm>
                  <a:custGeom>
                    <a:avLst/>
                    <a:gdLst>
                      <a:gd name="T0" fmla="*/ 21 w 36"/>
                      <a:gd name="T1" fmla="*/ 193 h 366"/>
                      <a:gd name="T2" fmla="*/ 21 w 36"/>
                      <a:gd name="T3" fmla="*/ 174 h 366"/>
                      <a:gd name="T4" fmla="*/ 32 w 36"/>
                      <a:gd name="T5" fmla="*/ 179 h 366"/>
                      <a:gd name="T6" fmla="*/ 19 w 36"/>
                      <a:gd name="T7" fmla="*/ 63 h 366"/>
                      <a:gd name="T8" fmla="*/ 5 w 36"/>
                      <a:gd name="T9" fmla="*/ 179 h 366"/>
                      <a:gd name="T10" fmla="*/ 16 w 36"/>
                      <a:gd name="T11" fmla="*/ 174 h 366"/>
                      <a:gd name="T12" fmla="*/ 17 w 36"/>
                      <a:gd name="T13" fmla="*/ 193 h 366"/>
                      <a:gd name="T14" fmla="*/ 11 w 36"/>
                      <a:gd name="T15" fmla="*/ 195 h 366"/>
                      <a:gd name="T16" fmla="*/ 8 w 36"/>
                      <a:gd name="T17" fmla="*/ 199 h 366"/>
                      <a:gd name="T18" fmla="*/ 5 w 36"/>
                      <a:gd name="T19" fmla="*/ 204 h 366"/>
                      <a:gd name="T20" fmla="*/ 3 w 36"/>
                      <a:gd name="T21" fmla="*/ 209 h 366"/>
                      <a:gd name="T22" fmla="*/ 5 w 36"/>
                      <a:gd name="T23" fmla="*/ 215 h 366"/>
                      <a:gd name="T24" fmla="*/ 8 w 36"/>
                      <a:gd name="T25" fmla="*/ 220 h 366"/>
                      <a:gd name="T26" fmla="*/ 13 w 36"/>
                      <a:gd name="T27" fmla="*/ 223 h 366"/>
                      <a:gd name="T28" fmla="*/ 17 w 36"/>
                      <a:gd name="T29" fmla="*/ 225 h 366"/>
                      <a:gd name="T30" fmla="*/ 2 w 36"/>
                      <a:gd name="T31" fmla="*/ 366 h 366"/>
                      <a:gd name="T32" fmla="*/ 17 w 36"/>
                      <a:gd name="T33" fmla="*/ 358 h 366"/>
                      <a:gd name="T34" fmla="*/ 35 w 36"/>
                      <a:gd name="T35" fmla="*/ 366 h 366"/>
                      <a:gd name="T36" fmla="*/ 21 w 36"/>
                      <a:gd name="T37" fmla="*/ 225 h 366"/>
                      <a:gd name="T38" fmla="*/ 25 w 36"/>
                      <a:gd name="T39" fmla="*/ 223 h 366"/>
                      <a:gd name="T40" fmla="*/ 30 w 36"/>
                      <a:gd name="T41" fmla="*/ 220 h 366"/>
                      <a:gd name="T42" fmla="*/ 33 w 36"/>
                      <a:gd name="T43" fmla="*/ 215 h 366"/>
                      <a:gd name="T44" fmla="*/ 35 w 36"/>
                      <a:gd name="T45" fmla="*/ 209 h 366"/>
                      <a:gd name="T46" fmla="*/ 33 w 36"/>
                      <a:gd name="T47" fmla="*/ 204 h 366"/>
                      <a:gd name="T48" fmla="*/ 30 w 36"/>
                      <a:gd name="T49" fmla="*/ 199 h 366"/>
                      <a:gd name="T50" fmla="*/ 25 w 36"/>
                      <a:gd name="T51" fmla="*/ 195 h 366"/>
                      <a:gd name="T52" fmla="*/ 21 w 36"/>
                      <a:gd name="T53" fmla="*/ 193 h 366"/>
                      <a:gd name="T54" fmla="*/ 19 w 36"/>
                      <a:gd name="T55" fmla="*/ 355 h 366"/>
                      <a:gd name="T56" fmla="*/ 17 w 36"/>
                      <a:gd name="T57" fmla="*/ 237 h 366"/>
                      <a:gd name="T58" fmla="*/ 19 w 36"/>
                      <a:gd name="T59" fmla="*/ 237 h 366"/>
                      <a:gd name="T60" fmla="*/ 32 w 36"/>
                      <a:gd name="T61" fmla="*/ 363 h 366"/>
                      <a:gd name="T62" fmla="*/ 19 w 36"/>
                      <a:gd name="T63" fmla="*/ 355 h 366"/>
                      <a:gd name="T64" fmla="*/ 0 w 36"/>
                      <a:gd name="T65" fmla="*/ 0 h 366"/>
                      <a:gd name="T66" fmla="*/ 0 w 36"/>
                      <a:gd name="T67" fmla="*/ 46 h 366"/>
                      <a:gd name="T68" fmla="*/ 5 w 36"/>
                      <a:gd name="T69" fmla="*/ 46 h 366"/>
                      <a:gd name="T70" fmla="*/ 5 w 36"/>
                      <a:gd name="T71" fmla="*/ 9 h 366"/>
                      <a:gd name="T72" fmla="*/ 30 w 36"/>
                      <a:gd name="T73" fmla="*/ 46 h 366"/>
                      <a:gd name="T74" fmla="*/ 36 w 36"/>
                      <a:gd name="T75" fmla="*/ 46 h 366"/>
                      <a:gd name="T76" fmla="*/ 36 w 36"/>
                      <a:gd name="T77" fmla="*/ 0 h 366"/>
                      <a:gd name="T78" fmla="*/ 30 w 36"/>
                      <a:gd name="T79" fmla="*/ 0 h 366"/>
                      <a:gd name="T80" fmla="*/ 30 w 36"/>
                      <a:gd name="T81" fmla="*/ 36 h 366"/>
                      <a:gd name="T82" fmla="*/ 5 w 36"/>
                      <a:gd name="T83" fmla="*/ 0 h 366"/>
                      <a:gd name="T84" fmla="*/ 0 w 36"/>
                      <a:gd name="T85" fmla="*/ 0 h 366"/>
                      <a:gd name="T86" fmla="*/ 19 w 36"/>
                      <a:gd name="T87" fmla="*/ 81 h 366"/>
                      <a:gd name="T88" fmla="*/ 19 w 36"/>
                      <a:gd name="T89" fmla="*/ 169 h 366"/>
                      <a:gd name="T90" fmla="*/ 6 w 36"/>
                      <a:gd name="T91" fmla="*/ 174 h 366"/>
                      <a:gd name="T92" fmla="*/ 19 w 36"/>
                      <a:gd name="T93" fmla="*/ 81 h 366"/>
                      <a:gd name="T94" fmla="*/ 5 w 36"/>
                      <a:gd name="T95" fmla="*/ 209 h 366"/>
                      <a:gd name="T96" fmla="*/ 19 w 36"/>
                      <a:gd name="T97" fmla="*/ 209 h 366"/>
                      <a:gd name="T98" fmla="*/ 19 w 36"/>
                      <a:gd name="T99" fmla="*/ 223 h 366"/>
                      <a:gd name="T100" fmla="*/ 13 w 36"/>
                      <a:gd name="T101" fmla="*/ 222 h 366"/>
                      <a:gd name="T102" fmla="*/ 10 w 36"/>
                      <a:gd name="T103" fmla="*/ 218 h 366"/>
                      <a:gd name="T104" fmla="*/ 6 w 36"/>
                      <a:gd name="T105" fmla="*/ 215 h 366"/>
                      <a:gd name="T106" fmla="*/ 5 w 36"/>
                      <a:gd name="T107" fmla="*/ 209 h 366"/>
                      <a:gd name="T108" fmla="*/ 33 w 36"/>
                      <a:gd name="T109" fmla="*/ 207 h 366"/>
                      <a:gd name="T110" fmla="*/ 21 w 36"/>
                      <a:gd name="T111" fmla="*/ 207 h 366"/>
                      <a:gd name="T112" fmla="*/ 21 w 36"/>
                      <a:gd name="T113" fmla="*/ 195 h 366"/>
                      <a:gd name="T114" fmla="*/ 25 w 36"/>
                      <a:gd name="T115" fmla="*/ 196 h 366"/>
                      <a:gd name="T116" fmla="*/ 29 w 36"/>
                      <a:gd name="T117" fmla="*/ 198 h 366"/>
                      <a:gd name="T118" fmla="*/ 32 w 36"/>
                      <a:gd name="T119" fmla="*/ 203 h 366"/>
                      <a:gd name="T120" fmla="*/ 33 w 36"/>
                      <a:gd name="T121" fmla="*/ 207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 h="366">
                        <a:moveTo>
                          <a:pt x="21" y="193"/>
                        </a:moveTo>
                        <a:lnTo>
                          <a:pt x="21" y="174"/>
                        </a:lnTo>
                        <a:lnTo>
                          <a:pt x="32" y="179"/>
                        </a:lnTo>
                        <a:lnTo>
                          <a:pt x="19" y="63"/>
                        </a:lnTo>
                        <a:lnTo>
                          <a:pt x="5" y="179"/>
                        </a:lnTo>
                        <a:lnTo>
                          <a:pt x="16" y="174"/>
                        </a:lnTo>
                        <a:lnTo>
                          <a:pt x="17" y="193"/>
                        </a:lnTo>
                        <a:lnTo>
                          <a:pt x="11" y="195"/>
                        </a:lnTo>
                        <a:lnTo>
                          <a:pt x="8" y="199"/>
                        </a:lnTo>
                        <a:lnTo>
                          <a:pt x="5" y="204"/>
                        </a:lnTo>
                        <a:lnTo>
                          <a:pt x="3" y="209"/>
                        </a:lnTo>
                        <a:lnTo>
                          <a:pt x="5" y="215"/>
                        </a:lnTo>
                        <a:lnTo>
                          <a:pt x="8" y="220"/>
                        </a:lnTo>
                        <a:lnTo>
                          <a:pt x="13" y="223"/>
                        </a:lnTo>
                        <a:lnTo>
                          <a:pt x="17" y="225"/>
                        </a:lnTo>
                        <a:lnTo>
                          <a:pt x="2" y="366"/>
                        </a:lnTo>
                        <a:lnTo>
                          <a:pt x="17" y="358"/>
                        </a:lnTo>
                        <a:lnTo>
                          <a:pt x="35" y="366"/>
                        </a:lnTo>
                        <a:lnTo>
                          <a:pt x="21" y="225"/>
                        </a:lnTo>
                        <a:lnTo>
                          <a:pt x="25" y="223"/>
                        </a:lnTo>
                        <a:lnTo>
                          <a:pt x="30" y="220"/>
                        </a:lnTo>
                        <a:lnTo>
                          <a:pt x="33" y="215"/>
                        </a:lnTo>
                        <a:lnTo>
                          <a:pt x="35" y="209"/>
                        </a:lnTo>
                        <a:lnTo>
                          <a:pt x="33" y="204"/>
                        </a:lnTo>
                        <a:lnTo>
                          <a:pt x="30" y="199"/>
                        </a:lnTo>
                        <a:lnTo>
                          <a:pt x="25" y="195"/>
                        </a:lnTo>
                        <a:lnTo>
                          <a:pt x="21" y="193"/>
                        </a:lnTo>
                        <a:close/>
                        <a:moveTo>
                          <a:pt x="19" y="355"/>
                        </a:moveTo>
                        <a:lnTo>
                          <a:pt x="17" y="237"/>
                        </a:lnTo>
                        <a:lnTo>
                          <a:pt x="19" y="237"/>
                        </a:lnTo>
                        <a:lnTo>
                          <a:pt x="32" y="363"/>
                        </a:lnTo>
                        <a:lnTo>
                          <a:pt x="19" y="355"/>
                        </a:lnTo>
                        <a:close/>
                        <a:moveTo>
                          <a:pt x="0" y="0"/>
                        </a:moveTo>
                        <a:lnTo>
                          <a:pt x="0" y="46"/>
                        </a:lnTo>
                        <a:lnTo>
                          <a:pt x="5" y="46"/>
                        </a:lnTo>
                        <a:lnTo>
                          <a:pt x="5" y="9"/>
                        </a:lnTo>
                        <a:lnTo>
                          <a:pt x="30" y="46"/>
                        </a:lnTo>
                        <a:lnTo>
                          <a:pt x="36" y="46"/>
                        </a:lnTo>
                        <a:lnTo>
                          <a:pt x="36" y="0"/>
                        </a:lnTo>
                        <a:lnTo>
                          <a:pt x="30" y="0"/>
                        </a:lnTo>
                        <a:lnTo>
                          <a:pt x="30" y="36"/>
                        </a:lnTo>
                        <a:lnTo>
                          <a:pt x="5" y="0"/>
                        </a:lnTo>
                        <a:lnTo>
                          <a:pt x="0" y="0"/>
                        </a:lnTo>
                        <a:close/>
                        <a:moveTo>
                          <a:pt x="19" y="81"/>
                        </a:moveTo>
                        <a:lnTo>
                          <a:pt x="19" y="169"/>
                        </a:lnTo>
                        <a:lnTo>
                          <a:pt x="6" y="174"/>
                        </a:lnTo>
                        <a:lnTo>
                          <a:pt x="19" y="81"/>
                        </a:lnTo>
                        <a:close/>
                        <a:moveTo>
                          <a:pt x="5" y="209"/>
                        </a:moveTo>
                        <a:lnTo>
                          <a:pt x="19" y="209"/>
                        </a:lnTo>
                        <a:lnTo>
                          <a:pt x="19" y="223"/>
                        </a:lnTo>
                        <a:lnTo>
                          <a:pt x="13" y="222"/>
                        </a:lnTo>
                        <a:lnTo>
                          <a:pt x="10" y="218"/>
                        </a:lnTo>
                        <a:lnTo>
                          <a:pt x="6" y="215"/>
                        </a:lnTo>
                        <a:lnTo>
                          <a:pt x="5" y="209"/>
                        </a:lnTo>
                        <a:close/>
                        <a:moveTo>
                          <a:pt x="33" y="207"/>
                        </a:moveTo>
                        <a:lnTo>
                          <a:pt x="21" y="207"/>
                        </a:lnTo>
                        <a:lnTo>
                          <a:pt x="21" y="195"/>
                        </a:lnTo>
                        <a:lnTo>
                          <a:pt x="25" y="196"/>
                        </a:lnTo>
                        <a:lnTo>
                          <a:pt x="29" y="198"/>
                        </a:lnTo>
                        <a:lnTo>
                          <a:pt x="32" y="203"/>
                        </a:lnTo>
                        <a:lnTo>
                          <a:pt x="33" y="20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170" name="Rectangle 169"/>
                  <p:cNvSpPr>
                    <a:spLocks noChangeArrowheads="1"/>
                  </p:cNvSpPr>
                  <p:nvPr/>
                </p:nvSpPr>
                <p:spPr bwMode="auto">
                  <a:xfrm>
                    <a:off x="3546" y="4167"/>
                    <a:ext cx="166" cy="40"/>
                  </a:xfrm>
                  <a:prstGeom prst="rect">
                    <a:avLst/>
                  </a:prstGeom>
                  <a:solidFill>
                    <a:srgbClr val="000000"/>
                  </a:solidFill>
                  <a:ln w="9525">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171" name="Rectangle 170"/>
                  <p:cNvSpPr>
                    <a:spLocks noChangeArrowheads="1"/>
                  </p:cNvSpPr>
                  <p:nvPr/>
                </p:nvSpPr>
                <p:spPr bwMode="auto">
                  <a:xfrm>
                    <a:off x="3712" y="4167"/>
                    <a:ext cx="166" cy="40"/>
                  </a:xfrm>
                  <a:prstGeom prst="rect">
                    <a:avLst/>
                  </a:prstGeom>
                  <a:noFill/>
                  <a:ln w="9525">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172" name="Rectangle 171"/>
                  <p:cNvSpPr>
                    <a:spLocks noChangeArrowheads="1"/>
                  </p:cNvSpPr>
                  <p:nvPr/>
                </p:nvSpPr>
                <p:spPr bwMode="auto">
                  <a:xfrm>
                    <a:off x="3878" y="4167"/>
                    <a:ext cx="166" cy="40"/>
                  </a:xfrm>
                  <a:prstGeom prst="rect">
                    <a:avLst/>
                  </a:prstGeom>
                  <a:solidFill>
                    <a:srgbClr val="000000"/>
                  </a:solidFill>
                  <a:ln w="9525">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173" name="Rectangle 172"/>
                  <p:cNvSpPr>
                    <a:spLocks noChangeArrowheads="1"/>
                  </p:cNvSpPr>
                  <p:nvPr/>
                </p:nvSpPr>
                <p:spPr bwMode="auto">
                  <a:xfrm>
                    <a:off x="4044" y="4167"/>
                    <a:ext cx="167" cy="40"/>
                  </a:xfrm>
                  <a:prstGeom prst="rect">
                    <a:avLst/>
                  </a:prstGeom>
                  <a:noFill/>
                  <a:ln w="9525">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174" name="Rectangle 173"/>
                  <p:cNvSpPr>
                    <a:spLocks noChangeArrowheads="1"/>
                  </p:cNvSpPr>
                  <p:nvPr/>
                </p:nvSpPr>
                <p:spPr bwMode="auto">
                  <a:xfrm>
                    <a:off x="4211" y="4167"/>
                    <a:ext cx="667" cy="40"/>
                  </a:xfrm>
                  <a:prstGeom prst="rect">
                    <a:avLst/>
                  </a:prstGeom>
                  <a:solidFill>
                    <a:srgbClr val="000000"/>
                  </a:solidFill>
                  <a:ln w="9525">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175" name="Rectangle 174"/>
                  <p:cNvSpPr>
                    <a:spLocks noChangeArrowheads="1"/>
                  </p:cNvSpPr>
                  <p:nvPr/>
                </p:nvSpPr>
                <p:spPr bwMode="auto">
                  <a:xfrm>
                    <a:off x="4878" y="4167"/>
                    <a:ext cx="665" cy="40"/>
                  </a:xfrm>
                  <a:prstGeom prst="rect">
                    <a:avLst/>
                  </a:prstGeom>
                  <a:noFill/>
                  <a:ln w="9525">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176" name="Rectangle 175"/>
                  <p:cNvSpPr>
                    <a:spLocks noChangeArrowheads="1"/>
                  </p:cNvSpPr>
                  <p:nvPr/>
                </p:nvSpPr>
                <p:spPr bwMode="auto">
                  <a:xfrm>
                    <a:off x="5543" y="4167"/>
                    <a:ext cx="665" cy="40"/>
                  </a:xfrm>
                  <a:prstGeom prst="rect">
                    <a:avLst/>
                  </a:prstGeom>
                  <a:solidFill>
                    <a:srgbClr val="000000"/>
                  </a:solidFill>
                  <a:ln w="9525">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177" name="Rectangle 176"/>
                  <p:cNvSpPr>
                    <a:spLocks noChangeArrowheads="1"/>
                  </p:cNvSpPr>
                  <p:nvPr/>
                </p:nvSpPr>
                <p:spPr bwMode="auto">
                  <a:xfrm>
                    <a:off x="3506" y="4226"/>
                    <a:ext cx="44"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buClrTx/>
                      <a:buFontTx/>
                      <a:buNone/>
                    </a:pPr>
                    <a:r>
                      <a:rPr lang="en-US" altLang="en-US" sz="1000" kern="1200" dirty="0">
                        <a:solidFill>
                          <a:srgbClr val="000000"/>
                        </a:solidFill>
                        <a:ea typeface="+mn-ea"/>
                        <a:cs typeface="Arial" panose="020B0604020202020204" pitchFamily="34" charset="0"/>
                      </a:rPr>
                      <a:t>0</a:t>
                    </a:r>
                    <a:endParaRPr lang="en-US" altLang="en-US" sz="1800" kern="1200" dirty="0">
                      <a:solidFill>
                        <a:prstClr val="black"/>
                      </a:solidFill>
                      <a:ea typeface="+mn-ea"/>
                      <a:cs typeface="Arial" panose="020B0604020202020204" pitchFamily="34" charset="0"/>
                    </a:endParaRPr>
                  </a:p>
                </p:txBody>
              </p:sp>
              <p:sp>
                <p:nvSpPr>
                  <p:cNvPr id="178" name="Rectangle 177"/>
                  <p:cNvSpPr>
                    <a:spLocks noChangeArrowheads="1"/>
                  </p:cNvSpPr>
                  <p:nvPr/>
                </p:nvSpPr>
                <p:spPr bwMode="auto">
                  <a:xfrm>
                    <a:off x="4126" y="4226"/>
                    <a:ext cx="133"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buClrTx/>
                      <a:buFontTx/>
                      <a:buNone/>
                    </a:pPr>
                    <a:r>
                      <a:rPr lang="en-US" altLang="en-US" sz="1000" kern="1200" dirty="0">
                        <a:solidFill>
                          <a:srgbClr val="000000"/>
                        </a:solidFill>
                        <a:ea typeface="+mn-ea"/>
                        <a:cs typeface="Arial" panose="020B0604020202020204" pitchFamily="34" charset="0"/>
                      </a:rPr>
                      <a:t>120</a:t>
                    </a:r>
                    <a:endParaRPr lang="en-US" altLang="en-US" sz="1800" kern="1200" dirty="0">
                      <a:solidFill>
                        <a:prstClr val="black"/>
                      </a:solidFill>
                      <a:ea typeface="+mn-ea"/>
                      <a:cs typeface="Arial" panose="020B0604020202020204" pitchFamily="34" charset="0"/>
                    </a:endParaRPr>
                  </a:p>
                </p:txBody>
              </p:sp>
              <p:sp>
                <p:nvSpPr>
                  <p:cNvPr id="179" name="Rectangle 178"/>
                  <p:cNvSpPr>
                    <a:spLocks noChangeArrowheads="1"/>
                  </p:cNvSpPr>
                  <p:nvPr/>
                </p:nvSpPr>
                <p:spPr bwMode="auto">
                  <a:xfrm>
                    <a:off x="4793" y="4226"/>
                    <a:ext cx="133"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buClrTx/>
                      <a:buFontTx/>
                      <a:buNone/>
                    </a:pPr>
                    <a:r>
                      <a:rPr lang="en-US" altLang="en-US" sz="1000" kern="1200" dirty="0">
                        <a:solidFill>
                          <a:srgbClr val="000000"/>
                        </a:solidFill>
                        <a:ea typeface="+mn-ea"/>
                        <a:cs typeface="Arial" panose="020B0604020202020204" pitchFamily="34" charset="0"/>
                      </a:rPr>
                      <a:t>240</a:t>
                    </a:r>
                    <a:endParaRPr lang="en-US" altLang="en-US" sz="1800" kern="1200" dirty="0">
                      <a:solidFill>
                        <a:prstClr val="black"/>
                      </a:solidFill>
                      <a:ea typeface="+mn-ea"/>
                      <a:cs typeface="Arial" panose="020B0604020202020204" pitchFamily="34" charset="0"/>
                    </a:endParaRPr>
                  </a:p>
                </p:txBody>
              </p:sp>
              <p:sp>
                <p:nvSpPr>
                  <p:cNvPr id="180" name="Rectangle 179"/>
                  <p:cNvSpPr>
                    <a:spLocks noChangeArrowheads="1"/>
                  </p:cNvSpPr>
                  <p:nvPr/>
                </p:nvSpPr>
                <p:spPr bwMode="auto">
                  <a:xfrm>
                    <a:off x="5458" y="4226"/>
                    <a:ext cx="133"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buClrTx/>
                      <a:buFontTx/>
                      <a:buNone/>
                    </a:pPr>
                    <a:r>
                      <a:rPr lang="en-US" altLang="en-US" sz="1000" kern="1200" dirty="0">
                        <a:solidFill>
                          <a:srgbClr val="000000"/>
                        </a:solidFill>
                        <a:ea typeface="+mn-ea"/>
                        <a:cs typeface="Arial" panose="020B0604020202020204" pitchFamily="34" charset="0"/>
                      </a:rPr>
                      <a:t>360</a:t>
                    </a:r>
                    <a:endParaRPr lang="en-US" altLang="en-US" sz="1800" kern="1200" dirty="0">
                      <a:solidFill>
                        <a:prstClr val="black"/>
                      </a:solidFill>
                      <a:ea typeface="+mn-ea"/>
                      <a:cs typeface="Arial" panose="020B0604020202020204" pitchFamily="34" charset="0"/>
                    </a:endParaRPr>
                  </a:p>
                </p:txBody>
              </p:sp>
              <p:sp>
                <p:nvSpPr>
                  <p:cNvPr id="181" name="Rectangle 180"/>
                  <p:cNvSpPr>
                    <a:spLocks noChangeArrowheads="1"/>
                  </p:cNvSpPr>
                  <p:nvPr/>
                </p:nvSpPr>
                <p:spPr bwMode="auto">
                  <a:xfrm>
                    <a:off x="3815" y="4226"/>
                    <a:ext cx="89"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buClrTx/>
                      <a:buFontTx/>
                      <a:buNone/>
                    </a:pPr>
                    <a:r>
                      <a:rPr lang="en-US" altLang="en-US" sz="1000" kern="1200" dirty="0">
                        <a:solidFill>
                          <a:srgbClr val="000000"/>
                        </a:solidFill>
                        <a:ea typeface="+mn-ea"/>
                        <a:cs typeface="Arial" panose="020B0604020202020204" pitchFamily="34" charset="0"/>
                      </a:rPr>
                      <a:t>60</a:t>
                    </a:r>
                    <a:endParaRPr lang="en-US" altLang="en-US" sz="1800" kern="1200" dirty="0">
                      <a:solidFill>
                        <a:prstClr val="black"/>
                      </a:solidFill>
                      <a:ea typeface="+mn-ea"/>
                      <a:cs typeface="Arial" panose="020B0604020202020204" pitchFamily="34" charset="0"/>
                    </a:endParaRPr>
                  </a:p>
                </p:txBody>
              </p:sp>
            </p:grpSp>
            <p:sp>
              <p:nvSpPr>
                <p:cNvPr id="28" name="TextBox 27"/>
                <p:cNvSpPr txBox="1"/>
                <p:nvPr/>
              </p:nvSpPr>
              <p:spPr>
                <a:xfrm>
                  <a:off x="239803" y="4774175"/>
                  <a:ext cx="2407100" cy="1353653"/>
                </a:xfrm>
                <a:prstGeom prst="rect">
                  <a:avLst/>
                </a:prstGeom>
                <a:noFill/>
                <a:ln>
                  <a:noFill/>
                </a:ln>
              </p:spPr>
              <p:txBody>
                <a:bodyPr wrap="square" rtlCol="0">
                  <a:spAutoFit/>
                </a:bodyPr>
                <a:lstStyle/>
                <a:p>
                  <a:pPr>
                    <a:buClrTx/>
                    <a:buFontTx/>
                    <a:buNone/>
                  </a:pPr>
                  <a:r>
                    <a:rPr lang="en-US" sz="900" b="1" kern="1200" dirty="0">
                      <a:solidFill>
                        <a:prstClr val="black">
                          <a:lumMod val="95000"/>
                          <a:lumOff val="5000"/>
                        </a:prstClr>
                      </a:solidFill>
                      <a:latin typeface="Arial" panose="020B0604020202020204" pitchFamily="34" charset="0"/>
                      <a:ea typeface="+mn-ea"/>
                      <a:cs typeface="Arial" panose="020B0604020202020204" pitchFamily="34" charset="0"/>
                    </a:rPr>
                    <a:t>Grant Type: </a:t>
                  </a:r>
                  <a:r>
                    <a:rPr lang="en-US" sz="900" kern="1200" dirty="0">
                      <a:solidFill>
                        <a:prstClr val="black">
                          <a:lumMod val="95000"/>
                          <a:lumOff val="5000"/>
                        </a:prstClr>
                      </a:solidFill>
                      <a:latin typeface="Arial" panose="020B0604020202020204" pitchFamily="34" charset="0"/>
                      <a:ea typeface="+mn-ea"/>
                      <a:cs typeface="Arial" panose="020B0604020202020204" pitchFamily="34" charset="0"/>
                    </a:rPr>
                    <a:t>Consortium</a:t>
                  </a:r>
                  <a:endParaRPr lang="en-US" sz="900" b="1" kern="1200" dirty="0">
                    <a:solidFill>
                      <a:prstClr val="black">
                        <a:lumMod val="95000"/>
                        <a:lumOff val="5000"/>
                      </a:prstClr>
                    </a:solidFill>
                    <a:latin typeface="Arial" panose="020B0604020202020204" pitchFamily="34" charset="0"/>
                    <a:ea typeface="+mn-ea"/>
                    <a:cs typeface="Arial" panose="020B0604020202020204" pitchFamily="34" charset="0"/>
                  </a:endParaRPr>
                </a:p>
                <a:p>
                  <a:pPr>
                    <a:buClrTx/>
                    <a:buFontTx/>
                    <a:buNone/>
                  </a:pPr>
                  <a:r>
                    <a:rPr lang="en-US" sz="900" b="1" kern="1200" dirty="0">
                      <a:solidFill>
                        <a:prstClr val="black">
                          <a:lumMod val="95000"/>
                          <a:lumOff val="5000"/>
                        </a:prstClr>
                      </a:solidFill>
                      <a:latin typeface="Arial" panose="020B0604020202020204" pitchFamily="34" charset="0"/>
                      <a:ea typeface="+mn-ea"/>
                      <a:cs typeface="Arial" panose="020B0604020202020204" pitchFamily="34" charset="0"/>
                    </a:rPr>
                    <a:t>Grant Title: </a:t>
                  </a:r>
                  <a:r>
                    <a:rPr lang="en-GB" sz="900" kern="1200" dirty="0">
                      <a:solidFill>
                        <a:prstClr val="black">
                          <a:lumMod val="95000"/>
                          <a:lumOff val="5000"/>
                        </a:prstClr>
                      </a:solidFill>
                      <a:latin typeface="Arial" panose="020B0604020202020204" pitchFamily="34" charset="0"/>
                      <a:ea typeface="+mn-ea"/>
                      <a:cs typeface="Arial" panose="020B0604020202020204" pitchFamily="34" charset="0"/>
                    </a:rPr>
                    <a:t>Scaling Up Maize and Cowpea Value Chains for Improved Incomes and Food Security for Smallholder Farmers </a:t>
                  </a:r>
                </a:p>
                <a:p>
                  <a:pPr>
                    <a:buClrTx/>
                    <a:buFontTx/>
                    <a:buNone/>
                  </a:pPr>
                  <a:r>
                    <a:rPr lang="en-US" sz="900" b="1" kern="1200" dirty="0">
                      <a:solidFill>
                        <a:prstClr val="black">
                          <a:lumMod val="95000"/>
                          <a:lumOff val="5000"/>
                        </a:prstClr>
                      </a:solidFill>
                      <a:latin typeface="Arial" panose="020B0604020202020204" pitchFamily="34" charset="0"/>
                      <a:ea typeface="+mn-ea"/>
                      <a:cs typeface="Arial" panose="020B0604020202020204" pitchFamily="34" charset="0"/>
                    </a:rPr>
                    <a:t>Coverage</a:t>
                  </a:r>
                  <a:r>
                    <a:rPr lang="en-US" sz="900" kern="1200" dirty="0">
                      <a:solidFill>
                        <a:prstClr val="black"/>
                      </a:solidFill>
                      <a:latin typeface="Arial" panose="020B0604020202020204" pitchFamily="34" charset="0"/>
                      <a:ea typeface="+mn-ea"/>
                      <a:cs typeface="Arial" panose="020B0604020202020204" pitchFamily="34" charset="0"/>
                    </a:rPr>
                    <a:t>: </a:t>
                  </a:r>
                  <a:r>
                    <a:rPr lang="en-GB" sz="900" kern="1200" dirty="0">
                      <a:solidFill>
                        <a:prstClr val="black">
                          <a:lumMod val="95000"/>
                          <a:lumOff val="5000"/>
                        </a:prstClr>
                      </a:solidFill>
                      <a:latin typeface="Arial" panose="020B0604020202020204" pitchFamily="34" charset="0"/>
                      <a:ea typeface="+mn-ea"/>
                      <a:cs typeface="Arial" panose="020B0604020202020204" pitchFamily="34" charset="0"/>
                    </a:rPr>
                    <a:t>Cascades and Hauts Bassins Regions </a:t>
                  </a:r>
                  <a:endParaRPr lang="en-US" sz="900" kern="1200" dirty="0">
                    <a:solidFill>
                      <a:prstClr val="black"/>
                    </a:solidFill>
                    <a:latin typeface="Arial" panose="020B0604020202020204" pitchFamily="34" charset="0"/>
                    <a:ea typeface="+mn-ea"/>
                    <a:cs typeface="Arial" panose="020B0604020202020204" pitchFamily="34" charset="0"/>
                  </a:endParaRPr>
                </a:p>
              </p:txBody>
            </p:sp>
            <p:sp>
              <p:nvSpPr>
                <p:cNvPr id="29" name="TextBox 28"/>
                <p:cNvSpPr txBox="1"/>
                <p:nvPr/>
              </p:nvSpPr>
              <p:spPr>
                <a:xfrm>
                  <a:off x="381772" y="3402446"/>
                  <a:ext cx="2481550" cy="1353653"/>
                </a:xfrm>
                <a:prstGeom prst="rect">
                  <a:avLst/>
                </a:prstGeom>
                <a:noFill/>
                <a:ln>
                  <a:noFill/>
                </a:ln>
              </p:spPr>
              <p:txBody>
                <a:bodyPr wrap="square" rtlCol="0">
                  <a:spAutoFit/>
                </a:bodyPr>
                <a:lstStyle/>
                <a:p>
                  <a:pPr>
                    <a:buClrTx/>
                    <a:buFontTx/>
                    <a:buNone/>
                  </a:pPr>
                  <a:r>
                    <a:rPr lang="en-US" sz="900" b="1" kern="1200" dirty="0">
                      <a:solidFill>
                        <a:prstClr val="black">
                          <a:lumMod val="95000"/>
                          <a:lumOff val="5000"/>
                        </a:prstClr>
                      </a:solidFill>
                      <a:latin typeface="Arial" panose="020B0604020202020204" pitchFamily="34" charset="0"/>
                      <a:ea typeface="+mn-ea"/>
                      <a:cs typeface="Arial" panose="020B0604020202020204" pitchFamily="34" charset="0"/>
                    </a:rPr>
                    <a:t>Grant Type: </a:t>
                  </a:r>
                  <a:r>
                    <a:rPr lang="en-US" sz="900" kern="1200" dirty="0">
                      <a:solidFill>
                        <a:prstClr val="black">
                          <a:lumMod val="95000"/>
                          <a:lumOff val="5000"/>
                        </a:prstClr>
                      </a:solidFill>
                      <a:latin typeface="Arial" panose="020B0604020202020204" pitchFamily="34" charset="0"/>
                      <a:ea typeface="+mn-ea"/>
                      <a:cs typeface="Arial" panose="020B0604020202020204" pitchFamily="34" charset="0"/>
                    </a:rPr>
                    <a:t>Consortium</a:t>
                  </a:r>
                </a:p>
                <a:p>
                  <a:pPr>
                    <a:buClrTx/>
                    <a:buFontTx/>
                    <a:buNone/>
                  </a:pPr>
                  <a:r>
                    <a:rPr lang="en-US" sz="900" b="1" kern="1200" dirty="0">
                      <a:solidFill>
                        <a:prstClr val="black">
                          <a:lumMod val="95000"/>
                          <a:lumOff val="5000"/>
                        </a:prstClr>
                      </a:solidFill>
                      <a:latin typeface="Arial" panose="020B0604020202020204" pitchFamily="34" charset="0"/>
                      <a:ea typeface="+mn-ea"/>
                      <a:cs typeface="Arial" panose="020B0604020202020204" pitchFamily="34" charset="0"/>
                    </a:rPr>
                    <a:t>Grant Title: </a:t>
                  </a:r>
                  <a:r>
                    <a:rPr lang="en-GB" sz="900" kern="1200" dirty="0">
                      <a:solidFill>
                        <a:prstClr val="black">
                          <a:lumMod val="95000"/>
                          <a:lumOff val="5000"/>
                        </a:prstClr>
                      </a:solidFill>
                      <a:latin typeface="Arial" panose="020B0604020202020204" pitchFamily="34" charset="0"/>
                      <a:ea typeface="+mn-ea"/>
                      <a:cs typeface="Arial" panose="020B0604020202020204" pitchFamily="34" charset="0"/>
                    </a:rPr>
                    <a:t>Inclusive Rice Value Chain Development: Marketing and Production Systems Enhancement</a:t>
                  </a:r>
                  <a:endParaRPr lang="en-US" sz="900" kern="1200" dirty="0">
                    <a:solidFill>
                      <a:prstClr val="black">
                        <a:lumMod val="95000"/>
                        <a:lumOff val="5000"/>
                      </a:prstClr>
                    </a:solidFill>
                    <a:latin typeface="Arial" panose="020B0604020202020204" pitchFamily="34" charset="0"/>
                    <a:ea typeface="+mn-ea"/>
                    <a:cs typeface="Arial" panose="020B0604020202020204" pitchFamily="34" charset="0"/>
                  </a:endParaRPr>
                </a:p>
                <a:p>
                  <a:pPr>
                    <a:buClrTx/>
                    <a:buFontTx/>
                    <a:buNone/>
                  </a:pPr>
                  <a:r>
                    <a:rPr lang="en-US" sz="900" b="1" kern="1200" dirty="0">
                      <a:solidFill>
                        <a:prstClr val="black">
                          <a:lumMod val="95000"/>
                          <a:lumOff val="5000"/>
                        </a:prstClr>
                      </a:solidFill>
                      <a:latin typeface="Arial" panose="020B0604020202020204" pitchFamily="34" charset="0"/>
                      <a:ea typeface="+mn-ea"/>
                      <a:cs typeface="Arial" panose="020B0604020202020204" pitchFamily="34" charset="0"/>
                    </a:rPr>
                    <a:t>Coverage</a:t>
                  </a:r>
                  <a:r>
                    <a:rPr lang="en-US" sz="900" kern="1200" dirty="0">
                      <a:solidFill>
                        <a:prstClr val="black"/>
                      </a:solidFill>
                      <a:latin typeface="Arial" panose="020B0604020202020204" pitchFamily="34" charset="0"/>
                      <a:ea typeface="+mn-ea"/>
                      <a:cs typeface="Arial" panose="020B0604020202020204" pitchFamily="34" charset="0"/>
                    </a:rPr>
                    <a:t>: </a:t>
                  </a:r>
                  <a:r>
                    <a:rPr lang="fr-FR" sz="900" kern="1200" dirty="0">
                      <a:solidFill>
                        <a:prstClr val="black">
                          <a:lumMod val="95000"/>
                          <a:lumOff val="5000"/>
                        </a:prstClr>
                      </a:solidFill>
                      <a:latin typeface="Arial" panose="020B0604020202020204" pitchFamily="34" charset="0"/>
                      <a:ea typeface="+mn-ea"/>
                      <a:cs typeface="Arial" panose="020B0604020202020204" pitchFamily="34" charset="0"/>
                    </a:rPr>
                    <a:t>Boucle du Mouhoun, Cascades, Hauts-Bassins </a:t>
                  </a:r>
                  <a:r>
                    <a:rPr lang="en-GB" sz="900" kern="1200" dirty="0">
                      <a:solidFill>
                        <a:prstClr val="black">
                          <a:lumMod val="95000"/>
                          <a:lumOff val="5000"/>
                        </a:prstClr>
                      </a:solidFill>
                      <a:latin typeface="Arial" panose="020B0604020202020204" pitchFamily="34" charset="0"/>
                      <a:ea typeface="+mn-ea"/>
                      <a:cs typeface="Arial" panose="020B0604020202020204" pitchFamily="34" charset="0"/>
                    </a:rPr>
                    <a:t>Regions </a:t>
                  </a:r>
                  <a:endParaRPr lang="en-US" sz="900" kern="1200" dirty="0">
                    <a:solidFill>
                      <a:prstClr val="black"/>
                    </a:solidFill>
                    <a:latin typeface="Arial" panose="020B0604020202020204" pitchFamily="34" charset="0"/>
                    <a:ea typeface="+mn-ea"/>
                    <a:cs typeface="Arial" panose="020B0604020202020204" pitchFamily="34" charset="0"/>
                  </a:endParaRPr>
                </a:p>
              </p:txBody>
            </p:sp>
            <p:sp>
              <p:nvSpPr>
                <p:cNvPr id="30" name="TextBox 29"/>
                <p:cNvSpPr txBox="1"/>
                <p:nvPr/>
              </p:nvSpPr>
              <p:spPr>
                <a:xfrm>
                  <a:off x="357041" y="2031337"/>
                  <a:ext cx="4003821" cy="885080"/>
                </a:xfrm>
                <a:prstGeom prst="rect">
                  <a:avLst/>
                </a:prstGeom>
                <a:noFill/>
                <a:ln>
                  <a:noFill/>
                </a:ln>
              </p:spPr>
              <p:txBody>
                <a:bodyPr wrap="square" rtlCol="0">
                  <a:spAutoFit/>
                </a:bodyPr>
                <a:lstStyle/>
                <a:p>
                  <a:pPr algn="just">
                    <a:buClrTx/>
                    <a:buFontTx/>
                    <a:buNone/>
                  </a:pPr>
                  <a:r>
                    <a:rPr lang="en-US" sz="900" b="1" kern="1200" dirty="0">
                      <a:solidFill>
                        <a:prstClr val="black">
                          <a:lumMod val="95000"/>
                          <a:lumOff val="5000"/>
                        </a:prstClr>
                      </a:solidFill>
                      <a:latin typeface="Arial" panose="020B0604020202020204" pitchFamily="34" charset="0"/>
                      <a:ea typeface="+mn-ea"/>
                      <a:cs typeface="Arial" panose="020B0604020202020204" pitchFamily="34" charset="0"/>
                    </a:rPr>
                    <a:t>Grant Type: </a:t>
                  </a:r>
                  <a:r>
                    <a:rPr lang="en-US" sz="900" kern="1200" dirty="0">
                      <a:solidFill>
                        <a:prstClr val="black">
                          <a:lumMod val="95000"/>
                          <a:lumOff val="5000"/>
                        </a:prstClr>
                      </a:solidFill>
                      <a:latin typeface="Arial" panose="020B0604020202020204" pitchFamily="34" charset="0"/>
                      <a:ea typeface="+mn-ea"/>
                      <a:cs typeface="Arial" panose="020B0604020202020204" pitchFamily="34" charset="0"/>
                    </a:rPr>
                    <a:t>Standalone</a:t>
                  </a:r>
                  <a:endParaRPr lang="en-US" sz="900" b="1" kern="1200" dirty="0">
                    <a:solidFill>
                      <a:prstClr val="black">
                        <a:lumMod val="95000"/>
                        <a:lumOff val="5000"/>
                      </a:prstClr>
                    </a:solidFill>
                    <a:latin typeface="Arial" panose="020B0604020202020204" pitchFamily="34" charset="0"/>
                    <a:ea typeface="+mn-ea"/>
                    <a:cs typeface="Arial" panose="020B0604020202020204" pitchFamily="34" charset="0"/>
                  </a:endParaRPr>
                </a:p>
                <a:p>
                  <a:pPr algn="just">
                    <a:buClrTx/>
                    <a:buFontTx/>
                    <a:buNone/>
                  </a:pPr>
                  <a:r>
                    <a:rPr lang="en-US" sz="900" b="1" kern="1200" dirty="0">
                      <a:solidFill>
                        <a:prstClr val="black">
                          <a:lumMod val="95000"/>
                          <a:lumOff val="5000"/>
                        </a:prstClr>
                      </a:solidFill>
                      <a:latin typeface="Arial" panose="020B0604020202020204" pitchFamily="34" charset="0"/>
                      <a:ea typeface="+mn-ea"/>
                      <a:cs typeface="Arial" panose="020B0604020202020204" pitchFamily="34" charset="0"/>
                    </a:rPr>
                    <a:t>Grant Title: </a:t>
                  </a:r>
                  <a:r>
                    <a:rPr lang="en-GB" sz="900" kern="1200" dirty="0">
                      <a:solidFill>
                        <a:prstClr val="black">
                          <a:lumMod val="95000"/>
                          <a:lumOff val="5000"/>
                        </a:prstClr>
                      </a:solidFill>
                      <a:latin typeface="Arial" panose="020B0604020202020204" pitchFamily="34" charset="0"/>
                      <a:ea typeface="+mn-ea"/>
                      <a:cs typeface="Arial" panose="020B0604020202020204" pitchFamily="34" charset="0"/>
                    </a:rPr>
                    <a:t>Strengthening Extension services to improve maize and cowpea value chains. </a:t>
                  </a:r>
                </a:p>
                <a:p>
                  <a:pPr algn="just">
                    <a:buClrTx/>
                    <a:buFontTx/>
                    <a:buNone/>
                  </a:pPr>
                  <a:r>
                    <a:rPr lang="en-US" sz="900" b="1" kern="1200" dirty="0">
                      <a:solidFill>
                        <a:prstClr val="black">
                          <a:lumMod val="95000"/>
                          <a:lumOff val="5000"/>
                        </a:prstClr>
                      </a:solidFill>
                      <a:latin typeface="Arial" panose="020B0604020202020204" pitchFamily="34" charset="0"/>
                      <a:ea typeface="+mn-ea"/>
                      <a:cs typeface="Arial" panose="020B0604020202020204" pitchFamily="34" charset="0"/>
                    </a:rPr>
                    <a:t>Coverage</a:t>
                  </a:r>
                  <a:r>
                    <a:rPr lang="en-US" sz="900" kern="1200" dirty="0">
                      <a:solidFill>
                        <a:prstClr val="black"/>
                      </a:solidFill>
                      <a:latin typeface="Arial" panose="020B0604020202020204" pitchFamily="34" charset="0"/>
                      <a:ea typeface="+mn-ea"/>
                      <a:cs typeface="Arial" panose="020B0604020202020204" pitchFamily="34" charset="0"/>
                    </a:rPr>
                    <a:t>: </a:t>
                  </a:r>
                  <a:r>
                    <a:rPr lang="en-GB" sz="900" kern="1200" dirty="0">
                      <a:solidFill>
                        <a:prstClr val="black">
                          <a:lumMod val="95000"/>
                          <a:lumOff val="5000"/>
                        </a:prstClr>
                      </a:solidFill>
                      <a:latin typeface="Arial" panose="020B0604020202020204" pitchFamily="34" charset="0"/>
                      <a:ea typeface="+mn-ea"/>
                      <a:cs typeface="Arial" panose="020B0604020202020204" pitchFamily="34" charset="0"/>
                    </a:rPr>
                    <a:t>Centre- Ouest and Boucle du Mouhoun, Haut Bassins and Cascades Regions </a:t>
                  </a:r>
                  <a:endParaRPr lang="en-US" sz="900" kern="1200" dirty="0">
                    <a:solidFill>
                      <a:prstClr val="black"/>
                    </a:solidFill>
                    <a:latin typeface="Arial" panose="020B0604020202020204" pitchFamily="34" charset="0"/>
                    <a:ea typeface="+mn-ea"/>
                    <a:cs typeface="Arial" panose="020B0604020202020204" pitchFamily="34" charset="0"/>
                  </a:endParaRPr>
                </a:p>
              </p:txBody>
            </p:sp>
            <p:sp>
              <p:nvSpPr>
                <p:cNvPr id="31" name="TextBox 30"/>
                <p:cNvSpPr txBox="1"/>
                <p:nvPr/>
              </p:nvSpPr>
              <p:spPr>
                <a:xfrm>
                  <a:off x="340020" y="901399"/>
                  <a:ext cx="4450890" cy="885080"/>
                </a:xfrm>
                <a:prstGeom prst="rect">
                  <a:avLst/>
                </a:prstGeom>
                <a:noFill/>
                <a:ln>
                  <a:noFill/>
                </a:ln>
              </p:spPr>
              <p:txBody>
                <a:bodyPr wrap="square" rtlCol="0">
                  <a:spAutoFit/>
                </a:bodyPr>
                <a:lstStyle/>
                <a:p>
                  <a:pPr algn="just">
                    <a:buClrTx/>
                    <a:buFontTx/>
                    <a:buNone/>
                  </a:pPr>
                  <a:r>
                    <a:rPr lang="en-US" sz="900" b="1" kern="1200" dirty="0">
                      <a:solidFill>
                        <a:prstClr val="black">
                          <a:lumMod val="95000"/>
                          <a:lumOff val="5000"/>
                        </a:prstClr>
                      </a:solidFill>
                      <a:latin typeface="Arial" panose="020B0604020202020204" pitchFamily="34" charset="0"/>
                      <a:ea typeface="+mn-ea"/>
                      <a:cs typeface="Arial" panose="020B0604020202020204" pitchFamily="34" charset="0"/>
                    </a:rPr>
                    <a:t>Grant Type: </a:t>
                  </a:r>
                  <a:r>
                    <a:rPr lang="en-US" sz="900" kern="1200" dirty="0">
                      <a:solidFill>
                        <a:prstClr val="black">
                          <a:lumMod val="95000"/>
                          <a:lumOff val="5000"/>
                        </a:prstClr>
                      </a:solidFill>
                      <a:latin typeface="Arial" panose="020B0604020202020204" pitchFamily="34" charset="0"/>
                      <a:ea typeface="+mn-ea"/>
                      <a:cs typeface="Arial" panose="020B0604020202020204" pitchFamily="34" charset="0"/>
                    </a:rPr>
                    <a:t>Standalone</a:t>
                  </a:r>
                  <a:endParaRPr lang="en-US" sz="900" b="1" kern="1200" dirty="0">
                    <a:solidFill>
                      <a:prstClr val="black">
                        <a:lumMod val="95000"/>
                        <a:lumOff val="5000"/>
                      </a:prstClr>
                    </a:solidFill>
                    <a:latin typeface="Arial" panose="020B0604020202020204" pitchFamily="34" charset="0"/>
                    <a:ea typeface="+mn-ea"/>
                    <a:cs typeface="Arial" panose="020B0604020202020204" pitchFamily="34" charset="0"/>
                  </a:endParaRPr>
                </a:p>
                <a:p>
                  <a:pPr algn="just">
                    <a:buClrTx/>
                    <a:buFontTx/>
                    <a:buNone/>
                  </a:pPr>
                  <a:r>
                    <a:rPr lang="en-US" sz="900" b="1" kern="1200" dirty="0">
                      <a:solidFill>
                        <a:prstClr val="black">
                          <a:lumMod val="95000"/>
                          <a:lumOff val="5000"/>
                        </a:prstClr>
                      </a:solidFill>
                      <a:latin typeface="Arial" panose="020B0604020202020204" pitchFamily="34" charset="0"/>
                      <a:ea typeface="+mn-ea"/>
                      <a:cs typeface="Arial" panose="020B0604020202020204" pitchFamily="34" charset="0"/>
                    </a:rPr>
                    <a:t>Grant Title </a:t>
                  </a:r>
                  <a:r>
                    <a:rPr lang="en-GB" sz="900" kern="1200" dirty="0">
                      <a:solidFill>
                        <a:prstClr val="black">
                          <a:lumMod val="95000"/>
                          <a:lumOff val="5000"/>
                        </a:prstClr>
                      </a:solidFill>
                      <a:latin typeface="Arial" panose="020B0604020202020204" pitchFamily="34" charset="0"/>
                      <a:ea typeface="+mn-ea"/>
                      <a:cs typeface="Arial" panose="020B0604020202020204" pitchFamily="34" charset="0"/>
                    </a:rPr>
                    <a:t>Strengthening the planning, coordination and delivery capabilities of the Ministry of Agriculture to drive a Sustainable Transformation of the Agriculture Sector  </a:t>
                  </a:r>
                </a:p>
                <a:p>
                  <a:pPr algn="just">
                    <a:buClrTx/>
                    <a:buFontTx/>
                    <a:buNone/>
                  </a:pPr>
                  <a:r>
                    <a:rPr lang="en-US" sz="900" b="1" kern="1200" dirty="0">
                      <a:solidFill>
                        <a:prstClr val="black">
                          <a:lumMod val="95000"/>
                          <a:lumOff val="5000"/>
                        </a:prstClr>
                      </a:solidFill>
                      <a:latin typeface="Arial" panose="020B0604020202020204" pitchFamily="34" charset="0"/>
                      <a:ea typeface="+mn-ea"/>
                      <a:cs typeface="Arial" panose="020B0604020202020204" pitchFamily="34" charset="0"/>
                    </a:rPr>
                    <a:t>Coverage</a:t>
                  </a:r>
                  <a:r>
                    <a:rPr lang="en-US" sz="900" kern="1200" dirty="0">
                      <a:solidFill>
                        <a:prstClr val="black"/>
                      </a:solidFill>
                      <a:latin typeface="Arial" panose="020B0604020202020204" pitchFamily="34" charset="0"/>
                      <a:ea typeface="+mn-ea"/>
                      <a:cs typeface="Arial" panose="020B0604020202020204" pitchFamily="34" charset="0"/>
                    </a:rPr>
                    <a:t>: </a:t>
                  </a:r>
                  <a:r>
                    <a:rPr lang="en-US" sz="900" kern="1200" dirty="0">
                      <a:solidFill>
                        <a:prstClr val="black">
                          <a:lumMod val="95000"/>
                          <a:lumOff val="5000"/>
                        </a:prstClr>
                      </a:solidFill>
                      <a:latin typeface="Arial" panose="020B0604020202020204" pitchFamily="34" charset="0"/>
                      <a:ea typeface="+mn-ea"/>
                      <a:cs typeface="Arial" panose="020B0604020202020204" pitchFamily="34" charset="0"/>
                    </a:rPr>
                    <a:t>National</a:t>
                  </a:r>
                  <a:endParaRPr lang="en-US" sz="900" kern="1200" dirty="0">
                    <a:solidFill>
                      <a:prstClr val="black"/>
                    </a:solidFill>
                    <a:latin typeface="Arial" panose="020B0604020202020204" pitchFamily="34" charset="0"/>
                    <a:ea typeface="+mn-ea"/>
                    <a:cs typeface="Arial" panose="020B0604020202020204" pitchFamily="34" charset="0"/>
                  </a:endParaRPr>
                </a:p>
              </p:txBody>
            </p:sp>
          </p:grpSp>
        </p:grpSp>
        <p:grpSp>
          <p:nvGrpSpPr>
            <p:cNvPr id="5" name="Group 4"/>
            <p:cNvGrpSpPr>
              <a:grpSpLocks noChangeAspect="1"/>
            </p:cNvGrpSpPr>
            <p:nvPr/>
          </p:nvGrpSpPr>
          <p:grpSpPr bwMode="auto">
            <a:xfrm>
              <a:off x="983296" y="921899"/>
              <a:ext cx="10310652" cy="5968696"/>
              <a:chOff x="1316" y="995"/>
              <a:chExt cx="5172" cy="2994"/>
            </a:xfrm>
          </p:grpSpPr>
          <p:sp>
            <p:nvSpPr>
              <p:cNvPr id="6" name="Freeform 5"/>
              <p:cNvSpPr>
                <a:spLocks/>
              </p:cNvSpPr>
              <p:nvPr/>
            </p:nvSpPr>
            <p:spPr bwMode="auto">
              <a:xfrm>
                <a:off x="4688" y="1056"/>
                <a:ext cx="1410" cy="2045"/>
              </a:xfrm>
              <a:custGeom>
                <a:avLst/>
                <a:gdLst>
                  <a:gd name="T0" fmla="*/ 71 w 1410"/>
                  <a:gd name="T1" fmla="*/ 17 h 2045"/>
                  <a:gd name="T2" fmla="*/ 171 w 1410"/>
                  <a:gd name="T3" fmla="*/ 27 h 2045"/>
                  <a:gd name="T4" fmla="*/ 254 w 1410"/>
                  <a:gd name="T5" fmla="*/ 51 h 2045"/>
                  <a:gd name="T6" fmla="*/ 322 w 1410"/>
                  <a:gd name="T7" fmla="*/ 46 h 2045"/>
                  <a:gd name="T8" fmla="*/ 328 w 1410"/>
                  <a:gd name="T9" fmla="*/ 129 h 2045"/>
                  <a:gd name="T10" fmla="*/ 328 w 1410"/>
                  <a:gd name="T11" fmla="*/ 314 h 2045"/>
                  <a:gd name="T12" fmla="*/ 414 w 1410"/>
                  <a:gd name="T13" fmla="*/ 390 h 2045"/>
                  <a:gd name="T14" fmla="*/ 427 w 1410"/>
                  <a:gd name="T15" fmla="*/ 527 h 2045"/>
                  <a:gd name="T16" fmla="*/ 462 w 1410"/>
                  <a:gd name="T17" fmla="*/ 558 h 2045"/>
                  <a:gd name="T18" fmla="*/ 482 w 1410"/>
                  <a:gd name="T19" fmla="*/ 597 h 2045"/>
                  <a:gd name="T20" fmla="*/ 527 w 1410"/>
                  <a:gd name="T21" fmla="*/ 643 h 2045"/>
                  <a:gd name="T22" fmla="*/ 537 w 1410"/>
                  <a:gd name="T23" fmla="*/ 684 h 2045"/>
                  <a:gd name="T24" fmla="*/ 637 w 1410"/>
                  <a:gd name="T25" fmla="*/ 720 h 2045"/>
                  <a:gd name="T26" fmla="*/ 714 w 1410"/>
                  <a:gd name="T27" fmla="*/ 744 h 2045"/>
                  <a:gd name="T28" fmla="*/ 784 w 1410"/>
                  <a:gd name="T29" fmla="*/ 823 h 2045"/>
                  <a:gd name="T30" fmla="*/ 833 w 1410"/>
                  <a:gd name="T31" fmla="*/ 862 h 2045"/>
                  <a:gd name="T32" fmla="*/ 804 w 1410"/>
                  <a:gd name="T33" fmla="*/ 868 h 2045"/>
                  <a:gd name="T34" fmla="*/ 750 w 1410"/>
                  <a:gd name="T35" fmla="*/ 848 h 2045"/>
                  <a:gd name="T36" fmla="*/ 713 w 1410"/>
                  <a:gd name="T37" fmla="*/ 945 h 2045"/>
                  <a:gd name="T38" fmla="*/ 828 w 1410"/>
                  <a:gd name="T39" fmla="*/ 1068 h 2045"/>
                  <a:gd name="T40" fmla="*/ 927 w 1410"/>
                  <a:gd name="T41" fmla="*/ 1149 h 2045"/>
                  <a:gd name="T42" fmla="*/ 1122 w 1410"/>
                  <a:gd name="T43" fmla="*/ 1214 h 2045"/>
                  <a:gd name="T44" fmla="*/ 1221 w 1410"/>
                  <a:gd name="T45" fmla="*/ 1160 h 2045"/>
                  <a:gd name="T46" fmla="*/ 1288 w 1410"/>
                  <a:gd name="T47" fmla="*/ 1184 h 2045"/>
                  <a:gd name="T48" fmla="*/ 1335 w 1410"/>
                  <a:gd name="T49" fmla="*/ 1276 h 2045"/>
                  <a:gd name="T50" fmla="*/ 1339 w 1410"/>
                  <a:gd name="T51" fmla="*/ 1313 h 2045"/>
                  <a:gd name="T52" fmla="*/ 1293 w 1410"/>
                  <a:gd name="T53" fmla="*/ 1310 h 2045"/>
                  <a:gd name="T54" fmla="*/ 1253 w 1410"/>
                  <a:gd name="T55" fmla="*/ 1324 h 2045"/>
                  <a:gd name="T56" fmla="*/ 1278 w 1410"/>
                  <a:gd name="T57" fmla="*/ 1394 h 2045"/>
                  <a:gd name="T58" fmla="*/ 1392 w 1410"/>
                  <a:gd name="T59" fmla="*/ 1547 h 2045"/>
                  <a:gd name="T60" fmla="*/ 1409 w 1410"/>
                  <a:gd name="T61" fmla="*/ 1580 h 2045"/>
                  <a:gd name="T62" fmla="*/ 1392 w 1410"/>
                  <a:gd name="T63" fmla="*/ 1614 h 2045"/>
                  <a:gd name="T64" fmla="*/ 1359 w 1410"/>
                  <a:gd name="T65" fmla="*/ 1649 h 2045"/>
                  <a:gd name="T66" fmla="*/ 1311 w 1410"/>
                  <a:gd name="T67" fmla="*/ 1716 h 2045"/>
                  <a:gd name="T68" fmla="*/ 1227 w 1410"/>
                  <a:gd name="T69" fmla="*/ 1793 h 2045"/>
                  <a:gd name="T70" fmla="*/ 1145 w 1410"/>
                  <a:gd name="T71" fmla="*/ 1792 h 2045"/>
                  <a:gd name="T72" fmla="*/ 1106 w 1410"/>
                  <a:gd name="T73" fmla="*/ 1802 h 2045"/>
                  <a:gd name="T74" fmla="*/ 1079 w 1410"/>
                  <a:gd name="T75" fmla="*/ 1803 h 2045"/>
                  <a:gd name="T76" fmla="*/ 1044 w 1410"/>
                  <a:gd name="T77" fmla="*/ 1816 h 2045"/>
                  <a:gd name="T78" fmla="*/ 1008 w 1410"/>
                  <a:gd name="T79" fmla="*/ 1811 h 2045"/>
                  <a:gd name="T80" fmla="*/ 988 w 1410"/>
                  <a:gd name="T81" fmla="*/ 1779 h 2045"/>
                  <a:gd name="T82" fmla="*/ 940 w 1410"/>
                  <a:gd name="T83" fmla="*/ 1784 h 2045"/>
                  <a:gd name="T84" fmla="*/ 904 w 1410"/>
                  <a:gd name="T85" fmla="*/ 1803 h 2045"/>
                  <a:gd name="T86" fmla="*/ 890 w 1410"/>
                  <a:gd name="T87" fmla="*/ 1820 h 2045"/>
                  <a:gd name="T88" fmla="*/ 880 w 1410"/>
                  <a:gd name="T89" fmla="*/ 1849 h 2045"/>
                  <a:gd name="T90" fmla="*/ 869 w 1410"/>
                  <a:gd name="T91" fmla="*/ 1863 h 2045"/>
                  <a:gd name="T92" fmla="*/ 842 w 1410"/>
                  <a:gd name="T93" fmla="*/ 1862 h 2045"/>
                  <a:gd name="T94" fmla="*/ 854 w 1410"/>
                  <a:gd name="T95" fmla="*/ 1882 h 2045"/>
                  <a:gd name="T96" fmla="*/ 808 w 1410"/>
                  <a:gd name="T97" fmla="*/ 1884 h 2045"/>
                  <a:gd name="T98" fmla="*/ 784 w 1410"/>
                  <a:gd name="T99" fmla="*/ 1895 h 2045"/>
                  <a:gd name="T100" fmla="*/ 797 w 1410"/>
                  <a:gd name="T101" fmla="*/ 1931 h 2045"/>
                  <a:gd name="T102" fmla="*/ 743 w 1410"/>
                  <a:gd name="T103" fmla="*/ 1943 h 2045"/>
                  <a:gd name="T104" fmla="*/ 761 w 1410"/>
                  <a:gd name="T105" fmla="*/ 1963 h 2045"/>
                  <a:gd name="T106" fmla="*/ 768 w 1410"/>
                  <a:gd name="T107" fmla="*/ 1992 h 2045"/>
                  <a:gd name="T108" fmla="*/ 724 w 1410"/>
                  <a:gd name="T109" fmla="*/ 1971 h 2045"/>
                  <a:gd name="T110" fmla="*/ 703 w 1410"/>
                  <a:gd name="T111" fmla="*/ 1983 h 2045"/>
                  <a:gd name="T112" fmla="*/ 627 w 1410"/>
                  <a:gd name="T113" fmla="*/ 2014 h 2045"/>
                  <a:gd name="T114" fmla="*/ 515 w 1410"/>
                  <a:gd name="T115" fmla="*/ 2026 h 2045"/>
                  <a:gd name="T116" fmla="*/ 472 w 1410"/>
                  <a:gd name="T117" fmla="*/ 2009 h 2045"/>
                  <a:gd name="T118" fmla="*/ 342 w 1410"/>
                  <a:gd name="T119" fmla="*/ 1981 h 20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10" h="2045">
                    <a:moveTo>
                      <a:pt x="0" y="0"/>
                    </a:moveTo>
                    <a:lnTo>
                      <a:pt x="2" y="3"/>
                    </a:lnTo>
                    <a:lnTo>
                      <a:pt x="6" y="6"/>
                    </a:lnTo>
                    <a:lnTo>
                      <a:pt x="17" y="20"/>
                    </a:lnTo>
                    <a:lnTo>
                      <a:pt x="20" y="25"/>
                    </a:lnTo>
                    <a:lnTo>
                      <a:pt x="25" y="33"/>
                    </a:lnTo>
                    <a:lnTo>
                      <a:pt x="29" y="36"/>
                    </a:lnTo>
                    <a:lnTo>
                      <a:pt x="30" y="36"/>
                    </a:lnTo>
                    <a:lnTo>
                      <a:pt x="33" y="37"/>
                    </a:lnTo>
                    <a:lnTo>
                      <a:pt x="35" y="36"/>
                    </a:lnTo>
                    <a:lnTo>
                      <a:pt x="39" y="34"/>
                    </a:lnTo>
                    <a:lnTo>
                      <a:pt x="40" y="33"/>
                    </a:lnTo>
                    <a:lnTo>
                      <a:pt x="52" y="27"/>
                    </a:lnTo>
                    <a:lnTo>
                      <a:pt x="61" y="22"/>
                    </a:lnTo>
                    <a:lnTo>
                      <a:pt x="64" y="19"/>
                    </a:lnTo>
                    <a:lnTo>
                      <a:pt x="68" y="18"/>
                    </a:lnTo>
                    <a:lnTo>
                      <a:pt x="71" y="17"/>
                    </a:lnTo>
                    <a:lnTo>
                      <a:pt x="76" y="14"/>
                    </a:lnTo>
                    <a:lnTo>
                      <a:pt x="77" y="13"/>
                    </a:lnTo>
                    <a:lnTo>
                      <a:pt x="91" y="5"/>
                    </a:lnTo>
                    <a:lnTo>
                      <a:pt x="100" y="3"/>
                    </a:lnTo>
                    <a:lnTo>
                      <a:pt x="102" y="3"/>
                    </a:lnTo>
                    <a:lnTo>
                      <a:pt x="104" y="3"/>
                    </a:lnTo>
                    <a:lnTo>
                      <a:pt x="110" y="5"/>
                    </a:lnTo>
                    <a:lnTo>
                      <a:pt x="116" y="8"/>
                    </a:lnTo>
                    <a:lnTo>
                      <a:pt x="135" y="15"/>
                    </a:lnTo>
                    <a:lnTo>
                      <a:pt x="142" y="15"/>
                    </a:lnTo>
                    <a:lnTo>
                      <a:pt x="144" y="18"/>
                    </a:lnTo>
                    <a:lnTo>
                      <a:pt x="147" y="18"/>
                    </a:lnTo>
                    <a:lnTo>
                      <a:pt x="150" y="20"/>
                    </a:lnTo>
                    <a:lnTo>
                      <a:pt x="154" y="22"/>
                    </a:lnTo>
                    <a:lnTo>
                      <a:pt x="158" y="22"/>
                    </a:lnTo>
                    <a:lnTo>
                      <a:pt x="159" y="23"/>
                    </a:lnTo>
                    <a:lnTo>
                      <a:pt x="171" y="27"/>
                    </a:lnTo>
                    <a:lnTo>
                      <a:pt x="176" y="29"/>
                    </a:lnTo>
                    <a:lnTo>
                      <a:pt x="178" y="31"/>
                    </a:lnTo>
                    <a:lnTo>
                      <a:pt x="186" y="33"/>
                    </a:lnTo>
                    <a:lnTo>
                      <a:pt x="204" y="41"/>
                    </a:lnTo>
                    <a:lnTo>
                      <a:pt x="206" y="42"/>
                    </a:lnTo>
                    <a:lnTo>
                      <a:pt x="211" y="43"/>
                    </a:lnTo>
                    <a:lnTo>
                      <a:pt x="220" y="47"/>
                    </a:lnTo>
                    <a:lnTo>
                      <a:pt x="224" y="48"/>
                    </a:lnTo>
                    <a:lnTo>
                      <a:pt x="225" y="48"/>
                    </a:lnTo>
                    <a:lnTo>
                      <a:pt x="230" y="48"/>
                    </a:lnTo>
                    <a:lnTo>
                      <a:pt x="232" y="48"/>
                    </a:lnTo>
                    <a:lnTo>
                      <a:pt x="238" y="50"/>
                    </a:lnTo>
                    <a:lnTo>
                      <a:pt x="242" y="50"/>
                    </a:lnTo>
                    <a:lnTo>
                      <a:pt x="243" y="50"/>
                    </a:lnTo>
                    <a:lnTo>
                      <a:pt x="247" y="50"/>
                    </a:lnTo>
                    <a:lnTo>
                      <a:pt x="249" y="51"/>
                    </a:lnTo>
                    <a:lnTo>
                      <a:pt x="254" y="51"/>
                    </a:lnTo>
                    <a:lnTo>
                      <a:pt x="259" y="51"/>
                    </a:lnTo>
                    <a:lnTo>
                      <a:pt x="263" y="51"/>
                    </a:lnTo>
                    <a:lnTo>
                      <a:pt x="267" y="51"/>
                    </a:lnTo>
                    <a:lnTo>
                      <a:pt x="271" y="51"/>
                    </a:lnTo>
                    <a:lnTo>
                      <a:pt x="275" y="51"/>
                    </a:lnTo>
                    <a:lnTo>
                      <a:pt x="276" y="51"/>
                    </a:lnTo>
                    <a:lnTo>
                      <a:pt x="284" y="50"/>
                    </a:lnTo>
                    <a:lnTo>
                      <a:pt x="290" y="50"/>
                    </a:lnTo>
                    <a:lnTo>
                      <a:pt x="294" y="50"/>
                    </a:lnTo>
                    <a:lnTo>
                      <a:pt x="296" y="50"/>
                    </a:lnTo>
                    <a:lnTo>
                      <a:pt x="297" y="50"/>
                    </a:lnTo>
                    <a:lnTo>
                      <a:pt x="299" y="50"/>
                    </a:lnTo>
                    <a:lnTo>
                      <a:pt x="304" y="50"/>
                    </a:lnTo>
                    <a:lnTo>
                      <a:pt x="305" y="50"/>
                    </a:lnTo>
                    <a:lnTo>
                      <a:pt x="314" y="48"/>
                    </a:lnTo>
                    <a:lnTo>
                      <a:pt x="319" y="47"/>
                    </a:lnTo>
                    <a:lnTo>
                      <a:pt x="322" y="46"/>
                    </a:lnTo>
                    <a:lnTo>
                      <a:pt x="323" y="46"/>
                    </a:lnTo>
                    <a:lnTo>
                      <a:pt x="329" y="46"/>
                    </a:lnTo>
                    <a:lnTo>
                      <a:pt x="333" y="46"/>
                    </a:lnTo>
                    <a:lnTo>
                      <a:pt x="337" y="46"/>
                    </a:lnTo>
                    <a:lnTo>
                      <a:pt x="337" y="51"/>
                    </a:lnTo>
                    <a:lnTo>
                      <a:pt x="339" y="81"/>
                    </a:lnTo>
                    <a:lnTo>
                      <a:pt x="339" y="86"/>
                    </a:lnTo>
                    <a:lnTo>
                      <a:pt x="339" y="91"/>
                    </a:lnTo>
                    <a:lnTo>
                      <a:pt x="341" y="93"/>
                    </a:lnTo>
                    <a:lnTo>
                      <a:pt x="341" y="94"/>
                    </a:lnTo>
                    <a:lnTo>
                      <a:pt x="341" y="96"/>
                    </a:lnTo>
                    <a:lnTo>
                      <a:pt x="337" y="104"/>
                    </a:lnTo>
                    <a:lnTo>
                      <a:pt x="325" y="118"/>
                    </a:lnTo>
                    <a:lnTo>
                      <a:pt x="324" y="119"/>
                    </a:lnTo>
                    <a:lnTo>
                      <a:pt x="324" y="122"/>
                    </a:lnTo>
                    <a:lnTo>
                      <a:pt x="325" y="122"/>
                    </a:lnTo>
                    <a:lnTo>
                      <a:pt x="328" y="129"/>
                    </a:lnTo>
                    <a:lnTo>
                      <a:pt x="333" y="142"/>
                    </a:lnTo>
                    <a:lnTo>
                      <a:pt x="333" y="145"/>
                    </a:lnTo>
                    <a:lnTo>
                      <a:pt x="334" y="146"/>
                    </a:lnTo>
                    <a:lnTo>
                      <a:pt x="335" y="150"/>
                    </a:lnTo>
                    <a:lnTo>
                      <a:pt x="341" y="164"/>
                    </a:lnTo>
                    <a:lnTo>
                      <a:pt x="341" y="166"/>
                    </a:lnTo>
                    <a:lnTo>
                      <a:pt x="339" y="169"/>
                    </a:lnTo>
                    <a:lnTo>
                      <a:pt x="339" y="172"/>
                    </a:lnTo>
                    <a:lnTo>
                      <a:pt x="338" y="178"/>
                    </a:lnTo>
                    <a:lnTo>
                      <a:pt x="329" y="204"/>
                    </a:lnTo>
                    <a:lnTo>
                      <a:pt x="311" y="246"/>
                    </a:lnTo>
                    <a:lnTo>
                      <a:pt x="306" y="270"/>
                    </a:lnTo>
                    <a:lnTo>
                      <a:pt x="308" y="275"/>
                    </a:lnTo>
                    <a:lnTo>
                      <a:pt x="310" y="284"/>
                    </a:lnTo>
                    <a:lnTo>
                      <a:pt x="311" y="290"/>
                    </a:lnTo>
                    <a:lnTo>
                      <a:pt x="319" y="306"/>
                    </a:lnTo>
                    <a:lnTo>
                      <a:pt x="328" y="314"/>
                    </a:lnTo>
                    <a:lnTo>
                      <a:pt x="329" y="313"/>
                    </a:lnTo>
                    <a:lnTo>
                      <a:pt x="330" y="312"/>
                    </a:lnTo>
                    <a:lnTo>
                      <a:pt x="334" y="317"/>
                    </a:lnTo>
                    <a:lnTo>
                      <a:pt x="338" y="321"/>
                    </a:lnTo>
                    <a:lnTo>
                      <a:pt x="347" y="330"/>
                    </a:lnTo>
                    <a:lnTo>
                      <a:pt x="356" y="341"/>
                    </a:lnTo>
                    <a:lnTo>
                      <a:pt x="360" y="346"/>
                    </a:lnTo>
                    <a:lnTo>
                      <a:pt x="371" y="352"/>
                    </a:lnTo>
                    <a:lnTo>
                      <a:pt x="372" y="352"/>
                    </a:lnTo>
                    <a:lnTo>
                      <a:pt x="384" y="355"/>
                    </a:lnTo>
                    <a:lnTo>
                      <a:pt x="386" y="357"/>
                    </a:lnTo>
                    <a:lnTo>
                      <a:pt x="391" y="364"/>
                    </a:lnTo>
                    <a:lnTo>
                      <a:pt x="395" y="370"/>
                    </a:lnTo>
                    <a:lnTo>
                      <a:pt x="399" y="375"/>
                    </a:lnTo>
                    <a:lnTo>
                      <a:pt x="401" y="376"/>
                    </a:lnTo>
                    <a:lnTo>
                      <a:pt x="406" y="382"/>
                    </a:lnTo>
                    <a:lnTo>
                      <a:pt x="414" y="390"/>
                    </a:lnTo>
                    <a:lnTo>
                      <a:pt x="423" y="408"/>
                    </a:lnTo>
                    <a:lnTo>
                      <a:pt x="423" y="409"/>
                    </a:lnTo>
                    <a:lnTo>
                      <a:pt x="415" y="423"/>
                    </a:lnTo>
                    <a:lnTo>
                      <a:pt x="417" y="440"/>
                    </a:lnTo>
                    <a:lnTo>
                      <a:pt x="408" y="447"/>
                    </a:lnTo>
                    <a:lnTo>
                      <a:pt x="400" y="460"/>
                    </a:lnTo>
                    <a:lnTo>
                      <a:pt x="401" y="465"/>
                    </a:lnTo>
                    <a:lnTo>
                      <a:pt x="404" y="470"/>
                    </a:lnTo>
                    <a:lnTo>
                      <a:pt x="413" y="483"/>
                    </a:lnTo>
                    <a:lnTo>
                      <a:pt x="414" y="485"/>
                    </a:lnTo>
                    <a:lnTo>
                      <a:pt x="414" y="487"/>
                    </a:lnTo>
                    <a:lnTo>
                      <a:pt x="419" y="491"/>
                    </a:lnTo>
                    <a:lnTo>
                      <a:pt x="414" y="498"/>
                    </a:lnTo>
                    <a:lnTo>
                      <a:pt x="415" y="504"/>
                    </a:lnTo>
                    <a:lnTo>
                      <a:pt x="420" y="520"/>
                    </a:lnTo>
                    <a:lnTo>
                      <a:pt x="425" y="526"/>
                    </a:lnTo>
                    <a:lnTo>
                      <a:pt x="427" y="527"/>
                    </a:lnTo>
                    <a:lnTo>
                      <a:pt x="429" y="531"/>
                    </a:lnTo>
                    <a:lnTo>
                      <a:pt x="432" y="534"/>
                    </a:lnTo>
                    <a:lnTo>
                      <a:pt x="442" y="540"/>
                    </a:lnTo>
                    <a:lnTo>
                      <a:pt x="442" y="541"/>
                    </a:lnTo>
                    <a:lnTo>
                      <a:pt x="443" y="541"/>
                    </a:lnTo>
                    <a:lnTo>
                      <a:pt x="444" y="542"/>
                    </a:lnTo>
                    <a:lnTo>
                      <a:pt x="446" y="544"/>
                    </a:lnTo>
                    <a:lnTo>
                      <a:pt x="448" y="548"/>
                    </a:lnTo>
                    <a:lnTo>
                      <a:pt x="446" y="554"/>
                    </a:lnTo>
                    <a:lnTo>
                      <a:pt x="448" y="558"/>
                    </a:lnTo>
                    <a:lnTo>
                      <a:pt x="453" y="556"/>
                    </a:lnTo>
                    <a:lnTo>
                      <a:pt x="456" y="555"/>
                    </a:lnTo>
                    <a:lnTo>
                      <a:pt x="457" y="554"/>
                    </a:lnTo>
                    <a:lnTo>
                      <a:pt x="457" y="553"/>
                    </a:lnTo>
                    <a:lnTo>
                      <a:pt x="461" y="550"/>
                    </a:lnTo>
                    <a:lnTo>
                      <a:pt x="462" y="553"/>
                    </a:lnTo>
                    <a:lnTo>
                      <a:pt x="462" y="558"/>
                    </a:lnTo>
                    <a:lnTo>
                      <a:pt x="462" y="559"/>
                    </a:lnTo>
                    <a:lnTo>
                      <a:pt x="461" y="561"/>
                    </a:lnTo>
                    <a:lnTo>
                      <a:pt x="458" y="564"/>
                    </a:lnTo>
                    <a:lnTo>
                      <a:pt x="457" y="564"/>
                    </a:lnTo>
                    <a:lnTo>
                      <a:pt x="457" y="565"/>
                    </a:lnTo>
                    <a:lnTo>
                      <a:pt x="457" y="568"/>
                    </a:lnTo>
                    <a:lnTo>
                      <a:pt x="457" y="574"/>
                    </a:lnTo>
                    <a:lnTo>
                      <a:pt x="458" y="574"/>
                    </a:lnTo>
                    <a:lnTo>
                      <a:pt x="460" y="577"/>
                    </a:lnTo>
                    <a:lnTo>
                      <a:pt x="465" y="583"/>
                    </a:lnTo>
                    <a:lnTo>
                      <a:pt x="467" y="586"/>
                    </a:lnTo>
                    <a:lnTo>
                      <a:pt x="470" y="587"/>
                    </a:lnTo>
                    <a:lnTo>
                      <a:pt x="474" y="589"/>
                    </a:lnTo>
                    <a:lnTo>
                      <a:pt x="477" y="592"/>
                    </a:lnTo>
                    <a:lnTo>
                      <a:pt x="480" y="594"/>
                    </a:lnTo>
                    <a:lnTo>
                      <a:pt x="481" y="596"/>
                    </a:lnTo>
                    <a:lnTo>
                      <a:pt x="482" y="597"/>
                    </a:lnTo>
                    <a:lnTo>
                      <a:pt x="484" y="600"/>
                    </a:lnTo>
                    <a:lnTo>
                      <a:pt x="484" y="603"/>
                    </a:lnTo>
                    <a:lnTo>
                      <a:pt x="484" y="608"/>
                    </a:lnTo>
                    <a:lnTo>
                      <a:pt x="485" y="610"/>
                    </a:lnTo>
                    <a:lnTo>
                      <a:pt x="486" y="612"/>
                    </a:lnTo>
                    <a:lnTo>
                      <a:pt x="490" y="615"/>
                    </a:lnTo>
                    <a:lnTo>
                      <a:pt x="496" y="616"/>
                    </a:lnTo>
                    <a:lnTo>
                      <a:pt x="498" y="619"/>
                    </a:lnTo>
                    <a:lnTo>
                      <a:pt x="503" y="620"/>
                    </a:lnTo>
                    <a:lnTo>
                      <a:pt x="503" y="621"/>
                    </a:lnTo>
                    <a:lnTo>
                      <a:pt x="509" y="625"/>
                    </a:lnTo>
                    <a:lnTo>
                      <a:pt x="512" y="627"/>
                    </a:lnTo>
                    <a:lnTo>
                      <a:pt x="513" y="634"/>
                    </a:lnTo>
                    <a:lnTo>
                      <a:pt x="515" y="638"/>
                    </a:lnTo>
                    <a:lnTo>
                      <a:pt x="522" y="641"/>
                    </a:lnTo>
                    <a:lnTo>
                      <a:pt x="526" y="641"/>
                    </a:lnTo>
                    <a:lnTo>
                      <a:pt x="527" y="643"/>
                    </a:lnTo>
                    <a:lnTo>
                      <a:pt x="527" y="641"/>
                    </a:lnTo>
                    <a:lnTo>
                      <a:pt x="527" y="640"/>
                    </a:lnTo>
                    <a:lnTo>
                      <a:pt x="527" y="639"/>
                    </a:lnTo>
                    <a:lnTo>
                      <a:pt x="531" y="639"/>
                    </a:lnTo>
                    <a:lnTo>
                      <a:pt x="531" y="641"/>
                    </a:lnTo>
                    <a:lnTo>
                      <a:pt x="529" y="643"/>
                    </a:lnTo>
                    <a:lnTo>
                      <a:pt x="531" y="644"/>
                    </a:lnTo>
                    <a:lnTo>
                      <a:pt x="533" y="646"/>
                    </a:lnTo>
                    <a:lnTo>
                      <a:pt x="533" y="649"/>
                    </a:lnTo>
                    <a:lnTo>
                      <a:pt x="531" y="654"/>
                    </a:lnTo>
                    <a:lnTo>
                      <a:pt x="527" y="658"/>
                    </a:lnTo>
                    <a:lnTo>
                      <a:pt x="520" y="665"/>
                    </a:lnTo>
                    <a:lnTo>
                      <a:pt x="520" y="672"/>
                    </a:lnTo>
                    <a:lnTo>
                      <a:pt x="522" y="676"/>
                    </a:lnTo>
                    <a:lnTo>
                      <a:pt x="523" y="676"/>
                    </a:lnTo>
                    <a:lnTo>
                      <a:pt x="529" y="682"/>
                    </a:lnTo>
                    <a:lnTo>
                      <a:pt x="537" y="684"/>
                    </a:lnTo>
                    <a:lnTo>
                      <a:pt x="547" y="684"/>
                    </a:lnTo>
                    <a:lnTo>
                      <a:pt x="553" y="684"/>
                    </a:lnTo>
                    <a:lnTo>
                      <a:pt x="561" y="684"/>
                    </a:lnTo>
                    <a:lnTo>
                      <a:pt x="579" y="684"/>
                    </a:lnTo>
                    <a:lnTo>
                      <a:pt x="594" y="684"/>
                    </a:lnTo>
                    <a:lnTo>
                      <a:pt x="603" y="684"/>
                    </a:lnTo>
                    <a:lnTo>
                      <a:pt x="605" y="684"/>
                    </a:lnTo>
                    <a:lnTo>
                      <a:pt x="610" y="688"/>
                    </a:lnTo>
                    <a:lnTo>
                      <a:pt x="617" y="692"/>
                    </a:lnTo>
                    <a:lnTo>
                      <a:pt x="612" y="695"/>
                    </a:lnTo>
                    <a:lnTo>
                      <a:pt x="610" y="695"/>
                    </a:lnTo>
                    <a:lnTo>
                      <a:pt x="610" y="696"/>
                    </a:lnTo>
                    <a:lnTo>
                      <a:pt x="608" y="698"/>
                    </a:lnTo>
                    <a:lnTo>
                      <a:pt x="609" y="710"/>
                    </a:lnTo>
                    <a:lnTo>
                      <a:pt x="614" y="711"/>
                    </a:lnTo>
                    <a:lnTo>
                      <a:pt x="632" y="721"/>
                    </a:lnTo>
                    <a:lnTo>
                      <a:pt x="637" y="720"/>
                    </a:lnTo>
                    <a:lnTo>
                      <a:pt x="642" y="719"/>
                    </a:lnTo>
                    <a:lnTo>
                      <a:pt x="645" y="719"/>
                    </a:lnTo>
                    <a:lnTo>
                      <a:pt x="647" y="719"/>
                    </a:lnTo>
                    <a:lnTo>
                      <a:pt x="650" y="719"/>
                    </a:lnTo>
                    <a:lnTo>
                      <a:pt x="653" y="720"/>
                    </a:lnTo>
                    <a:lnTo>
                      <a:pt x="671" y="721"/>
                    </a:lnTo>
                    <a:lnTo>
                      <a:pt x="672" y="722"/>
                    </a:lnTo>
                    <a:lnTo>
                      <a:pt x="674" y="724"/>
                    </a:lnTo>
                    <a:lnTo>
                      <a:pt x="675" y="724"/>
                    </a:lnTo>
                    <a:lnTo>
                      <a:pt x="683" y="729"/>
                    </a:lnTo>
                    <a:lnTo>
                      <a:pt x="686" y="731"/>
                    </a:lnTo>
                    <a:lnTo>
                      <a:pt x="693" y="736"/>
                    </a:lnTo>
                    <a:lnTo>
                      <a:pt x="697" y="740"/>
                    </a:lnTo>
                    <a:lnTo>
                      <a:pt x="698" y="740"/>
                    </a:lnTo>
                    <a:lnTo>
                      <a:pt x="704" y="743"/>
                    </a:lnTo>
                    <a:lnTo>
                      <a:pt x="712" y="741"/>
                    </a:lnTo>
                    <a:lnTo>
                      <a:pt x="714" y="744"/>
                    </a:lnTo>
                    <a:lnTo>
                      <a:pt x="717" y="746"/>
                    </a:lnTo>
                    <a:lnTo>
                      <a:pt x="718" y="749"/>
                    </a:lnTo>
                    <a:lnTo>
                      <a:pt x="721" y="750"/>
                    </a:lnTo>
                    <a:lnTo>
                      <a:pt x="722" y="755"/>
                    </a:lnTo>
                    <a:lnTo>
                      <a:pt x="724" y="764"/>
                    </a:lnTo>
                    <a:lnTo>
                      <a:pt x="721" y="771"/>
                    </a:lnTo>
                    <a:lnTo>
                      <a:pt x="722" y="777"/>
                    </a:lnTo>
                    <a:lnTo>
                      <a:pt x="724" y="786"/>
                    </a:lnTo>
                    <a:lnTo>
                      <a:pt x="730" y="787"/>
                    </a:lnTo>
                    <a:lnTo>
                      <a:pt x="737" y="788"/>
                    </a:lnTo>
                    <a:lnTo>
                      <a:pt x="738" y="790"/>
                    </a:lnTo>
                    <a:lnTo>
                      <a:pt x="740" y="790"/>
                    </a:lnTo>
                    <a:lnTo>
                      <a:pt x="751" y="798"/>
                    </a:lnTo>
                    <a:lnTo>
                      <a:pt x="756" y="798"/>
                    </a:lnTo>
                    <a:lnTo>
                      <a:pt x="760" y="798"/>
                    </a:lnTo>
                    <a:lnTo>
                      <a:pt x="766" y="805"/>
                    </a:lnTo>
                    <a:lnTo>
                      <a:pt x="784" y="823"/>
                    </a:lnTo>
                    <a:lnTo>
                      <a:pt x="794" y="823"/>
                    </a:lnTo>
                    <a:lnTo>
                      <a:pt x="795" y="824"/>
                    </a:lnTo>
                    <a:lnTo>
                      <a:pt x="795" y="826"/>
                    </a:lnTo>
                    <a:lnTo>
                      <a:pt x="804" y="829"/>
                    </a:lnTo>
                    <a:lnTo>
                      <a:pt x="812" y="831"/>
                    </a:lnTo>
                    <a:lnTo>
                      <a:pt x="817" y="833"/>
                    </a:lnTo>
                    <a:lnTo>
                      <a:pt x="823" y="834"/>
                    </a:lnTo>
                    <a:lnTo>
                      <a:pt x="826" y="835"/>
                    </a:lnTo>
                    <a:lnTo>
                      <a:pt x="830" y="834"/>
                    </a:lnTo>
                    <a:lnTo>
                      <a:pt x="836" y="833"/>
                    </a:lnTo>
                    <a:lnTo>
                      <a:pt x="856" y="849"/>
                    </a:lnTo>
                    <a:lnTo>
                      <a:pt x="856" y="853"/>
                    </a:lnTo>
                    <a:lnTo>
                      <a:pt x="855" y="853"/>
                    </a:lnTo>
                    <a:lnTo>
                      <a:pt x="845" y="858"/>
                    </a:lnTo>
                    <a:lnTo>
                      <a:pt x="842" y="858"/>
                    </a:lnTo>
                    <a:lnTo>
                      <a:pt x="841" y="858"/>
                    </a:lnTo>
                    <a:lnTo>
                      <a:pt x="833" y="862"/>
                    </a:lnTo>
                    <a:lnTo>
                      <a:pt x="831" y="862"/>
                    </a:lnTo>
                    <a:lnTo>
                      <a:pt x="826" y="853"/>
                    </a:lnTo>
                    <a:lnTo>
                      <a:pt x="826" y="848"/>
                    </a:lnTo>
                    <a:lnTo>
                      <a:pt x="825" y="843"/>
                    </a:lnTo>
                    <a:lnTo>
                      <a:pt x="821" y="842"/>
                    </a:lnTo>
                    <a:lnTo>
                      <a:pt x="819" y="842"/>
                    </a:lnTo>
                    <a:lnTo>
                      <a:pt x="817" y="842"/>
                    </a:lnTo>
                    <a:lnTo>
                      <a:pt x="817" y="848"/>
                    </a:lnTo>
                    <a:lnTo>
                      <a:pt x="818" y="854"/>
                    </a:lnTo>
                    <a:lnTo>
                      <a:pt x="817" y="855"/>
                    </a:lnTo>
                    <a:lnTo>
                      <a:pt x="817" y="861"/>
                    </a:lnTo>
                    <a:lnTo>
                      <a:pt x="813" y="866"/>
                    </a:lnTo>
                    <a:lnTo>
                      <a:pt x="812" y="866"/>
                    </a:lnTo>
                    <a:lnTo>
                      <a:pt x="809" y="869"/>
                    </a:lnTo>
                    <a:lnTo>
                      <a:pt x="807" y="869"/>
                    </a:lnTo>
                    <a:lnTo>
                      <a:pt x="806" y="868"/>
                    </a:lnTo>
                    <a:lnTo>
                      <a:pt x="804" y="868"/>
                    </a:lnTo>
                    <a:lnTo>
                      <a:pt x="790" y="867"/>
                    </a:lnTo>
                    <a:lnTo>
                      <a:pt x="789" y="863"/>
                    </a:lnTo>
                    <a:lnTo>
                      <a:pt x="788" y="863"/>
                    </a:lnTo>
                    <a:lnTo>
                      <a:pt x="784" y="861"/>
                    </a:lnTo>
                    <a:lnTo>
                      <a:pt x="783" y="859"/>
                    </a:lnTo>
                    <a:lnTo>
                      <a:pt x="780" y="862"/>
                    </a:lnTo>
                    <a:lnTo>
                      <a:pt x="778" y="862"/>
                    </a:lnTo>
                    <a:lnTo>
                      <a:pt x="776" y="862"/>
                    </a:lnTo>
                    <a:lnTo>
                      <a:pt x="770" y="859"/>
                    </a:lnTo>
                    <a:lnTo>
                      <a:pt x="762" y="854"/>
                    </a:lnTo>
                    <a:lnTo>
                      <a:pt x="759" y="852"/>
                    </a:lnTo>
                    <a:lnTo>
                      <a:pt x="757" y="852"/>
                    </a:lnTo>
                    <a:lnTo>
                      <a:pt x="756" y="850"/>
                    </a:lnTo>
                    <a:lnTo>
                      <a:pt x="755" y="850"/>
                    </a:lnTo>
                    <a:lnTo>
                      <a:pt x="754" y="849"/>
                    </a:lnTo>
                    <a:lnTo>
                      <a:pt x="752" y="849"/>
                    </a:lnTo>
                    <a:lnTo>
                      <a:pt x="750" y="848"/>
                    </a:lnTo>
                    <a:lnTo>
                      <a:pt x="750" y="847"/>
                    </a:lnTo>
                    <a:lnTo>
                      <a:pt x="749" y="847"/>
                    </a:lnTo>
                    <a:lnTo>
                      <a:pt x="745" y="845"/>
                    </a:lnTo>
                    <a:lnTo>
                      <a:pt x="743" y="844"/>
                    </a:lnTo>
                    <a:lnTo>
                      <a:pt x="731" y="845"/>
                    </a:lnTo>
                    <a:lnTo>
                      <a:pt x="728" y="844"/>
                    </a:lnTo>
                    <a:lnTo>
                      <a:pt x="727" y="843"/>
                    </a:lnTo>
                    <a:lnTo>
                      <a:pt x="717" y="842"/>
                    </a:lnTo>
                    <a:lnTo>
                      <a:pt x="716" y="843"/>
                    </a:lnTo>
                    <a:lnTo>
                      <a:pt x="713" y="843"/>
                    </a:lnTo>
                    <a:lnTo>
                      <a:pt x="713" y="866"/>
                    </a:lnTo>
                    <a:lnTo>
                      <a:pt x="713" y="867"/>
                    </a:lnTo>
                    <a:lnTo>
                      <a:pt x="713" y="872"/>
                    </a:lnTo>
                    <a:lnTo>
                      <a:pt x="713" y="897"/>
                    </a:lnTo>
                    <a:lnTo>
                      <a:pt x="713" y="926"/>
                    </a:lnTo>
                    <a:lnTo>
                      <a:pt x="713" y="932"/>
                    </a:lnTo>
                    <a:lnTo>
                      <a:pt x="713" y="945"/>
                    </a:lnTo>
                    <a:lnTo>
                      <a:pt x="713" y="961"/>
                    </a:lnTo>
                    <a:lnTo>
                      <a:pt x="713" y="973"/>
                    </a:lnTo>
                    <a:lnTo>
                      <a:pt x="713" y="980"/>
                    </a:lnTo>
                    <a:lnTo>
                      <a:pt x="713" y="985"/>
                    </a:lnTo>
                    <a:lnTo>
                      <a:pt x="713" y="994"/>
                    </a:lnTo>
                    <a:lnTo>
                      <a:pt x="713" y="997"/>
                    </a:lnTo>
                    <a:lnTo>
                      <a:pt x="714" y="1004"/>
                    </a:lnTo>
                    <a:lnTo>
                      <a:pt x="716" y="1027"/>
                    </a:lnTo>
                    <a:lnTo>
                      <a:pt x="775" y="1027"/>
                    </a:lnTo>
                    <a:lnTo>
                      <a:pt x="778" y="1027"/>
                    </a:lnTo>
                    <a:lnTo>
                      <a:pt x="799" y="1043"/>
                    </a:lnTo>
                    <a:lnTo>
                      <a:pt x="803" y="1047"/>
                    </a:lnTo>
                    <a:lnTo>
                      <a:pt x="811" y="1054"/>
                    </a:lnTo>
                    <a:lnTo>
                      <a:pt x="811" y="1053"/>
                    </a:lnTo>
                    <a:lnTo>
                      <a:pt x="817" y="1057"/>
                    </a:lnTo>
                    <a:lnTo>
                      <a:pt x="821" y="1062"/>
                    </a:lnTo>
                    <a:lnTo>
                      <a:pt x="828" y="1068"/>
                    </a:lnTo>
                    <a:lnTo>
                      <a:pt x="852" y="1087"/>
                    </a:lnTo>
                    <a:lnTo>
                      <a:pt x="854" y="1089"/>
                    </a:lnTo>
                    <a:lnTo>
                      <a:pt x="861" y="1095"/>
                    </a:lnTo>
                    <a:lnTo>
                      <a:pt x="866" y="1099"/>
                    </a:lnTo>
                    <a:lnTo>
                      <a:pt x="870" y="1101"/>
                    </a:lnTo>
                    <a:lnTo>
                      <a:pt x="874" y="1105"/>
                    </a:lnTo>
                    <a:lnTo>
                      <a:pt x="874" y="1106"/>
                    </a:lnTo>
                    <a:lnTo>
                      <a:pt x="878" y="1108"/>
                    </a:lnTo>
                    <a:lnTo>
                      <a:pt x="879" y="1109"/>
                    </a:lnTo>
                    <a:lnTo>
                      <a:pt x="885" y="1115"/>
                    </a:lnTo>
                    <a:lnTo>
                      <a:pt x="895" y="1123"/>
                    </a:lnTo>
                    <a:lnTo>
                      <a:pt x="901" y="1128"/>
                    </a:lnTo>
                    <a:lnTo>
                      <a:pt x="908" y="1134"/>
                    </a:lnTo>
                    <a:lnTo>
                      <a:pt x="912" y="1137"/>
                    </a:lnTo>
                    <a:lnTo>
                      <a:pt x="917" y="1142"/>
                    </a:lnTo>
                    <a:lnTo>
                      <a:pt x="920" y="1143"/>
                    </a:lnTo>
                    <a:lnTo>
                      <a:pt x="927" y="1149"/>
                    </a:lnTo>
                    <a:lnTo>
                      <a:pt x="931" y="1152"/>
                    </a:lnTo>
                    <a:lnTo>
                      <a:pt x="1001" y="1206"/>
                    </a:lnTo>
                    <a:lnTo>
                      <a:pt x="1018" y="1209"/>
                    </a:lnTo>
                    <a:lnTo>
                      <a:pt x="1025" y="1209"/>
                    </a:lnTo>
                    <a:lnTo>
                      <a:pt x="1045" y="1210"/>
                    </a:lnTo>
                    <a:lnTo>
                      <a:pt x="1054" y="1212"/>
                    </a:lnTo>
                    <a:lnTo>
                      <a:pt x="1056" y="1210"/>
                    </a:lnTo>
                    <a:lnTo>
                      <a:pt x="1063" y="1210"/>
                    </a:lnTo>
                    <a:lnTo>
                      <a:pt x="1067" y="1212"/>
                    </a:lnTo>
                    <a:lnTo>
                      <a:pt x="1082" y="1212"/>
                    </a:lnTo>
                    <a:lnTo>
                      <a:pt x="1084" y="1212"/>
                    </a:lnTo>
                    <a:lnTo>
                      <a:pt x="1088" y="1212"/>
                    </a:lnTo>
                    <a:lnTo>
                      <a:pt x="1091" y="1212"/>
                    </a:lnTo>
                    <a:lnTo>
                      <a:pt x="1099" y="1213"/>
                    </a:lnTo>
                    <a:lnTo>
                      <a:pt x="1108" y="1213"/>
                    </a:lnTo>
                    <a:lnTo>
                      <a:pt x="1115" y="1213"/>
                    </a:lnTo>
                    <a:lnTo>
                      <a:pt x="1122" y="1214"/>
                    </a:lnTo>
                    <a:lnTo>
                      <a:pt x="1125" y="1214"/>
                    </a:lnTo>
                    <a:lnTo>
                      <a:pt x="1134" y="1214"/>
                    </a:lnTo>
                    <a:lnTo>
                      <a:pt x="1140" y="1215"/>
                    </a:lnTo>
                    <a:lnTo>
                      <a:pt x="1143" y="1215"/>
                    </a:lnTo>
                    <a:lnTo>
                      <a:pt x="1146" y="1214"/>
                    </a:lnTo>
                    <a:lnTo>
                      <a:pt x="1148" y="1214"/>
                    </a:lnTo>
                    <a:lnTo>
                      <a:pt x="1167" y="1184"/>
                    </a:lnTo>
                    <a:lnTo>
                      <a:pt x="1172" y="1174"/>
                    </a:lnTo>
                    <a:lnTo>
                      <a:pt x="1173" y="1171"/>
                    </a:lnTo>
                    <a:lnTo>
                      <a:pt x="1175" y="1172"/>
                    </a:lnTo>
                    <a:lnTo>
                      <a:pt x="1184" y="1175"/>
                    </a:lnTo>
                    <a:lnTo>
                      <a:pt x="1191" y="1168"/>
                    </a:lnTo>
                    <a:lnTo>
                      <a:pt x="1198" y="1156"/>
                    </a:lnTo>
                    <a:lnTo>
                      <a:pt x="1202" y="1156"/>
                    </a:lnTo>
                    <a:lnTo>
                      <a:pt x="1212" y="1158"/>
                    </a:lnTo>
                    <a:lnTo>
                      <a:pt x="1216" y="1160"/>
                    </a:lnTo>
                    <a:lnTo>
                      <a:pt x="1221" y="1160"/>
                    </a:lnTo>
                    <a:lnTo>
                      <a:pt x="1226" y="1160"/>
                    </a:lnTo>
                    <a:lnTo>
                      <a:pt x="1229" y="1160"/>
                    </a:lnTo>
                    <a:lnTo>
                      <a:pt x="1230" y="1160"/>
                    </a:lnTo>
                    <a:lnTo>
                      <a:pt x="1240" y="1161"/>
                    </a:lnTo>
                    <a:lnTo>
                      <a:pt x="1241" y="1161"/>
                    </a:lnTo>
                    <a:lnTo>
                      <a:pt x="1245" y="1162"/>
                    </a:lnTo>
                    <a:lnTo>
                      <a:pt x="1250" y="1163"/>
                    </a:lnTo>
                    <a:lnTo>
                      <a:pt x="1255" y="1161"/>
                    </a:lnTo>
                    <a:lnTo>
                      <a:pt x="1262" y="1158"/>
                    </a:lnTo>
                    <a:lnTo>
                      <a:pt x="1262" y="1160"/>
                    </a:lnTo>
                    <a:lnTo>
                      <a:pt x="1263" y="1162"/>
                    </a:lnTo>
                    <a:lnTo>
                      <a:pt x="1264" y="1171"/>
                    </a:lnTo>
                    <a:lnTo>
                      <a:pt x="1265" y="1171"/>
                    </a:lnTo>
                    <a:lnTo>
                      <a:pt x="1267" y="1171"/>
                    </a:lnTo>
                    <a:lnTo>
                      <a:pt x="1273" y="1175"/>
                    </a:lnTo>
                    <a:lnTo>
                      <a:pt x="1290" y="1180"/>
                    </a:lnTo>
                    <a:lnTo>
                      <a:pt x="1288" y="1184"/>
                    </a:lnTo>
                    <a:lnTo>
                      <a:pt x="1288" y="1193"/>
                    </a:lnTo>
                    <a:lnTo>
                      <a:pt x="1284" y="1199"/>
                    </a:lnTo>
                    <a:lnTo>
                      <a:pt x="1287" y="1200"/>
                    </a:lnTo>
                    <a:lnTo>
                      <a:pt x="1290" y="1201"/>
                    </a:lnTo>
                    <a:lnTo>
                      <a:pt x="1296" y="1205"/>
                    </a:lnTo>
                    <a:lnTo>
                      <a:pt x="1300" y="1206"/>
                    </a:lnTo>
                    <a:lnTo>
                      <a:pt x="1306" y="1212"/>
                    </a:lnTo>
                    <a:lnTo>
                      <a:pt x="1307" y="1212"/>
                    </a:lnTo>
                    <a:lnTo>
                      <a:pt x="1316" y="1225"/>
                    </a:lnTo>
                    <a:lnTo>
                      <a:pt x="1320" y="1231"/>
                    </a:lnTo>
                    <a:lnTo>
                      <a:pt x="1321" y="1232"/>
                    </a:lnTo>
                    <a:lnTo>
                      <a:pt x="1321" y="1234"/>
                    </a:lnTo>
                    <a:lnTo>
                      <a:pt x="1322" y="1262"/>
                    </a:lnTo>
                    <a:lnTo>
                      <a:pt x="1331" y="1272"/>
                    </a:lnTo>
                    <a:lnTo>
                      <a:pt x="1333" y="1274"/>
                    </a:lnTo>
                    <a:lnTo>
                      <a:pt x="1333" y="1275"/>
                    </a:lnTo>
                    <a:lnTo>
                      <a:pt x="1335" y="1276"/>
                    </a:lnTo>
                    <a:lnTo>
                      <a:pt x="1335" y="1277"/>
                    </a:lnTo>
                    <a:lnTo>
                      <a:pt x="1336" y="1277"/>
                    </a:lnTo>
                    <a:lnTo>
                      <a:pt x="1339" y="1281"/>
                    </a:lnTo>
                    <a:lnTo>
                      <a:pt x="1340" y="1282"/>
                    </a:lnTo>
                    <a:lnTo>
                      <a:pt x="1341" y="1285"/>
                    </a:lnTo>
                    <a:lnTo>
                      <a:pt x="1343" y="1285"/>
                    </a:lnTo>
                    <a:lnTo>
                      <a:pt x="1343" y="1288"/>
                    </a:lnTo>
                    <a:lnTo>
                      <a:pt x="1344" y="1289"/>
                    </a:lnTo>
                    <a:lnTo>
                      <a:pt x="1343" y="1295"/>
                    </a:lnTo>
                    <a:lnTo>
                      <a:pt x="1341" y="1300"/>
                    </a:lnTo>
                    <a:lnTo>
                      <a:pt x="1341" y="1304"/>
                    </a:lnTo>
                    <a:lnTo>
                      <a:pt x="1345" y="1308"/>
                    </a:lnTo>
                    <a:lnTo>
                      <a:pt x="1344" y="1309"/>
                    </a:lnTo>
                    <a:lnTo>
                      <a:pt x="1341" y="1309"/>
                    </a:lnTo>
                    <a:lnTo>
                      <a:pt x="1339" y="1309"/>
                    </a:lnTo>
                    <a:lnTo>
                      <a:pt x="1339" y="1310"/>
                    </a:lnTo>
                    <a:lnTo>
                      <a:pt x="1339" y="1313"/>
                    </a:lnTo>
                    <a:lnTo>
                      <a:pt x="1336" y="1313"/>
                    </a:lnTo>
                    <a:lnTo>
                      <a:pt x="1335" y="1314"/>
                    </a:lnTo>
                    <a:lnTo>
                      <a:pt x="1334" y="1313"/>
                    </a:lnTo>
                    <a:lnTo>
                      <a:pt x="1333" y="1312"/>
                    </a:lnTo>
                    <a:lnTo>
                      <a:pt x="1326" y="1309"/>
                    </a:lnTo>
                    <a:lnTo>
                      <a:pt x="1320" y="1310"/>
                    </a:lnTo>
                    <a:lnTo>
                      <a:pt x="1317" y="1313"/>
                    </a:lnTo>
                    <a:lnTo>
                      <a:pt x="1317" y="1314"/>
                    </a:lnTo>
                    <a:lnTo>
                      <a:pt x="1316" y="1314"/>
                    </a:lnTo>
                    <a:lnTo>
                      <a:pt x="1310" y="1312"/>
                    </a:lnTo>
                    <a:lnTo>
                      <a:pt x="1310" y="1310"/>
                    </a:lnTo>
                    <a:lnTo>
                      <a:pt x="1305" y="1310"/>
                    </a:lnTo>
                    <a:lnTo>
                      <a:pt x="1303" y="1310"/>
                    </a:lnTo>
                    <a:lnTo>
                      <a:pt x="1302" y="1312"/>
                    </a:lnTo>
                    <a:lnTo>
                      <a:pt x="1300" y="1310"/>
                    </a:lnTo>
                    <a:lnTo>
                      <a:pt x="1296" y="1309"/>
                    </a:lnTo>
                    <a:lnTo>
                      <a:pt x="1293" y="1310"/>
                    </a:lnTo>
                    <a:lnTo>
                      <a:pt x="1291" y="1312"/>
                    </a:lnTo>
                    <a:lnTo>
                      <a:pt x="1287" y="1312"/>
                    </a:lnTo>
                    <a:lnTo>
                      <a:pt x="1284" y="1313"/>
                    </a:lnTo>
                    <a:lnTo>
                      <a:pt x="1286" y="1315"/>
                    </a:lnTo>
                    <a:lnTo>
                      <a:pt x="1281" y="1317"/>
                    </a:lnTo>
                    <a:lnTo>
                      <a:pt x="1277" y="1321"/>
                    </a:lnTo>
                    <a:lnTo>
                      <a:pt x="1272" y="1322"/>
                    </a:lnTo>
                    <a:lnTo>
                      <a:pt x="1268" y="1326"/>
                    </a:lnTo>
                    <a:lnTo>
                      <a:pt x="1265" y="1328"/>
                    </a:lnTo>
                    <a:lnTo>
                      <a:pt x="1265" y="1331"/>
                    </a:lnTo>
                    <a:lnTo>
                      <a:pt x="1264" y="1332"/>
                    </a:lnTo>
                    <a:lnTo>
                      <a:pt x="1263" y="1332"/>
                    </a:lnTo>
                    <a:lnTo>
                      <a:pt x="1262" y="1332"/>
                    </a:lnTo>
                    <a:lnTo>
                      <a:pt x="1257" y="1327"/>
                    </a:lnTo>
                    <a:lnTo>
                      <a:pt x="1255" y="1324"/>
                    </a:lnTo>
                    <a:lnTo>
                      <a:pt x="1254" y="1324"/>
                    </a:lnTo>
                    <a:lnTo>
                      <a:pt x="1253" y="1324"/>
                    </a:lnTo>
                    <a:lnTo>
                      <a:pt x="1250" y="1324"/>
                    </a:lnTo>
                    <a:lnTo>
                      <a:pt x="1249" y="1327"/>
                    </a:lnTo>
                    <a:lnTo>
                      <a:pt x="1248" y="1328"/>
                    </a:lnTo>
                    <a:lnTo>
                      <a:pt x="1245" y="1331"/>
                    </a:lnTo>
                    <a:lnTo>
                      <a:pt x="1244" y="1333"/>
                    </a:lnTo>
                    <a:lnTo>
                      <a:pt x="1245" y="1334"/>
                    </a:lnTo>
                    <a:lnTo>
                      <a:pt x="1245" y="1336"/>
                    </a:lnTo>
                    <a:lnTo>
                      <a:pt x="1245" y="1337"/>
                    </a:lnTo>
                    <a:lnTo>
                      <a:pt x="1241" y="1341"/>
                    </a:lnTo>
                    <a:lnTo>
                      <a:pt x="1241" y="1343"/>
                    </a:lnTo>
                    <a:lnTo>
                      <a:pt x="1243" y="1346"/>
                    </a:lnTo>
                    <a:lnTo>
                      <a:pt x="1244" y="1348"/>
                    </a:lnTo>
                    <a:lnTo>
                      <a:pt x="1253" y="1359"/>
                    </a:lnTo>
                    <a:lnTo>
                      <a:pt x="1255" y="1362"/>
                    </a:lnTo>
                    <a:lnTo>
                      <a:pt x="1271" y="1383"/>
                    </a:lnTo>
                    <a:lnTo>
                      <a:pt x="1278" y="1393"/>
                    </a:lnTo>
                    <a:lnTo>
                      <a:pt x="1278" y="1394"/>
                    </a:lnTo>
                    <a:lnTo>
                      <a:pt x="1301" y="1423"/>
                    </a:lnTo>
                    <a:lnTo>
                      <a:pt x="1305" y="1429"/>
                    </a:lnTo>
                    <a:lnTo>
                      <a:pt x="1307" y="1431"/>
                    </a:lnTo>
                    <a:lnTo>
                      <a:pt x="1316" y="1443"/>
                    </a:lnTo>
                    <a:lnTo>
                      <a:pt x="1316" y="1445"/>
                    </a:lnTo>
                    <a:lnTo>
                      <a:pt x="1325" y="1455"/>
                    </a:lnTo>
                    <a:lnTo>
                      <a:pt x="1331" y="1464"/>
                    </a:lnTo>
                    <a:lnTo>
                      <a:pt x="1335" y="1470"/>
                    </a:lnTo>
                    <a:lnTo>
                      <a:pt x="1339" y="1475"/>
                    </a:lnTo>
                    <a:lnTo>
                      <a:pt x="1357" y="1498"/>
                    </a:lnTo>
                    <a:lnTo>
                      <a:pt x="1366" y="1509"/>
                    </a:lnTo>
                    <a:lnTo>
                      <a:pt x="1367" y="1512"/>
                    </a:lnTo>
                    <a:lnTo>
                      <a:pt x="1381" y="1531"/>
                    </a:lnTo>
                    <a:lnTo>
                      <a:pt x="1383" y="1533"/>
                    </a:lnTo>
                    <a:lnTo>
                      <a:pt x="1388" y="1541"/>
                    </a:lnTo>
                    <a:lnTo>
                      <a:pt x="1391" y="1544"/>
                    </a:lnTo>
                    <a:lnTo>
                      <a:pt x="1392" y="1547"/>
                    </a:lnTo>
                    <a:lnTo>
                      <a:pt x="1393" y="1547"/>
                    </a:lnTo>
                    <a:lnTo>
                      <a:pt x="1393" y="1549"/>
                    </a:lnTo>
                    <a:lnTo>
                      <a:pt x="1396" y="1550"/>
                    </a:lnTo>
                    <a:lnTo>
                      <a:pt x="1397" y="1551"/>
                    </a:lnTo>
                    <a:lnTo>
                      <a:pt x="1398" y="1552"/>
                    </a:lnTo>
                    <a:lnTo>
                      <a:pt x="1400" y="1555"/>
                    </a:lnTo>
                    <a:lnTo>
                      <a:pt x="1405" y="1563"/>
                    </a:lnTo>
                    <a:lnTo>
                      <a:pt x="1410" y="1568"/>
                    </a:lnTo>
                    <a:lnTo>
                      <a:pt x="1410" y="1569"/>
                    </a:lnTo>
                    <a:lnTo>
                      <a:pt x="1409" y="1570"/>
                    </a:lnTo>
                    <a:lnTo>
                      <a:pt x="1406" y="1570"/>
                    </a:lnTo>
                    <a:lnTo>
                      <a:pt x="1405" y="1571"/>
                    </a:lnTo>
                    <a:lnTo>
                      <a:pt x="1405" y="1574"/>
                    </a:lnTo>
                    <a:lnTo>
                      <a:pt x="1406" y="1576"/>
                    </a:lnTo>
                    <a:lnTo>
                      <a:pt x="1407" y="1578"/>
                    </a:lnTo>
                    <a:lnTo>
                      <a:pt x="1407" y="1580"/>
                    </a:lnTo>
                    <a:lnTo>
                      <a:pt x="1409" y="1580"/>
                    </a:lnTo>
                    <a:lnTo>
                      <a:pt x="1409" y="1583"/>
                    </a:lnTo>
                    <a:lnTo>
                      <a:pt x="1407" y="1584"/>
                    </a:lnTo>
                    <a:lnTo>
                      <a:pt x="1405" y="1585"/>
                    </a:lnTo>
                    <a:lnTo>
                      <a:pt x="1402" y="1587"/>
                    </a:lnTo>
                    <a:lnTo>
                      <a:pt x="1397" y="1590"/>
                    </a:lnTo>
                    <a:lnTo>
                      <a:pt x="1396" y="1593"/>
                    </a:lnTo>
                    <a:lnTo>
                      <a:pt x="1395" y="1595"/>
                    </a:lnTo>
                    <a:lnTo>
                      <a:pt x="1395" y="1599"/>
                    </a:lnTo>
                    <a:lnTo>
                      <a:pt x="1395" y="1601"/>
                    </a:lnTo>
                    <a:lnTo>
                      <a:pt x="1396" y="1602"/>
                    </a:lnTo>
                    <a:lnTo>
                      <a:pt x="1398" y="1603"/>
                    </a:lnTo>
                    <a:lnTo>
                      <a:pt x="1398" y="1604"/>
                    </a:lnTo>
                    <a:lnTo>
                      <a:pt x="1397" y="1606"/>
                    </a:lnTo>
                    <a:lnTo>
                      <a:pt x="1396" y="1607"/>
                    </a:lnTo>
                    <a:lnTo>
                      <a:pt x="1392" y="1608"/>
                    </a:lnTo>
                    <a:lnTo>
                      <a:pt x="1391" y="1611"/>
                    </a:lnTo>
                    <a:lnTo>
                      <a:pt x="1392" y="1614"/>
                    </a:lnTo>
                    <a:lnTo>
                      <a:pt x="1391" y="1616"/>
                    </a:lnTo>
                    <a:lnTo>
                      <a:pt x="1393" y="1618"/>
                    </a:lnTo>
                    <a:lnTo>
                      <a:pt x="1393" y="1620"/>
                    </a:lnTo>
                    <a:lnTo>
                      <a:pt x="1393" y="1621"/>
                    </a:lnTo>
                    <a:lnTo>
                      <a:pt x="1392" y="1621"/>
                    </a:lnTo>
                    <a:lnTo>
                      <a:pt x="1388" y="1622"/>
                    </a:lnTo>
                    <a:lnTo>
                      <a:pt x="1382" y="1622"/>
                    </a:lnTo>
                    <a:lnTo>
                      <a:pt x="1378" y="1625"/>
                    </a:lnTo>
                    <a:lnTo>
                      <a:pt x="1378" y="1626"/>
                    </a:lnTo>
                    <a:lnTo>
                      <a:pt x="1377" y="1631"/>
                    </a:lnTo>
                    <a:lnTo>
                      <a:pt x="1377" y="1632"/>
                    </a:lnTo>
                    <a:lnTo>
                      <a:pt x="1376" y="1633"/>
                    </a:lnTo>
                    <a:lnTo>
                      <a:pt x="1372" y="1636"/>
                    </a:lnTo>
                    <a:lnTo>
                      <a:pt x="1367" y="1639"/>
                    </a:lnTo>
                    <a:lnTo>
                      <a:pt x="1366" y="1642"/>
                    </a:lnTo>
                    <a:lnTo>
                      <a:pt x="1364" y="1644"/>
                    </a:lnTo>
                    <a:lnTo>
                      <a:pt x="1359" y="1649"/>
                    </a:lnTo>
                    <a:lnTo>
                      <a:pt x="1359" y="1654"/>
                    </a:lnTo>
                    <a:lnTo>
                      <a:pt x="1358" y="1656"/>
                    </a:lnTo>
                    <a:lnTo>
                      <a:pt x="1358" y="1660"/>
                    </a:lnTo>
                    <a:lnTo>
                      <a:pt x="1358" y="1663"/>
                    </a:lnTo>
                    <a:lnTo>
                      <a:pt x="1362" y="1668"/>
                    </a:lnTo>
                    <a:lnTo>
                      <a:pt x="1360" y="1673"/>
                    </a:lnTo>
                    <a:lnTo>
                      <a:pt x="1359" y="1674"/>
                    </a:lnTo>
                    <a:lnTo>
                      <a:pt x="1360" y="1675"/>
                    </a:lnTo>
                    <a:lnTo>
                      <a:pt x="1362" y="1675"/>
                    </a:lnTo>
                    <a:lnTo>
                      <a:pt x="1363" y="1677"/>
                    </a:lnTo>
                    <a:lnTo>
                      <a:pt x="1360" y="1679"/>
                    </a:lnTo>
                    <a:lnTo>
                      <a:pt x="1353" y="1684"/>
                    </a:lnTo>
                    <a:lnTo>
                      <a:pt x="1336" y="1692"/>
                    </a:lnTo>
                    <a:lnTo>
                      <a:pt x="1328" y="1702"/>
                    </a:lnTo>
                    <a:lnTo>
                      <a:pt x="1317" y="1711"/>
                    </a:lnTo>
                    <a:lnTo>
                      <a:pt x="1316" y="1712"/>
                    </a:lnTo>
                    <a:lnTo>
                      <a:pt x="1311" y="1716"/>
                    </a:lnTo>
                    <a:lnTo>
                      <a:pt x="1310" y="1716"/>
                    </a:lnTo>
                    <a:lnTo>
                      <a:pt x="1307" y="1716"/>
                    </a:lnTo>
                    <a:lnTo>
                      <a:pt x="1305" y="1716"/>
                    </a:lnTo>
                    <a:lnTo>
                      <a:pt x="1301" y="1717"/>
                    </a:lnTo>
                    <a:lnTo>
                      <a:pt x="1292" y="1727"/>
                    </a:lnTo>
                    <a:lnTo>
                      <a:pt x="1288" y="1731"/>
                    </a:lnTo>
                    <a:lnTo>
                      <a:pt x="1287" y="1731"/>
                    </a:lnTo>
                    <a:lnTo>
                      <a:pt x="1282" y="1739"/>
                    </a:lnTo>
                    <a:lnTo>
                      <a:pt x="1260" y="1759"/>
                    </a:lnTo>
                    <a:lnTo>
                      <a:pt x="1255" y="1765"/>
                    </a:lnTo>
                    <a:lnTo>
                      <a:pt x="1253" y="1768"/>
                    </a:lnTo>
                    <a:lnTo>
                      <a:pt x="1250" y="1770"/>
                    </a:lnTo>
                    <a:lnTo>
                      <a:pt x="1249" y="1770"/>
                    </a:lnTo>
                    <a:lnTo>
                      <a:pt x="1248" y="1772"/>
                    </a:lnTo>
                    <a:lnTo>
                      <a:pt x="1246" y="1773"/>
                    </a:lnTo>
                    <a:lnTo>
                      <a:pt x="1240" y="1780"/>
                    </a:lnTo>
                    <a:lnTo>
                      <a:pt x="1227" y="1793"/>
                    </a:lnTo>
                    <a:lnTo>
                      <a:pt x="1222" y="1798"/>
                    </a:lnTo>
                    <a:lnTo>
                      <a:pt x="1220" y="1801"/>
                    </a:lnTo>
                    <a:lnTo>
                      <a:pt x="1215" y="1803"/>
                    </a:lnTo>
                    <a:lnTo>
                      <a:pt x="1210" y="1803"/>
                    </a:lnTo>
                    <a:lnTo>
                      <a:pt x="1201" y="1805"/>
                    </a:lnTo>
                    <a:lnTo>
                      <a:pt x="1195" y="1805"/>
                    </a:lnTo>
                    <a:lnTo>
                      <a:pt x="1189" y="1805"/>
                    </a:lnTo>
                    <a:lnTo>
                      <a:pt x="1188" y="1805"/>
                    </a:lnTo>
                    <a:lnTo>
                      <a:pt x="1187" y="1805"/>
                    </a:lnTo>
                    <a:lnTo>
                      <a:pt x="1178" y="1802"/>
                    </a:lnTo>
                    <a:lnTo>
                      <a:pt x="1167" y="1799"/>
                    </a:lnTo>
                    <a:lnTo>
                      <a:pt x="1163" y="1797"/>
                    </a:lnTo>
                    <a:lnTo>
                      <a:pt x="1156" y="1796"/>
                    </a:lnTo>
                    <a:lnTo>
                      <a:pt x="1153" y="1796"/>
                    </a:lnTo>
                    <a:lnTo>
                      <a:pt x="1148" y="1792"/>
                    </a:lnTo>
                    <a:lnTo>
                      <a:pt x="1146" y="1792"/>
                    </a:lnTo>
                    <a:lnTo>
                      <a:pt x="1145" y="1792"/>
                    </a:lnTo>
                    <a:lnTo>
                      <a:pt x="1137" y="1796"/>
                    </a:lnTo>
                    <a:lnTo>
                      <a:pt x="1135" y="1796"/>
                    </a:lnTo>
                    <a:lnTo>
                      <a:pt x="1135" y="1794"/>
                    </a:lnTo>
                    <a:lnTo>
                      <a:pt x="1134" y="1793"/>
                    </a:lnTo>
                    <a:lnTo>
                      <a:pt x="1132" y="1793"/>
                    </a:lnTo>
                    <a:lnTo>
                      <a:pt x="1129" y="1796"/>
                    </a:lnTo>
                    <a:lnTo>
                      <a:pt x="1125" y="1798"/>
                    </a:lnTo>
                    <a:lnTo>
                      <a:pt x="1124" y="1798"/>
                    </a:lnTo>
                    <a:lnTo>
                      <a:pt x="1122" y="1798"/>
                    </a:lnTo>
                    <a:lnTo>
                      <a:pt x="1118" y="1797"/>
                    </a:lnTo>
                    <a:lnTo>
                      <a:pt x="1115" y="1797"/>
                    </a:lnTo>
                    <a:lnTo>
                      <a:pt x="1112" y="1797"/>
                    </a:lnTo>
                    <a:lnTo>
                      <a:pt x="1111" y="1798"/>
                    </a:lnTo>
                    <a:lnTo>
                      <a:pt x="1111" y="1799"/>
                    </a:lnTo>
                    <a:lnTo>
                      <a:pt x="1110" y="1802"/>
                    </a:lnTo>
                    <a:lnTo>
                      <a:pt x="1108" y="1802"/>
                    </a:lnTo>
                    <a:lnTo>
                      <a:pt x="1106" y="1802"/>
                    </a:lnTo>
                    <a:lnTo>
                      <a:pt x="1105" y="1803"/>
                    </a:lnTo>
                    <a:lnTo>
                      <a:pt x="1103" y="1803"/>
                    </a:lnTo>
                    <a:lnTo>
                      <a:pt x="1102" y="1803"/>
                    </a:lnTo>
                    <a:lnTo>
                      <a:pt x="1101" y="1803"/>
                    </a:lnTo>
                    <a:lnTo>
                      <a:pt x="1099" y="1805"/>
                    </a:lnTo>
                    <a:lnTo>
                      <a:pt x="1098" y="1805"/>
                    </a:lnTo>
                    <a:lnTo>
                      <a:pt x="1097" y="1805"/>
                    </a:lnTo>
                    <a:lnTo>
                      <a:pt x="1094" y="1805"/>
                    </a:lnTo>
                    <a:lnTo>
                      <a:pt x="1093" y="1803"/>
                    </a:lnTo>
                    <a:lnTo>
                      <a:pt x="1091" y="1803"/>
                    </a:lnTo>
                    <a:lnTo>
                      <a:pt x="1091" y="1805"/>
                    </a:lnTo>
                    <a:lnTo>
                      <a:pt x="1089" y="1806"/>
                    </a:lnTo>
                    <a:lnTo>
                      <a:pt x="1088" y="1806"/>
                    </a:lnTo>
                    <a:lnTo>
                      <a:pt x="1086" y="1805"/>
                    </a:lnTo>
                    <a:lnTo>
                      <a:pt x="1082" y="1806"/>
                    </a:lnTo>
                    <a:lnTo>
                      <a:pt x="1080" y="1806"/>
                    </a:lnTo>
                    <a:lnTo>
                      <a:pt x="1079" y="1803"/>
                    </a:lnTo>
                    <a:lnTo>
                      <a:pt x="1077" y="1803"/>
                    </a:lnTo>
                    <a:lnTo>
                      <a:pt x="1074" y="1803"/>
                    </a:lnTo>
                    <a:lnTo>
                      <a:pt x="1073" y="1803"/>
                    </a:lnTo>
                    <a:lnTo>
                      <a:pt x="1070" y="1799"/>
                    </a:lnTo>
                    <a:lnTo>
                      <a:pt x="1069" y="1801"/>
                    </a:lnTo>
                    <a:lnTo>
                      <a:pt x="1067" y="1805"/>
                    </a:lnTo>
                    <a:lnTo>
                      <a:pt x="1065" y="1807"/>
                    </a:lnTo>
                    <a:lnTo>
                      <a:pt x="1064" y="1810"/>
                    </a:lnTo>
                    <a:lnTo>
                      <a:pt x="1063" y="1811"/>
                    </a:lnTo>
                    <a:lnTo>
                      <a:pt x="1061" y="1811"/>
                    </a:lnTo>
                    <a:lnTo>
                      <a:pt x="1059" y="1810"/>
                    </a:lnTo>
                    <a:lnTo>
                      <a:pt x="1056" y="1807"/>
                    </a:lnTo>
                    <a:lnTo>
                      <a:pt x="1055" y="1807"/>
                    </a:lnTo>
                    <a:lnTo>
                      <a:pt x="1054" y="1807"/>
                    </a:lnTo>
                    <a:lnTo>
                      <a:pt x="1048" y="1815"/>
                    </a:lnTo>
                    <a:lnTo>
                      <a:pt x="1045" y="1816"/>
                    </a:lnTo>
                    <a:lnTo>
                      <a:pt x="1044" y="1816"/>
                    </a:lnTo>
                    <a:lnTo>
                      <a:pt x="1041" y="1817"/>
                    </a:lnTo>
                    <a:lnTo>
                      <a:pt x="1037" y="1816"/>
                    </a:lnTo>
                    <a:lnTo>
                      <a:pt x="1034" y="1813"/>
                    </a:lnTo>
                    <a:lnTo>
                      <a:pt x="1032" y="1813"/>
                    </a:lnTo>
                    <a:lnTo>
                      <a:pt x="1031" y="1813"/>
                    </a:lnTo>
                    <a:lnTo>
                      <a:pt x="1027" y="1818"/>
                    </a:lnTo>
                    <a:lnTo>
                      <a:pt x="1026" y="1818"/>
                    </a:lnTo>
                    <a:lnTo>
                      <a:pt x="1025" y="1818"/>
                    </a:lnTo>
                    <a:lnTo>
                      <a:pt x="1023" y="1820"/>
                    </a:lnTo>
                    <a:lnTo>
                      <a:pt x="1022" y="1818"/>
                    </a:lnTo>
                    <a:lnTo>
                      <a:pt x="1020" y="1817"/>
                    </a:lnTo>
                    <a:lnTo>
                      <a:pt x="1016" y="1817"/>
                    </a:lnTo>
                    <a:lnTo>
                      <a:pt x="1013" y="1817"/>
                    </a:lnTo>
                    <a:lnTo>
                      <a:pt x="1010" y="1816"/>
                    </a:lnTo>
                    <a:lnTo>
                      <a:pt x="1008" y="1815"/>
                    </a:lnTo>
                    <a:lnTo>
                      <a:pt x="1008" y="1813"/>
                    </a:lnTo>
                    <a:lnTo>
                      <a:pt x="1008" y="1811"/>
                    </a:lnTo>
                    <a:lnTo>
                      <a:pt x="1008" y="1806"/>
                    </a:lnTo>
                    <a:lnTo>
                      <a:pt x="1008" y="1805"/>
                    </a:lnTo>
                    <a:lnTo>
                      <a:pt x="1007" y="1803"/>
                    </a:lnTo>
                    <a:lnTo>
                      <a:pt x="1004" y="1801"/>
                    </a:lnTo>
                    <a:lnTo>
                      <a:pt x="1001" y="1799"/>
                    </a:lnTo>
                    <a:lnTo>
                      <a:pt x="1003" y="1796"/>
                    </a:lnTo>
                    <a:lnTo>
                      <a:pt x="1002" y="1793"/>
                    </a:lnTo>
                    <a:lnTo>
                      <a:pt x="1001" y="1793"/>
                    </a:lnTo>
                    <a:lnTo>
                      <a:pt x="999" y="1793"/>
                    </a:lnTo>
                    <a:lnTo>
                      <a:pt x="998" y="1792"/>
                    </a:lnTo>
                    <a:lnTo>
                      <a:pt x="997" y="1792"/>
                    </a:lnTo>
                    <a:lnTo>
                      <a:pt x="997" y="1789"/>
                    </a:lnTo>
                    <a:lnTo>
                      <a:pt x="997" y="1787"/>
                    </a:lnTo>
                    <a:lnTo>
                      <a:pt x="993" y="1784"/>
                    </a:lnTo>
                    <a:lnTo>
                      <a:pt x="992" y="1780"/>
                    </a:lnTo>
                    <a:lnTo>
                      <a:pt x="991" y="1779"/>
                    </a:lnTo>
                    <a:lnTo>
                      <a:pt x="988" y="1779"/>
                    </a:lnTo>
                    <a:lnTo>
                      <a:pt x="988" y="1783"/>
                    </a:lnTo>
                    <a:lnTo>
                      <a:pt x="987" y="1784"/>
                    </a:lnTo>
                    <a:lnTo>
                      <a:pt x="984" y="1789"/>
                    </a:lnTo>
                    <a:lnTo>
                      <a:pt x="982" y="1791"/>
                    </a:lnTo>
                    <a:lnTo>
                      <a:pt x="979" y="1792"/>
                    </a:lnTo>
                    <a:lnTo>
                      <a:pt x="975" y="1791"/>
                    </a:lnTo>
                    <a:lnTo>
                      <a:pt x="973" y="1788"/>
                    </a:lnTo>
                    <a:lnTo>
                      <a:pt x="970" y="1787"/>
                    </a:lnTo>
                    <a:lnTo>
                      <a:pt x="968" y="1787"/>
                    </a:lnTo>
                    <a:lnTo>
                      <a:pt x="964" y="1782"/>
                    </a:lnTo>
                    <a:lnTo>
                      <a:pt x="961" y="1782"/>
                    </a:lnTo>
                    <a:lnTo>
                      <a:pt x="954" y="1788"/>
                    </a:lnTo>
                    <a:lnTo>
                      <a:pt x="951" y="1788"/>
                    </a:lnTo>
                    <a:lnTo>
                      <a:pt x="947" y="1782"/>
                    </a:lnTo>
                    <a:lnTo>
                      <a:pt x="944" y="1783"/>
                    </a:lnTo>
                    <a:lnTo>
                      <a:pt x="942" y="1783"/>
                    </a:lnTo>
                    <a:lnTo>
                      <a:pt x="940" y="1784"/>
                    </a:lnTo>
                    <a:lnTo>
                      <a:pt x="939" y="1783"/>
                    </a:lnTo>
                    <a:lnTo>
                      <a:pt x="937" y="1783"/>
                    </a:lnTo>
                    <a:lnTo>
                      <a:pt x="936" y="1779"/>
                    </a:lnTo>
                    <a:lnTo>
                      <a:pt x="935" y="1778"/>
                    </a:lnTo>
                    <a:lnTo>
                      <a:pt x="933" y="1778"/>
                    </a:lnTo>
                    <a:lnTo>
                      <a:pt x="931" y="1779"/>
                    </a:lnTo>
                    <a:lnTo>
                      <a:pt x="930" y="1782"/>
                    </a:lnTo>
                    <a:lnTo>
                      <a:pt x="927" y="1782"/>
                    </a:lnTo>
                    <a:lnTo>
                      <a:pt x="926" y="1786"/>
                    </a:lnTo>
                    <a:lnTo>
                      <a:pt x="925" y="1787"/>
                    </a:lnTo>
                    <a:lnTo>
                      <a:pt x="923" y="1789"/>
                    </a:lnTo>
                    <a:lnTo>
                      <a:pt x="921" y="1789"/>
                    </a:lnTo>
                    <a:lnTo>
                      <a:pt x="918" y="1788"/>
                    </a:lnTo>
                    <a:lnTo>
                      <a:pt x="916" y="1788"/>
                    </a:lnTo>
                    <a:lnTo>
                      <a:pt x="914" y="1789"/>
                    </a:lnTo>
                    <a:lnTo>
                      <a:pt x="907" y="1793"/>
                    </a:lnTo>
                    <a:lnTo>
                      <a:pt x="904" y="1803"/>
                    </a:lnTo>
                    <a:lnTo>
                      <a:pt x="904" y="1805"/>
                    </a:lnTo>
                    <a:lnTo>
                      <a:pt x="906" y="1807"/>
                    </a:lnTo>
                    <a:lnTo>
                      <a:pt x="906" y="1808"/>
                    </a:lnTo>
                    <a:lnTo>
                      <a:pt x="906" y="1810"/>
                    </a:lnTo>
                    <a:lnTo>
                      <a:pt x="907" y="1810"/>
                    </a:lnTo>
                    <a:lnTo>
                      <a:pt x="907" y="1811"/>
                    </a:lnTo>
                    <a:lnTo>
                      <a:pt x="909" y="1811"/>
                    </a:lnTo>
                    <a:lnTo>
                      <a:pt x="909" y="1813"/>
                    </a:lnTo>
                    <a:lnTo>
                      <a:pt x="908" y="1815"/>
                    </a:lnTo>
                    <a:lnTo>
                      <a:pt x="902" y="1816"/>
                    </a:lnTo>
                    <a:lnTo>
                      <a:pt x="901" y="1820"/>
                    </a:lnTo>
                    <a:lnTo>
                      <a:pt x="895" y="1822"/>
                    </a:lnTo>
                    <a:lnTo>
                      <a:pt x="894" y="1822"/>
                    </a:lnTo>
                    <a:lnTo>
                      <a:pt x="894" y="1821"/>
                    </a:lnTo>
                    <a:lnTo>
                      <a:pt x="893" y="1820"/>
                    </a:lnTo>
                    <a:lnTo>
                      <a:pt x="892" y="1820"/>
                    </a:lnTo>
                    <a:lnTo>
                      <a:pt x="890" y="1820"/>
                    </a:lnTo>
                    <a:lnTo>
                      <a:pt x="890" y="1821"/>
                    </a:lnTo>
                    <a:lnTo>
                      <a:pt x="890" y="1822"/>
                    </a:lnTo>
                    <a:lnTo>
                      <a:pt x="890" y="1824"/>
                    </a:lnTo>
                    <a:lnTo>
                      <a:pt x="887" y="1829"/>
                    </a:lnTo>
                    <a:lnTo>
                      <a:pt x="887" y="1830"/>
                    </a:lnTo>
                    <a:lnTo>
                      <a:pt x="887" y="1831"/>
                    </a:lnTo>
                    <a:lnTo>
                      <a:pt x="885" y="1832"/>
                    </a:lnTo>
                    <a:lnTo>
                      <a:pt x="883" y="1834"/>
                    </a:lnTo>
                    <a:lnTo>
                      <a:pt x="876" y="1832"/>
                    </a:lnTo>
                    <a:lnTo>
                      <a:pt x="875" y="1832"/>
                    </a:lnTo>
                    <a:lnTo>
                      <a:pt x="874" y="1835"/>
                    </a:lnTo>
                    <a:lnTo>
                      <a:pt x="874" y="1836"/>
                    </a:lnTo>
                    <a:lnTo>
                      <a:pt x="875" y="1838"/>
                    </a:lnTo>
                    <a:lnTo>
                      <a:pt x="875" y="1839"/>
                    </a:lnTo>
                    <a:lnTo>
                      <a:pt x="875" y="1840"/>
                    </a:lnTo>
                    <a:lnTo>
                      <a:pt x="878" y="1846"/>
                    </a:lnTo>
                    <a:lnTo>
                      <a:pt x="880" y="1849"/>
                    </a:lnTo>
                    <a:lnTo>
                      <a:pt x="880" y="1850"/>
                    </a:lnTo>
                    <a:lnTo>
                      <a:pt x="880" y="1853"/>
                    </a:lnTo>
                    <a:lnTo>
                      <a:pt x="882" y="1854"/>
                    </a:lnTo>
                    <a:lnTo>
                      <a:pt x="885" y="1858"/>
                    </a:lnTo>
                    <a:lnTo>
                      <a:pt x="885" y="1859"/>
                    </a:lnTo>
                    <a:lnTo>
                      <a:pt x="885" y="1860"/>
                    </a:lnTo>
                    <a:lnTo>
                      <a:pt x="884" y="1860"/>
                    </a:lnTo>
                    <a:lnTo>
                      <a:pt x="884" y="1862"/>
                    </a:lnTo>
                    <a:lnTo>
                      <a:pt x="880" y="1863"/>
                    </a:lnTo>
                    <a:lnTo>
                      <a:pt x="879" y="1868"/>
                    </a:lnTo>
                    <a:lnTo>
                      <a:pt x="878" y="1868"/>
                    </a:lnTo>
                    <a:lnTo>
                      <a:pt x="878" y="1869"/>
                    </a:lnTo>
                    <a:lnTo>
                      <a:pt x="874" y="1868"/>
                    </a:lnTo>
                    <a:lnTo>
                      <a:pt x="873" y="1868"/>
                    </a:lnTo>
                    <a:lnTo>
                      <a:pt x="871" y="1865"/>
                    </a:lnTo>
                    <a:lnTo>
                      <a:pt x="870" y="1864"/>
                    </a:lnTo>
                    <a:lnTo>
                      <a:pt x="869" y="1863"/>
                    </a:lnTo>
                    <a:lnTo>
                      <a:pt x="866" y="1864"/>
                    </a:lnTo>
                    <a:lnTo>
                      <a:pt x="866" y="1867"/>
                    </a:lnTo>
                    <a:lnTo>
                      <a:pt x="866" y="1868"/>
                    </a:lnTo>
                    <a:lnTo>
                      <a:pt x="865" y="1868"/>
                    </a:lnTo>
                    <a:lnTo>
                      <a:pt x="860" y="1867"/>
                    </a:lnTo>
                    <a:lnTo>
                      <a:pt x="856" y="1859"/>
                    </a:lnTo>
                    <a:lnTo>
                      <a:pt x="855" y="1858"/>
                    </a:lnTo>
                    <a:lnTo>
                      <a:pt x="852" y="1855"/>
                    </a:lnTo>
                    <a:lnTo>
                      <a:pt x="850" y="1854"/>
                    </a:lnTo>
                    <a:lnTo>
                      <a:pt x="849" y="1854"/>
                    </a:lnTo>
                    <a:lnTo>
                      <a:pt x="845" y="1854"/>
                    </a:lnTo>
                    <a:lnTo>
                      <a:pt x="844" y="1855"/>
                    </a:lnTo>
                    <a:lnTo>
                      <a:pt x="842" y="1857"/>
                    </a:lnTo>
                    <a:lnTo>
                      <a:pt x="842" y="1858"/>
                    </a:lnTo>
                    <a:lnTo>
                      <a:pt x="841" y="1859"/>
                    </a:lnTo>
                    <a:lnTo>
                      <a:pt x="841" y="1860"/>
                    </a:lnTo>
                    <a:lnTo>
                      <a:pt x="842" y="1862"/>
                    </a:lnTo>
                    <a:lnTo>
                      <a:pt x="842" y="1863"/>
                    </a:lnTo>
                    <a:lnTo>
                      <a:pt x="842" y="1865"/>
                    </a:lnTo>
                    <a:lnTo>
                      <a:pt x="842" y="1869"/>
                    </a:lnTo>
                    <a:lnTo>
                      <a:pt x="845" y="1873"/>
                    </a:lnTo>
                    <a:lnTo>
                      <a:pt x="846" y="1874"/>
                    </a:lnTo>
                    <a:lnTo>
                      <a:pt x="846" y="1876"/>
                    </a:lnTo>
                    <a:lnTo>
                      <a:pt x="849" y="1876"/>
                    </a:lnTo>
                    <a:lnTo>
                      <a:pt x="850" y="1874"/>
                    </a:lnTo>
                    <a:lnTo>
                      <a:pt x="847" y="1870"/>
                    </a:lnTo>
                    <a:lnTo>
                      <a:pt x="847" y="1869"/>
                    </a:lnTo>
                    <a:lnTo>
                      <a:pt x="849" y="1869"/>
                    </a:lnTo>
                    <a:lnTo>
                      <a:pt x="850" y="1869"/>
                    </a:lnTo>
                    <a:lnTo>
                      <a:pt x="851" y="1869"/>
                    </a:lnTo>
                    <a:lnTo>
                      <a:pt x="851" y="1870"/>
                    </a:lnTo>
                    <a:lnTo>
                      <a:pt x="852" y="1872"/>
                    </a:lnTo>
                    <a:lnTo>
                      <a:pt x="852" y="1877"/>
                    </a:lnTo>
                    <a:lnTo>
                      <a:pt x="854" y="1882"/>
                    </a:lnTo>
                    <a:lnTo>
                      <a:pt x="852" y="1883"/>
                    </a:lnTo>
                    <a:lnTo>
                      <a:pt x="849" y="1886"/>
                    </a:lnTo>
                    <a:lnTo>
                      <a:pt x="846" y="1887"/>
                    </a:lnTo>
                    <a:lnTo>
                      <a:pt x="842" y="1891"/>
                    </a:lnTo>
                    <a:lnTo>
                      <a:pt x="841" y="1891"/>
                    </a:lnTo>
                    <a:lnTo>
                      <a:pt x="840" y="1891"/>
                    </a:lnTo>
                    <a:lnTo>
                      <a:pt x="838" y="1889"/>
                    </a:lnTo>
                    <a:lnTo>
                      <a:pt x="836" y="1888"/>
                    </a:lnTo>
                    <a:lnTo>
                      <a:pt x="831" y="1886"/>
                    </a:lnTo>
                    <a:lnTo>
                      <a:pt x="830" y="1884"/>
                    </a:lnTo>
                    <a:lnTo>
                      <a:pt x="827" y="1883"/>
                    </a:lnTo>
                    <a:lnTo>
                      <a:pt x="823" y="1884"/>
                    </a:lnTo>
                    <a:lnTo>
                      <a:pt x="822" y="1884"/>
                    </a:lnTo>
                    <a:lnTo>
                      <a:pt x="818" y="1883"/>
                    </a:lnTo>
                    <a:lnTo>
                      <a:pt x="814" y="1883"/>
                    </a:lnTo>
                    <a:lnTo>
                      <a:pt x="812" y="1884"/>
                    </a:lnTo>
                    <a:lnTo>
                      <a:pt x="808" y="1884"/>
                    </a:lnTo>
                    <a:lnTo>
                      <a:pt x="808" y="1883"/>
                    </a:lnTo>
                    <a:lnTo>
                      <a:pt x="807" y="1883"/>
                    </a:lnTo>
                    <a:lnTo>
                      <a:pt x="806" y="1883"/>
                    </a:lnTo>
                    <a:lnTo>
                      <a:pt x="804" y="1882"/>
                    </a:lnTo>
                    <a:lnTo>
                      <a:pt x="803" y="1883"/>
                    </a:lnTo>
                    <a:lnTo>
                      <a:pt x="800" y="1883"/>
                    </a:lnTo>
                    <a:lnTo>
                      <a:pt x="795" y="1883"/>
                    </a:lnTo>
                    <a:lnTo>
                      <a:pt x="793" y="1879"/>
                    </a:lnTo>
                    <a:lnTo>
                      <a:pt x="790" y="1878"/>
                    </a:lnTo>
                    <a:lnTo>
                      <a:pt x="788" y="1878"/>
                    </a:lnTo>
                    <a:lnTo>
                      <a:pt x="787" y="1878"/>
                    </a:lnTo>
                    <a:lnTo>
                      <a:pt x="785" y="1879"/>
                    </a:lnTo>
                    <a:lnTo>
                      <a:pt x="784" y="1881"/>
                    </a:lnTo>
                    <a:lnTo>
                      <a:pt x="784" y="1882"/>
                    </a:lnTo>
                    <a:lnTo>
                      <a:pt x="781" y="1886"/>
                    </a:lnTo>
                    <a:lnTo>
                      <a:pt x="780" y="1888"/>
                    </a:lnTo>
                    <a:lnTo>
                      <a:pt x="784" y="1895"/>
                    </a:lnTo>
                    <a:lnTo>
                      <a:pt x="788" y="1898"/>
                    </a:lnTo>
                    <a:lnTo>
                      <a:pt x="793" y="1900"/>
                    </a:lnTo>
                    <a:lnTo>
                      <a:pt x="794" y="1901"/>
                    </a:lnTo>
                    <a:lnTo>
                      <a:pt x="794" y="1903"/>
                    </a:lnTo>
                    <a:lnTo>
                      <a:pt x="793" y="1905"/>
                    </a:lnTo>
                    <a:lnTo>
                      <a:pt x="790" y="1908"/>
                    </a:lnTo>
                    <a:lnTo>
                      <a:pt x="792" y="1908"/>
                    </a:lnTo>
                    <a:lnTo>
                      <a:pt x="792" y="1910"/>
                    </a:lnTo>
                    <a:lnTo>
                      <a:pt x="790" y="1911"/>
                    </a:lnTo>
                    <a:lnTo>
                      <a:pt x="793" y="1914"/>
                    </a:lnTo>
                    <a:lnTo>
                      <a:pt x="792" y="1917"/>
                    </a:lnTo>
                    <a:lnTo>
                      <a:pt x="790" y="1919"/>
                    </a:lnTo>
                    <a:lnTo>
                      <a:pt x="793" y="1922"/>
                    </a:lnTo>
                    <a:lnTo>
                      <a:pt x="792" y="1925"/>
                    </a:lnTo>
                    <a:lnTo>
                      <a:pt x="793" y="1926"/>
                    </a:lnTo>
                    <a:lnTo>
                      <a:pt x="794" y="1927"/>
                    </a:lnTo>
                    <a:lnTo>
                      <a:pt x="797" y="1931"/>
                    </a:lnTo>
                    <a:lnTo>
                      <a:pt x="795" y="1931"/>
                    </a:lnTo>
                    <a:lnTo>
                      <a:pt x="794" y="1933"/>
                    </a:lnTo>
                    <a:lnTo>
                      <a:pt x="792" y="1933"/>
                    </a:lnTo>
                    <a:lnTo>
                      <a:pt x="789" y="1931"/>
                    </a:lnTo>
                    <a:lnTo>
                      <a:pt x="788" y="1929"/>
                    </a:lnTo>
                    <a:lnTo>
                      <a:pt x="787" y="1926"/>
                    </a:lnTo>
                    <a:lnTo>
                      <a:pt x="779" y="1926"/>
                    </a:lnTo>
                    <a:lnTo>
                      <a:pt x="775" y="1927"/>
                    </a:lnTo>
                    <a:lnTo>
                      <a:pt x="773" y="1930"/>
                    </a:lnTo>
                    <a:lnTo>
                      <a:pt x="771" y="1930"/>
                    </a:lnTo>
                    <a:lnTo>
                      <a:pt x="765" y="1939"/>
                    </a:lnTo>
                    <a:lnTo>
                      <a:pt x="764" y="1940"/>
                    </a:lnTo>
                    <a:lnTo>
                      <a:pt x="762" y="1940"/>
                    </a:lnTo>
                    <a:lnTo>
                      <a:pt x="749" y="1940"/>
                    </a:lnTo>
                    <a:lnTo>
                      <a:pt x="747" y="1940"/>
                    </a:lnTo>
                    <a:lnTo>
                      <a:pt x="745" y="1941"/>
                    </a:lnTo>
                    <a:lnTo>
                      <a:pt x="743" y="1943"/>
                    </a:lnTo>
                    <a:lnTo>
                      <a:pt x="745" y="1946"/>
                    </a:lnTo>
                    <a:lnTo>
                      <a:pt x="742" y="1949"/>
                    </a:lnTo>
                    <a:lnTo>
                      <a:pt x="743" y="1950"/>
                    </a:lnTo>
                    <a:lnTo>
                      <a:pt x="747" y="1953"/>
                    </a:lnTo>
                    <a:lnTo>
                      <a:pt x="749" y="1953"/>
                    </a:lnTo>
                    <a:lnTo>
                      <a:pt x="751" y="1952"/>
                    </a:lnTo>
                    <a:lnTo>
                      <a:pt x="750" y="1950"/>
                    </a:lnTo>
                    <a:lnTo>
                      <a:pt x="750" y="1949"/>
                    </a:lnTo>
                    <a:lnTo>
                      <a:pt x="750" y="1948"/>
                    </a:lnTo>
                    <a:lnTo>
                      <a:pt x="754" y="1950"/>
                    </a:lnTo>
                    <a:lnTo>
                      <a:pt x="756" y="1953"/>
                    </a:lnTo>
                    <a:lnTo>
                      <a:pt x="757" y="1954"/>
                    </a:lnTo>
                    <a:lnTo>
                      <a:pt x="759" y="1954"/>
                    </a:lnTo>
                    <a:lnTo>
                      <a:pt x="760" y="1955"/>
                    </a:lnTo>
                    <a:lnTo>
                      <a:pt x="759" y="1960"/>
                    </a:lnTo>
                    <a:lnTo>
                      <a:pt x="760" y="1962"/>
                    </a:lnTo>
                    <a:lnTo>
                      <a:pt x="761" y="1963"/>
                    </a:lnTo>
                    <a:lnTo>
                      <a:pt x="760" y="1965"/>
                    </a:lnTo>
                    <a:lnTo>
                      <a:pt x="760" y="1967"/>
                    </a:lnTo>
                    <a:lnTo>
                      <a:pt x="760" y="1968"/>
                    </a:lnTo>
                    <a:lnTo>
                      <a:pt x="762" y="1969"/>
                    </a:lnTo>
                    <a:lnTo>
                      <a:pt x="765" y="1972"/>
                    </a:lnTo>
                    <a:lnTo>
                      <a:pt x="765" y="1973"/>
                    </a:lnTo>
                    <a:lnTo>
                      <a:pt x="764" y="1978"/>
                    </a:lnTo>
                    <a:lnTo>
                      <a:pt x="765" y="1979"/>
                    </a:lnTo>
                    <a:lnTo>
                      <a:pt x="766" y="1981"/>
                    </a:lnTo>
                    <a:lnTo>
                      <a:pt x="766" y="1982"/>
                    </a:lnTo>
                    <a:lnTo>
                      <a:pt x="766" y="1983"/>
                    </a:lnTo>
                    <a:lnTo>
                      <a:pt x="771" y="1990"/>
                    </a:lnTo>
                    <a:lnTo>
                      <a:pt x="774" y="1991"/>
                    </a:lnTo>
                    <a:lnTo>
                      <a:pt x="774" y="1993"/>
                    </a:lnTo>
                    <a:lnTo>
                      <a:pt x="773" y="1995"/>
                    </a:lnTo>
                    <a:lnTo>
                      <a:pt x="771" y="1997"/>
                    </a:lnTo>
                    <a:lnTo>
                      <a:pt x="768" y="1992"/>
                    </a:lnTo>
                    <a:lnTo>
                      <a:pt x="766" y="1991"/>
                    </a:lnTo>
                    <a:lnTo>
                      <a:pt x="762" y="1988"/>
                    </a:lnTo>
                    <a:lnTo>
                      <a:pt x="760" y="1987"/>
                    </a:lnTo>
                    <a:lnTo>
                      <a:pt x="759" y="1986"/>
                    </a:lnTo>
                    <a:lnTo>
                      <a:pt x="754" y="1986"/>
                    </a:lnTo>
                    <a:lnTo>
                      <a:pt x="752" y="1983"/>
                    </a:lnTo>
                    <a:lnTo>
                      <a:pt x="751" y="1983"/>
                    </a:lnTo>
                    <a:lnTo>
                      <a:pt x="750" y="1983"/>
                    </a:lnTo>
                    <a:lnTo>
                      <a:pt x="741" y="1987"/>
                    </a:lnTo>
                    <a:lnTo>
                      <a:pt x="738" y="1987"/>
                    </a:lnTo>
                    <a:lnTo>
                      <a:pt x="735" y="1987"/>
                    </a:lnTo>
                    <a:lnTo>
                      <a:pt x="732" y="1986"/>
                    </a:lnTo>
                    <a:lnTo>
                      <a:pt x="728" y="1981"/>
                    </a:lnTo>
                    <a:lnTo>
                      <a:pt x="726" y="1974"/>
                    </a:lnTo>
                    <a:lnTo>
                      <a:pt x="726" y="1973"/>
                    </a:lnTo>
                    <a:lnTo>
                      <a:pt x="724" y="1972"/>
                    </a:lnTo>
                    <a:lnTo>
                      <a:pt x="724" y="1971"/>
                    </a:lnTo>
                    <a:lnTo>
                      <a:pt x="723" y="1971"/>
                    </a:lnTo>
                    <a:lnTo>
                      <a:pt x="722" y="1969"/>
                    </a:lnTo>
                    <a:lnTo>
                      <a:pt x="717" y="1969"/>
                    </a:lnTo>
                    <a:lnTo>
                      <a:pt x="714" y="1971"/>
                    </a:lnTo>
                    <a:lnTo>
                      <a:pt x="712" y="1972"/>
                    </a:lnTo>
                    <a:lnTo>
                      <a:pt x="709" y="1968"/>
                    </a:lnTo>
                    <a:lnTo>
                      <a:pt x="708" y="1967"/>
                    </a:lnTo>
                    <a:lnTo>
                      <a:pt x="707" y="1967"/>
                    </a:lnTo>
                    <a:lnTo>
                      <a:pt x="707" y="1968"/>
                    </a:lnTo>
                    <a:lnTo>
                      <a:pt x="705" y="1968"/>
                    </a:lnTo>
                    <a:lnTo>
                      <a:pt x="703" y="1972"/>
                    </a:lnTo>
                    <a:lnTo>
                      <a:pt x="703" y="1974"/>
                    </a:lnTo>
                    <a:lnTo>
                      <a:pt x="703" y="1976"/>
                    </a:lnTo>
                    <a:lnTo>
                      <a:pt x="703" y="1977"/>
                    </a:lnTo>
                    <a:lnTo>
                      <a:pt x="703" y="1979"/>
                    </a:lnTo>
                    <a:lnTo>
                      <a:pt x="703" y="1982"/>
                    </a:lnTo>
                    <a:lnTo>
                      <a:pt x="703" y="1983"/>
                    </a:lnTo>
                    <a:lnTo>
                      <a:pt x="700" y="1986"/>
                    </a:lnTo>
                    <a:lnTo>
                      <a:pt x="699" y="1986"/>
                    </a:lnTo>
                    <a:lnTo>
                      <a:pt x="699" y="1987"/>
                    </a:lnTo>
                    <a:lnTo>
                      <a:pt x="691" y="1995"/>
                    </a:lnTo>
                    <a:lnTo>
                      <a:pt x="690" y="1995"/>
                    </a:lnTo>
                    <a:lnTo>
                      <a:pt x="689" y="1996"/>
                    </a:lnTo>
                    <a:lnTo>
                      <a:pt x="679" y="2004"/>
                    </a:lnTo>
                    <a:lnTo>
                      <a:pt x="676" y="2007"/>
                    </a:lnTo>
                    <a:lnTo>
                      <a:pt x="674" y="2014"/>
                    </a:lnTo>
                    <a:lnTo>
                      <a:pt x="669" y="2014"/>
                    </a:lnTo>
                    <a:lnTo>
                      <a:pt x="667" y="2012"/>
                    </a:lnTo>
                    <a:lnTo>
                      <a:pt x="664" y="2014"/>
                    </a:lnTo>
                    <a:lnTo>
                      <a:pt x="662" y="2014"/>
                    </a:lnTo>
                    <a:lnTo>
                      <a:pt x="653" y="2014"/>
                    </a:lnTo>
                    <a:lnTo>
                      <a:pt x="646" y="2014"/>
                    </a:lnTo>
                    <a:lnTo>
                      <a:pt x="642" y="2014"/>
                    </a:lnTo>
                    <a:lnTo>
                      <a:pt x="627" y="2014"/>
                    </a:lnTo>
                    <a:lnTo>
                      <a:pt x="626" y="2014"/>
                    </a:lnTo>
                    <a:lnTo>
                      <a:pt x="619" y="2014"/>
                    </a:lnTo>
                    <a:lnTo>
                      <a:pt x="618" y="2014"/>
                    </a:lnTo>
                    <a:lnTo>
                      <a:pt x="600" y="2014"/>
                    </a:lnTo>
                    <a:lnTo>
                      <a:pt x="598" y="2014"/>
                    </a:lnTo>
                    <a:lnTo>
                      <a:pt x="589" y="2014"/>
                    </a:lnTo>
                    <a:lnTo>
                      <a:pt x="584" y="2014"/>
                    </a:lnTo>
                    <a:lnTo>
                      <a:pt x="577" y="2012"/>
                    </a:lnTo>
                    <a:lnTo>
                      <a:pt x="570" y="2012"/>
                    </a:lnTo>
                    <a:lnTo>
                      <a:pt x="558" y="2014"/>
                    </a:lnTo>
                    <a:lnTo>
                      <a:pt x="553" y="2012"/>
                    </a:lnTo>
                    <a:lnTo>
                      <a:pt x="552" y="2012"/>
                    </a:lnTo>
                    <a:lnTo>
                      <a:pt x="551" y="2012"/>
                    </a:lnTo>
                    <a:lnTo>
                      <a:pt x="548" y="2014"/>
                    </a:lnTo>
                    <a:lnTo>
                      <a:pt x="522" y="2024"/>
                    </a:lnTo>
                    <a:lnTo>
                      <a:pt x="518" y="2026"/>
                    </a:lnTo>
                    <a:lnTo>
                      <a:pt x="515" y="2026"/>
                    </a:lnTo>
                    <a:lnTo>
                      <a:pt x="514" y="2026"/>
                    </a:lnTo>
                    <a:lnTo>
                      <a:pt x="508" y="2029"/>
                    </a:lnTo>
                    <a:lnTo>
                      <a:pt x="496" y="2034"/>
                    </a:lnTo>
                    <a:lnTo>
                      <a:pt x="488" y="2039"/>
                    </a:lnTo>
                    <a:lnTo>
                      <a:pt x="486" y="2039"/>
                    </a:lnTo>
                    <a:lnTo>
                      <a:pt x="482" y="2040"/>
                    </a:lnTo>
                    <a:lnTo>
                      <a:pt x="468" y="2045"/>
                    </a:lnTo>
                    <a:lnTo>
                      <a:pt x="471" y="2038"/>
                    </a:lnTo>
                    <a:lnTo>
                      <a:pt x="471" y="2036"/>
                    </a:lnTo>
                    <a:lnTo>
                      <a:pt x="474" y="2025"/>
                    </a:lnTo>
                    <a:lnTo>
                      <a:pt x="474" y="2021"/>
                    </a:lnTo>
                    <a:lnTo>
                      <a:pt x="472" y="2020"/>
                    </a:lnTo>
                    <a:lnTo>
                      <a:pt x="468" y="2020"/>
                    </a:lnTo>
                    <a:lnTo>
                      <a:pt x="467" y="2020"/>
                    </a:lnTo>
                    <a:lnTo>
                      <a:pt x="466" y="2019"/>
                    </a:lnTo>
                    <a:lnTo>
                      <a:pt x="471" y="2010"/>
                    </a:lnTo>
                    <a:lnTo>
                      <a:pt x="472" y="2009"/>
                    </a:lnTo>
                    <a:lnTo>
                      <a:pt x="472" y="2007"/>
                    </a:lnTo>
                    <a:lnTo>
                      <a:pt x="471" y="2007"/>
                    </a:lnTo>
                    <a:lnTo>
                      <a:pt x="433" y="2000"/>
                    </a:lnTo>
                    <a:lnTo>
                      <a:pt x="432" y="2000"/>
                    </a:lnTo>
                    <a:lnTo>
                      <a:pt x="424" y="1997"/>
                    </a:lnTo>
                    <a:lnTo>
                      <a:pt x="413" y="1996"/>
                    </a:lnTo>
                    <a:lnTo>
                      <a:pt x="410" y="1995"/>
                    </a:lnTo>
                    <a:lnTo>
                      <a:pt x="400" y="1993"/>
                    </a:lnTo>
                    <a:lnTo>
                      <a:pt x="399" y="1992"/>
                    </a:lnTo>
                    <a:lnTo>
                      <a:pt x="375" y="1987"/>
                    </a:lnTo>
                    <a:lnTo>
                      <a:pt x="371" y="1987"/>
                    </a:lnTo>
                    <a:lnTo>
                      <a:pt x="365" y="1986"/>
                    </a:lnTo>
                    <a:lnTo>
                      <a:pt x="354" y="1983"/>
                    </a:lnTo>
                    <a:lnTo>
                      <a:pt x="353" y="1983"/>
                    </a:lnTo>
                    <a:lnTo>
                      <a:pt x="352" y="1983"/>
                    </a:lnTo>
                    <a:lnTo>
                      <a:pt x="346" y="1982"/>
                    </a:lnTo>
                    <a:lnTo>
                      <a:pt x="342" y="1981"/>
                    </a:lnTo>
                    <a:lnTo>
                      <a:pt x="341" y="1981"/>
                    </a:lnTo>
                    <a:lnTo>
                      <a:pt x="339" y="1981"/>
                    </a:lnTo>
                    <a:lnTo>
                      <a:pt x="318" y="1977"/>
                    </a:lnTo>
                    <a:lnTo>
                      <a:pt x="289" y="1971"/>
                    </a:lnTo>
                  </a:path>
                </a:pathLst>
              </a:custGeom>
              <a:noFill/>
              <a:ln w="4763">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7" name="Freeform 6"/>
              <p:cNvSpPr>
                <a:spLocks/>
              </p:cNvSpPr>
              <p:nvPr/>
            </p:nvSpPr>
            <p:spPr bwMode="auto">
              <a:xfrm>
                <a:off x="2546" y="2982"/>
                <a:ext cx="2431" cy="873"/>
              </a:xfrm>
              <a:custGeom>
                <a:avLst/>
                <a:gdLst>
                  <a:gd name="T0" fmla="*/ 2348 w 2431"/>
                  <a:gd name="T1" fmla="*/ 28 h 873"/>
                  <a:gd name="T2" fmla="*/ 2271 w 2431"/>
                  <a:gd name="T3" fmla="*/ 10 h 873"/>
                  <a:gd name="T4" fmla="*/ 2224 w 2431"/>
                  <a:gd name="T5" fmla="*/ 17 h 873"/>
                  <a:gd name="T6" fmla="*/ 2197 w 2431"/>
                  <a:gd name="T7" fmla="*/ 38 h 873"/>
                  <a:gd name="T8" fmla="*/ 2178 w 2431"/>
                  <a:gd name="T9" fmla="*/ 28 h 873"/>
                  <a:gd name="T10" fmla="*/ 2124 w 2431"/>
                  <a:gd name="T11" fmla="*/ 79 h 873"/>
                  <a:gd name="T12" fmla="*/ 2083 w 2431"/>
                  <a:gd name="T13" fmla="*/ 97 h 873"/>
                  <a:gd name="T14" fmla="*/ 2047 w 2431"/>
                  <a:gd name="T15" fmla="*/ 114 h 873"/>
                  <a:gd name="T16" fmla="*/ 2042 w 2431"/>
                  <a:gd name="T17" fmla="*/ 100 h 873"/>
                  <a:gd name="T18" fmla="*/ 2026 w 2431"/>
                  <a:gd name="T19" fmla="*/ 90 h 873"/>
                  <a:gd name="T20" fmla="*/ 1945 w 2431"/>
                  <a:gd name="T21" fmla="*/ 91 h 873"/>
                  <a:gd name="T22" fmla="*/ 1909 w 2431"/>
                  <a:gd name="T23" fmla="*/ 90 h 873"/>
                  <a:gd name="T24" fmla="*/ 1803 w 2431"/>
                  <a:gd name="T25" fmla="*/ 94 h 873"/>
                  <a:gd name="T26" fmla="*/ 1672 w 2431"/>
                  <a:gd name="T27" fmla="*/ 86 h 873"/>
                  <a:gd name="T28" fmla="*/ 1583 w 2431"/>
                  <a:gd name="T29" fmla="*/ 81 h 873"/>
                  <a:gd name="T30" fmla="*/ 1508 w 2431"/>
                  <a:gd name="T31" fmla="*/ 98 h 873"/>
                  <a:gd name="T32" fmla="*/ 1378 w 2431"/>
                  <a:gd name="T33" fmla="*/ 95 h 873"/>
                  <a:gd name="T34" fmla="*/ 1270 w 2431"/>
                  <a:gd name="T35" fmla="*/ 93 h 873"/>
                  <a:gd name="T36" fmla="*/ 1161 w 2431"/>
                  <a:gd name="T37" fmla="*/ 93 h 873"/>
                  <a:gd name="T38" fmla="*/ 1036 w 2431"/>
                  <a:gd name="T39" fmla="*/ 88 h 873"/>
                  <a:gd name="T40" fmla="*/ 968 w 2431"/>
                  <a:gd name="T41" fmla="*/ 86 h 873"/>
                  <a:gd name="T42" fmla="*/ 970 w 2431"/>
                  <a:gd name="T43" fmla="*/ 137 h 873"/>
                  <a:gd name="T44" fmla="*/ 951 w 2431"/>
                  <a:gd name="T45" fmla="*/ 162 h 873"/>
                  <a:gd name="T46" fmla="*/ 916 w 2431"/>
                  <a:gd name="T47" fmla="*/ 226 h 873"/>
                  <a:gd name="T48" fmla="*/ 920 w 2431"/>
                  <a:gd name="T49" fmla="*/ 259 h 873"/>
                  <a:gd name="T50" fmla="*/ 947 w 2431"/>
                  <a:gd name="T51" fmla="*/ 340 h 873"/>
                  <a:gd name="T52" fmla="*/ 996 w 2431"/>
                  <a:gd name="T53" fmla="*/ 377 h 873"/>
                  <a:gd name="T54" fmla="*/ 960 w 2431"/>
                  <a:gd name="T55" fmla="*/ 422 h 873"/>
                  <a:gd name="T56" fmla="*/ 1001 w 2431"/>
                  <a:gd name="T57" fmla="*/ 472 h 873"/>
                  <a:gd name="T58" fmla="*/ 994 w 2431"/>
                  <a:gd name="T59" fmla="*/ 562 h 873"/>
                  <a:gd name="T60" fmla="*/ 1004 w 2431"/>
                  <a:gd name="T61" fmla="*/ 645 h 873"/>
                  <a:gd name="T62" fmla="*/ 995 w 2431"/>
                  <a:gd name="T63" fmla="*/ 693 h 873"/>
                  <a:gd name="T64" fmla="*/ 1006 w 2431"/>
                  <a:gd name="T65" fmla="*/ 748 h 873"/>
                  <a:gd name="T66" fmla="*/ 1029 w 2431"/>
                  <a:gd name="T67" fmla="*/ 814 h 873"/>
                  <a:gd name="T68" fmla="*/ 1003 w 2431"/>
                  <a:gd name="T69" fmla="*/ 873 h 873"/>
                  <a:gd name="T70" fmla="*/ 911 w 2431"/>
                  <a:gd name="T71" fmla="*/ 766 h 873"/>
                  <a:gd name="T72" fmla="*/ 865 w 2431"/>
                  <a:gd name="T73" fmla="*/ 717 h 873"/>
                  <a:gd name="T74" fmla="*/ 827 w 2431"/>
                  <a:gd name="T75" fmla="*/ 655 h 873"/>
                  <a:gd name="T76" fmla="*/ 794 w 2431"/>
                  <a:gd name="T77" fmla="*/ 621 h 873"/>
                  <a:gd name="T78" fmla="*/ 766 w 2431"/>
                  <a:gd name="T79" fmla="*/ 636 h 873"/>
                  <a:gd name="T80" fmla="*/ 734 w 2431"/>
                  <a:gd name="T81" fmla="*/ 635 h 873"/>
                  <a:gd name="T82" fmla="*/ 685 w 2431"/>
                  <a:gd name="T83" fmla="*/ 621 h 873"/>
                  <a:gd name="T84" fmla="*/ 605 w 2431"/>
                  <a:gd name="T85" fmla="*/ 616 h 873"/>
                  <a:gd name="T86" fmla="*/ 547 w 2431"/>
                  <a:gd name="T87" fmla="*/ 607 h 873"/>
                  <a:gd name="T88" fmla="*/ 462 w 2431"/>
                  <a:gd name="T89" fmla="*/ 630 h 873"/>
                  <a:gd name="T90" fmla="*/ 412 w 2431"/>
                  <a:gd name="T91" fmla="*/ 641 h 873"/>
                  <a:gd name="T92" fmla="*/ 394 w 2431"/>
                  <a:gd name="T93" fmla="*/ 662 h 873"/>
                  <a:gd name="T94" fmla="*/ 341 w 2431"/>
                  <a:gd name="T95" fmla="*/ 667 h 873"/>
                  <a:gd name="T96" fmla="*/ 303 w 2431"/>
                  <a:gd name="T97" fmla="*/ 691 h 873"/>
                  <a:gd name="T98" fmla="*/ 259 w 2431"/>
                  <a:gd name="T99" fmla="*/ 709 h 873"/>
                  <a:gd name="T100" fmla="*/ 254 w 2431"/>
                  <a:gd name="T101" fmla="*/ 740 h 873"/>
                  <a:gd name="T102" fmla="*/ 217 w 2431"/>
                  <a:gd name="T103" fmla="*/ 763 h 873"/>
                  <a:gd name="T104" fmla="*/ 193 w 2431"/>
                  <a:gd name="T105" fmla="*/ 766 h 873"/>
                  <a:gd name="T106" fmla="*/ 147 w 2431"/>
                  <a:gd name="T107" fmla="*/ 753 h 873"/>
                  <a:gd name="T108" fmla="*/ 145 w 2431"/>
                  <a:gd name="T109" fmla="*/ 707 h 873"/>
                  <a:gd name="T110" fmla="*/ 117 w 2431"/>
                  <a:gd name="T111" fmla="*/ 731 h 873"/>
                  <a:gd name="T112" fmla="*/ 92 w 2431"/>
                  <a:gd name="T113" fmla="*/ 716 h 873"/>
                  <a:gd name="T114" fmla="*/ 70 w 2431"/>
                  <a:gd name="T115" fmla="*/ 728 h 873"/>
                  <a:gd name="T116" fmla="*/ 37 w 2431"/>
                  <a:gd name="T117" fmla="*/ 716 h 873"/>
                  <a:gd name="T118" fmla="*/ 8 w 2431"/>
                  <a:gd name="T119" fmla="*/ 700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31" h="873">
                    <a:moveTo>
                      <a:pt x="2431" y="45"/>
                    </a:moveTo>
                    <a:lnTo>
                      <a:pt x="2429" y="45"/>
                    </a:lnTo>
                    <a:lnTo>
                      <a:pt x="2423" y="43"/>
                    </a:lnTo>
                    <a:lnTo>
                      <a:pt x="2414" y="41"/>
                    </a:lnTo>
                    <a:lnTo>
                      <a:pt x="2412" y="41"/>
                    </a:lnTo>
                    <a:lnTo>
                      <a:pt x="2408" y="41"/>
                    </a:lnTo>
                    <a:lnTo>
                      <a:pt x="2407" y="39"/>
                    </a:lnTo>
                    <a:lnTo>
                      <a:pt x="2395" y="37"/>
                    </a:lnTo>
                    <a:lnTo>
                      <a:pt x="2391" y="37"/>
                    </a:lnTo>
                    <a:lnTo>
                      <a:pt x="2387" y="36"/>
                    </a:lnTo>
                    <a:lnTo>
                      <a:pt x="2384" y="36"/>
                    </a:lnTo>
                    <a:lnTo>
                      <a:pt x="2382" y="36"/>
                    </a:lnTo>
                    <a:lnTo>
                      <a:pt x="2366" y="32"/>
                    </a:lnTo>
                    <a:lnTo>
                      <a:pt x="2365" y="31"/>
                    </a:lnTo>
                    <a:lnTo>
                      <a:pt x="2357" y="29"/>
                    </a:lnTo>
                    <a:lnTo>
                      <a:pt x="2352" y="29"/>
                    </a:lnTo>
                    <a:lnTo>
                      <a:pt x="2348" y="28"/>
                    </a:lnTo>
                    <a:lnTo>
                      <a:pt x="2343" y="27"/>
                    </a:lnTo>
                    <a:lnTo>
                      <a:pt x="2338" y="27"/>
                    </a:lnTo>
                    <a:lnTo>
                      <a:pt x="2332" y="24"/>
                    </a:lnTo>
                    <a:lnTo>
                      <a:pt x="2330" y="24"/>
                    </a:lnTo>
                    <a:lnTo>
                      <a:pt x="2319" y="23"/>
                    </a:lnTo>
                    <a:lnTo>
                      <a:pt x="2317" y="22"/>
                    </a:lnTo>
                    <a:lnTo>
                      <a:pt x="2315" y="22"/>
                    </a:lnTo>
                    <a:lnTo>
                      <a:pt x="2313" y="20"/>
                    </a:lnTo>
                    <a:lnTo>
                      <a:pt x="2311" y="20"/>
                    </a:lnTo>
                    <a:lnTo>
                      <a:pt x="2310" y="20"/>
                    </a:lnTo>
                    <a:lnTo>
                      <a:pt x="2301" y="19"/>
                    </a:lnTo>
                    <a:lnTo>
                      <a:pt x="2298" y="18"/>
                    </a:lnTo>
                    <a:lnTo>
                      <a:pt x="2296" y="17"/>
                    </a:lnTo>
                    <a:lnTo>
                      <a:pt x="2287" y="15"/>
                    </a:lnTo>
                    <a:lnTo>
                      <a:pt x="2277" y="12"/>
                    </a:lnTo>
                    <a:lnTo>
                      <a:pt x="2273" y="10"/>
                    </a:lnTo>
                    <a:lnTo>
                      <a:pt x="2271" y="10"/>
                    </a:lnTo>
                    <a:lnTo>
                      <a:pt x="2270" y="10"/>
                    </a:lnTo>
                    <a:lnTo>
                      <a:pt x="2268" y="9"/>
                    </a:lnTo>
                    <a:lnTo>
                      <a:pt x="2266" y="9"/>
                    </a:lnTo>
                    <a:lnTo>
                      <a:pt x="2261" y="8"/>
                    </a:lnTo>
                    <a:lnTo>
                      <a:pt x="2253" y="7"/>
                    </a:lnTo>
                    <a:lnTo>
                      <a:pt x="2235" y="1"/>
                    </a:lnTo>
                    <a:lnTo>
                      <a:pt x="2232" y="0"/>
                    </a:lnTo>
                    <a:lnTo>
                      <a:pt x="2229" y="3"/>
                    </a:lnTo>
                    <a:lnTo>
                      <a:pt x="2227" y="9"/>
                    </a:lnTo>
                    <a:lnTo>
                      <a:pt x="2227" y="10"/>
                    </a:lnTo>
                    <a:lnTo>
                      <a:pt x="2227" y="12"/>
                    </a:lnTo>
                    <a:lnTo>
                      <a:pt x="2225" y="12"/>
                    </a:lnTo>
                    <a:lnTo>
                      <a:pt x="2224" y="12"/>
                    </a:lnTo>
                    <a:lnTo>
                      <a:pt x="2223" y="12"/>
                    </a:lnTo>
                    <a:lnTo>
                      <a:pt x="2223" y="14"/>
                    </a:lnTo>
                    <a:lnTo>
                      <a:pt x="2223" y="15"/>
                    </a:lnTo>
                    <a:lnTo>
                      <a:pt x="2224" y="17"/>
                    </a:lnTo>
                    <a:lnTo>
                      <a:pt x="2227" y="18"/>
                    </a:lnTo>
                    <a:lnTo>
                      <a:pt x="2228" y="18"/>
                    </a:lnTo>
                    <a:lnTo>
                      <a:pt x="2230" y="20"/>
                    </a:lnTo>
                    <a:lnTo>
                      <a:pt x="2230" y="23"/>
                    </a:lnTo>
                    <a:lnTo>
                      <a:pt x="2232" y="26"/>
                    </a:lnTo>
                    <a:lnTo>
                      <a:pt x="2225" y="28"/>
                    </a:lnTo>
                    <a:lnTo>
                      <a:pt x="2224" y="29"/>
                    </a:lnTo>
                    <a:lnTo>
                      <a:pt x="2222" y="29"/>
                    </a:lnTo>
                    <a:lnTo>
                      <a:pt x="2216" y="31"/>
                    </a:lnTo>
                    <a:lnTo>
                      <a:pt x="2215" y="31"/>
                    </a:lnTo>
                    <a:lnTo>
                      <a:pt x="2213" y="31"/>
                    </a:lnTo>
                    <a:lnTo>
                      <a:pt x="2213" y="32"/>
                    </a:lnTo>
                    <a:lnTo>
                      <a:pt x="2210" y="32"/>
                    </a:lnTo>
                    <a:lnTo>
                      <a:pt x="2204" y="33"/>
                    </a:lnTo>
                    <a:lnTo>
                      <a:pt x="2200" y="34"/>
                    </a:lnTo>
                    <a:lnTo>
                      <a:pt x="2199" y="36"/>
                    </a:lnTo>
                    <a:lnTo>
                      <a:pt x="2197" y="38"/>
                    </a:lnTo>
                    <a:lnTo>
                      <a:pt x="2196" y="45"/>
                    </a:lnTo>
                    <a:lnTo>
                      <a:pt x="2195" y="46"/>
                    </a:lnTo>
                    <a:lnTo>
                      <a:pt x="2191" y="47"/>
                    </a:lnTo>
                    <a:lnTo>
                      <a:pt x="2190" y="48"/>
                    </a:lnTo>
                    <a:lnTo>
                      <a:pt x="2190" y="50"/>
                    </a:lnTo>
                    <a:lnTo>
                      <a:pt x="2190" y="51"/>
                    </a:lnTo>
                    <a:lnTo>
                      <a:pt x="2189" y="52"/>
                    </a:lnTo>
                    <a:lnTo>
                      <a:pt x="2189" y="51"/>
                    </a:lnTo>
                    <a:lnTo>
                      <a:pt x="2182" y="45"/>
                    </a:lnTo>
                    <a:lnTo>
                      <a:pt x="2182" y="43"/>
                    </a:lnTo>
                    <a:lnTo>
                      <a:pt x="2182" y="39"/>
                    </a:lnTo>
                    <a:lnTo>
                      <a:pt x="2180" y="36"/>
                    </a:lnTo>
                    <a:lnTo>
                      <a:pt x="2180" y="32"/>
                    </a:lnTo>
                    <a:lnTo>
                      <a:pt x="2181" y="29"/>
                    </a:lnTo>
                    <a:lnTo>
                      <a:pt x="2181" y="28"/>
                    </a:lnTo>
                    <a:lnTo>
                      <a:pt x="2180" y="28"/>
                    </a:lnTo>
                    <a:lnTo>
                      <a:pt x="2178" y="28"/>
                    </a:lnTo>
                    <a:lnTo>
                      <a:pt x="2173" y="27"/>
                    </a:lnTo>
                    <a:lnTo>
                      <a:pt x="2170" y="27"/>
                    </a:lnTo>
                    <a:lnTo>
                      <a:pt x="2153" y="37"/>
                    </a:lnTo>
                    <a:lnTo>
                      <a:pt x="2152" y="43"/>
                    </a:lnTo>
                    <a:lnTo>
                      <a:pt x="2149" y="52"/>
                    </a:lnTo>
                    <a:lnTo>
                      <a:pt x="2148" y="57"/>
                    </a:lnTo>
                    <a:lnTo>
                      <a:pt x="2148" y="58"/>
                    </a:lnTo>
                    <a:lnTo>
                      <a:pt x="2149" y="66"/>
                    </a:lnTo>
                    <a:lnTo>
                      <a:pt x="2151" y="70"/>
                    </a:lnTo>
                    <a:lnTo>
                      <a:pt x="2151" y="71"/>
                    </a:lnTo>
                    <a:lnTo>
                      <a:pt x="2149" y="71"/>
                    </a:lnTo>
                    <a:lnTo>
                      <a:pt x="2144" y="75"/>
                    </a:lnTo>
                    <a:lnTo>
                      <a:pt x="2142" y="76"/>
                    </a:lnTo>
                    <a:lnTo>
                      <a:pt x="2132" y="74"/>
                    </a:lnTo>
                    <a:lnTo>
                      <a:pt x="2130" y="74"/>
                    </a:lnTo>
                    <a:lnTo>
                      <a:pt x="2129" y="74"/>
                    </a:lnTo>
                    <a:lnTo>
                      <a:pt x="2124" y="79"/>
                    </a:lnTo>
                    <a:lnTo>
                      <a:pt x="2119" y="81"/>
                    </a:lnTo>
                    <a:lnTo>
                      <a:pt x="2119" y="83"/>
                    </a:lnTo>
                    <a:lnTo>
                      <a:pt x="2116" y="89"/>
                    </a:lnTo>
                    <a:lnTo>
                      <a:pt x="2115" y="90"/>
                    </a:lnTo>
                    <a:lnTo>
                      <a:pt x="2113" y="93"/>
                    </a:lnTo>
                    <a:lnTo>
                      <a:pt x="2110" y="94"/>
                    </a:lnTo>
                    <a:lnTo>
                      <a:pt x="2109" y="93"/>
                    </a:lnTo>
                    <a:lnTo>
                      <a:pt x="2106" y="93"/>
                    </a:lnTo>
                    <a:lnTo>
                      <a:pt x="2104" y="90"/>
                    </a:lnTo>
                    <a:lnTo>
                      <a:pt x="2102" y="90"/>
                    </a:lnTo>
                    <a:lnTo>
                      <a:pt x="2101" y="91"/>
                    </a:lnTo>
                    <a:lnTo>
                      <a:pt x="2095" y="98"/>
                    </a:lnTo>
                    <a:lnTo>
                      <a:pt x="2095" y="99"/>
                    </a:lnTo>
                    <a:lnTo>
                      <a:pt x="2094" y="99"/>
                    </a:lnTo>
                    <a:lnTo>
                      <a:pt x="2091" y="95"/>
                    </a:lnTo>
                    <a:lnTo>
                      <a:pt x="2086" y="95"/>
                    </a:lnTo>
                    <a:lnTo>
                      <a:pt x="2083" y="97"/>
                    </a:lnTo>
                    <a:lnTo>
                      <a:pt x="2081" y="99"/>
                    </a:lnTo>
                    <a:lnTo>
                      <a:pt x="2078" y="104"/>
                    </a:lnTo>
                    <a:lnTo>
                      <a:pt x="2077" y="105"/>
                    </a:lnTo>
                    <a:lnTo>
                      <a:pt x="2073" y="113"/>
                    </a:lnTo>
                    <a:lnTo>
                      <a:pt x="2073" y="118"/>
                    </a:lnTo>
                    <a:lnTo>
                      <a:pt x="2072" y="119"/>
                    </a:lnTo>
                    <a:lnTo>
                      <a:pt x="2072" y="124"/>
                    </a:lnTo>
                    <a:lnTo>
                      <a:pt x="2073" y="129"/>
                    </a:lnTo>
                    <a:lnTo>
                      <a:pt x="2066" y="133"/>
                    </a:lnTo>
                    <a:lnTo>
                      <a:pt x="2064" y="133"/>
                    </a:lnTo>
                    <a:lnTo>
                      <a:pt x="2061" y="135"/>
                    </a:lnTo>
                    <a:lnTo>
                      <a:pt x="2057" y="121"/>
                    </a:lnTo>
                    <a:lnTo>
                      <a:pt x="2054" y="117"/>
                    </a:lnTo>
                    <a:lnTo>
                      <a:pt x="2054" y="116"/>
                    </a:lnTo>
                    <a:lnTo>
                      <a:pt x="2053" y="116"/>
                    </a:lnTo>
                    <a:lnTo>
                      <a:pt x="2050" y="114"/>
                    </a:lnTo>
                    <a:lnTo>
                      <a:pt x="2047" y="114"/>
                    </a:lnTo>
                    <a:lnTo>
                      <a:pt x="2045" y="114"/>
                    </a:lnTo>
                    <a:lnTo>
                      <a:pt x="2045" y="113"/>
                    </a:lnTo>
                    <a:lnTo>
                      <a:pt x="2045" y="112"/>
                    </a:lnTo>
                    <a:lnTo>
                      <a:pt x="2045" y="109"/>
                    </a:lnTo>
                    <a:lnTo>
                      <a:pt x="2045" y="108"/>
                    </a:lnTo>
                    <a:lnTo>
                      <a:pt x="2043" y="107"/>
                    </a:lnTo>
                    <a:lnTo>
                      <a:pt x="2042" y="107"/>
                    </a:lnTo>
                    <a:lnTo>
                      <a:pt x="2042" y="108"/>
                    </a:lnTo>
                    <a:lnTo>
                      <a:pt x="2040" y="109"/>
                    </a:lnTo>
                    <a:lnTo>
                      <a:pt x="2040" y="110"/>
                    </a:lnTo>
                    <a:lnTo>
                      <a:pt x="2039" y="112"/>
                    </a:lnTo>
                    <a:lnTo>
                      <a:pt x="2038" y="110"/>
                    </a:lnTo>
                    <a:lnTo>
                      <a:pt x="2034" y="108"/>
                    </a:lnTo>
                    <a:lnTo>
                      <a:pt x="2034" y="107"/>
                    </a:lnTo>
                    <a:lnTo>
                      <a:pt x="2035" y="104"/>
                    </a:lnTo>
                    <a:lnTo>
                      <a:pt x="2038" y="102"/>
                    </a:lnTo>
                    <a:lnTo>
                      <a:pt x="2042" y="100"/>
                    </a:lnTo>
                    <a:lnTo>
                      <a:pt x="2042" y="99"/>
                    </a:lnTo>
                    <a:lnTo>
                      <a:pt x="2043" y="98"/>
                    </a:lnTo>
                    <a:lnTo>
                      <a:pt x="2043" y="95"/>
                    </a:lnTo>
                    <a:lnTo>
                      <a:pt x="2039" y="95"/>
                    </a:lnTo>
                    <a:lnTo>
                      <a:pt x="2038" y="95"/>
                    </a:lnTo>
                    <a:lnTo>
                      <a:pt x="2035" y="94"/>
                    </a:lnTo>
                    <a:lnTo>
                      <a:pt x="2034" y="94"/>
                    </a:lnTo>
                    <a:lnTo>
                      <a:pt x="2031" y="98"/>
                    </a:lnTo>
                    <a:lnTo>
                      <a:pt x="2030" y="98"/>
                    </a:lnTo>
                    <a:lnTo>
                      <a:pt x="2029" y="97"/>
                    </a:lnTo>
                    <a:lnTo>
                      <a:pt x="2028" y="97"/>
                    </a:lnTo>
                    <a:lnTo>
                      <a:pt x="2026" y="95"/>
                    </a:lnTo>
                    <a:lnTo>
                      <a:pt x="2026" y="94"/>
                    </a:lnTo>
                    <a:lnTo>
                      <a:pt x="2026" y="93"/>
                    </a:lnTo>
                    <a:lnTo>
                      <a:pt x="2028" y="91"/>
                    </a:lnTo>
                    <a:lnTo>
                      <a:pt x="2028" y="90"/>
                    </a:lnTo>
                    <a:lnTo>
                      <a:pt x="2026" y="90"/>
                    </a:lnTo>
                    <a:lnTo>
                      <a:pt x="2020" y="90"/>
                    </a:lnTo>
                    <a:lnTo>
                      <a:pt x="2014" y="90"/>
                    </a:lnTo>
                    <a:lnTo>
                      <a:pt x="2005" y="90"/>
                    </a:lnTo>
                    <a:lnTo>
                      <a:pt x="1999" y="90"/>
                    </a:lnTo>
                    <a:lnTo>
                      <a:pt x="1997" y="90"/>
                    </a:lnTo>
                    <a:lnTo>
                      <a:pt x="1996" y="90"/>
                    </a:lnTo>
                    <a:lnTo>
                      <a:pt x="1993" y="91"/>
                    </a:lnTo>
                    <a:lnTo>
                      <a:pt x="1990" y="90"/>
                    </a:lnTo>
                    <a:lnTo>
                      <a:pt x="1987" y="90"/>
                    </a:lnTo>
                    <a:lnTo>
                      <a:pt x="1976" y="90"/>
                    </a:lnTo>
                    <a:lnTo>
                      <a:pt x="1971" y="89"/>
                    </a:lnTo>
                    <a:lnTo>
                      <a:pt x="1968" y="89"/>
                    </a:lnTo>
                    <a:lnTo>
                      <a:pt x="1966" y="84"/>
                    </a:lnTo>
                    <a:lnTo>
                      <a:pt x="1955" y="84"/>
                    </a:lnTo>
                    <a:lnTo>
                      <a:pt x="1954" y="90"/>
                    </a:lnTo>
                    <a:lnTo>
                      <a:pt x="1948" y="90"/>
                    </a:lnTo>
                    <a:lnTo>
                      <a:pt x="1945" y="91"/>
                    </a:lnTo>
                    <a:lnTo>
                      <a:pt x="1943" y="91"/>
                    </a:lnTo>
                    <a:lnTo>
                      <a:pt x="1942" y="91"/>
                    </a:lnTo>
                    <a:lnTo>
                      <a:pt x="1940" y="93"/>
                    </a:lnTo>
                    <a:lnTo>
                      <a:pt x="1940" y="94"/>
                    </a:lnTo>
                    <a:lnTo>
                      <a:pt x="1936" y="99"/>
                    </a:lnTo>
                    <a:lnTo>
                      <a:pt x="1935" y="102"/>
                    </a:lnTo>
                    <a:lnTo>
                      <a:pt x="1935" y="103"/>
                    </a:lnTo>
                    <a:lnTo>
                      <a:pt x="1934" y="105"/>
                    </a:lnTo>
                    <a:lnTo>
                      <a:pt x="1933" y="105"/>
                    </a:lnTo>
                    <a:lnTo>
                      <a:pt x="1929" y="105"/>
                    </a:lnTo>
                    <a:lnTo>
                      <a:pt x="1928" y="105"/>
                    </a:lnTo>
                    <a:lnTo>
                      <a:pt x="1926" y="104"/>
                    </a:lnTo>
                    <a:lnTo>
                      <a:pt x="1921" y="100"/>
                    </a:lnTo>
                    <a:lnTo>
                      <a:pt x="1921" y="99"/>
                    </a:lnTo>
                    <a:lnTo>
                      <a:pt x="1912" y="99"/>
                    </a:lnTo>
                    <a:lnTo>
                      <a:pt x="1911" y="93"/>
                    </a:lnTo>
                    <a:lnTo>
                      <a:pt x="1909" y="90"/>
                    </a:lnTo>
                    <a:lnTo>
                      <a:pt x="1906" y="89"/>
                    </a:lnTo>
                    <a:lnTo>
                      <a:pt x="1892" y="89"/>
                    </a:lnTo>
                    <a:lnTo>
                      <a:pt x="1891" y="89"/>
                    </a:lnTo>
                    <a:lnTo>
                      <a:pt x="1890" y="89"/>
                    </a:lnTo>
                    <a:lnTo>
                      <a:pt x="1886" y="90"/>
                    </a:lnTo>
                    <a:lnTo>
                      <a:pt x="1874" y="90"/>
                    </a:lnTo>
                    <a:lnTo>
                      <a:pt x="1869" y="86"/>
                    </a:lnTo>
                    <a:lnTo>
                      <a:pt x="1859" y="86"/>
                    </a:lnTo>
                    <a:lnTo>
                      <a:pt x="1843" y="85"/>
                    </a:lnTo>
                    <a:lnTo>
                      <a:pt x="1840" y="85"/>
                    </a:lnTo>
                    <a:lnTo>
                      <a:pt x="1839" y="85"/>
                    </a:lnTo>
                    <a:lnTo>
                      <a:pt x="1831" y="85"/>
                    </a:lnTo>
                    <a:lnTo>
                      <a:pt x="1824" y="85"/>
                    </a:lnTo>
                    <a:lnTo>
                      <a:pt x="1819" y="85"/>
                    </a:lnTo>
                    <a:lnTo>
                      <a:pt x="1815" y="85"/>
                    </a:lnTo>
                    <a:lnTo>
                      <a:pt x="1814" y="94"/>
                    </a:lnTo>
                    <a:lnTo>
                      <a:pt x="1803" y="94"/>
                    </a:lnTo>
                    <a:lnTo>
                      <a:pt x="1798" y="94"/>
                    </a:lnTo>
                    <a:lnTo>
                      <a:pt x="1792" y="93"/>
                    </a:lnTo>
                    <a:lnTo>
                      <a:pt x="1778" y="93"/>
                    </a:lnTo>
                    <a:lnTo>
                      <a:pt x="1758" y="90"/>
                    </a:lnTo>
                    <a:lnTo>
                      <a:pt x="1746" y="90"/>
                    </a:lnTo>
                    <a:lnTo>
                      <a:pt x="1724" y="90"/>
                    </a:lnTo>
                    <a:lnTo>
                      <a:pt x="1722" y="90"/>
                    </a:lnTo>
                    <a:lnTo>
                      <a:pt x="1721" y="89"/>
                    </a:lnTo>
                    <a:lnTo>
                      <a:pt x="1715" y="90"/>
                    </a:lnTo>
                    <a:lnTo>
                      <a:pt x="1710" y="90"/>
                    </a:lnTo>
                    <a:lnTo>
                      <a:pt x="1706" y="90"/>
                    </a:lnTo>
                    <a:lnTo>
                      <a:pt x="1705" y="90"/>
                    </a:lnTo>
                    <a:lnTo>
                      <a:pt x="1701" y="90"/>
                    </a:lnTo>
                    <a:lnTo>
                      <a:pt x="1694" y="90"/>
                    </a:lnTo>
                    <a:lnTo>
                      <a:pt x="1688" y="90"/>
                    </a:lnTo>
                    <a:lnTo>
                      <a:pt x="1678" y="90"/>
                    </a:lnTo>
                    <a:lnTo>
                      <a:pt x="1672" y="86"/>
                    </a:lnTo>
                    <a:lnTo>
                      <a:pt x="1670" y="84"/>
                    </a:lnTo>
                    <a:lnTo>
                      <a:pt x="1664" y="80"/>
                    </a:lnTo>
                    <a:lnTo>
                      <a:pt x="1663" y="79"/>
                    </a:lnTo>
                    <a:lnTo>
                      <a:pt x="1661" y="78"/>
                    </a:lnTo>
                    <a:lnTo>
                      <a:pt x="1660" y="76"/>
                    </a:lnTo>
                    <a:lnTo>
                      <a:pt x="1658" y="76"/>
                    </a:lnTo>
                    <a:lnTo>
                      <a:pt x="1651" y="76"/>
                    </a:lnTo>
                    <a:lnTo>
                      <a:pt x="1646" y="76"/>
                    </a:lnTo>
                    <a:lnTo>
                      <a:pt x="1640" y="78"/>
                    </a:lnTo>
                    <a:lnTo>
                      <a:pt x="1634" y="78"/>
                    </a:lnTo>
                    <a:lnTo>
                      <a:pt x="1631" y="78"/>
                    </a:lnTo>
                    <a:lnTo>
                      <a:pt x="1622" y="76"/>
                    </a:lnTo>
                    <a:lnTo>
                      <a:pt x="1616" y="78"/>
                    </a:lnTo>
                    <a:lnTo>
                      <a:pt x="1611" y="76"/>
                    </a:lnTo>
                    <a:lnTo>
                      <a:pt x="1584" y="76"/>
                    </a:lnTo>
                    <a:lnTo>
                      <a:pt x="1583" y="79"/>
                    </a:lnTo>
                    <a:lnTo>
                      <a:pt x="1583" y="81"/>
                    </a:lnTo>
                    <a:lnTo>
                      <a:pt x="1584" y="84"/>
                    </a:lnTo>
                    <a:lnTo>
                      <a:pt x="1584" y="85"/>
                    </a:lnTo>
                    <a:lnTo>
                      <a:pt x="1583" y="88"/>
                    </a:lnTo>
                    <a:lnTo>
                      <a:pt x="1583" y="90"/>
                    </a:lnTo>
                    <a:lnTo>
                      <a:pt x="1582" y="91"/>
                    </a:lnTo>
                    <a:lnTo>
                      <a:pt x="1573" y="90"/>
                    </a:lnTo>
                    <a:lnTo>
                      <a:pt x="1569" y="90"/>
                    </a:lnTo>
                    <a:lnTo>
                      <a:pt x="1568" y="91"/>
                    </a:lnTo>
                    <a:lnTo>
                      <a:pt x="1563" y="89"/>
                    </a:lnTo>
                    <a:lnTo>
                      <a:pt x="1555" y="86"/>
                    </a:lnTo>
                    <a:lnTo>
                      <a:pt x="1553" y="86"/>
                    </a:lnTo>
                    <a:lnTo>
                      <a:pt x="1549" y="88"/>
                    </a:lnTo>
                    <a:lnTo>
                      <a:pt x="1528" y="93"/>
                    </a:lnTo>
                    <a:lnTo>
                      <a:pt x="1527" y="94"/>
                    </a:lnTo>
                    <a:lnTo>
                      <a:pt x="1523" y="95"/>
                    </a:lnTo>
                    <a:lnTo>
                      <a:pt x="1521" y="97"/>
                    </a:lnTo>
                    <a:lnTo>
                      <a:pt x="1508" y="98"/>
                    </a:lnTo>
                    <a:lnTo>
                      <a:pt x="1506" y="97"/>
                    </a:lnTo>
                    <a:lnTo>
                      <a:pt x="1504" y="97"/>
                    </a:lnTo>
                    <a:lnTo>
                      <a:pt x="1501" y="94"/>
                    </a:lnTo>
                    <a:lnTo>
                      <a:pt x="1494" y="94"/>
                    </a:lnTo>
                    <a:lnTo>
                      <a:pt x="1484" y="94"/>
                    </a:lnTo>
                    <a:lnTo>
                      <a:pt x="1475" y="94"/>
                    </a:lnTo>
                    <a:lnTo>
                      <a:pt x="1471" y="95"/>
                    </a:lnTo>
                    <a:lnTo>
                      <a:pt x="1465" y="94"/>
                    </a:lnTo>
                    <a:lnTo>
                      <a:pt x="1438" y="94"/>
                    </a:lnTo>
                    <a:lnTo>
                      <a:pt x="1433" y="94"/>
                    </a:lnTo>
                    <a:lnTo>
                      <a:pt x="1431" y="94"/>
                    </a:lnTo>
                    <a:lnTo>
                      <a:pt x="1428" y="94"/>
                    </a:lnTo>
                    <a:lnTo>
                      <a:pt x="1413" y="95"/>
                    </a:lnTo>
                    <a:lnTo>
                      <a:pt x="1397" y="97"/>
                    </a:lnTo>
                    <a:lnTo>
                      <a:pt x="1392" y="95"/>
                    </a:lnTo>
                    <a:lnTo>
                      <a:pt x="1383" y="95"/>
                    </a:lnTo>
                    <a:lnTo>
                      <a:pt x="1378" y="95"/>
                    </a:lnTo>
                    <a:lnTo>
                      <a:pt x="1357" y="97"/>
                    </a:lnTo>
                    <a:lnTo>
                      <a:pt x="1356" y="97"/>
                    </a:lnTo>
                    <a:lnTo>
                      <a:pt x="1355" y="97"/>
                    </a:lnTo>
                    <a:lnTo>
                      <a:pt x="1354" y="97"/>
                    </a:lnTo>
                    <a:lnTo>
                      <a:pt x="1351" y="97"/>
                    </a:lnTo>
                    <a:lnTo>
                      <a:pt x="1345" y="97"/>
                    </a:lnTo>
                    <a:lnTo>
                      <a:pt x="1333" y="97"/>
                    </a:lnTo>
                    <a:lnTo>
                      <a:pt x="1328" y="97"/>
                    </a:lnTo>
                    <a:lnTo>
                      <a:pt x="1316" y="97"/>
                    </a:lnTo>
                    <a:lnTo>
                      <a:pt x="1308" y="97"/>
                    </a:lnTo>
                    <a:lnTo>
                      <a:pt x="1303" y="97"/>
                    </a:lnTo>
                    <a:lnTo>
                      <a:pt x="1290" y="95"/>
                    </a:lnTo>
                    <a:lnTo>
                      <a:pt x="1286" y="94"/>
                    </a:lnTo>
                    <a:lnTo>
                      <a:pt x="1284" y="94"/>
                    </a:lnTo>
                    <a:lnTo>
                      <a:pt x="1280" y="94"/>
                    </a:lnTo>
                    <a:lnTo>
                      <a:pt x="1274" y="93"/>
                    </a:lnTo>
                    <a:lnTo>
                      <a:pt x="1270" y="93"/>
                    </a:lnTo>
                    <a:lnTo>
                      <a:pt x="1265" y="93"/>
                    </a:lnTo>
                    <a:lnTo>
                      <a:pt x="1257" y="91"/>
                    </a:lnTo>
                    <a:lnTo>
                      <a:pt x="1255" y="91"/>
                    </a:lnTo>
                    <a:lnTo>
                      <a:pt x="1252" y="91"/>
                    </a:lnTo>
                    <a:lnTo>
                      <a:pt x="1252" y="93"/>
                    </a:lnTo>
                    <a:lnTo>
                      <a:pt x="1245" y="93"/>
                    </a:lnTo>
                    <a:lnTo>
                      <a:pt x="1235" y="93"/>
                    </a:lnTo>
                    <a:lnTo>
                      <a:pt x="1228" y="93"/>
                    </a:lnTo>
                    <a:lnTo>
                      <a:pt x="1215" y="94"/>
                    </a:lnTo>
                    <a:lnTo>
                      <a:pt x="1204" y="94"/>
                    </a:lnTo>
                    <a:lnTo>
                      <a:pt x="1203" y="94"/>
                    </a:lnTo>
                    <a:lnTo>
                      <a:pt x="1199" y="93"/>
                    </a:lnTo>
                    <a:lnTo>
                      <a:pt x="1198" y="93"/>
                    </a:lnTo>
                    <a:lnTo>
                      <a:pt x="1189" y="93"/>
                    </a:lnTo>
                    <a:lnTo>
                      <a:pt x="1181" y="93"/>
                    </a:lnTo>
                    <a:lnTo>
                      <a:pt x="1167" y="93"/>
                    </a:lnTo>
                    <a:lnTo>
                      <a:pt x="1161" y="93"/>
                    </a:lnTo>
                    <a:lnTo>
                      <a:pt x="1132" y="94"/>
                    </a:lnTo>
                    <a:lnTo>
                      <a:pt x="1124" y="93"/>
                    </a:lnTo>
                    <a:lnTo>
                      <a:pt x="1119" y="91"/>
                    </a:lnTo>
                    <a:lnTo>
                      <a:pt x="1118" y="91"/>
                    </a:lnTo>
                    <a:lnTo>
                      <a:pt x="1109" y="91"/>
                    </a:lnTo>
                    <a:lnTo>
                      <a:pt x="1107" y="91"/>
                    </a:lnTo>
                    <a:lnTo>
                      <a:pt x="1096" y="90"/>
                    </a:lnTo>
                    <a:lnTo>
                      <a:pt x="1095" y="89"/>
                    </a:lnTo>
                    <a:lnTo>
                      <a:pt x="1094" y="89"/>
                    </a:lnTo>
                    <a:lnTo>
                      <a:pt x="1088" y="89"/>
                    </a:lnTo>
                    <a:lnTo>
                      <a:pt x="1081" y="88"/>
                    </a:lnTo>
                    <a:lnTo>
                      <a:pt x="1080" y="88"/>
                    </a:lnTo>
                    <a:lnTo>
                      <a:pt x="1069" y="88"/>
                    </a:lnTo>
                    <a:lnTo>
                      <a:pt x="1050" y="89"/>
                    </a:lnTo>
                    <a:lnTo>
                      <a:pt x="1047" y="89"/>
                    </a:lnTo>
                    <a:lnTo>
                      <a:pt x="1037" y="88"/>
                    </a:lnTo>
                    <a:lnTo>
                      <a:pt x="1036" y="88"/>
                    </a:lnTo>
                    <a:lnTo>
                      <a:pt x="1033" y="88"/>
                    </a:lnTo>
                    <a:lnTo>
                      <a:pt x="1029" y="88"/>
                    </a:lnTo>
                    <a:lnTo>
                      <a:pt x="1028" y="88"/>
                    </a:lnTo>
                    <a:lnTo>
                      <a:pt x="1027" y="88"/>
                    </a:lnTo>
                    <a:lnTo>
                      <a:pt x="1025" y="88"/>
                    </a:lnTo>
                    <a:lnTo>
                      <a:pt x="1022" y="88"/>
                    </a:lnTo>
                    <a:lnTo>
                      <a:pt x="1014" y="88"/>
                    </a:lnTo>
                    <a:lnTo>
                      <a:pt x="1010" y="86"/>
                    </a:lnTo>
                    <a:lnTo>
                      <a:pt x="1009" y="86"/>
                    </a:lnTo>
                    <a:lnTo>
                      <a:pt x="1005" y="86"/>
                    </a:lnTo>
                    <a:lnTo>
                      <a:pt x="1000" y="84"/>
                    </a:lnTo>
                    <a:lnTo>
                      <a:pt x="995" y="84"/>
                    </a:lnTo>
                    <a:lnTo>
                      <a:pt x="981" y="84"/>
                    </a:lnTo>
                    <a:lnTo>
                      <a:pt x="977" y="84"/>
                    </a:lnTo>
                    <a:lnTo>
                      <a:pt x="970" y="84"/>
                    </a:lnTo>
                    <a:lnTo>
                      <a:pt x="968" y="85"/>
                    </a:lnTo>
                    <a:lnTo>
                      <a:pt x="968" y="86"/>
                    </a:lnTo>
                    <a:lnTo>
                      <a:pt x="967" y="90"/>
                    </a:lnTo>
                    <a:lnTo>
                      <a:pt x="966" y="95"/>
                    </a:lnTo>
                    <a:lnTo>
                      <a:pt x="966" y="97"/>
                    </a:lnTo>
                    <a:lnTo>
                      <a:pt x="966" y="98"/>
                    </a:lnTo>
                    <a:lnTo>
                      <a:pt x="966" y="99"/>
                    </a:lnTo>
                    <a:lnTo>
                      <a:pt x="966" y="100"/>
                    </a:lnTo>
                    <a:lnTo>
                      <a:pt x="965" y="104"/>
                    </a:lnTo>
                    <a:lnTo>
                      <a:pt x="965" y="105"/>
                    </a:lnTo>
                    <a:lnTo>
                      <a:pt x="966" y="109"/>
                    </a:lnTo>
                    <a:lnTo>
                      <a:pt x="967" y="110"/>
                    </a:lnTo>
                    <a:lnTo>
                      <a:pt x="970" y="113"/>
                    </a:lnTo>
                    <a:lnTo>
                      <a:pt x="972" y="116"/>
                    </a:lnTo>
                    <a:lnTo>
                      <a:pt x="975" y="119"/>
                    </a:lnTo>
                    <a:lnTo>
                      <a:pt x="975" y="121"/>
                    </a:lnTo>
                    <a:lnTo>
                      <a:pt x="975" y="122"/>
                    </a:lnTo>
                    <a:lnTo>
                      <a:pt x="973" y="128"/>
                    </a:lnTo>
                    <a:lnTo>
                      <a:pt x="970" y="137"/>
                    </a:lnTo>
                    <a:lnTo>
                      <a:pt x="966" y="141"/>
                    </a:lnTo>
                    <a:lnTo>
                      <a:pt x="961" y="142"/>
                    </a:lnTo>
                    <a:lnTo>
                      <a:pt x="960" y="143"/>
                    </a:lnTo>
                    <a:lnTo>
                      <a:pt x="956" y="142"/>
                    </a:lnTo>
                    <a:lnTo>
                      <a:pt x="956" y="143"/>
                    </a:lnTo>
                    <a:lnTo>
                      <a:pt x="954" y="143"/>
                    </a:lnTo>
                    <a:lnTo>
                      <a:pt x="953" y="145"/>
                    </a:lnTo>
                    <a:lnTo>
                      <a:pt x="952" y="145"/>
                    </a:lnTo>
                    <a:lnTo>
                      <a:pt x="952" y="146"/>
                    </a:lnTo>
                    <a:lnTo>
                      <a:pt x="952" y="147"/>
                    </a:lnTo>
                    <a:lnTo>
                      <a:pt x="952" y="152"/>
                    </a:lnTo>
                    <a:lnTo>
                      <a:pt x="952" y="155"/>
                    </a:lnTo>
                    <a:lnTo>
                      <a:pt x="952" y="156"/>
                    </a:lnTo>
                    <a:lnTo>
                      <a:pt x="952" y="159"/>
                    </a:lnTo>
                    <a:lnTo>
                      <a:pt x="952" y="160"/>
                    </a:lnTo>
                    <a:lnTo>
                      <a:pt x="951" y="161"/>
                    </a:lnTo>
                    <a:lnTo>
                      <a:pt x="951" y="162"/>
                    </a:lnTo>
                    <a:lnTo>
                      <a:pt x="946" y="171"/>
                    </a:lnTo>
                    <a:lnTo>
                      <a:pt x="946" y="179"/>
                    </a:lnTo>
                    <a:lnTo>
                      <a:pt x="944" y="183"/>
                    </a:lnTo>
                    <a:lnTo>
                      <a:pt x="944" y="185"/>
                    </a:lnTo>
                    <a:lnTo>
                      <a:pt x="943" y="189"/>
                    </a:lnTo>
                    <a:lnTo>
                      <a:pt x="941" y="197"/>
                    </a:lnTo>
                    <a:lnTo>
                      <a:pt x="938" y="200"/>
                    </a:lnTo>
                    <a:lnTo>
                      <a:pt x="938" y="202"/>
                    </a:lnTo>
                    <a:lnTo>
                      <a:pt x="937" y="204"/>
                    </a:lnTo>
                    <a:lnTo>
                      <a:pt x="934" y="207"/>
                    </a:lnTo>
                    <a:lnTo>
                      <a:pt x="927" y="216"/>
                    </a:lnTo>
                    <a:lnTo>
                      <a:pt x="924" y="218"/>
                    </a:lnTo>
                    <a:lnTo>
                      <a:pt x="920" y="221"/>
                    </a:lnTo>
                    <a:lnTo>
                      <a:pt x="919" y="222"/>
                    </a:lnTo>
                    <a:lnTo>
                      <a:pt x="918" y="223"/>
                    </a:lnTo>
                    <a:lnTo>
                      <a:pt x="918" y="224"/>
                    </a:lnTo>
                    <a:lnTo>
                      <a:pt x="916" y="226"/>
                    </a:lnTo>
                    <a:lnTo>
                      <a:pt x="916" y="228"/>
                    </a:lnTo>
                    <a:lnTo>
                      <a:pt x="915" y="230"/>
                    </a:lnTo>
                    <a:lnTo>
                      <a:pt x="916" y="231"/>
                    </a:lnTo>
                    <a:lnTo>
                      <a:pt x="916" y="232"/>
                    </a:lnTo>
                    <a:lnTo>
                      <a:pt x="918" y="231"/>
                    </a:lnTo>
                    <a:lnTo>
                      <a:pt x="919" y="231"/>
                    </a:lnTo>
                    <a:lnTo>
                      <a:pt x="920" y="232"/>
                    </a:lnTo>
                    <a:lnTo>
                      <a:pt x="923" y="235"/>
                    </a:lnTo>
                    <a:lnTo>
                      <a:pt x="929" y="236"/>
                    </a:lnTo>
                    <a:lnTo>
                      <a:pt x="932" y="237"/>
                    </a:lnTo>
                    <a:lnTo>
                      <a:pt x="932" y="240"/>
                    </a:lnTo>
                    <a:lnTo>
                      <a:pt x="932" y="241"/>
                    </a:lnTo>
                    <a:lnTo>
                      <a:pt x="930" y="242"/>
                    </a:lnTo>
                    <a:lnTo>
                      <a:pt x="929" y="246"/>
                    </a:lnTo>
                    <a:lnTo>
                      <a:pt x="929" y="250"/>
                    </a:lnTo>
                    <a:lnTo>
                      <a:pt x="927" y="254"/>
                    </a:lnTo>
                    <a:lnTo>
                      <a:pt x="920" y="259"/>
                    </a:lnTo>
                    <a:lnTo>
                      <a:pt x="916" y="261"/>
                    </a:lnTo>
                    <a:lnTo>
                      <a:pt x="916" y="263"/>
                    </a:lnTo>
                    <a:lnTo>
                      <a:pt x="915" y="264"/>
                    </a:lnTo>
                    <a:lnTo>
                      <a:pt x="915" y="266"/>
                    </a:lnTo>
                    <a:lnTo>
                      <a:pt x="915" y="269"/>
                    </a:lnTo>
                    <a:lnTo>
                      <a:pt x="916" y="276"/>
                    </a:lnTo>
                    <a:lnTo>
                      <a:pt x="924" y="290"/>
                    </a:lnTo>
                    <a:lnTo>
                      <a:pt x="928" y="299"/>
                    </a:lnTo>
                    <a:lnTo>
                      <a:pt x="930" y="304"/>
                    </a:lnTo>
                    <a:lnTo>
                      <a:pt x="934" y="309"/>
                    </a:lnTo>
                    <a:lnTo>
                      <a:pt x="935" y="318"/>
                    </a:lnTo>
                    <a:lnTo>
                      <a:pt x="938" y="327"/>
                    </a:lnTo>
                    <a:lnTo>
                      <a:pt x="941" y="330"/>
                    </a:lnTo>
                    <a:lnTo>
                      <a:pt x="943" y="333"/>
                    </a:lnTo>
                    <a:lnTo>
                      <a:pt x="946" y="336"/>
                    </a:lnTo>
                    <a:lnTo>
                      <a:pt x="946" y="337"/>
                    </a:lnTo>
                    <a:lnTo>
                      <a:pt x="947" y="340"/>
                    </a:lnTo>
                    <a:lnTo>
                      <a:pt x="948" y="344"/>
                    </a:lnTo>
                    <a:lnTo>
                      <a:pt x="948" y="346"/>
                    </a:lnTo>
                    <a:lnTo>
                      <a:pt x="951" y="351"/>
                    </a:lnTo>
                    <a:lnTo>
                      <a:pt x="951" y="352"/>
                    </a:lnTo>
                    <a:lnTo>
                      <a:pt x="952" y="356"/>
                    </a:lnTo>
                    <a:lnTo>
                      <a:pt x="953" y="358"/>
                    </a:lnTo>
                    <a:lnTo>
                      <a:pt x="954" y="359"/>
                    </a:lnTo>
                    <a:lnTo>
                      <a:pt x="957" y="360"/>
                    </a:lnTo>
                    <a:lnTo>
                      <a:pt x="963" y="363"/>
                    </a:lnTo>
                    <a:lnTo>
                      <a:pt x="967" y="364"/>
                    </a:lnTo>
                    <a:lnTo>
                      <a:pt x="972" y="368"/>
                    </a:lnTo>
                    <a:lnTo>
                      <a:pt x="982" y="370"/>
                    </a:lnTo>
                    <a:lnTo>
                      <a:pt x="994" y="370"/>
                    </a:lnTo>
                    <a:lnTo>
                      <a:pt x="994" y="371"/>
                    </a:lnTo>
                    <a:lnTo>
                      <a:pt x="995" y="371"/>
                    </a:lnTo>
                    <a:lnTo>
                      <a:pt x="998" y="373"/>
                    </a:lnTo>
                    <a:lnTo>
                      <a:pt x="996" y="377"/>
                    </a:lnTo>
                    <a:lnTo>
                      <a:pt x="991" y="382"/>
                    </a:lnTo>
                    <a:lnTo>
                      <a:pt x="989" y="382"/>
                    </a:lnTo>
                    <a:lnTo>
                      <a:pt x="986" y="383"/>
                    </a:lnTo>
                    <a:lnTo>
                      <a:pt x="984" y="385"/>
                    </a:lnTo>
                    <a:lnTo>
                      <a:pt x="982" y="385"/>
                    </a:lnTo>
                    <a:lnTo>
                      <a:pt x="981" y="384"/>
                    </a:lnTo>
                    <a:lnTo>
                      <a:pt x="977" y="384"/>
                    </a:lnTo>
                    <a:lnTo>
                      <a:pt x="975" y="385"/>
                    </a:lnTo>
                    <a:lnTo>
                      <a:pt x="973" y="385"/>
                    </a:lnTo>
                    <a:lnTo>
                      <a:pt x="970" y="389"/>
                    </a:lnTo>
                    <a:lnTo>
                      <a:pt x="967" y="393"/>
                    </a:lnTo>
                    <a:lnTo>
                      <a:pt x="965" y="403"/>
                    </a:lnTo>
                    <a:lnTo>
                      <a:pt x="963" y="409"/>
                    </a:lnTo>
                    <a:lnTo>
                      <a:pt x="962" y="412"/>
                    </a:lnTo>
                    <a:lnTo>
                      <a:pt x="961" y="417"/>
                    </a:lnTo>
                    <a:lnTo>
                      <a:pt x="960" y="420"/>
                    </a:lnTo>
                    <a:lnTo>
                      <a:pt x="960" y="422"/>
                    </a:lnTo>
                    <a:lnTo>
                      <a:pt x="961" y="425"/>
                    </a:lnTo>
                    <a:lnTo>
                      <a:pt x="962" y="429"/>
                    </a:lnTo>
                    <a:lnTo>
                      <a:pt x="963" y="429"/>
                    </a:lnTo>
                    <a:lnTo>
                      <a:pt x="963" y="430"/>
                    </a:lnTo>
                    <a:lnTo>
                      <a:pt x="966" y="432"/>
                    </a:lnTo>
                    <a:lnTo>
                      <a:pt x="967" y="434"/>
                    </a:lnTo>
                    <a:lnTo>
                      <a:pt x="973" y="439"/>
                    </a:lnTo>
                    <a:lnTo>
                      <a:pt x="982" y="444"/>
                    </a:lnTo>
                    <a:lnTo>
                      <a:pt x="985" y="445"/>
                    </a:lnTo>
                    <a:lnTo>
                      <a:pt x="998" y="449"/>
                    </a:lnTo>
                    <a:lnTo>
                      <a:pt x="1001" y="453"/>
                    </a:lnTo>
                    <a:lnTo>
                      <a:pt x="1003" y="454"/>
                    </a:lnTo>
                    <a:lnTo>
                      <a:pt x="1004" y="458"/>
                    </a:lnTo>
                    <a:lnTo>
                      <a:pt x="1005" y="461"/>
                    </a:lnTo>
                    <a:lnTo>
                      <a:pt x="1004" y="465"/>
                    </a:lnTo>
                    <a:lnTo>
                      <a:pt x="1001" y="470"/>
                    </a:lnTo>
                    <a:lnTo>
                      <a:pt x="1001" y="472"/>
                    </a:lnTo>
                    <a:lnTo>
                      <a:pt x="990" y="483"/>
                    </a:lnTo>
                    <a:lnTo>
                      <a:pt x="989" y="483"/>
                    </a:lnTo>
                    <a:lnTo>
                      <a:pt x="986" y="489"/>
                    </a:lnTo>
                    <a:lnTo>
                      <a:pt x="986" y="491"/>
                    </a:lnTo>
                    <a:lnTo>
                      <a:pt x="987" y="492"/>
                    </a:lnTo>
                    <a:lnTo>
                      <a:pt x="987" y="494"/>
                    </a:lnTo>
                    <a:lnTo>
                      <a:pt x="987" y="501"/>
                    </a:lnTo>
                    <a:lnTo>
                      <a:pt x="989" y="503"/>
                    </a:lnTo>
                    <a:lnTo>
                      <a:pt x="991" y="512"/>
                    </a:lnTo>
                    <a:lnTo>
                      <a:pt x="991" y="515"/>
                    </a:lnTo>
                    <a:lnTo>
                      <a:pt x="990" y="518"/>
                    </a:lnTo>
                    <a:lnTo>
                      <a:pt x="989" y="526"/>
                    </a:lnTo>
                    <a:lnTo>
                      <a:pt x="990" y="539"/>
                    </a:lnTo>
                    <a:lnTo>
                      <a:pt x="990" y="540"/>
                    </a:lnTo>
                    <a:lnTo>
                      <a:pt x="990" y="544"/>
                    </a:lnTo>
                    <a:lnTo>
                      <a:pt x="990" y="553"/>
                    </a:lnTo>
                    <a:lnTo>
                      <a:pt x="994" y="562"/>
                    </a:lnTo>
                    <a:lnTo>
                      <a:pt x="994" y="565"/>
                    </a:lnTo>
                    <a:lnTo>
                      <a:pt x="995" y="567"/>
                    </a:lnTo>
                    <a:lnTo>
                      <a:pt x="1001" y="578"/>
                    </a:lnTo>
                    <a:lnTo>
                      <a:pt x="1003" y="581"/>
                    </a:lnTo>
                    <a:lnTo>
                      <a:pt x="1005" y="588"/>
                    </a:lnTo>
                    <a:lnTo>
                      <a:pt x="1010" y="600"/>
                    </a:lnTo>
                    <a:lnTo>
                      <a:pt x="1010" y="605"/>
                    </a:lnTo>
                    <a:lnTo>
                      <a:pt x="1001" y="621"/>
                    </a:lnTo>
                    <a:lnTo>
                      <a:pt x="1000" y="624"/>
                    </a:lnTo>
                    <a:lnTo>
                      <a:pt x="1000" y="626"/>
                    </a:lnTo>
                    <a:lnTo>
                      <a:pt x="1000" y="627"/>
                    </a:lnTo>
                    <a:lnTo>
                      <a:pt x="1000" y="629"/>
                    </a:lnTo>
                    <a:lnTo>
                      <a:pt x="1000" y="630"/>
                    </a:lnTo>
                    <a:lnTo>
                      <a:pt x="1000" y="631"/>
                    </a:lnTo>
                    <a:lnTo>
                      <a:pt x="1004" y="643"/>
                    </a:lnTo>
                    <a:lnTo>
                      <a:pt x="1004" y="644"/>
                    </a:lnTo>
                    <a:lnTo>
                      <a:pt x="1004" y="645"/>
                    </a:lnTo>
                    <a:lnTo>
                      <a:pt x="1008" y="650"/>
                    </a:lnTo>
                    <a:lnTo>
                      <a:pt x="1009" y="652"/>
                    </a:lnTo>
                    <a:lnTo>
                      <a:pt x="1012" y="654"/>
                    </a:lnTo>
                    <a:lnTo>
                      <a:pt x="1017" y="660"/>
                    </a:lnTo>
                    <a:lnTo>
                      <a:pt x="1018" y="660"/>
                    </a:lnTo>
                    <a:lnTo>
                      <a:pt x="1018" y="663"/>
                    </a:lnTo>
                    <a:lnTo>
                      <a:pt x="1018" y="664"/>
                    </a:lnTo>
                    <a:lnTo>
                      <a:pt x="1018" y="667"/>
                    </a:lnTo>
                    <a:lnTo>
                      <a:pt x="1017" y="668"/>
                    </a:lnTo>
                    <a:lnTo>
                      <a:pt x="1015" y="669"/>
                    </a:lnTo>
                    <a:lnTo>
                      <a:pt x="1012" y="672"/>
                    </a:lnTo>
                    <a:lnTo>
                      <a:pt x="1006" y="676"/>
                    </a:lnTo>
                    <a:lnTo>
                      <a:pt x="1004" y="677"/>
                    </a:lnTo>
                    <a:lnTo>
                      <a:pt x="1001" y="679"/>
                    </a:lnTo>
                    <a:lnTo>
                      <a:pt x="996" y="688"/>
                    </a:lnTo>
                    <a:lnTo>
                      <a:pt x="996" y="690"/>
                    </a:lnTo>
                    <a:lnTo>
                      <a:pt x="995" y="693"/>
                    </a:lnTo>
                    <a:lnTo>
                      <a:pt x="994" y="697"/>
                    </a:lnTo>
                    <a:lnTo>
                      <a:pt x="989" y="703"/>
                    </a:lnTo>
                    <a:lnTo>
                      <a:pt x="987" y="706"/>
                    </a:lnTo>
                    <a:lnTo>
                      <a:pt x="989" y="709"/>
                    </a:lnTo>
                    <a:lnTo>
                      <a:pt x="990" y="711"/>
                    </a:lnTo>
                    <a:lnTo>
                      <a:pt x="990" y="714"/>
                    </a:lnTo>
                    <a:lnTo>
                      <a:pt x="990" y="715"/>
                    </a:lnTo>
                    <a:lnTo>
                      <a:pt x="990" y="716"/>
                    </a:lnTo>
                    <a:lnTo>
                      <a:pt x="989" y="724"/>
                    </a:lnTo>
                    <a:lnTo>
                      <a:pt x="990" y="728"/>
                    </a:lnTo>
                    <a:lnTo>
                      <a:pt x="991" y="729"/>
                    </a:lnTo>
                    <a:lnTo>
                      <a:pt x="993" y="731"/>
                    </a:lnTo>
                    <a:lnTo>
                      <a:pt x="996" y="733"/>
                    </a:lnTo>
                    <a:lnTo>
                      <a:pt x="1001" y="735"/>
                    </a:lnTo>
                    <a:lnTo>
                      <a:pt x="1005" y="739"/>
                    </a:lnTo>
                    <a:lnTo>
                      <a:pt x="1006" y="747"/>
                    </a:lnTo>
                    <a:lnTo>
                      <a:pt x="1006" y="748"/>
                    </a:lnTo>
                    <a:lnTo>
                      <a:pt x="1006" y="749"/>
                    </a:lnTo>
                    <a:lnTo>
                      <a:pt x="1008" y="752"/>
                    </a:lnTo>
                    <a:lnTo>
                      <a:pt x="1009" y="755"/>
                    </a:lnTo>
                    <a:lnTo>
                      <a:pt x="1008" y="758"/>
                    </a:lnTo>
                    <a:lnTo>
                      <a:pt x="1003" y="764"/>
                    </a:lnTo>
                    <a:lnTo>
                      <a:pt x="1000" y="771"/>
                    </a:lnTo>
                    <a:lnTo>
                      <a:pt x="998" y="777"/>
                    </a:lnTo>
                    <a:lnTo>
                      <a:pt x="996" y="783"/>
                    </a:lnTo>
                    <a:lnTo>
                      <a:pt x="998" y="787"/>
                    </a:lnTo>
                    <a:lnTo>
                      <a:pt x="1000" y="793"/>
                    </a:lnTo>
                    <a:lnTo>
                      <a:pt x="1003" y="797"/>
                    </a:lnTo>
                    <a:lnTo>
                      <a:pt x="1009" y="802"/>
                    </a:lnTo>
                    <a:lnTo>
                      <a:pt x="1013" y="805"/>
                    </a:lnTo>
                    <a:lnTo>
                      <a:pt x="1019" y="810"/>
                    </a:lnTo>
                    <a:lnTo>
                      <a:pt x="1027" y="812"/>
                    </a:lnTo>
                    <a:lnTo>
                      <a:pt x="1028" y="814"/>
                    </a:lnTo>
                    <a:lnTo>
                      <a:pt x="1029" y="814"/>
                    </a:lnTo>
                    <a:lnTo>
                      <a:pt x="1031" y="816"/>
                    </a:lnTo>
                    <a:lnTo>
                      <a:pt x="1036" y="821"/>
                    </a:lnTo>
                    <a:lnTo>
                      <a:pt x="1041" y="826"/>
                    </a:lnTo>
                    <a:lnTo>
                      <a:pt x="1041" y="828"/>
                    </a:lnTo>
                    <a:lnTo>
                      <a:pt x="1041" y="830"/>
                    </a:lnTo>
                    <a:lnTo>
                      <a:pt x="1041" y="831"/>
                    </a:lnTo>
                    <a:lnTo>
                      <a:pt x="1037" y="833"/>
                    </a:lnTo>
                    <a:lnTo>
                      <a:pt x="1036" y="834"/>
                    </a:lnTo>
                    <a:lnTo>
                      <a:pt x="1032" y="838"/>
                    </a:lnTo>
                    <a:lnTo>
                      <a:pt x="1023" y="849"/>
                    </a:lnTo>
                    <a:lnTo>
                      <a:pt x="1020" y="854"/>
                    </a:lnTo>
                    <a:lnTo>
                      <a:pt x="1019" y="856"/>
                    </a:lnTo>
                    <a:lnTo>
                      <a:pt x="1018" y="857"/>
                    </a:lnTo>
                    <a:lnTo>
                      <a:pt x="1017" y="859"/>
                    </a:lnTo>
                    <a:lnTo>
                      <a:pt x="1009" y="869"/>
                    </a:lnTo>
                    <a:lnTo>
                      <a:pt x="1004" y="873"/>
                    </a:lnTo>
                    <a:lnTo>
                      <a:pt x="1003" y="873"/>
                    </a:lnTo>
                    <a:lnTo>
                      <a:pt x="1000" y="873"/>
                    </a:lnTo>
                    <a:lnTo>
                      <a:pt x="993" y="869"/>
                    </a:lnTo>
                    <a:lnTo>
                      <a:pt x="987" y="864"/>
                    </a:lnTo>
                    <a:lnTo>
                      <a:pt x="984" y="862"/>
                    </a:lnTo>
                    <a:lnTo>
                      <a:pt x="980" y="858"/>
                    </a:lnTo>
                    <a:lnTo>
                      <a:pt x="967" y="844"/>
                    </a:lnTo>
                    <a:lnTo>
                      <a:pt x="963" y="839"/>
                    </a:lnTo>
                    <a:lnTo>
                      <a:pt x="952" y="830"/>
                    </a:lnTo>
                    <a:lnTo>
                      <a:pt x="947" y="824"/>
                    </a:lnTo>
                    <a:lnTo>
                      <a:pt x="937" y="810"/>
                    </a:lnTo>
                    <a:lnTo>
                      <a:pt x="933" y="805"/>
                    </a:lnTo>
                    <a:lnTo>
                      <a:pt x="932" y="802"/>
                    </a:lnTo>
                    <a:lnTo>
                      <a:pt x="927" y="791"/>
                    </a:lnTo>
                    <a:lnTo>
                      <a:pt x="924" y="788"/>
                    </a:lnTo>
                    <a:lnTo>
                      <a:pt x="916" y="772"/>
                    </a:lnTo>
                    <a:lnTo>
                      <a:pt x="915" y="772"/>
                    </a:lnTo>
                    <a:lnTo>
                      <a:pt x="911" y="766"/>
                    </a:lnTo>
                    <a:lnTo>
                      <a:pt x="905" y="753"/>
                    </a:lnTo>
                    <a:lnTo>
                      <a:pt x="904" y="750"/>
                    </a:lnTo>
                    <a:lnTo>
                      <a:pt x="903" y="749"/>
                    </a:lnTo>
                    <a:lnTo>
                      <a:pt x="901" y="747"/>
                    </a:lnTo>
                    <a:lnTo>
                      <a:pt x="899" y="740"/>
                    </a:lnTo>
                    <a:lnTo>
                      <a:pt x="896" y="731"/>
                    </a:lnTo>
                    <a:lnTo>
                      <a:pt x="895" y="729"/>
                    </a:lnTo>
                    <a:lnTo>
                      <a:pt x="890" y="717"/>
                    </a:lnTo>
                    <a:lnTo>
                      <a:pt x="885" y="709"/>
                    </a:lnTo>
                    <a:lnTo>
                      <a:pt x="881" y="705"/>
                    </a:lnTo>
                    <a:lnTo>
                      <a:pt x="880" y="705"/>
                    </a:lnTo>
                    <a:lnTo>
                      <a:pt x="878" y="706"/>
                    </a:lnTo>
                    <a:lnTo>
                      <a:pt x="877" y="707"/>
                    </a:lnTo>
                    <a:lnTo>
                      <a:pt x="876" y="707"/>
                    </a:lnTo>
                    <a:lnTo>
                      <a:pt x="867" y="715"/>
                    </a:lnTo>
                    <a:lnTo>
                      <a:pt x="866" y="716"/>
                    </a:lnTo>
                    <a:lnTo>
                      <a:pt x="865" y="717"/>
                    </a:lnTo>
                    <a:lnTo>
                      <a:pt x="858" y="717"/>
                    </a:lnTo>
                    <a:lnTo>
                      <a:pt x="856" y="715"/>
                    </a:lnTo>
                    <a:lnTo>
                      <a:pt x="852" y="710"/>
                    </a:lnTo>
                    <a:lnTo>
                      <a:pt x="849" y="706"/>
                    </a:lnTo>
                    <a:lnTo>
                      <a:pt x="848" y="705"/>
                    </a:lnTo>
                    <a:lnTo>
                      <a:pt x="846" y="698"/>
                    </a:lnTo>
                    <a:lnTo>
                      <a:pt x="844" y="698"/>
                    </a:lnTo>
                    <a:lnTo>
                      <a:pt x="843" y="696"/>
                    </a:lnTo>
                    <a:lnTo>
                      <a:pt x="842" y="691"/>
                    </a:lnTo>
                    <a:lnTo>
                      <a:pt x="840" y="683"/>
                    </a:lnTo>
                    <a:lnTo>
                      <a:pt x="840" y="682"/>
                    </a:lnTo>
                    <a:lnTo>
                      <a:pt x="838" y="677"/>
                    </a:lnTo>
                    <a:lnTo>
                      <a:pt x="834" y="673"/>
                    </a:lnTo>
                    <a:lnTo>
                      <a:pt x="832" y="665"/>
                    </a:lnTo>
                    <a:lnTo>
                      <a:pt x="828" y="658"/>
                    </a:lnTo>
                    <a:lnTo>
                      <a:pt x="827" y="657"/>
                    </a:lnTo>
                    <a:lnTo>
                      <a:pt x="827" y="655"/>
                    </a:lnTo>
                    <a:lnTo>
                      <a:pt x="825" y="655"/>
                    </a:lnTo>
                    <a:lnTo>
                      <a:pt x="824" y="655"/>
                    </a:lnTo>
                    <a:lnTo>
                      <a:pt x="820" y="654"/>
                    </a:lnTo>
                    <a:lnTo>
                      <a:pt x="816" y="654"/>
                    </a:lnTo>
                    <a:lnTo>
                      <a:pt x="806" y="657"/>
                    </a:lnTo>
                    <a:lnTo>
                      <a:pt x="797" y="657"/>
                    </a:lnTo>
                    <a:lnTo>
                      <a:pt x="796" y="655"/>
                    </a:lnTo>
                    <a:lnTo>
                      <a:pt x="792" y="652"/>
                    </a:lnTo>
                    <a:lnTo>
                      <a:pt x="792" y="650"/>
                    </a:lnTo>
                    <a:lnTo>
                      <a:pt x="792" y="649"/>
                    </a:lnTo>
                    <a:lnTo>
                      <a:pt x="792" y="644"/>
                    </a:lnTo>
                    <a:lnTo>
                      <a:pt x="792" y="639"/>
                    </a:lnTo>
                    <a:lnTo>
                      <a:pt x="792" y="635"/>
                    </a:lnTo>
                    <a:lnTo>
                      <a:pt x="792" y="633"/>
                    </a:lnTo>
                    <a:lnTo>
                      <a:pt x="792" y="630"/>
                    </a:lnTo>
                    <a:lnTo>
                      <a:pt x="792" y="622"/>
                    </a:lnTo>
                    <a:lnTo>
                      <a:pt x="794" y="621"/>
                    </a:lnTo>
                    <a:lnTo>
                      <a:pt x="791" y="615"/>
                    </a:lnTo>
                    <a:lnTo>
                      <a:pt x="790" y="615"/>
                    </a:lnTo>
                    <a:lnTo>
                      <a:pt x="789" y="615"/>
                    </a:lnTo>
                    <a:lnTo>
                      <a:pt x="787" y="616"/>
                    </a:lnTo>
                    <a:lnTo>
                      <a:pt x="786" y="616"/>
                    </a:lnTo>
                    <a:lnTo>
                      <a:pt x="785" y="616"/>
                    </a:lnTo>
                    <a:lnTo>
                      <a:pt x="782" y="617"/>
                    </a:lnTo>
                    <a:lnTo>
                      <a:pt x="782" y="621"/>
                    </a:lnTo>
                    <a:lnTo>
                      <a:pt x="781" y="624"/>
                    </a:lnTo>
                    <a:lnTo>
                      <a:pt x="777" y="629"/>
                    </a:lnTo>
                    <a:lnTo>
                      <a:pt x="776" y="629"/>
                    </a:lnTo>
                    <a:lnTo>
                      <a:pt x="772" y="629"/>
                    </a:lnTo>
                    <a:lnTo>
                      <a:pt x="771" y="630"/>
                    </a:lnTo>
                    <a:lnTo>
                      <a:pt x="770" y="630"/>
                    </a:lnTo>
                    <a:lnTo>
                      <a:pt x="770" y="631"/>
                    </a:lnTo>
                    <a:lnTo>
                      <a:pt x="767" y="633"/>
                    </a:lnTo>
                    <a:lnTo>
                      <a:pt x="766" y="636"/>
                    </a:lnTo>
                    <a:lnTo>
                      <a:pt x="763" y="639"/>
                    </a:lnTo>
                    <a:lnTo>
                      <a:pt x="763" y="640"/>
                    </a:lnTo>
                    <a:lnTo>
                      <a:pt x="758" y="641"/>
                    </a:lnTo>
                    <a:lnTo>
                      <a:pt x="758" y="643"/>
                    </a:lnTo>
                    <a:lnTo>
                      <a:pt x="754" y="646"/>
                    </a:lnTo>
                    <a:lnTo>
                      <a:pt x="751" y="652"/>
                    </a:lnTo>
                    <a:lnTo>
                      <a:pt x="749" y="652"/>
                    </a:lnTo>
                    <a:lnTo>
                      <a:pt x="745" y="649"/>
                    </a:lnTo>
                    <a:lnTo>
                      <a:pt x="742" y="652"/>
                    </a:lnTo>
                    <a:lnTo>
                      <a:pt x="740" y="652"/>
                    </a:lnTo>
                    <a:lnTo>
                      <a:pt x="734" y="650"/>
                    </a:lnTo>
                    <a:lnTo>
                      <a:pt x="734" y="652"/>
                    </a:lnTo>
                    <a:lnTo>
                      <a:pt x="733" y="650"/>
                    </a:lnTo>
                    <a:lnTo>
                      <a:pt x="730" y="648"/>
                    </a:lnTo>
                    <a:lnTo>
                      <a:pt x="730" y="645"/>
                    </a:lnTo>
                    <a:lnTo>
                      <a:pt x="734" y="638"/>
                    </a:lnTo>
                    <a:lnTo>
                      <a:pt x="734" y="635"/>
                    </a:lnTo>
                    <a:lnTo>
                      <a:pt x="735" y="634"/>
                    </a:lnTo>
                    <a:lnTo>
                      <a:pt x="735" y="633"/>
                    </a:lnTo>
                    <a:lnTo>
                      <a:pt x="734" y="630"/>
                    </a:lnTo>
                    <a:lnTo>
                      <a:pt x="733" y="627"/>
                    </a:lnTo>
                    <a:lnTo>
                      <a:pt x="731" y="627"/>
                    </a:lnTo>
                    <a:lnTo>
                      <a:pt x="730" y="626"/>
                    </a:lnTo>
                    <a:lnTo>
                      <a:pt x="723" y="630"/>
                    </a:lnTo>
                    <a:lnTo>
                      <a:pt x="720" y="633"/>
                    </a:lnTo>
                    <a:lnTo>
                      <a:pt x="719" y="633"/>
                    </a:lnTo>
                    <a:lnTo>
                      <a:pt x="718" y="633"/>
                    </a:lnTo>
                    <a:lnTo>
                      <a:pt x="715" y="633"/>
                    </a:lnTo>
                    <a:lnTo>
                      <a:pt x="715" y="631"/>
                    </a:lnTo>
                    <a:lnTo>
                      <a:pt x="712" y="629"/>
                    </a:lnTo>
                    <a:lnTo>
                      <a:pt x="707" y="626"/>
                    </a:lnTo>
                    <a:lnTo>
                      <a:pt x="692" y="620"/>
                    </a:lnTo>
                    <a:lnTo>
                      <a:pt x="688" y="620"/>
                    </a:lnTo>
                    <a:lnTo>
                      <a:pt x="685" y="621"/>
                    </a:lnTo>
                    <a:lnTo>
                      <a:pt x="681" y="622"/>
                    </a:lnTo>
                    <a:lnTo>
                      <a:pt x="674" y="621"/>
                    </a:lnTo>
                    <a:lnTo>
                      <a:pt x="661" y="616"/>
                    </a:lnTo>
                    <a:lnTo>
                      <a:pt x="659" y="616"/>
                    </a:lnTo>
                    <a:lnTo>
                      <a:pt x="657" y="616"/>
                    </a:lnTo>
                    <a:lnTo>
                      <a:pt x="652" y="616"/>
                    </a:lnTo>
                    <a:lnTo>
                      <a:pt x="648" y="616"/>
                    </a:lnTo>
                    <a:lnTo>
                      <a:pt x="645" y="616"/>
                    </a:lnTo>
                    <a:lnTo>
                      <a:pt x="640" y="616"/>
                    </a:lnTo>
                    <a:lnTo>
                      <a:pt x="639" y="616"/>
                    </a:lnTo>
                    <a:lnTo>
                      <a:pt x="638" y="616"/>
                    </a:lnTo>
                    <a:lnTo>
                      <a:pt x="630" y="616"/>
                    </a:lnTo>
                    <a:lnTo>
                      <a:pt x="624" y="616"/>
                    </a:lnTo>
                    <a:lnTo>
                      <a:pt x="617" y="615"/>
                    </a:lnTo>
                    <a:lnTo>
                      <a:pt x="611" y="615"/>
                    </a:lnTo>
                    <a:lnTo>
                      <a:pt x="607" y="615"/>
                    </a:lnTo>
                    <a:lnTo>
                      <a:pt x="605" y="616"/>
                    </a:lnTo>
                    <a:lnTo>
                      <a:pt x="602" y="617"/>
                    </a:lnTo>
                    <a:lnTo>
                      <a:pt x="596" y="619"/>
                    </a:lnTo>
                    <a:lnTo>
                      <a:pt x="593" y="619"/>
                    </a:lnTo>
                    <a:lnTo>
                      <a:pt x="592" y="619"/>
                    </a:lnTo>
                    <a:lnTo>
                      <a:pt x="591" y="616"/>
                    </a:lnTo>
                    <a:lnTo>
                      <a:pt x="588" y="614"/>
                    </a:lnTo>
                    <a:lnTo>
                      <a:pt x="582" y="607"/>
                    </a:lnTo>
                    <a:lnTo>
                      <a:pt x="577" y="603"/>
                    </a:lnTo>
                    <a:lnTo>
                      <a:pt x="576" y="602"/>
                    </a:lnTo>
                    <a:lnTo>
                      <a:pt x="573" y="601"/>
                    </a:lnTo>
                    <a:lnTo>
                      <a:pt x="572" y="600"/>
                    </a:lnTo>
                    <a:lnTo>
                      <a:pt x="568" y="601"/>
                    </a:lnTo>
                    <a:lnTo>
                      <a:pt x="566" y="602"/>
                    </a:lnTo>
                    <a:lnTo>
                      <a:pt x="555" y="608"/>
                    </a:lnTo>
                    <a:lnTo>
                      <a:pt x="552" y="608"/>
                    </a:lnTo>
                    <a:lnTo>
                      <a:pt x="549" y="608"/>
                    </a:lnTo>
                    <a:lnTo>
                      <a:pt x="547" y="607"/>
                    </a:lnTo>
                    <a:lnTo>
                      <a:pt x="539" y="607"/>
                    </a:lnTo>
                    <a:lnTo>
                      <a:pt x="538" y="608"/>
                    </a:lnTo>
                    <a:lnTo>
                      <a:pt x="535" y="608"/>
                    </a:lnTo>
                    <a:lnTo>
                      <a:pt x="533" y="608"/>
                    </a:lnTo>
                    <a:lnTo>
                      <a:pt x="530" y="608"/>
                    </a:lnTo>
                    <a:lnTo>
                      <a:pt x="517" y="612"/>
                    </a:lnTo>
                    <a:lnTo>
                      <a:pt x="514" y="614"/>
                    </a:lnTo>
                    <a:lnTo>
                      <a:pt x="507" y="616"/>
                    </a:lnTo>
                    <a:lnTo>
                      <a:pt x="505" y="619"/>
                    </a:lnTo>
                    <a:lnTo>
                      <a:pt x="500" y="622"/>
                    </a:lnTo>
                    <a:lnTo>
                      <a:pt x="489" y="633"/>
                    </a:lnTo>
                    <a:lnTo>
                      <a:pt x="489" y="634"/>
                    </a:lnTo>
                    <a:lnTo>
                      <a:pt x="487" y="634"/>
                    </a:lnTo>
                    <a:lnTo>
                      <a:pt x="476" y="631"/>
                    </a:lnTo>
                    <a:lnTo>
                      <a:pt x="473" y="631"/>
                    </a:lnTo>
                    <a:lnTo>
                      <a:pt x="465" y="631"/>
                    </a:lnTo>
                    <a:lnTo>
                      <a:pt x="462" y="630"/>
                    </a:lnTo>
                    <a:lnTo>
                      <a:pt x="458" y="629"/>
                    </a:lnTo>
                    <a:lnTo>
                      <a:pt x="454" y="629"/>
                    </a:lnTo>
                    <a:lnTo>
                      <a:pt x="453" y="629"/>
                    </a:lnTo>
                    <a:lnTo>
                      <a:pt x="449" y="629"/>
                    </a:lnTo>
                    <a:lnTo>
                      <a:pt x="444" y="627"/>
                    </a:lnTo>
                    <a:lnTo>
                      <a:pt x="441" y="631"/>
                    </a:lnTo>
                    <a:lnTo>
                      <a:pt x="436" y="638"/>
                    </a:lnTo>
                    <a:lnTo>
                      <a:pt x="435" y="639"/>
                    </a:lnTo>
                    <a:lnTo>
                      <a:pt x="431" y="638"/>
                    </a:lnTo>
                    <a:lnTo>
                      <a:pt x="430" y="638"/>
                    </a:lnTo>
                    <a:lnTo>
                      <a:pt x="426" y="643"/>
                    </a:lnTo>
                    <a:lnTo>
                      <a:pt x="422" y="641"/>
                    </a:lnTo>
                    <a:lnTo>
                      <a:pt x="419" y="643"/>
                    </a:lnTo>
                    <a:lnTo>
                      <a:pt x="417" y="643"/>
                    </a:lnTo>
                    <a:lnTo>
                      <a:pt x="416" y="643"/>
                    </a:lnTo>
                    <a:lnTo>
                      <a:pt x="413" y="641"/>
                    </a:lnTo>
                    <a:lnTo>
                      <a:pt x="412" y="641"/>
                    </a:lnTo>
                    <a:lnTo>
                      <a:pt x="410" y="643"/>
                    </a:lnTo>
                    <a:lnTo>
                      <a:pt x="408" y="643"/>
                    </a:lnTo>
                    <a:lnTo>
                      <a:pt x="407" y="644"/>
                    </a:lnTo>
                    <a:lnTo>
                      <a:pt x="407" y="645"/>
                    </a:lnTo>
                    <a:lnTo>
                      <a:pt x="408" y="646"/>
                    </a:lnTo>
                    <a:lnTo>
                      <a:pt x="407" y="646"/>
                    </a:lnTo>
                    <a:lnTo>
                      <a:pt x="406" y="652"/>
                    </a:lnTo>
                    <a:lnTo>
                      <a:pt x="406" y="653"/>
                    </a:lnTo>
                    <a:lnTo>
                      <a:pt x="408" y="655"/>
                    </a:lnTo>
                    <a:lnTo>
                      <a:pt x="407" y="657"/>
                    </a:lnTo>
                    <a:lnTo>
                      <a:pt x="407" y="658"/>
                    </a:lnTo>
                    <a:lnTo>
                      <a:pt x="406" y="660"/>
                    </a:lnTo>
                    <a:lnTo>
                      <a:pt x="405" y="660"/>
                    </a:lnTo>
                    <a:lnTo>
                      <a:pt x="401" y="663"/>
                    </a:lnTo>
                    <a:lnTo>
                      <a:pt x="398" y="663"/>
                    </a:lnTo>
                    <a:lnTo>
                      <a:pt x="396" y="662"/>
                    </a:lnTo>
                    <a:lnTo>
                      <a:pt x="394" y="662"/>
                    </a:lnTo>
                    <a:lnTo>
                      <a:pt x="391" y="659"/>
                    </a:lnTo>
                    <a:lnTo>
                      <a:pt x="388" y="660"/>
                    </a:lnTo>
                    <a:lnTo>
                      <a:pt x="387" y="660"/>
                    </a:lnTo>
                    <a:lnTo>
                      <a:pt x="379" y="660"/>
                    </a:lnTo>
                    <a:lnTo>
                      <a:pt x="379" y="662"/>
                    </a:lnTo>
                    <a:lnTo>
                      <a:pt x="378" y="662"/>
                    </a:lnTo>
                    <a:lnTo>
                      <a:pt x="373" y="668"/>
                    </a:lnTo>
                    <a:lnTo>
                      <a:pt x="374" y="677"/>
                    </a:lnTo>
                    <a:lnTo>
                      <a:pt x="370" y="677"/>
                    </a:lnTo>
                    <a:lnTo>
                      <a:pt x="368" y="677"/>
                    </a:lnTo>
                    <a:lnTo>
                      <a:pt x="364" y="678"/>
                    </a:lnTo>
                    <a:lnTo>
                      <a:pt x="363" y="677"/>
                    </a:lnTo>
                    <a:lnTo>
                      <a:pt x="356" y="676"/>
                    </a:lnTo>
                    <a:lnTo>
                      <a:pt x="354" y="673"/>
                    </a:lnTo>
                    <a:lnTo>
                      <a:pt x="350" y="671"/>
                    </a:lnTo>
                    <a:lnTo>
                      <a:pt x="343" y="668"/>
                    </a:lnTo>
                    <a:lnTo>
                      <a:pt x="341" y="667"/>
                    </a:lnTo>
                    <a:lnTo>
                      <a:pt x="334" y="662"/>
                    </a:lnTo>
                    <a:lnTo>
                      <a:pt x="331" y="662"/>
                    </a:lnTo>
                    <a:lnTo>
                      <a:pt x="330" y="662"/>
                    </a:lnTo>
                    <a:lnTo>
                      <a:pt x="329" y="663"/>
                    </a:lnTo>
                    <a:lnTo>
                      <a:pt x="326" y="664"/>
                    </a:lnTo>
                    <a:lnTo>
                      <a:pt x="326" y="665"/>
                    </a:lnTo>
                    <a:lnTo>
                      <a:pt x="324" y="672"/>
                    </a:lnTo>
                    <a:lnTo>
                      <a:pt x="318" y="674"/>
                    </a:lnTo>
                    <a:lnTo>
                      <a:pt x="316" y="677"/>
                    </a:lnTo>
                    <a:lnTo>
                      <a:pt x="313" y="678"/>
                    </a:lnTo>
                    <a:lnTo>
                      <a:pt x="312" y="678"/>
                    </a:lnTo>
                    <a:lnTo>
                      <a:pt x="312" y="681"/>
                    </a:lnTo>
                    <a:lnTo>
                      <a:pt x="311" y="683"/>
                    </a:lnTo>
                    <a:lnTo>
                      <a:pt x="310" y="686"/>
                    </a:lnTo>
                    <a:lnTo>
                      <a:pt x="307" y="688"/>
                    </a:lnTo>
                    <a:lnTo>
                      <a:pt x="306" y="690"/>
                    </a:lnTo>
                    <a:lnTo>
                      <a:pt x="303" y="691"/>
                    </a:lnTo>
                    <a:lnTo>
                      <a:pt x="292" y="696"/>
                    </a:lnTo>
                    <a:lnTo>
                      <a:pt x="287" y="696"/>
                    </a:lnTo>
                    <a:lnTo>
                      <a:pt x="283" y="696"/>
                    </a:lnTo>
                    <a:lnTo>
                      <a:pt x="280" y="697"/>
                    </a:lnTo>
                    <a:lnTo>
                      <a:pt x="279" y="700"/>
                    </a:lnTo>
                    <a:lnTo>
                      <a:pt x="274" y="700"/>
                    </a:lnTo>
                    <a:lnTo>
                      <a:pt x="273" y="700"/>
                    </a:lnTo>
                    <a:lnTo>
                      <a:pt x="270" y="700"/>
                    </a:lnTo>
                    <a:lnTo>
                      <a:pt x="269" y="700"/>
                    </a:lnTo>
                    <a:lnTo>
                      <a:pt x="268" y="698"/>
                    </a:lnTo>
                    <a:lnTo>
                      <a:pt x="265" y="700"/>
                    </a:lnTo>
                    <a:lnTo>
                      <a:pt x="264" y="700"/>
                    </a:lnTo>
                    <a:lnTo>
                      <a:pt x="263" y="698"/>
                    </a:lnTo>
                    <a:lnTo>
                      <a:pt x="261" y="698"/>
                    </a:lnTo>
                    <a:lnTo>
                      <a:pt x="259" y="705"/>
                    </a:lnTo>
                    <a:lnTo>
                      <a:pt x="258" y="707"/>
                    </a:lnTo>
                    <a:lnTo>
                      <a:pt x="259" y="709"/>
                    </a:lnTo>
                    <a:lnTo>
                      <a:pt x="263" y="709"/>
                    </a:lnTo>
                    <a:lnTo>
                      <a:pt x="264" y="709"/>
                    </a:lnTo>
                    <a:lnTo>
                      <a:pt x="264" y="710"/>
                    </a:lnTo>
                    <a:lnTo>
                      <a:pt x="263" y="711"/>
                    </a:lnTo>
                    <a:lnTo>
                      <a:pt x="261" y="714"/>
                    </a:lnTo>
                    <a:lnTo>
                      <a:pt x="261" y="716"/>
                    </a:lnTo>
                    <a:lnTo>
                      <a:pt x="261" y="720"/>
                    </a:lnTo>
                    <a:lnTo>
                      <a:pt x="260" y="721"/>
                    </a:lnTo>
                    <a:lnTo>
                      <a:pt x="259" y="722"/>
                    </a:lnTo>
                    <a:lnTo>
                      <a:pt x="259" y="725"/>
                    </a:lnTo>
                    <a:lnTo>
                      <a:pt x="259" y="726"/>
                    </a:lnTo>
                    <a:lnTo>
                      <a:pt x="258" y="728"/>
                    </a:lnTo>
                    <a:lnTo>
                      <a:pt x="255" y="730"/>
                    </a:lnTo>
                    <a:lnTo>
                      <a:pt x="255" y="731"/>
                    </a:lnTo>
                    <a:lnTo>
                      <a:pt x="256" y="734"/>
                    </a:lnTo>
                    <a:lnTo>
                      <a:pt x="255" y="739"/>
                    </a:lnTo>
                    <a:lnTo>
                      <a:pt x="254" y="740"/>
                    </a:lnTo>
                    <a:lnTo>
                      <a:pt x="253" y="741"/>
                    </a:lnTo>
                    <a:lnTo>
                      <a:pt x="253" y="744"/>
                    </a:lnTo>
                    <a:lnTo>
                      <a:pt x="254" y="745"/>
                    </a:lnTo>
                    <a:lnTo>
                      <a:pt x="253" y="749"/>
                    </a:lnTo>
                    <a:lnTo>
                      <a:pt x="253" y="752"/>
                    </a:lnTo>
                    <a:lnTo>
                      <a:pt x="253" y="753"/>
                    </a:lnTo>
                    <a:lnTo>
                      <a:pt x="251" y="757"/>
                    </a:lnTo>
                    <a:lnTo>
                      <a:pt x="250" y="760"/>
                    </a:lnTo>
                    <a:lnTo>
                      <a:pt x="247" y="764"/>
                    </a:lnTo>
                    <a:lnTo>
                      <a:pt x="245" y="767"/>
                    </a:lnTo>
                    <a:lnTo>
                      <a:pt x="245" y="768"/>
                    </a:lnTo>
                    <a:lnTo>
                      <a:pt x="241" y="772"/>
                    </a:lnTo>
                    <a:lnTo>
                      <a:pt x="237" y="776"/>
                    </a:lnTo>
                    <a:lnTo>
                      <a:pt x="228" y="769"/>
                    </a:lnTo>
                    <a:lnTo>
                      <a:pt x="223" y="764"/>
                    </a:lnTo>
                    <a:lnTo>
                      <a:pt x="222" y="763"/>
                    </a:lnTo>
                    <a:lnTo>
                      <a:pt x="217" y="763"/>
                    </a:lnTo>
                    <a:lnTo>
                      <a:pt x="216" y="763"/>
                    </a:lnTo>
                    <a:lnTo>
                      <a:pt x="213" y="764"/>
                    </a:lnTo>
                    <a:lnTo>
                      <a:pt x="212" y="766"/>
                    </a:lnTo>
                    <a:lnTo>
                      <a:pt x="212" y="767"/>
                    </a:lnTo>
                    <a:lnTo>
                      <a:pt x="211" y="769"/>
                    </a:lnTo>
                    <a:lnTo>
                      <a:pt x="211" y="771"/>
                    </a:lnTo>
                    <a:lnTo>
                      <a:pt x="212" y="773"/>
                    </a:lnTo>
                    <a:lnTo>
                      <a:pt x="212" y="774"/>
                    </a:lnTo>
                    <a:lnTo>
                      <a:pt x="211" y="777"/>
                    </a:lnTo>
                    <a:lnTo>
                      <a:pt x="209" y="778"/>
                    </a:lnTo>
                    <a:lnTo>
                      <a:pt x="207" y="778"/>
                    </a:lnTo>
                    <a:lnTo>
                      <a:pt x="203" y="778"/>
                    </a:lnTo>
                    <a:lnTo>
                      <a:pt x="202" y="778"/>
                    </a:lnTo>
                    <a:lnTo>
                      <a:pt x="201" y="777"/>
                    </a:lnTo>
                    <a:lnTo>
                      <a:pt x="196" y="773"/>
                    </a:lnTo>
                    <a:lnTo>
                      <a:pt x="194" y="769"/>
                    </a:lnTo>
                    <a:lnTo>
                      <a:pt x="193" y="766"/>
                    </a:lnTo>
                    <a:lnTo>
                      <a:pt x="189" y="753"/>
                    </a:lnTo>
                    <a:lnTo>
                      <a:pt x="188" y="750"/>
                    </a:lnTo>
                    <a:lnTo>
                      <a:pt x="187" y="749"/>
                    </a:lnTo>
                    <a:lnTo>
                      <a:pt x="185" y="748"/>
                    </a:lnTo>
                    <a:lnTo>
                      <a:pt x="184" y="747"/>
                    </a:lnTo>
                    <a:lnTo>
                      <a:pt x="182" y="745"/>
                    </a:lnTo>
                    <a:lnTo>
                      <a:pt x="180" y="745"/>
                    </a:lnTo>
                    <a:lnTo>
                      <a:pt x="179" y="745"/>
                    </a:lnTo>
                    <a:lnTo>
                      <a:pt x="178" y="745"/>
                    </a:lnTo>
                    <a:lnTo>
                      <a:pt x="173" y="748"/>
                    </a:lnTo>
                    <a:lnTo>
                      <a:pt x="169" y="749"/>
                    </a:lnTo>
                    <a:lnTo>
                      <a:pt x="165" y="749"/>
                    </a:lnTo>
                    <a:lnTo>
                      <a:pt x="161" y="750"/>
                    </a:lnTo>
                    <a:lnTo>
                      <a:pt x="160" y="750"/>
                    </a:lnTo>
                    <a:lnTo>
                      <a:pt x="151" y="750"/>
                    </a:lnTo>
                    <a:lnTo>
                      <a:pt x="149" y="752"/>
                    </a:lnTo>
                    <a:lnTo>
                      <a:pt x="147" y="753"/>
                    </a:lnTo>
                    <a:lnTo>
                      <a:pt x="145" y="753"/>
                    </a:lnTo>
                    <a:lnTo>
                      <a:pt x="144" y="752"/>
                    </a:lnTo>
                    <a:lnTo>
                      <a:pt x="141" y="748"/>
                    </a:lnTo>
                    <a:lnTo>
                      <a:pt x="140" y="747"/>
                    </a:lnTo>
                    <a:lnTo>
                      <a:pt x="139" y="741"/>
                    </a:lnTo>
                    <a:lnTo>
                      <a:pt x="139" y="740"/>
                    </a:lnTo>
                    <a:lnTo>
                      <a:pt x="137" y="739"/>
                    </a:lnTo>
                    <a:lnTo>
                      <a:pt x="139" y="736"/>
                    </a:lnTo>
                    <a:lnTo>
                      <a:pt x="137" y="734"/>
                    </a:lnTo>
                    <a:lnTo>
                      <a:pt x="137" y="733"/>
                    </a:lnTo>
                    <a:lnTo>
                      <a:pt x="137" y="728"/>
                    </a:lnTo>
                    <a:lnTo>
                      <a:pt x="137" y="724"/>
                    </a:lnTo>
                    <a:lnTo>
                      <a:pt x="144" y="719"/>
                    </a:lnTo>
                    <a:lnTo>
                      <a:pt x="145" y="716"/>
                    </a:lnTo>
                    <a:lnTo>
                      <a:pt x="145" y="714"/>
                    </a:lnTo>
                    <a:lnTo>
                      <a:pt x="146" y="710"/>
                    </a:lnTo>
                    <a:lnTo>
                      <a:pt x="145" y="707"/>
                    </a:lnTo>
                    <a:lnTo>
                      <a:pt x="144" y="706"/>
                    </a:lnTo>
                    <a:lnTo>
                      <a:pt x="139" y="703"/>
                    </a:lnTo>
                    <a:lnTo>
                      <a:pt x="137" y="703"/>
                    </a:lnTo>
                    <a:lnTo>
                      <a:pt x="136" y="703"/>
                    </a:lnTo>
                    <a:lnTo>
                      <a:pt x="122" y="703"/>
                    </a:lnTo>
                    <a:lnTo>
                      <a:pt x="120" y="706"/>
                    </a:lnTo>
                    <a:lnTo>
                      <a:pt x="118" y="707"/>
                    </a:lnTo>
                    <a:lnTo>
                      <a:pt x="118" y="709"/>
                    </a:lnTo>
                    <a:lnTo>
                      <a:pt x="120" y="710"/>
                    </a:lnTo>
                    <a:lnTo>
                      <a:pt x="122" y="714"/>
                    </a:lnTo>
                    <a:lnTo>
                      <a:pt x="126" y="715"/>
                    </a:lnTo>
                    <a:lnTo>
                      <a:pt x="126" y="716"/>
                    </a:lnTo>
                    <a:lnTo>
                      <a:pt x="126" y="717"/>
                    </a:lnTo>
                    <a:lnTo>
                      <a:pt x="126" y="719"/>
                    </a:lnTo>
                    <a:lnTo>
                      <a:pt x="125" y="720"/>
                    </a:lnTo>
                    <a:lnTo>
                      <a:pt x="121" y="726"/>
                    </a:lnTo>
                    <a:lnTo>
                      <a:pt x="117" y="731"/>
                    </a:lnTo>
                    <a:lnTo>
                      <a:pt x="113" y="733"/>
                    </a:lnTo>
                    <a:lnTo>
                      <a:pt x="109" y="733"/>
                    </a:lnTo>
                    <a:lnTo>
                      <a:pt x="108" y="731"/>
                    </a:lnTo>
                    <a:lnTo>
                      <a:pt x="107" y="731"/>
                    </a:lnTo>
                    <a:lnTo>
                      <a:pt x="104" y="730"/>
                    </a:lnTo>
                    <a:lnTo>
                      <a:pt x="104" y="729"/>
                    </a:lnTo>
                    <a:lnTo>
                      <a:pt x="104" y="728"/>
                    </a:lnTo>
                    <a:lnTo>
                      <a:pt x="103" y="726"/>
                    </a:lnTo>
                    <a:lnTo>
                      <a:pt x="103" y="725"/>
                    </a:lnTo>
                    <a:lnTo>
                      <a:pt x="102" y="724"/>
                    </a:lnTo>
                    <a:lnTo>
                      <a:pt x="101" y="722"/>
                    </a:lnTo>
                    <a:lnTo>
                      <a:pt x="99" y="722"/>
                    </a:lnTo>
                    <a:lnTo>
                      <a:pt x="99" y="721"/>
                    </a:lnTo>
                    <a:lnTo>
                      <a:pt x="98" y="719"/>
                    </a:lnTo>
                    <a:lnTo>
                      <a:pt x="94" y="719"/>
                    </a:lnTo>
                    <a:lnTo>
                      <a:pt x="93" y="717"/>
                    </a:lnTo>
                    <a:lnTo>
                      <a:pt x="92" y="716"/>
                    </a:lnTo>
                    <a:lnTo>
                      <a:pt x="90" y="715"/>
                    </a:lnTo>
                    <a:lnTo>
                      <a:pt x="89" y="716"/>
                    </a:lnTo>
                    <a:lnTo>
                      <a:pt x="90" y="720"/>
                    </a:lnTo>
                    <a:lnTo>
                      <a:pt x="88" y="721"/>
                    </a:lnTo>
                    <a:lnTo>
                      <a:pt x="87" y="725"/>
                    </a:lnTo>
                    <a:lnTo>
                      <a:pt x="85" y="725"/>
                    </a:lnTo>
                    <a:lnTo>
                      <a:pt x="85" y="726"/>
                    </a:lnTo>
                    <a:lnTo>
                      <a:pt x="84" y="725"/>
                    </a:lnTo>
                    <a:lnTo>
                      <a:pt x="82" y="724"/>
                    </a:lnTo>
                    <a:lnTo>
                      <a:pt x="78" y="722"/>
                    </a:lnTo>
                    <a:lnTo>
                      <a:pt x="75" y="720"/>
                    </a:lnTo>
                    <a:lnTo>
                      <a:pt x="73" y="720"/>
                    </a:lnTo>
                    <a:lnTo>
                      <a:pt x="71" y="721"/>
                    </a:lnTo>
                    <a:lnTo>
                      <a:pt x="70" y="722"/>
                    </a:lnTo>
                    <a:lnTo>
                      <a:pt x="70" y="724"/>
                    </a:lnTo>
                    <a:lnTo>
                      <a:pt x="70" y="726"/>
                    </a:lnTo>
                    <a:lnTo>
                      <a:pt x="70" y="728"/>
                    </a:lnTo>
                    <a:lnTo>
                      <a:pt x="66" y="733"/>
                    </a:lnTo>
                    <a:lnTo>
                      <a:pt x="65" y="733"/>
                    </a:lnTo>
                    <a:lnTo>
                      <a:pt x="63" y="731"/>
                    </a:lnTo>
                    <a:lnTo>
                      <a:pt x="61" y="733"/>
                    </a:lnTo>
                    <a:lnTo>
                      <a:pt x="61" y="735"/>
                    </a:lnTo>
                    <a:lnTo>
                      <a:pt x="59" y="736"/>
                    </a:lnTo>
                    <a:lnTo>
                      <a:pt x="57" y="738"/>
                    </a:lnTo>
                    <a:lnTo>
                      <a:pt x="54" y="738"/>
                    </a:lnTo>
                    <a:lnTo>
                      <a:pt x="52" y="738"/>
                    </a:lnTo>
                    <a:lnTo>
                      <a:pt x="52" y="736"/>
                    </a:lnTo>
                    <a:lnTo>
                      <a:pt x="52" y="733"/>
                    </a:lnTo>
                    <a:lnTo>
                      <a:pt x="50" y="733"/>
                    </a:lnTo>
                    <a:lnTo>
                      <a:pt x="49" y="733"/>
                    </a:lnTo>
                    <a:lnTo>
                      <a:pt x="46" y="733"/>
                    </a:lnTo>
                    <a:lnTo>
                      <a:pt x="43" y="729"/>
                    </a:lnTo>
                    <a:lnTo>
                      <a:pt x="40" y="719"/>
                    </a:lnTo>
                    <a:lnTo>
                      <a:pt x="37" y="716"/>
                    </a:lnTo>
                    <a:lnTo>
                      <a:pt x="36" y="712"/>
                    </a:lnTo>
                    <a:lnTo>
                      <a:pt x="32" y="710"/>
                    </a:lnTo>
                    <a:lnTo>
                      <a:pt x="32" y="709"/>
                    </a:lnTo>
                    <a:lnTo>
                      <a:pt x="31" y="706"/>
                    </a:lnTo>
                    <a:lnTo>
                      <a:pt x="31" y="703"/>
                    </a:lnTo>
                    <a:lnTo>
                      <a:pt x="30" y="702"/>
                    </a:lnTo>
                    <a:lnTo>
                      <a:pt x="27" y="701"/>
                    </a:lnTo>
                    <a:lnTo>
                      <a:pt x="26" y="701"/>
                    </a:lnTo>
                    <a:lnTo>
                      <a:pt x="21" y="700"/>
                    </a:lnTo>
                    <a:lnTo>
                      <a:pt x="14" y="700"/>
                    </a:lnTo>
                    <a:lnTo>
                      <a:pt x="14" y="702"/>
                    </a:lnTo>
                    <a:lnTo>
                      <a:pt x="14" y="706"/>
                    </a:lnTo>
                    <a:lnTo>
                      <a:pt x="14" y="709"/>
                    </a:lnTo>
                    <a:lnTo>
                      <a:pt x="12" y="709"/>
                    </a:lnTo>
                    <a:lnTo>
                      <a:pt x="9" y="707"/>
                    </a:lnTo>
                    <a:lnTo>
                      <a:pt x="8" y="706"/>
                    </a:lnTo>
                    <a:lnTo>
                      <a:pt x="8" y="700"/>
                    </a:lnTo>
                    <a:lnTo>
                      <a:pt x="5" y="698"/>
                    </a:lnTo>
                    <a:lnTo>
                      <a:pt x="3" y="698"/>
                    </a:lnTo>
                    <a:lnTo>
                      <a:pt x="0" y="700"/>
                    </a:lnTo>
                    <a:lnTo>
                      <a:pt x="0" y="698"/>
                    </a:lnTo>
                  </a:path>
                </a:pathLst>
              </a:custGeom>
              <a:noFill/>
              <a:ln w="4763">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8" name="Freeform 7"/>
              <p:cNvSpPr>
                <a:spLocks/>
              </p:cNvSpPr>
              <p:nvPr/>
            </p:nvSpPr>
            <p:spPr bwMode="auto">
              <a:xfrm>
                <a:off x="2193" y="1913"/>
                <a:ext cx="690" cy="1767"/>
              </a:xfrm>
              <a:custGeom>
                <a:avLst/>
                <a:gdLst>
                  <a:gd name="T0" fmla="*/ 357 w 690"/>
                  <a:gd name="T1" fmla="*/ 1741 h 1767"/>
                  <a:gd name="T2" fmla="*/ 339 w 690"/>
                  <a:gd name="T3" fmla="*/ 1715 h 1767"/>
                  <a:gd name="T4" fmla="*/ 289 w 690"/>
                  <a:gd name="T5" fmla="*/ 1708 h 1767"/>
                  <a:gd name="T6" fmla="*/ 275 w 690"/>
                  <a:gd name="T7" fmla="*/ 1683 h 1767"/>
                  <a:gd name="T8" fmla="*/ 269 w 690"/>
                  <a:gd name="T9" fmla="*/ 1660 h 1767"/>
                  <a:gd name="T10" fmla="*/ 269 w 690"/>
                  <a:gd name="T11" fmla="*/ 1627 h 1767"/>
                  <a:gd name="T12" fmla="*/ 246 w 690"/>
                  <a:gd name="T13" fmla="*/ 1609 h 1767"/>
                  <a:gd name="T14" fmla="*/ 225 w 690"/>
                  <a:gd name="T15" fmla="*/ 1608 h 1767"/>
                  <a:gd name="T16" fmla="*/ 219 w 690"/>
                  <a:gd name="T17" fmla="*/ 1587 h 1767"/>
                  <a:gd name="T18" fmla="*/ 217 w 690"/>
                  <a:gd name="T19" fmla="*/ 1567 h 1767"/>
                  <a:gd name="T20" fmla="*/ 210 w 690"/>
                  <a:gd name="T21" fmla="*/ 1547 h 1767"/>
                  <a:gd name="T22" fmla="*/ 203 w 690"/>
                  <a:gd name="T23" fmla="*/ 1519 h 1767"/>
                  <a:gd name="T24" fmla="*/ 182 w 690"/>
                  <a:gd name="T25" fmla="*/ 1505 h 1767"/>
                  <a:gd name="T26" fmla="*/ 137 w 690"/>
                  <a:gd name="T27" fmla="*/ 1492 h 1767"/>
                  <a:gd name="T28" fmla="*/ 104 w 690"/>
                  <a:gd name="T29" fmla="*/ 1492 h 1767"/>
                  <a:gd name="T30" fmla="*/ 82 w 690"/>
                  <a:gd name="T31" fmla="*/ 1496 h 1767"/>
                  <a:gd name="T32" fmla="*/ 44 w 690"/>
                  <a:gd name="T33" fmla="*/ 1489 h 1767"/>
                  <a:gd name="T34" fmla="*/ 25 w 690"/>
                  <a:gd name="T35" fmla="*/ 1468 h 1767"/>
                  <a:gd name="T36" fmla="*/ 1 w 690"/>
                  <a:gd name="T37" fmla="*/ 1437 h 1767"/>
                  <a:gd name="T38" fmla="*/ 10 w 690"/>
                  <a:gd name="T39" fmla="*/ 1406 h 1767"/>
                  <a:gd name="T40" fmla="*/ 25 w 690"/>
                  <a:gd name="T41" fmla="*/ 1351 h 1767"/>
                  <a:gd name="T42" fmla="*/ 25 w 690"/>
                  <a:gd name="T43" fmla="*/ 1272 h 1767"/>
                  <a:gd name="T44" fmla="*/ 46 w 690"/>
                  <a:gd name="T45" fmla="*/ 1235 h 1767"/>
                  <a:gd name="T46" fmla="*/ 15 w 690"/>
                  <a:gd name="T47" fmla="*/ 1169 h 1767"/>
                  <a:gd name="T48" fmla="*/ 23 w 690"/>
                  <a:gd name="T49" fmla="*/ 1116 h 1767"/>
                  <a:gd name="T50" fmla="*/ 91 w 690"/>
                  <a:gd name="T51" fmla="*/ 1069 h 1767"/>
                  <a:gd name="T52" fmla="*/ 124 w 690"/>
                  <a:gd name="T53" fmla="*/ 1013 h 1767"/>
                  <a:gd name="T54" fmla="*/ 156 w 690"/>
                  <a:gd name="T55" fmla="*/ 945 h 1767"/>
                  <a:gd name="T56" fmla="*/ 149 w 690"/>
                  <a:gd name="T57" fmla="*/ 902 h 1767"/>
                  <a:gd name="T58" fmla="*/ 137 w 690"/>
                  <a:gd name="T59" fmla="*/ 856 h 1767"/>
                  <a:gd name="T60" fmla="*/ 122 w 690"/>
                  <a:gd name="T61" fmla="*/ 816 h 1767"/>
                  <a:gd name="T62" fmla="*/ 120 w 690"/>
                  <a:gd name="T63" fmla="*/ 778 h 1767"/>
                  <a:gd name="T64" fmla="*/ 89 w 690"/>
                  <a:gd name="T65" fmla="*/ 760 h 1767"/>
                  <a:gd name="T66" fmla="*/ 61 w 690"/>
                  <a:gd name="T67" fmla="*/ 754 h 1767"/>
                  <a:gd name="T68" fmla="*/ 71 w 690"/>
                  <a:gd name="T69" fmla="*/ 742 h 1767"/>
                  <a:gd name="T70" fmla="*/ 105 w 690"/>
                  <a:gd name="T71" fmla="*/ 737 h 1767"/>
                  <a:gd name="T72" fmla="*/ 125 w 690"/>
                  <a:gd name="T73" fmla="*/ 740 h 1767"/>
                  <a:gd name="T74" fmla="*/ 151 w 690"/>
                  <a:gd name="T75" fmla="*/ 713 h 1767"/>
                  <a:gd name="T76" fmla="*/ 177 w 690"/>
                  <a:gd name="T77" fmla="*/ 688 h 1767"/>
                  <a:gd name="T78" fmla="*/ 210 w 690"/>
                  <a:gd name="T79" fmla="*/ 676 h 1767"/>
                  <a:gd name="T80" fmla="*/ 247 w 690"/>
                  <a:gd name="T81" fmla="*/ 670 h 1767"/>
                  <a:gd name="T82" fmla="*/ 284 w 690"/>
                  <a:gd name="T83" fmla="*/ 661 h 1767"/>
                  <a:gd name="T84" fmla="*/ 336 w 690"/>
                  <a:gd name="T85" fmla="*/ 654 h 1767"/>
                  <a:gd name="T86" fmla="*/ 386 w 690"/>
                  <a:gd name="T87" fmla="*/ 662 h 1767"/>
                  <a:gd name="T88" fmla="*/ 427 w 690"/>
                  <a:gd name="T89" fmla="*/ 632 h 1767"/>
                  <a:gd name="T90" fmla="*/ 452 w 690"/>
                  <a:gd name="T91" fmla="*/ 600 h 1767"/>
                  <a:gd name="T92" fmla="*/ 457 w 690"/>
                  <a:gd name="T93" fmla="*/ 572 h 1767"/>
                  <a:gd name="T94" fmla="*/ 504 w 690"/>
                  <a:gd name="T95" fmla="*/ 524 h 1767"/>
                  <a:gd name="T96" fmla="*/ 536 w 690"/>
                  <a:gd name="T97" fmla="*/ 499 h 1767"/>
                  <a:gd name="T98" fmla="*/ 540 w 690"/>
                  <a:gd name="T99" fmla="*/ 419 h 1767"/>
                  <a:gd name="T100" fmla="*/ 531 w 690"/>
                  <a:gd name="T101" fmla="*/ 360 h 1767"/>
                  <a:gd name="T102" fmla="*/ 509 w 690"/>
                  <a:gd name="T103" fmla="*/ 308 h 1767"/>
                  <a:gd name="T104" fmla="*/ 560 w 690"/>
                  <a:gd name="T105" fmla="*/ 301 h 1767"/>
                  <a:gd name="T106" fmla="*/ 621 w 690"/>
                  <a:gd name="T107" fmla="*/ 306 h 1767"/>
                  <a:gd name="T108" fmla="*/ 632 w 690"/>
                  <a:gd name="T109" fmla="*/ 220 h 1767"/>
                  <a:gd name="T110" fmla="*/ 609 w 690"/>
                  <a:gd name="T111" fmla="*/ 164 h 1767"/>
                  <a:gd name="T112" fmla="*/ 578 w 690"/>
                  <a:gd name="T113" fmla="*/ 97 h 1767"/>
                  <a:gd name="T114" fmla="*/ 628 w 690"/>
                  <a:gd name="T115" fmla="*/ 76 h 1767"/>
                  <a:gd name="T116" fmla="*/ 639 w 690"/>
                  <a:gd name="T117" fmla="*/ 42 h 1767"/>
                  <a:gd name="T118" fmla="*/ 679 w 690"/>
                  <a:gd name="T119" fmla="*/ 17 h 1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0" h="1767">
                    <a:moveTo>
                      <a:pt x="353" y="1767"/>
                    </a:moveTo>
                    <a:lnTo>
                      <a:pt x="355" y="1764"/>
                    </a:lnTo>
                    <a:lnTo>
                      <a:pt x="353" y="1761"/>
                    </a:lnTo>
                    <a:lnTo>
                      <a:pt x="352" y="1761"/>
                    </a:lnTo>
                    <a:lnTo>
                      <a:pt x="351" y="1762"/>
                    </a:lnTo>
                    <a:lnTo>
                      <a:pt x="350" y="1762"/>
                    </a:lnTo>
                    <a:lnTo>
                      <a:pt x="348" y="1762"/>
                    </a:lnTo>
                    <a:lnTo>
                      <a:pt x="345" y="1753"/>
                    </a:lnTo>
                    <a:lnTo>
                      <a:pt x="346" y="1753"/>
                    </a:lnTo>
                    <a:lnTo>
                      <a:pt x="350" y="1753"/>
                    </a:lnTo>
                    <a:lnTo>
                      <a:pt x="355" y="1755"/>
                    </a:lnTo>
                    <a:lnTo>
                      <a:pt x="358" y="1755"/>
                    </a:lnTo>
                    <a:lnTo>
                      <a:pt x="360" y="1753"/>
                    </a:lnTo>
                    <a:lnTo>
                      <a:pt x="360" y="1752"/>
                    </a:lnTo>
                    <a:lnTo>
                      <a:pt x="357" y="1750"/>
                    </a:lnTo>
                    <a:lnTo>
                      <a:pt x="356" y="1746"/>
                    </a:lnTo>
                    <a:lnTo>
                      <a:pt x="357" y="1741"/>
                    </a:lnTo>
                    <a:lnTo>
                      <a:pt x="357" y="1740"/>
                    </a:lnTo>
                    <a:lnTo>
                      <a:pt x="356" y="1737"/>
                    </a:lnTo>
                    <a:lnTo>
                      <a:pt x="357" y="1734"/>
                    </a:lnTo>
                    <a:lnTo>
                      <a:pt x="360" y="1732"/>
                    </a:lnTo>
                    <a:lnTo>
                      <a:pt x="360" y="1731"/>
                    </a:lnTo>
                    <a:lnTo>
                      <a:pt x="360" y="1729"/>
                    </a:lnTo>
                    <a:lnTo>
                      <a:pt x="358" y="1729"/>
                    </a:lnTo>
                    <a:lnTo>
                      <a:pt x="356" y="1728"/>
                    </a:lnTo>
                    <a:lnTo>
                      <a:pt x="352" y="1724"/>
                    </a:lnTo>
                    <a:lnTo>
                      <a:pt x="350" y="1724"/>
                    </a:lnTo>
                    <a:lnTo>
                      <a:pt x="347" y="1726"/>
                    </a:lnTo>
                    <a:lnTo>
                      <a:pt x="345" y="1726"/>
                    </a:lnTo>
                    <a:lnTo>
                      <a:pt x="343" y="1726"/>
                    </a:lnTo>
                    <a:lnTo>
                      <a:pt x="342" y="1723"/>
                    </a:lnTo>
                    <a:lnTo>
                      <a:pt x="339" y="1721"/>
                    </a:lnTo>
                    <a:lnTo>
                      <a:pt x="339" y="1718"/>
                    </a:lnTo>
                    <a:lnTo>
                      <a:pt x="339" y="1715"/>
                    </a:lnTo>
                    <a:lnTo>
                      <a:pt x="338" y="1715"/>
                    </a:lnTo>
                    <a:lnTo>
                      <a:pt x="338" y="1714"/>
                    </a:lnTo>
                    <a:lnTo>
                      <a:pt x="331" y="1713"/>
                    </a:lnTo>
                    <a:lnTo>
                      <a:pt x="328" y="1714"/>
                    </a:lnTo>
                    <a:lnTo>
                      <a:pt x="326" y="1714"/>
                    </a:lnTo>
                    <a:lnTo>
                      <a:pt x="322" y="1710"/>
                    </a:lnTo>
                    <a:lnTo>
                      <a:pt x="314" y="1712"/>
                    </a:lnTo>
                    <a:lnTo>
                      <a:pt x="313" y="1709"/>
                    </a:lnTo>
                    <a:lnTo>
                      <a:pt x="312" y="1708"/>
                    </a:lnTo>
                    <a:lnTo>
                      <a:pt x="308" y="1708"/>
                    </a:lnTo>
                    <a:lnTo>
                      <a:pt x="301" y="1703"/>
                    </a:lnTo>
                    <a:lnTo>
                      <a:pt x="298" y="1700"/>
                    </a:lnTo>
                    <a:lnTo>
                      <a:pt x="295" y="1700"/>
                    </a:lnTo>
                    <a:lnTo>
                      <a:pt x="293" y="1703"/>
                    </a:lnTo>
                    <a:lnTo>
                      <a:pt x="290" y="1704"/>
                    </a:lnTo>
                    <a:lnTo>
                      <a:pt x="289" y="1705"/>
                    </a:lnTo>
                    <a:lnTo>
                      <a:pt x="289" y="1708"/>
                    </a:lnTo>
                    <a:lnTo>
                      <a:pt x="289" y="1709"/>
                    </a:lnTo>
                    <a:lnTo>
                      <a:pt x="288" y="1710"/>
                    </a:lnTo>
                    <a:lnTo>
                      <a:pt x="286" y="1710"/>
                    </a:lnTo>
                    <a:lnTo>
                      <a:pt x="285" y="1709"/>
                    </a:lnTo>
                    <a:lnTo>
                      <a:pt x="284" y="1707"/>
                    </a:lnTo>
                    <a:lnTo>
                      <a:pt x="277" y="1705"/>
                    </a:lnTo>
                    <a:lnTo>
                      <a:pt x="275" y="1704"/>
                    </a:lnTo>
                    <a:lnTo>
                      <a:pt x="271" y="1700"/>
                    </a:lnTo>
                    <a:lnTo>
                      <a:pt x="271" y="1699"/>
                    </a:lnTo>
                    <a:lnTo>
                      <a:pt x="269" y="1695"/>
                    </a:lnTo>
                    <a:lnTo>
                      <a:pt x="269" y="1694"/>
                    </a:lnTo>
                    <a:lnTo>
                      <a:pt x="269" y="1693"/>
                    </a:lnTo>
                    <a:lnTo>
                      <a:pt x="269" y="1691"/>
                    </a:lnTo>
                    <a:lnTo>
                      <a:pt x="272" y="1690"/>
                    </a:lnTo>
                    <a:lnTo>
                      <a:pt x="274" y="1686"/>
                    </a:lnTo>
                    <a:lnTo>
                      <a:pt x="275" y="1685"/>
                    </a:lnTo>
                    <a:lnTo>
                      <a:pt x="275" y="1683"/>
                    </a:lnTo>
                    <a:lnTo>
                      <a:pt x="274" y="1681"/>
                    </a:lnTo>
                    <a:lnTo>
                      <a:pt x="272" y="1677"/>
                    </a:lnTo>
                    <a:lnTo>
                      <a:pt x="274" y="1676"/>
                    </a:lnTo>
                    <a:lnTo>
                      <a:pt x="274" y="1675"/>
                    </a:lnTo>
                    <a:lnTo>
                      <a:pt x="276" y="1675"/>
                    </a:lnTo>
                    <a:lnTo>
                      <a:pt x="280" y="1674"/>
                    </a:lnTo>
                    <a:lnTo>
                      <a:pt x="281" y="1672"/>
                    </a:lnTo>
                    <a:lnTo>
                      <a:pt x="281" y="1671"/>
                    </a:lnTo>
                    <a:lnTo>
                      <a:pt x="280" y="1670"/>
                    </a:lnTo>
                    <a:lnTo>
                      <a:pt x="275" y="1667"/>
                    </a:lnTo>
                    <a:lnTo>
                      <a:pt x="274" y="1667"/>
                    </a:lnTo>
                    <a:lnTo>
                      <a:pt x="274" y="1666"/>
                    </a:lnTo>
                    <a:lnTo>
                      <a:pt x="274" y="1665"/>
                    </a:lnTo>
                    <a:lnTo>
                      <a:pt x="274" y="1662"/>
                    </a:lnTo>
                    <a:lnTo>
                      <a:pt x="272" y="1661"/>
                    </a:lnTo>
                    <a:lnTo>
                      <a:pt x="271" y="1661"/>
                    </a:lnTo>
                    <a:lnTo>
                      <a:pt x="269" y="1660"/>
                    </a:lnTo>
                    <a:lnTo>
                      <a:pt x="263" y="1657"/>
                    </a:lnTo>
                    <a:lnTo>
                      <a:pt x="261" y="1656"/>
                    </a:lnTo>
                    <a:lnTo>
                      <a:pt x="261" y="1650"/>
                    </a:lnTo>
                    <a:lnTo>
                      <a:pt x="261" y="1647"/>
                    </a:lnTo>
                    <a:lnTo>
                      <a:pt x="260" y="1644"/>
                    </a:lnTo>
                    <a:lnTo>
                      <a:pt x="261" y="1642"/>
                    </a:lnTo>
                    <a:lnTo>
                      <a:pt x="262" y="1642"/>
                    </a:lnTo>
                    <a:lnTo>
                      <a:pt x="267" y="1643"/>
                    </a:lnTo>
                    <a:lnTo>
                      <a:pt x="272" y="1646"/>
                    </a:lnTo>
                    <a:lnTo>
                      <a:pt x="272" y="1643"/>
                    </a:lnTo>
                    <a:lnTo>
                      <a:pt x="271" y="1641"/>
                    </a:lnTo>
                    <a:lnTo>
                      <a:pt x="274" y="1637"/>
                    </a:lnTo>
                    <a:lnTo>
                      <a:pt x="274" y="1636"/>
                    </a:lnTo>
                    <a:lnTo>
                      <a:pt x="270" y="1633"/>
                    </a:lnTo>
                    <a:lnTo>
                      <a:pt x="270" y="1631"/>
                    </a:lnTo>
                    <a:lnTo>
                      <a:pt x="270" y="1628"/>
                    </a:lnTo>
                    <a:lnTo>
                      <a:pt x="269" y="1627"/>
                    </a:lnTo>
                    <a:lnTo>
                      <a:pt x="265" y="1625"/>
                    </a:lnTo>
                    <a:lnTo>
                      <a:pt x="263" y="1625"/>
                    </a:lnTo>
                    <a:lnTo>
                      <a:pt x="262" y="1624"/>
                    </a:lnTo>
                    <a:lnTo>
                      <a:pt x="260" y="1622"/>
                    </a:lnTo>
                    <a:lnTo>
                      <a:pt x="258" y="1619"/>
                    </a:lnTo>
                    <a:lnTo>
                      <a:pt x="258" y="1618"/>
                    </a:lnTo>
                    <a:lnTo>
                      <a:pt x="257" y="1617"/>
                    </a:lnTo>
                    <a:lnTo>
                      <a:pt x="255" y="1617"/>
                    </a:lnTo>
                    <a:lnTo>
                      <a:pt x="253" y="1615"/>
                    </a:lnTo>
                    <a:lnTo>
                      <a:pt x="252" y="1615"/>
                    </a:lnTo>
                    <a:lnTo>
                      <a:pt x="250" y="1617"/>
                    </a:lnTo>
                    <a:lnTo>
                      <a:pt x="247" y="1615"/>
                    </a:lnTo>
                    <a:lnTo>
                      <a:pt x="246" y="1614"/>
                    </a:lnTo>
                    <a:lnTo>
                      <a:pt x="244" y="1613"/>
                    </a:lnTo>
                    <a:lnTo>
                      <a:pt x="244" y="1612"/>
                    </a:lnTo>
                    <a:lnTo>
                      <a:pt x="244" y="1610"/>
                    </a:lnTo>
                    <a:lnTo>
                      <a:pt x="246" y="1609"/>
                    </a:lnTo>
                    <a:lnTo>
                      <a:pt x="248" y="1606"/>
                    </a:lnTo>
                    <a:lnTo>
                      <a:pt x="251" y="1600"/>
                    </a:lnTo>
                    <a:lnTo>
                      <a:pt x="253" y="1596"/>
                    </a:lnTo>
                    <a:lnTo>
                      <a:pt x="250" y="1596"/>
                    </a:lnTo>
                    <a:lnTo>
                      <a:pt x="248" y="1596"/>
                    </a:lnTo>
                    <a:lnTo>
                      <a:pt x="247" y="1598"/>
                    </a:lnTo>
                    <a:lnTo>
                      <a:pt x="243" y="1598"/>
                    </a:lnTo>
                    <a:lnTo>
                      <a:pt x="242" y="1599"/>
                    </a:lnTo>
                    <a:lnTo>
                      <a:pt x="239" y="1601"/>
                    </a:lnTo>
                    <a:lnTo>
                      <a:pt x="237" y="1601"/>
                    </a:lnTo>
                    <a:lnTo>
                      <a:pt x="234" y="1604"/>
                    </a:lnTo>
                    <a:lnTo>
                      <a:pt x="234" y="1605"/>
                    </a:lnTo>
                    <a:lnTo>
                      <a:pt x="233" y="1608"/>
                    </a:lnTo>
                    <a:lnTo>
                      <a:pt x="232" y="1608"/>
                    </a:lnTo>
                    <a:lnTo>
                      <a:pt x="231" y="1608"/>
                    </a:lnTo>
                    <a:lnTo>
                      <a:pt x="229" y="1606"/>
                    </a:lnTo>
                    <a:lnTo>
                      <a:pt x="225" y="1608"/>
                    </a:lnTo>
                    <a:lnTo>
                      <a:pt x="224" y="1608"/>
                    </a:lnTo>
                    <a:lnTo>
                      <a:pt x="224" y="1606"/>
                    </a:lnTo>
                    <a:lnTo>
                      <a:pt x="223" y="1605"/>
                    </a:lnTo>
                    <a:lnTo>
                      <a:pt x="224" y="1604"/>
                    </a:lnTo>
                    <a:lnTo>
                      <a:pt x="231" y="1598"/>
                    </a:lnTo>
                    <a:lnTo>
                      <a:pt x="232" y="1596"/>
                    </a:lnTo>
                    <a:lnTo>
                      <a:pt x="232" y="1595"/>
                    </a:lnTo>
                    <a:lnTo>
                      <a:pt x="229" y="1595"/>
                    </a:lnTo>
                    <a:lnTo>
                      <a:pt x="225" y="1596"/>
                    </a:lnTo>
                    <a:lnTo>
                      <a:pt x="223" y="1594"/>
                    </a:lnTo>
                    <a:lnTo>
                      <a:pt x="222" y="1595"/>
                    </a:lnTo>
                    <a:lnTo>
                      <a:pt x="220" y="1595"/>
                    </a:lnTo>
                    <a:lnTo>
                      <a:pt x="218" y="1595"/>
                    </a:lnTo>
                    <a:lnTo>
                      <a:pt x="215" y="1594"/>
                    </a:lnTo>
                    <a:lnTo>
                      <a:pt x="215" y="1590"/>
                    </a:lnTo>
                    <a:lnTo>
                      <a:pt x="217" y="1586"/>
                    </a:lnTo>
                    <a:lnTo>
                      <a:pt x="219" y="1587"/>
                    </a:lnTo>
                    <a:lnTo>
                      <a:pt x="223" y="1586"/>
                    </a:lnTo>
                    <a:lnTo>
                      <a:pt x="224" y="1587"/>
                    </a:lnTo>
                    <a:lnTo>
                      <a:pt x="225" y="1589"/>
                    </a:lnTo>
                    <a:lnTo>
                      <a:pt x="227" y="1590"/>
                    </a:lnTo>
                    <a:lnTo>
                      <a:pt x="228" y="1589"/>
                    </a:lnTo>
                    <a:lnTo>
                      <a:pt x="229" y="1589"/>
                    </a:lnTo>
                    <a:lnTo>
                      <a:pt x="232" y="1589"/>
                    </a:lnTo>
                    <a:lnTo>
                      <a:pt x="233" y="1586"/>
                    </a:lnTo>
                    <a:lnTo>
                      <a:pt x="231" y="1582"/>
                    </a:lnTo>
                    <a:lnTo>
                      <a:pt x="222" y="1581"/>
                    </a:lnTo>
                    <a:lnTo>
                      <a:pt x="218" y="1579"/>
                    </a:lnTo>
                    <a:lnTo>
                      <a:pt x="215" y="1577"/>
                    </a:lnTo>
                    <a:lnTo>
                      <a:pt x="215" y="1575"/>
                    </a:lnTo>
                    <a:lnTo>
                      <a:pt x="215" y="1572"/>
                    </a:lnTo>
                    <a:lnTo>
                      <a:pt x="215" y="1571"/>
                    </a:lnTo>
                    <a:lnTo>
                      <a:pt x="215" y="1570"/>
                    </a:lnTo>
                    <a:lnTo>
                      <a:pt x="217" y="1567"/>
                    </a:lnTo>
                    <a:lnTo>
                      <a:pt x="218" y="1563"/>
                    </a:lnTo>
                    <a:lnTo>
                      <a:pt x="218" y="1562"/>
                    </a:lnTo>
                    <a:lnTo>
                      <a:pt x="219" y="1560"/>
                    </a:lnTo>
                    <a:lnTo>
                      <a:pt x="219" y="1558"/>
                    </a:lnTo>
                    <a:lnTo>
                      <a:pt x="218" y="1557"/>
                    </a:lnTo>
                    <a:lnTo>
                      <a:pt x="208" y="1560"/>
                    </a:lnTo>
                    <a:lnTo>
                      <a:pt x="206" y="1560"/>
                    </a:lnTo>
                    <a:lnTo>
                      <a:pt x="204" y="1561"/>
                    </a:lnTo>
                    <a:lnTo>
                      <a:pt x="200" y="1561"/>
                    </a:lnTo>
                    <a:lnTo>
                      <a:pt x="199" y="1560"/>
                    </a:lnTo>
                    <a:lnTo>
                      <a:pt x="199" y="1558"/>
                    </a:lnTo>
                    <a:lnTo>
                      <a:pt x="199" y="1557"/>
                    </a:lnTo>
                    <a:lnTo>
                      <a:pt x="200" y="1557"/>
                    </a:lnTo>
                    <a:lnTo>
                      <a:pt x="206" y="1555"/>
                    </a:lnTo>
                    <a:lnTo>
                      <a:pt x="209" y="1549"/>
                    </a:lnTo>
                    <a:lnTo>
                      <a:pt x="210" y="1548"/>
                    </a:lnTo>
                    <a:lnTo>
                      <a:pt x="210" y="1547"/>
                    </a:lnTo>
                    <a:lnTo>
                      <a:pt x="212" y="1544"/>
                    </a:lnTo>
                    <a:lnTo>
                      <a:pt x="212" y="1543"/>
                    </a:lnTo>
                    <a:lnTo>
                      <a:pt x="212" y="1539"/>
                    </a:lnTo>
                    <a:lnTo>
                      <a:pt x="209" y="1536"/>
                    </a:lnTo>
                    <a:lnTo>
                      <a:pt x="208" y="1537"/>
                    </a:lnTo>
                    <a:lnTo>
                      <a:pt x="205" y="1541"/>
                    </a:lnTo>
                    <a:lnTo>
                      <a:pt x="204" y="1541"/>
                    </a:lnTo>
                    <a:lnTo>
                      <a:pt x="195" y="1544"/>
                    </a:lnTo>
                    <a:lnTo>
                      <a:pt x="198" y="1538"/>
                    </a:lnTo>
                    <a:lnTo>
                      <a:pt x="201" y="1534"/>
                    </a:lnTo>
                    <a:lnTo>
                      <a:pt x="203" y="1530"/>
                    </a:lnTo>
                    <a:lnTo>
                      <a:pt x="199" y="1530"/>
                    </a:lnTo>
                    <a:lnTo>
                      <a:pt x="196" y="1528"/>
                    </a:lnTo>
                    <a:lnTo>
                      <a:pt x="195" y="1524"/>
                    </a:lnTo>
                    <a:lnTo>
                      <a:pt x="196" y="1522"/>
                    </a:lnTo>
                    <a:lnTo>
                      <a:pt x="199" y="1520"/>
                    </a:lnTo>
                    <a:lnTo>
                      <a:pt x="203" y="1519"/>
                    </a:lnTo>
                    <a:lnTo>
                      <a:pt x="205" y="1515"/>
                    </a:lnTo>
                    <a:lnTo>
                      <a:pt x="206" y="1514"/>
                    </a:lnTo>
                    <a:lnTo>
                      <a:pt x="204" y="1511"/>
                    </a:lnTo>
                    <a:lnTo>
                      <a:pt x="196" y="1510"/>
                    </a:lnTo>
                    <a:lnTo>
                      <a:pt x="195" y="1509"/>
                    </a:lnTo>
                    <a:lnTo>
                      <a:pt x="196" y="1508"/>
                    </a:lnTo>
                    <a:lnTo>
                      <a:pt x="198" y="1506"/>
                    </a:lnTo>
                    <a:lnTo>
                      <a:pt x="199" y="1504"/>
                    </a:lnTo>
                    <a:lnTo>
                      <a:pt x="200" y="1498"/>
                    </a:lnTo>
                    <a:lnTo>
                      <a:pt x="199" y="1498"/>
                    </a:lnTo>
                    <a:lnTo>
                      <a:pt x="194" y="1500"/>
                    </a:lnTo>
                    <a:lnTo>
                      <a:pt x="191" y="1496"/>
                    </a:lnTo>
                    <a:lnTo>
                      <a:pt x="190" y="1496"/>
                    </a:lnTo>
                    <a:lnTo>
                      <a:pt x="190" y="1499"/>
                    </a:lnTo>
                    <a:lnTo>
                      <a:pt x="187" y="1500"/>
                    </a:lnTo>
                    <a:lnTo>
                      <a:pt x="184" y="1504"/>
                    </a:lnTo>
                    <a:lnTo>
                      <a:pt x="182" y="1505"/>
                    </a:lnTo>
                    <a:lnTo>
                      <a:pt x="177" y="1508"/>
                    </a:lnTo>
                    <a:lnTo>
                      <a:pt x="175" y="1508"/>
                    </a:lnTo>
                    <a:lnTo>
                      <a:pt x="171" y="1506"/>
                    </a:lnTo>
                    <a:lnTo>
                      <a:pt x="168" y="1504"/>
                    </a:lnTo>
                    <a:lnTo>
                      <a:pt x="162" y="1508"/>
                    </a:lnTo>
                    <a:lnTo>
                      <a:pt x="161" y="1504"/>
                    </a:lnTo>
                    <a:lnTo>
                      <a:pt x="163" y="1500"/>
                    </a:lnTo>
                    <a:lnTo>
                      <a:pt x="161" y="1499"/>
                    </a:lnTo>
                    <a:lnTo>
                      <a:pt x="158" y="1498"/>
                    </a:lnTo>
                    <a:lnTo>
                      <a:pt x="153" y="1495"/>
                    </a:lnTo>
                    <a:lnTo>
                      <a:pt x="152" y="1494"/>
                    </a:lnTo>
                    <a:lnTo>
                      <a:pt x="153" y="1492"/>
                    </a:lnTo>
                    <a:lnTo>
                      <a:pt x="153" y="1489"/>
                    </a:lnTo>
                    <a:lnTo>
                      <a:pt x="152" y="1489"/>
                    </a:lnTo>
                    <a:lnTo>
                      <a:pt x="146" y="1495"/>
                    </a:lnTo>
                    <a:lnTo>
                      <a:pt x="141" y="1492"/>
                    </a:lnTo>
                    <a:lnTo>
                      <a:pt x="137" y="1492"/>
                    </a:lnTo>
                    <a:lnTo>
                      <a:pt x="134" y="1492"/>
                    </a:lnTo>
                    <a:lnTo>
                      <a:pt x="132" y="1492"/>
                    </a:lnTo>
                    <a:lnTo>
                      <a:pt x="128" y="1494"/>
                    </a:lnTo>
                    <a:lnTo>
                      <a:pt x="124" y="1495"/>
                    </a:lnTo>
                    <a:lnTo>
                      <a:pt x="123" y="1494"/>
                    </a:lnTo>
                    <a:lnTo>
                      <a:pt x="122" y="1492"/>
                    </a:lnTo>
                    <a:lnTo>
                      <a:pt x="119" y="1492"/>
                    </a:lnTo>
                    <a:lnTo>
                      <a:pt x="118" y="1492"/>
                    </a:lnTo>
                    <a:lnTo>
                      <a:pt x="116" y="1492"/>
                    </a:lnTo>
                    <a:lnTo>
                      <a:pt x="116" y="1495"/>
                    </a:lnTo>
                    <a:lnTo>
                      <a:pt x="114" y="1495"/>
                    </a:lnTo>
                    <a:lnTo>
                      <a:pt x="113" y="1494"/>
                    </a:lnTo>
                    <a:lnTo>
                      <a:pt x="109" y="1490"/>
                    </a:lnTo>
                    <a:lnTo>
                      <a:pt x="108" y="1490"/>
                    </a:lnTo>
                    <a:lnTo>
                      <a:pt x="105" y="1491"/>
                    </a:lnTo>
                    <a:lnTo>
                      <a:pt x="104" y="1491"/>
                    </a:lnTo>
                    <a:lnTo>
                      <a:pt x="104" y="1492"/>
                    </a:lnTo>
                    <a:lnTo>
                      <a:pt x="105" y="1494"/>
                    </a:lnTo>
                    <a:lnTo>
                      <a:pt x="106" y="1494"/>
                    </a:lnTo>
                    <a:lnTo>
                      <a:pt x="106" y="1496"/>
                    </a:lnTo>
                    <a:lnTo>
                      <a:pt x="105" y="1498"/>
                    </a:lnTo>
                    <a:lnTo>
                      <a:pt x="104" y="1498"/>
                    </a:lnTo>
                    <a:lnTo>
                      <a:pt x="104" y="1496"/>
                    </a:lnTo>
                    <a:lnTo>
                      <a:pt x="103" y="1496"/>
                    </a:lnTo>
                    <a:lnTo>
                      <a:pt x="100" y="1499"/>
                    </a:lnTo>
                    <a:lnTo>
                      <a:pt x="97" y="1499"/>
                    </a:lnTo>
                    <a:lnTo>
                      <a:pt x="94" y="1503"/>
                    </a:lnTo>
                    <a:lnTo>
                      <a:pt x="92" y="1503"/>
                    </a:lnTo>
                    <a:lnTo>
                      <a:pt x="90" y="1503"/>
                    </a:lnTo>
                    <a:lnTo>
                      <a:pt x="85" y="1500"/>
                    </a:lnTo>
                    <a:lnTo>
                      <a:pt x="82" y="1499"/>
                    </a:lnTo>
                    <a:lnTo>
                      <a:pt x="81" y="1499"/>
                    </a:lnTo>
                    <a:lnTo>
                      <a:pt x="81" y="1498"/>
                    </a:lnTo>
                    <a:lnTo>
                      <a:pt x="82" y="1496"/>
                    </a:lnTo>
                    <a:lnTo>
                      <a:pt x="81" y="1496"/>
                    </a:lnTo>
                    <a:lnTo>
                      <a:pt x="80" y="1496"/>
                    </a:lnTo>
                    <a:lnTo>
                      <a:pt x="78" y="1498"/>
                    </a:lnTo>
                    <a:lnTo>
                      <a:pt x="75" y="1506"/>
                    </a:lnTo>
                    <a:lnTo>
                      <a:pt x="73" y="1508"/>
                    </a:lnTo>
                    <a:lnTo>
                      <a:pt x="72" y="1506"/>
                    </a:lnTo>
                    <a:lnTo>
                      <a:pt x="71" y="1506"/>
                    </a:lnTo>
                    <a:lnTo>
                      <a:pt x="67" y="1503"/>
                    </a:lnTo>
                    <a:lnTo>
                      <a:pt x="62" y="1504"/>
                    </a:lnTo>
                    <a:lnTo>
                      <a:pt x="59" y="1503"/>
                    </a:lnTo>
                    <a:lnTo>
                      <a:pt x="54" y="1503"/>
                    </a:lnTo>
                    <a:lnTo>
                      <a:pt x="52" y="1499"/>
                    </a:lnTo>
                    <a:lnTo>
                      <a:pt x="49" y="1496"/>
                    </a:lnTo>
                    <a:lnTo>
                      <a:pt x="47" y="1496"/>
                    </a:lnTo>
                    <a:lnTo>
                      <a:pt x="47" y="1491"/>
                    </a:lnTo>
                    <a:lnTo>
                      <a:pt x="46" y="1490"/>
                    </a:lnTo>
                    <a:lnTo>
                      <a:pt x="44" y="1489"/>
                    </a:lnTo>
                    <a:lnTo>
                      <a:pt x="42" y="1489"/>
                    </a:lnTo>
                    <a:lnTo>
                      <a:pt x="39" y="1490"/>
                    </a:lnTo>
                    <a:lnTo>
                      <a:pt x="38" y="1490"/>
                    </a:lnTo>
                    <a:lnTo>
                      <a:pt x="37" y="1487"/>
                    </a:lnTo>
                    <a:lnTo>
                      <a:pt x="35" y="1484"/>
                    </a:lnTo>
                    <a:lnTo>
                      <a:pt x="35" y="1482"/>
                    </a:lnTo>
                    <a:lnTo>
                      <a:pt x="35" y="1481"/>
                    </a:lnTo>
                    <a:lnTo>
                      <a:pt x="33" y="1480"/>
                    </a:lnTo>
                    <a:lnTo>
                      <a:pt x="28" y="1478"/>
                    </a:lnTo>
                    <a:lnTo>
                      <a:pt x="24" y="1477"/>
                    </a:lnTo>
                    <a:lnTo>
                      <a:pt x="23" y="1475"/>
                    </a:lnTo>
                    <a:lnTo>
                      <a:pt x="23" y="1473"/>
                    </a:lnTo>
                    <a:lnTo>
                      <a:pt x="25" y="1472"/>
                    </a:lnTo>
                    <a:lnTo>
                      <a:pt x="25" y="1471"/>
                    </a:lnTo>
                    <a:lnTo>
                      <a:pt x="25" y="1470"/>
                    </a:lnTo>
                    <a:lnTo>
                      <a:pt x="27" y="1470"/>
                    </a:lnTo>
                    <a:lnTo>
                      <a:pt x="25" y="1468"/>
                    </a:lnTo>
                    <a:lnTo>
                      <a:pt x="24" y="1466"/>
                    </a:lnTo>
                    <a:lnTo>
                      <a:pt x="24" y="1463"/>
                    </a:lnTo>
                    <a:lnTo>
                      <a:pt x="23" y="1462"/>
                    </a:lnTo>
                    <a:lnTo>
                      <a:pt x="19" y="1462"/>
                    </a:lnTo>
                    <a:lnTo>
                      <a:pt x="18" y="1463"/>
                    </a:lnTo>
                    <a:lnTo>
                      <a:pt x="15" y="1462"/>
                    </a:lnTo>
                    <a:lnTo>
                      <a:pt x="14" y="1461"/>
                    </a:lnTo>
                    <a:lnTo>
                      <a:pt x="15" y="1458"/>
                    </a:lnTo>
                    <a:lnTo>
                      <a:pt x="9" y="1447"/>
                    </a:lnTo>
                    <a:lnTo>
                      <a:pt x="8" y="1446"/>
                    </a:lnTo>
                    <a:lnTo>
                      <a:pt x="5" y="1443"/>
                    </a:lnTo>
                    <a:lnTo>
                      <a:pt x="4" y="1442"/>
                    </a:lnTo>
                    <a:lnTo>
                      <a:pt x="4" y="1438"/>
                    </a:lnTo>
                    <a:lnTo>
                      <a:pt x="2" y="1439"/>
                    </a:lnTo>
                    <a:lnTo>
                      <a:pt x="0" y="1439"/>
                    </a:lnTo>
                    <a:lnTo>
                      <a:pt x="0" y="1438"/>
                    </a:lnTo>
                    <a:lnTo>
                      <a:pt x="1" y="1437"/>
                    </a:lnTo>
                    <a:lnTo>
                      <a:pt x="0" y="1434"/>
                    </a:lnTo>
                    <a:lnTo>
                      <a:pt x="0" y="1433"/>
                    </a:lnTo>
                    <a:lnTo>
                      <a:pt x="0" y="1432"/>
                    </a:lnTo>
                    <a:lnTo>
                      <a:pt x="0" y="1429"/>
                    </a:lnTo>
                    <a:lnTo>
                      <a:pt x="2" y="1425"/>
                    </a:lnTo>
                    <a:lnTo>
                      <a:pt x="2" y="1424"/>
                    </a:lnTo>
                    <a:lnTo>
                      <a:pt x="1" y="1421"/>
                    </a:lnTo>
                    <a:lnTo>
                      <a:pt x="1" y="1420"/>
                    </a:lnTo>
                    <a:lnTo>
                      <a:pt x="2" y="1419"/>
                    </a:lnTo>
                    <a:lnTo>
                      <a:pt x="4" y="1418"/>
                    </a:lnTo>
                    <a:lnTo>
                      <a:pt x="4" y="1416"/>
                    </a:lnTo>
                    <a:lnTo>
                      <a:pt x="4" y="1415"/>
                    </a:lnTo>
                    <a:lnTo>
                      <a:pt x="5" y="1415"/>
                    </a:lnTo>
                    <a:lnTo>
                      <a:pt x="5" y="1414"/>
                    </a:lnTo>
                    <a:lnTo>
                      <a:pt x="8" y="1411"/>
                    </a:lnTo>
                    <a:lnTo>
                      <a:pt x="9" y="1410"/>
                    </a:lnTo>
                    <a:lnTo>
                      <a:pt x="10" y="1406"/>
                    </a:lnTo>
                    <a:lnTo>
                      <a:pt x="11" y="1405"/>
                    </a:lnTo>
                    <a:lnTo>
                      <a:pt x="11" y="1404"/>
                    </a:lnTo>
                    <a:lnTo>
                      <a:pt x="13" y="1399"/>
                    </a:lnTo>
                    <a:lnTo>
                      <a:pt x="14" y="1397"/>
                    </a:lnTo>
                    <a:lnTo>
                      <a:pt x="16" y="1392"/>
                    </a:lnTo>
                    <a:lnTo>
                      <a:pt x="18" y="1387"/>
                    </a:lnTo>
                    <a:lnTo>
                      <a:pt x="20" y="1378"/>
                    </a:lnTo>
                    <a:lnTo>
                      <a:pt x="21" y="1376"/>
                    </a:lnTo>
                    <a:lnTo>
                      <a:pt x="23" y="1375"/>
                    </a:lnTo>
                    <a:lnTo>
                      <a:pt x="24" y="1373"/>
                    </a:lnTo>
                    <a:lnTo>
                      <a:pt x="25" y="1371"/>
                    </a:lnTo>
                    <a:lnTo>
                      <a:pt x="24" y="1366"/>
                    </a:lnTo>
                    <a:lnTo>
                      <a:pt x="21" y="1362"/>
                    </a:lnTo>
                    <a:lnTo>
                      <a:pt x="25" y="1356"/>
                    </a:lnTo>
                    <a:lnTo>
                      <a:pt x="25" y="1353"/>
                    </a:lnTo>
                    <a:lnTo>
                      <a:pt x="25" y="1352"/>
                    </a:lnTo>
                    <a:lnTo>
                      <a:pt x="25" y="1351"/>
                    </a:lnTo>
                    <a:lnTo>
                      <a:pt x="25" y="1349"/>
                    </a:lnTo>
                    <a:lnTo>
                      <a:pt x="23" y="1348"/>
                    </a:lnTo>
                    <a:lnTo>
                      <a:pt x="20" y="1347"/>
                    </a:lnTo>
                    <a:lnTo>
                      <a:pt x="19" y="1345"/>
                    </a:lnTo>
                    <a:lnTo>
                      <a:pt x="18" y="1344"/>
                    </a:lnTo>
                    <a:lnTo>
                      <a:pt x="18" y="1340"/>
                    </a:lnTo>
                    <a:lnTo>
                      <a:pt x="18" y="1339"/>
                    </a:lnTo>
                    <a:lnTo>
                      <a:pt x="19" y="1338"/>
                    </a:lnTo>
                    <a:lnTo>
                      <a:pt x="19" y="1330"/>
                    </a:lnTo>
                    <a:lnTo>
                      <a:pt x="19" y="1323"/>
                    </a:lnTo>
                    <a:lnTo>
                      <a:pt x="20" y="1293"/>
                    </a:lnTo>
                    <a:lnTo>
                      <a:pt x="20" y="1292"/>
                    </a:lnTo>
                    <a:lnTo>
                      <a:pt x="21" y="1291"/>
                    </a:lnTo>
                    <a:lnTo>
                      <a:pt x="24" y="1285"/>
                    </a:lnTo>
                    <a:lnTo>
                      <a:pt x="21" y="1273"/>
                    </a:lnTo>
                    <a:lnTo>
                      <a:pt x="23" y="1273"/>
                    </a:lnTo>
                    <a:lnTo>
                      <a:pt x="25" y="1272"/>
                    </a:lnTo>
                    <a:lnTo>
                      <a:pt x="29" y="1271"/>
                    </a:lnTo>
                    <a:lnTo>
                      <a:pt x="32" y="1271"/>
                    </a:lnTo>
                    <a:lnTo>
                      <a:pt x="33" y="1268"/>
                    </a:lnTo>
                    <a:lnTo>
                      <a:pt x="34" y="1268"/>
                    </a:lnTo>
                    <a:lnTo>
                      <a:pt x="34" y="1266"/>
                    </a:lnTo>
                    <a:lnTo>
                      <a:pt x="34" y="1262"/>
                    </a:lnTo>
                    <a:lnTo>
                      <a:pt x="35" y="1258"/>
                    </a:lnTo>
                    <a:lnTo>
                      <a:pt x="35" y="1257"/>
                    </a:lnTo>
                    <a:lnTo>
                      <a:pt x="37" y="1255"/>
                    </a:lnTo>
                    <a:lnTo>
                      <a:pt x="37" y="1252"/>
                    </a:lnTo>
                    <a:lnTo>
                      <a:pt x="38" y="1250"/>
                    </a:lnTo>
                    <a:lnTo>
                      <a:pt x="39" y="1248"/>
                    </a:lnTo>
                    <a:lnTo>
                      <a:pt x="40" y="1247"/>
                    </a:lnTo>
                    <a:lnTo>
                      <a:pt x="40" y="1245"/>
                    </a:lnTo>
                    <a:lnTo>
                      <a:pt x="42" y="1244"/>
                    </a:lnTo>
                    <a:lnTo>
                      <a:pt x="44" y="1242"/>
                    </a:lnTo>
                    <a:lnTo>
                      <a:pt x="46" y="1235"/>
                    </a:lnTo>
                    <a:lnTo>
                      <a:pt x="47" y="1228"/>
                    </a:lnTo>
                    <a:lnTo>
                      <a:pt x="46" y="1225"/>
                    </a:lnTo>
                    <a:lnTo>
                      <a:pt x="44" y="1224"/>
                    </a:lnTo>
                    <a:lnTo>
                      <a:pt x="43" y="1221"/>
                    </a:lnTo>
                    <a:lnTo>
                      <a:pt x="42" y="1221"/>
                    </a:lnTo>
                    <a:lnTo>
                      <a:pt x="40" y="1220"/>
                    </a:lnTo>
                    <a:lnTo>
                      <a:pt x="37" y="1219"/>
                    </a:lnTo>
                    <a:lnTo>
                      <a:pt x="35" y="1217"/>
                    </a:lnTo>
                    <a:lnTo>
                      <a:pt x="34" y="1217"/>
                    </a:lnTo>
                    <a:lnTo>
                      <a:pt x="27" y="1201"/>
                    </a:lnTo>
                    <a:lnTo>
                      <a:pt x="27" y="1187"/>
                    </a:lnTo>
                    <a:lnTo>
                      <a:pt x="24" y="1183"/>
                    </a:lnTo>
                    <a:lnTo>
                      <a:pt x="24" y="1173"/>
                    </a:lnTo>
                    <a:lnTo>
                      <a:pt x="23" y="1172"/>
                    </a:lnTo>
                    <a:lnTo>
                      <a:pt x="19" y="1171"/>
                    </a:lnTo>
                    <a:lnTo>
                      <a:pt x="18" y="1171"/>
                    </a:lnTo>
                    <a:lnTo>
                      <a:pt x="15" y="1169"/>
                    </a:lnTo>
                    <a:lnTo>
                      <a:pt x="14" y="1168"/>
                    </a:lnTo>
                    <a:lnTo>
                      <a:pt x="14" y="1167"/>
                    </a:lnTo>
                    <a:lnTo>
                      <a:pt x="14" y="1166"/>
                    </a:lnTo>
                    <a:lnTo>
                      <a:pt x="15" y="1164"/>
                    </a:lnTo>
                    <a:lnTo>
                      <a:pt x="15" y="1160"/>
                    </a:lnTo>
                    <a:lnTo>
                      <a:pt x="15" y="1158"/>
                    </a:lnTo>
                    <a:lnTo>
                      <a:pt x="15" y="1157"/>
                    </a:lnTo>
                    <a:lnTo>
                      <a:pt x="11" y="1145"/>
                    </a:lnTo>
                    <a:lnTo>
                      <a:pt x="11" y="1143"/>
                    </a:lnTo>
                    <a:lnTo>
                      <a:pt x="11" y="1131"/>
                    </a:lnTo>
                    <a:lnTo>
                      <a:pt x="10" y="1126"/>
                    </a:lnTo>
                    <a:lnTo>
                      <a:pt x="10" y="1124"/>
                    </a:lnTo>
                    <a:lnTo>
                      <a:pt x="13" y="1120"/>
                    </a:lnTo>
                    <a:lnTo>
                      <a:pt x="14" y="1120"/>
                    </a:lnTo>
                    <a:lnTo>
                      <a:pt x="16" y="1119"/>
                    </a:lnTo>
                    <a:lnTo>
                      <a:pt x="19" y="1117"/>
                    </a:lnTo>
                    <a:lnTo>
                      <a:pt x="23" y="1116"/>
                    </a:lnTo>
                    <a:lnTo>
                      <a:pt x="25" y="1115"/>
                    </a:lnTo>
                    <a:lnTo>
                      <a:pt x="29" y="1115"/>
                    </a:lnTo>
                    <a:lnTo>
                      <a:pt x="52" y="1110"/>
                    </a:lnTo>
                    <a:lnTo>
                      <a:pt x="53" y="1108"/>
                    </a:lnTo>
                    <a:lnTo>
                      <a:pt x="54" y="1108"/>
                    </a:lnTo>
                    <a:lnTo>
                      <a:pt x="56" y="1108"/>
                    </a:lnTo>
                    <a:lnTo>
                      <a:pt x="61" y="1106"/>
                    </a:lnTo>
                    <a:lnTo>
                      <a:pt x="76" y="1097"/>
                    </a:lnTo>
                    <a:lnTo>
                      <a:pt x="77" y="1096"/>
                    </a:lnTo>
                    <a:lnTo>
                      <a:pt x="84" y="1091"/>
                    </a:lnTo>
                    <a:lnTo>
                      <a:pt x="85" y="1089"/>
                    </a:lnTo>
                    <a:lnTo>
                      <a:pt x="86" y="1088"/>
                    </a:lnTo>
                    <a:lnTo>
                      <a:pt x="87" y="1087"/>
                    </a:lnTo>
                    <a:lnTo>
                      <a:pt x="89" y="1083"/>
                    </a:lnTo>
                    <a:lnTo>
                      <a:pt x="90" y="1079"/>
                    </a:lnTo>
                    <a:lnTo>
                      <a:pt x="90" y="1078"/>
                    </a:lnTo>
                    <a:lnTo>
                      <a:pt x="91" y="1069"/>
                    </a:lnTo>
                    <a:lnTo>
                      <a:pt x="91" y="1067"/>
                    </a:lnTo>
                    <a:lnTo>
                      <a:pt x="91" y="1065"/>
                    </a:lnTo>
                    <a:lnTo>
                      <a:pt x="91" y="1064"/>
                    </a:lnTo>
                    <a:lnTo>
                      <a:pt x="94" y="1058"/>
                    </a:lnTo>
                    <a:lnTo>
                      <a:pt x="96" y="1055"/>
                    </a:lnTo>
                    <a:lnTo>
                      <a:pt x="99" y="1054"/>
                    </a:lnTo>
                    <a:lnTo>
                      <a:pt x="100" y="1053"/>
                    </a:lnTo>
                    <a:lnTo>
                      <a:pt x="114" y="1046"/>
                    </a:lnTo>
                    <a:lnTo>
                      <a:pt x="116" y="1044"/>
                    </a:lnTo>
                    <a:lnTo>
                      <a:pt x="118" y="1043"/>
                    </a:lnTo>
                    <a:lnTo>
                      <a:pt x="120" y="1040"/>
                    </a:lnTo>
                    <a:lnTo>
                      <a:pt x="122" y="1039"/>
                    </a:lnTo>
                    <a:lnTo>
                      <a:pt x="123" y="1035"/>
                    </a:lnTo>
                    <a:lnTo>
                      <a:pt x="123" y="1032"/>
                    </a:lnTo>
                    <a:lnTo>
                      <a:pt x="124" y="1024"/>
                    </a:lnTo>
                    <a:lnTo>
                      <a:pt x="125" y="1020"/>
                    </a:lnTo>
                    <a:lnTo>
                      <a:pt x="124" y="1013"/>
                    </a:lnTo>
                    <a:lnTo>
                      <a:pt x="124" y="1007"/>
                    </a:lnTo>
                    <a:lnTo>
                      <a:pt x="123" y="989"/>
                    </a:lnTo>
                    <a:lnTo>
                      <a:pt x="123" y="984"/>
                    </a:lnTo>
                    <a:lnTo>
                      <a:pt x="123" y="982"/>
                    </a:lnTo>
                    <a:lnTo>
                      <a:pt x="124" y="978"/>
                    </a:lnTo>
                    <a:lnTo>
                      <a:pt x="125" y="977"/>
                    </a:lnTo>
                    <a:lnTo>
                      <a:pt x="128" y="973"/>
                    </a:lnTo>
                    <a:lnTo>
                      <a:pt x="134" y="968"/>
                    </a:lnTo>
                    <a:lnTo>
                      <a:pt x="139" y="967"/>
                    </a:lnTo>
                    <a:lnTo>
                      <a:pt x="139" y="965"/>
                    </a:lnTo>
                    <a:lnTo>
                      <a:pt x="141" y="965"/>
                    </a:lnTo>
                    <a:lnTo>
                      <a:pt x="147" y="961"/>
                    </a:lnTo>
                    <a:lnTo>
                      <a:pt x="148" y="960"/>
                    </a:lnTo>
                    <a:lnTo>
                      <a:pt x="151" y="955"/>
                    </a:lnTo>
                    <a:lnTo>
                      <a:pt x="153" y="949"/>
                    </a:lnTo>
                    <a:lnTo>
                      <a:pt x="153" y="948"/>
                    </a:lnTo>
                    <a:lnTo>
                      <a:pt x="156" y="945"/>
                    </a:lnTo>
                    <a:lnTo>
                      <a:pt x="156" y="944"/>
                    </a:lnTo>
                    <a:lnTo>
                      <a:pt x="157" y="941"/>
                    </a:lnTo>
                    <a:lnTo>
                      <a:pt x="156" y="940"/>
                    </a:lnTo>
                    <a:lnTo>
                      <a:pt x="156" y="939"/>
                    </a:lnTo>
                    <a:lnTo>
                      <a:pt x="156" y="937"/>
                    </a:lnTo>
                    <a:lnTo>
                      <a:pt x="154" y="936"/>
                    </a:lnTo>
                    <a:lnTo>
                      <a:pt x="154" y="935"/>
                    </a:lnTo>
                    <a:lnTo>
                      <a:pt x="153" y="934"/>
                    </a:lnTo>
                    <a:lnTo>
                      <a:pt x="151" y="931"/>
                    </a:lnTo>
                    <a:lnTo>
                      <a:pt x="151" y="929"/>
                    </a:lnTo>
                    <a:lnTo>
                      <a:pt x="149" y="927"/>
                    </a:lnTo>
                    <a:lnTo>
                      <a:pt x="149" y="925"/>
                    </a:lnTo>
                    <a:lnTo>
                      <a:pt x="149" y="923"/>
                    </a:lnTo>
                    <a:lnTo>
                      <a:pt x="152" y="917"/>
                    </a:lnTo>
                    <a:lnTo>
                      <a:pt x="151" y="915"/>
                    </a:lnTo>
                    <a:lnTo>
                      <a:pt x="151" y="913"/>
                    </a:lnTo>
                    <a:lnTo>
                      <a:pt x="149" y="902"/>
                    </a:lnTo>
                    <a:lnTo>
                      <a:pt x="151" y="901"/>
                    </a:lnTo>
                    <a:lnTo>
                      <a:pt x="152" y="898"/>
                    </a:lnTo>
                    <a:lnTo>
                      <a:pt x="154" y="894"/>
                    </a:lnTo>
                    <a:lnTo>
                      <a:pt x="154" y="893"/>
                    </a:lnTo>
                    <a:lnTo>
                      <a:pt x="154" y="892"/>
                    </a:lnTo>
                    <a:lnTo>
                      <a:pt x="151" y="885"/>
                    </a:lnTo>
                    <a:lnTo>
                      <a:pt x="149" y="884"/>
                    </a:lnTo>
                    <a:lnTo>
                      <a:pt x="148" y="882"/>
                    </a:lnTo>
                    <a:lnTo>
                      <a:pt x="147" y="879"/>
                    </a:lnTo>
                    <a:lnTo>
                      <a:pt x="146" y="873"/>
                    </a:lnTo>
                    <a:lnTo>
                      <a:pt x="146" y="870"/>
                    </a:lnTo>
                    <a:lnTo>
                      <a:pt x="146" y="866"/>
                    </a:lnTo>
                    <a:lnTo>
                      <a:pt x="143" y="864"/>
                    </a:lnTo>
                    <a:lnTo>
                      <a:pt x="142" y="863"/>
                    </a:lnTo>
                    <a:lnTo>
                      <a:pt x="139" y="861"/>
                    </a:lnTo>
                    <a:lnTo>
                      <a:pt x="137" y="858"/>
                    </a:lnTo>
                    <a:lnTo>
                      <a:pt x="137" y="856"/>
                    </a:lnTo>
                    <a:lnTo>
                      <a:pt x="133" y="856"/>
                    </a:lnTo>
                    <a:lnTo>
                      <a:pt x="129" y="856"/>
                    </a:lnTo>
                    <a:lnTo>
                      <a:pt x="125" y="856"/>
                    </a:lnTo>
                    <a:lnTo>
                      <a:pt x="118" y="858"/>
                    </a:lnTo>
                    <a:lnTo>
                      <a:pt x="115" y="856"/>
                    </a:lnTo>
                    <a:lnTo>
                      <a:pt x="114" y="855"/>
                    </a:lnTo>
                    <a:lnTo>
                      <a:pt x="110" y="854"/>
                    </a:lnTo>
                    <a:lnTo>
                      <a:pt x="108" y="850"/>
                    </a:lnTo>
                    <a:lnTo>
                      <a:pt x="108" y="849"/>
                    </a:lnTo>
                    <a:lnTo>
                      <a:pt x="108" y="846"/>
                    </a:lnTo>
                    <a:lnTo>
                      <a:pt x="110" y="841"/>
                    </a:lnTo>
                    <a:lnTo>
                      <a:pt x="111" y="837"/>
                    </a:lnTo>
                    <a:lnTo>
                      <a:pt x="113" y="836"/>
                    </a:lnTo>
                    <a:lnTo>
                      <a:pt x="113" y="835"/>
                    </a:lnTo>
                    <a:lnTo>
                      <a:pt x="119" y="822"/>
                    </a:lnTo>
                    <a:lnTo>
                      <a:pt x="122" y="817"/>
                    </a:lnTo>
                    <a:lnTo>
                      <a:pt x="122" y="816"/>
                    </a:lnTo>
                    <a:lnTo>
                      <a:pt x="122" y="813"/>
                    </a:lnTo>
                    <a:lnTo>
                      <a:pt x="120" y="811"/>
                    </a:lnTo>
                    <a:lnTo>
                      <a:pt x="120" y="809"/>
                    </a:lnTo>
                    <a:lnTo>
                      <a:pt x="119" y="804"/>
                    </a:lnTo>
                    <a:lnTo>
                      <a:pt x="120" y="802"/>
                    </a:lnTo>
                    <a:lnTo>
                      <a:pt x="122" y="799"/>
                    </a:lnTo>
                    <a:lnTo>
                      <a:pt x="122" y="796"/>
                    </a:lnTo>
                    <a:lnTo>
                      <a:pt x="122" y="794"/>
                    </a:lnTo>
                    <a:lnTo>
                      <a:pt x="123" y="790"/>
                    </a:lnTo>
                    <a:lnTo>
                      <a:pt x="124" y="788"/>
                    </a:lnTo>
                    <a:lnTo>
                      <a:pt x="124" y="787"/>
                    </a:lnTo>
                    <a:lnTo>
                      <a:pt x="124" y="785"/>
                    </a:lnTo>
                    <a:lnTo>
                      <a:pt x="123" y="783"/>
                    </a:lnTo>
                    <a:lnTo>
                      <a:pt x="125" y="778"/>
                    </a:lnTo>
                    <a:lnTo>
                      <a:pt x="123" y="778"/>
                    </a:lnTo>
                    <a:lnTo>
                      <a:pt x="122" y="776"/>
                    </a:lnTo>
                    <a:lnTo>
                      <a:pt x="120" y="778"/>
                    </a:lnTo>
                    <a:lnTo>
                      <a:pt x="118" y="779"/>
                    </a:lnTo>
                    <a:lnTo>
                      <a:pt x="116" y="780"/>
                    </a:lnTo>
                    <a:lnTo>
                      <a:pt x="114" y="780"/>
                    </a:lnTo>
                    <a:lnTo>
                      <a:pt x="113" y="779"/>
                    </a:lnTo>
                    <a:lnTo>
                      <a:pt x="109" y="775"/>
                    </a:lnTo>
                    <a:lnTo>
                      <a:pt x="110" y="773"/>
                    </a:lnTo>
                    <a:lnTo>
                      <a:pt x="109" y="770"/>
                    </a:lnTo>
                    <a:lnTo>
                      <a:pt x="109" y="769"/>
                    </a:lnTo>
                    <a:lnTo>
                      <a:pt x="108" y="768"/>
                    </a:lnTo>
                    <a:lnTo>
                      <a:pt x="106" y="768"/>
                    </a:lnTo>
                    <a:lnTo>
                      <a:pt x="103" y="768"/>
                    </a:lnTo>
                    <a:lnTo>
                      <a:pt x="101" y="766"/>
                    </a:lnTo>
                    <a:lnTo>
                      <a:pt x="100" y="764"/>
                    </a:lnTo>
                    <a:lnTo>
                      <a:pt x="95" y="764"/>
                    </a:lnTo>
                    <a:lnTo>
                      <a:pt x="90" y="761"/>
                    </a:lnTo>
                    <a:lnTo>
                      <a:pt x="90" y="760"/>
                    </a:lnTo>
                    <a:lnTo>
                      <a:pt x="89" y="760"/>
                    </a:lnTo>
                    <a:lnTo>
                      <a:pt x="84" y="759"/>
                    </a:lnTo>
                    <a:lnTo>
                      <a:pt x="82" y="757"/>
                    </a:lnTo>
                    <a:lnTo>
                      <a:pt x="81" y="759"/>
                    </a:lnTo>
                    <a:lnTo>
                      <a:pt x="80" y="761"/>
                    </a:lnTo>
                    <a:lnTo>
                      <a:pt x="78" y="763"/>
                    </a:lnTo>
                    <a:lnTo>
                      <a:pt x="77" y="761"/>
                    </a:lnTo>
                    <a:lnTo>
                      <a:pt x="76" y="760"/>
                    </a:lnTo>
                    <a:lnTo>
                      <a:pt x="75" y="759"/>
                    </a:lnTo>
                    <a:lnTo>
                      <a:pt x="73" y="759"/>
                    </a:lnTo>
                    <a:lnTo>
                      <a:pt x="71" y="755"/>
                    </a:lnTo>
                    <a:lnTo>
                      <a:pt x="67" y="754"/>
                    </a:lnTo>
                    <a:lnTo>
                      <a:pt x="66" y="754"/>
                    </a:lnTo>
                    <a:lnTo>
                      <a:pt x="65" y="752"/>
                    </a:lnTo>
                    <a:lnTo>
                      <a:pt x="63" y="751"/>
                    </a:lnTo>
                    <a:lnTo>
                      <a:pt x="62" y="752"/>
                    </a:lnTo>
                    <a:lnTo>
                      <a:pt x="61" y="752"/>
                    </a:lnTo>
                    <a:lnTo>
                      <a:pt x="61" y="754"/>
                    </a:lnTo>
                    <a:lnTo>
                      <a:pt x="59" y="754"/>
                    </a:lnTo>
                    <a:lnTo>
                      <a:pt x="59" y="752"/>
                    </a:lnTo>
                    <a:lnTo>
                      <a:pt x="58" y="751"/>
                    </a:lnTo>
                    <a:lnTo>
                      <a:pt x="54" y="749"/>
                    </a:lnTo>
                    <a:lnTo>
                      <a:pt x="53" y="747"/>
                    </a:lnTo>
                    <a:lnTo>
                      <a:pt x="53" y="746"/>
                    </a:lnTo>
                    <a:lnTo>
                      <a:pt x="53" y="745"/>
                    </a:lnTo>
                    <a:lnTo>
                      <a:pt x="54" y="744"/>
                    </a:lnTo>
                    <a:lnTo>
                      <a:pt x="54" y="742"/>
                    </a:lnTo>
                    <a:lnTo>
                      <a:pt x="56" y="742"/>
                    </a:lnTo>
                    <a:lnTo>
                      <a:pt x="59" y="742"/>
                    </a:lnTo>
                    <a:lnTo>
                      <a:pt x="63" y="741"/>
                    </a:lnTo>
                    <a:lnTo>
                      <a:pt x="63" y="740"/>
                    </a:lnTo>
                    <a:lnTo>
                      <a:pt x="67" y="740"/>
                    </a:lnTo>
                    <a:lnTo>
                      <a:pt x="68" y="742"/>
                    </a:lnTo>
                    <a:lnTo>
                      <a:pt x="70" y="742"/>
                    </a:lnTo>
                    <a:lnTo>
                      <a:pt x="71" y="742"/>
                    </a:lnTo>
                    <a:lnTo>
                      <a:pt x="73" y="744"/>
                    </a:lnTo>
                    <a:lnTo>
                      <a:pt x="75" y="745"/>
                    </a:lnTo>
                    <a:lnTo>
                      <a:pt x="77" y="749"/>
                    </a:lnTo>
                    <a:lnTo>
                      <a:pt x="78" y="749"/>
                    </a:lnTo>
                    <a:lnTo>
                      <a:pt x="81" y="749"/>
                    </a:lnTo>
                    <a:lnTo>
                      <a:pt x="84" y="747"/>
                    </a:lnTo>
                    <a:lnTo>
                      <a:pt x="90" y="742"/>
                    </a:lnTo>
                    <a:lnTo>
                      <a:pt x="91" y="742"/>
                    </a:lnTo>
                    <a:lnTo>
                      <a:pt x="91" y="741"/>
                    </a:lnTo>
                    <a:lnTo>
                      <a:pt x="94" y="738"/>
                    </a:lnTo>
                    <a:lnTo>
                      <a:pt x="95" y="740"/>
                    </a:lnTo>
                    <a:lnTo>
                      <a:pt x="96" y="740"/>
                    </a:lnTo>
                    <a:lnTo>
                      <a:pt x="96" y="741"/>
                    </a:lnTo>
                    <a:lnTo>
                      <a:pt x="100" y="741"/>
                    </a:lnTo>
                    <a:lnTo>
                      <a:pt x="103" y="741"/>
                    </a:lnTo>
                    <a:lnTo>
                      <a:pt x="104" y="741"/>
                    </a:lnTo>
                    <a:lnTo>
                      <a:pt x="105" y="737"/>
                    </a:lnTo>
                    <a:lnTo>
                      <a:pt x="106" y="736"/>
                    </a:lnTo>
                    <a:lnTo>
                      <a:pt x="108" y="736"/>
                    </a:lnTo>
                    <a:lnTo>
                      <a:pt x="110" y="733"/>
                    </a:lnTo>
                    <a:lnTo>
                      <a:pt x="111" y="733"/>
                    </a:lnTo>
                    <a:lnTo>
                      <a:pt x="114" y="733"/>
                    </a:lnTo>
                    <a:lnTo>
                      <a:pt x="115" y="735"/>
                    </a:lnTo>
                    <a:lnTo>
                      <a:pt x="115" y="736"/>
                    </a:lnTo>
                    <a:lnTo>
                      <a:pt x="115" y="737"/>
                    </a:lnTo>
                    <a:lnTo>
                      <a:pt x="115" y="738"/>
                    </a:lnTo>
                    <a:lnTo>
                      <a:pt x="116" y="740"/>
                    </a:lnTo>
                    <a:lnTo>
                      <a:pt x="118" y="740"/>
                    </a:lnTo>
                    <a:lnTo>
                      <a:pt x="118" y="741"/>
                    </a:lnTo>
                    <a:lnTo>
                      <a:pt x="119" y="741"/>
                    </a:lnTo>
                    <a:lnTo>
                      <a:pt x="120" y="741"/>
                    </a:lnTo>
                    <a:lnTo>
                      <a:pt x="122" y="742"/>
                    </a:lnTo>
                    <a:lnTo>
                      <a:pt x="123" y="742"/>
                    </a:lnTo>
                    <a:lnTo>
                      <a:pt x="125" y="740"/>
                    </a:lnTo>
                    <a:lnTo>
                      <a:pt x="129" y="740"/>
                    </a:lnTo>
                    <a:lnTo>
                      <a:pt x="130" y="740"/>
                    </a:lnTo>
                    <a:lnTo>
                      <a:pt x="130" y="738"/>
                    </a:lnTo>
                    <a:lnTo>
                      <a:pt x="129" y="737"/>
                    </a:lnTo>
                    <a:lnTo>
                      <a:pt x="130" y="737"/>
                    </a:lnTo>
                    <a:lnTo>
                      <a:pt x="130" y="736"/>
                    </a:lnTo>
                    <a:lnTo>
                      <a:pt x="130" y="735"/>
                    </a:lnTo>
                    <a:lnTo>
                      <a:pt x="129" y="733"/>
                    </a:lnTo>
                    <a:lnTo>
                      <a:pt x="132" y="730"/>
                    </a:lnTo>
                    <a:lnTo>
                      <a:pt x="135" y="726"/>
                    </a:lnTo>
                    <a:lnTo>
                      <a:pt x="137" y="726"/>
                    </a:lnTo>
                    <a:lnTo>
                      <a:pt x="139" y="726"/>
                    </a:lnTo>
                    <a:lnTo>
                      <a:pt x="144" y="722"/>
                    </a:lnTo>
                    <a:lnTo>
                      <a:pt x="146" y="719"/>
                    </a:lnTo>
                    <a:lnTo>
                      <a:pt x="147" y="718"/>
                    </a:lnTo>
                    <a:lnTo>
                      <a:pt x="148" y="717"/>
                    </a:lnTo>
                    <a:lnTo>
                      <a:pt x="151" y="713"/>
                    </a:lnTo>
                    <a:lnTo>
                      <a:pt x="152" y="713"/>
                    </a:lnTo>
                    <a:lnTo>
                      <a:pt x="153" y="713"/>
                    </a:lnTo>
                    <a:lnTo>
                      <a:pt x="158" y="712"/>
                    </a:lnTo>
                    <a:lnTo>
                      <a:pt x="160" y="711"/>
                    </a:lnTo>
                    <a:lnTo>
                      <a:pt x="160" y="709"/>
                    </a:lnTo>
                    <a:lnTo>
                      <a:pt x="162" y="709"/>
                    </a:lnTo>
                    <a:lnTo>
                      <a:pt x="163" y="707"/>
                    </a:lnTo>
                    <a:lnTo>
                      <a:pt x="165" y="706"/>
                    </a:lnTo>
                    <a:lnTo>
                      <a:pt x="166" y="700"/>
                    </a:lnTo>
                    <a:lnTo>
                      <a:pt x="166" y="698"/>
                    </a:lnTo>
                    <a:lnTo>
                      <a:pt x="167" y="697"/>
                    </a:lnTo>
                    <a:lnTo>
                      <a:pt x="168" y="695"/>
                    </a:lnTo>
                    <a:lnTo>
                      <a:pt x="172" y="694"/>
                    </a:lnTo>
                    <a:lnTo>
                      <a:pt x="175" y="695"/>
                    </a:lnTo>
                    <a:lnTo>
                      <a:pt x="177" y="695"/>
                    </a:lnTo>
                    <a:lnTo>
                      <a:pt x="177" y="693"/>
                    </a:lnTo>
                    <a:lnTo>
                      <a:pt x="177" y="688"/>
                    </a:lnTo>
                    <a:lnTo>
                      <a:pt x="179" y="688"/>
                    </a:lnTo>
                    <a:lnTo>
                      <a:pt x="179" y="687"/>
                    </a:lnTo>
                    <a:lnTo>
                      <a:pt x="180" y="687"/>
                    </a:lnTo>
                    <a:lnTo>
                      <a:pt x="181" y="687"/>
                    </a:lnTo>
                    <a:lnTo>
                      <a:pt x="182" y="688"/>
                    </a:lnTo>
                    <a:lnTo>
                      <a:pt x="184" y="688"/>
                    </a:lnTo>
                    <a:lnTo>
                      <a:pt x="185" y="688"/>
                    </a:lnTo>
                    <a:lnTo>
                      <a:pt x="186" y="687"/>
                    </a:lnTo>
                    <a:lnTo>
                      <a:pt x="191" y="683"/>
                    </a:lnTo>
                    <a:lnTo>
                      <a:pt x="193" y="683"/>
                    </a:lnTo>
                    <a:lnTo>
                      <a:pt x="193" y="681"/>
                    </a:lnTo>
                    <a:lnTo>
                      <a:pt x="199" y="680"/>
                    </a:lnTo>
                    <a:lnTo>
                      <a:pt x="200" y="680"/>
                    </a:lnTo>
                    <a:lnTo>
                      <a:pt x="204" y="679"/>
                    </a:lnTo>
                    <a:lnTo>
                      <a:pt x="205" y="678"/>
                    </a:lnTo>
                    <a:lnTo>
                      <a:pt x="209" y="676"/>
                    </a:lnTo>
                    <a:lnTo>
                      <a:pt x="210" y="676"/>
                    </a:lnTo>
                    <a:lnTo>
                      <a:pt x="212" y="675"/>
                    </a:lnTo>
                    <a:lnTo>
                      <a:pt x="212" y="674"/>
                    </a:lnTo>
                    <a:lnTo>
                      <a:pt x="212" y="673"/>
                    </a:lnTo>
                    <a:lnTo>
                      <a:pt x="213" y="673"/>
                    </a:lnTo>
                    <a:lnTo>
                      <a:pt x="214" y="673"/>
                    </a:lnTo>
                    <a:lnTo>
                      <a:pt x="214" y="671"/>
                    </a:lnTo>
                    <a:lnTo>
                      <a:pt x="215" y="671"/>
                    </a:lnTo>
                    <a:lnTo>
                      <a:pt x="217" y="671"/>
                    </a:lnTo>
                    <a:lnTo>
                      <a:pt x="218" y="673"/>
                    </a:lnTo>
                    <a:lnTo>
                      <a:pt x="219" y="673"/>
                    </a:lnTo>
                    <a:lnTo>
                      <a:pt x="224" y="673"/>
                    </a:lnTo>
                    <a:lnTo>
                      <a:pt x="225" y="673"/>
                    </a:lnTo>
                    <a:lnTo>
                      <a:pt x="231" y="671"/>
                    </a:lnTo>
                    <a:lnTo>
                      <a:pt x="238" y="670"/>
                    </a:lnTo>
                    <a:lnTo>
                      <a:pt x="244" y="671"/>
                    </a:lnTo>
                    <a:lnTo>
                      <a:pt x="246" y="670"/>
                    </a:lnTo>
                    <a:lnTo>
                      <a:pt x="247" y="670"/>
                    </a:lnTo>
                    <a:lnTo>
                      <a:pt x="250" y="669"/>
                    </a:lnTo>
                    <a:lnTo>
                      <a:pt x="252" y="669"/>
                    </a:lnTo>
                    <a:lnTo>
                      <a:pt x="253" y="669"/>
                    </a:lnTo>
                    <a:lnTo>
                      <a:pt x="255" y="670"/>
                    </a:lnTo>
                    <a:lnTo>
                      <a:pt x="257" y="670"/>
                    </a:lnTo>
                    <a:lnTo>
                      <a:pt x="260" y="670"/>
                    </a:lnTo>
                    <a:lnTo>
                      <a:pt x="261" y="670"/>
                    </a:lnTo>
                    <a:lnTo>
                      <a:pt x="262" y="669"/>
                    </a:lnTo>
                    <a:lnTo>
                      <a:pt x="265" y="666"/>
                    </a:lnTo>
                    <a:lnTo>
                      <a:pt x="266" y="666"/>
                    </a:lnTo>
                    <a:lnTo>
                      <a:pt x="266" y="668"/>
                    </a:lnTo>
                    <a:lnTo>
                      <a:pt x="269" y="666"/>
                    </a:lnTo>
                    <a:lnTo>
                      <a:pt x="270" y="665"/>
                    </a:lnTo>
                    <a:lnTo>
                      <a:pt x="271" y="665"/>
                    </a:lnTo>
                    <a:lnTo>
                      <a:pt x="275" y="664"/>
                    </a:lnTo>
                    <a:lnTo>
                      <a:pt x="279" y="661"/>
                    </a:lnTo>
                    <a:lnTo>
                      <a:pt x="284" y="661"/>
                    </a:lnTo>
                    <a:lnTo>
                      <a:pt x="293" y="661"/>
                    </a:lnTo>
                    <a:lnTo>
                      <a:pt x="294" y="661"/>
                    </a:lnTo>
                    <a:lnTo>
                      <a:pt x="295" y="661"/>
                    </a:lnTo>
                    <a:lnTo>
                      <a:pt x="301" y="659"/>
                    </a:lnTo>
                    <a:lnTo>
                      <a:pt x="304" y="660"/>
                    </a:lnTo>
                    <a:lnTo>
                      <a:pt x="304" y="661"/>
                    </a:lnTo>
                    <a:lnTo>
                      <a:pt x="308" y="660"/>
                    </a:lnTo>
                    <a:lnTo>
                      <a:pt x="310" y="661"/>
                    </a:lnTo>
                    <a:lnTo>
                      <a:pt x="313" y="661"/>
                    </a:lnTo>
                    <a:lnTo>
                      <a:pt x="314" y="661"/>
                    </a:lnTo>
                    <a:lnTo>
                      <a:pt x="320" y="659"/>
                    </a:lnTo>
                    <a:lnTo>
                      <a:pt x="323" y="656"/>
                    </a:lnTo>
                    <a:lnTo>
                      <a:pt x="326" y="655"/>
                    </a:lnTo>
                    <a:lnTo>
                      <a:pt x="331" y="655"/>
                    </a:lnTo>
                    <a:lnTo>
                      <a:pt x="333" y="654"/>
                    </a:lnTo>
                    <a:lnTo>
                      <a:pt x="334" y="654"/>
                    </a:lnTo>
                    <a:lnTo>
                      <a:pt x="336" y="654"/>
                    </a:lnTo>
                    <a:lnTo>
                      <a:pt x="337" y="656"/>
                    </a:lnTo>
                    <a:lnTo>
                      <a:pt x="338" y="657"/>
                    </a:lnTo>
                    <a:lnTo>
                      <a:pt x="341" y="659"/>
                    </a:lnTo>
                    <a:lnTo>
                      <a:pt x="346" y="657"/>
                    </a:lnTo>
                    <a:lnTo>
                      <a:pt x="350" y="657"/>
                    </a:lnTo>
                    <a:lnTo>
                      <a:pt x="351" y="657"/>
                    </a:lnTo>
                    <a:lnTo>
                      <a:pt x="357" y="657"/>
                    </a:lnTo>
                    <a:lnTo>
                      <a:pt x="360" y="659"/>
                    </a:lnTo>
                    <a:lnTo>
                      <a:pt x="371" y="659"/>
                    </a:lnTo>
                    <a:lnTo>
                      <a:pt x="374" y="659"/>
                    </a:lnTo>
                    <a:lnTo>
                      <a:pt x="376" y="661"/>
                    </a:lnTo>
                    <a:lnTo>
                      <a:pt x="377" y="661"/>
                    </a:lnTo>
                    <a:lnTo>
                      <a:pt x="379" y="662"/>
                    </a:lnTo>
                    <a:lnTo>
                      <a:pt x="380" y="661"/>
                    </a:lnTo>
                    <a:lnTo>
                      <a:pt x="380" y="662"/>
                    </a:lnTo>
                    <a:lnTo>
                      <a:pt x="386" y="664"/>
                    </a:lnTo>
                    <a:lnTo>
                      <a:pt x="386" y="662"/>
                    </a:lnTo>
                    <a:lnTo>
                      <a:pt x="388" y="662"/>
                    </a:lnTo>
                    <a:lnTo>
                      <a:pt x="390" y="659"/>
                    </a:lnTo>
                    <a:lnTo>
                      <a:pt x="391" y="659"/>
                    </a:lnTo>
                    <a:lnTo>
                      <a:pt x="394" y="646"/>
                    </a:lnTo>
                    <a:lnTo>
                      <a:pt x="394" y="645"/>
                    </a:lnTo>
                    <a:lnTo>
                      <a:pt x="394" y="643"/>
                    </a:lnTo>
                    <a:lnTo>
                      <a:pt x="396" y="641"/>
                    </a:lnTo>
                    <a:lnTo>
                      <a:pt x="396" y="640"/>
                    </a:lnTo>
                    <a:lnTo>
                      <a:pt x="398" y="638"/>
                    </a:lnTo>
                    <a:lnTo>
                      <a:pt x="399" y="637"/>
                    </a:lnTo>
                    <a:lnTo>
                      <a:pt x="403" y="636"/>
                    </a:lnTo>
                    <a:lnTo>
                      <a:pt x="404" y="635"/>
                    </a:lnTo>
                    <a:lnTo>
                      <a:pt x="408" y="633"/>
                    </a:lnTo>
                    <a:lnTo>
                      <a:pt x="412" y="633"/>
                    </a:lnTo>
                    <a:lnTo>
                      <a:pt x="418" y="636"/>
                    </a:lnTo>
                    <a:lnTo>
                      <a:pt x="423" y="636"/>
                    </a:lnTo>
                    <a:lnTo>
                      <a:pt x="427" y="632"/>
                    </a:lnTo>
                    <a:lnTo>
                      <a:pt x="427" y="631"/>
                    </a:lnTo>
                    <a:lnTo>
                      <a:pt x="429" y="630"/>
                    </a:lnTo>
                    <a:lnTo>
                      <a:pt x="429" y="628"/>
                    </a:lnTo>
                    <a:lnTo>
                      <a:pt x="431" y="628"/>
                    </a:lnTo>
                    <a:lnTo>
                      <a:pt x="431" y="627"/>
                    </a:lnTo>
                    <a:lnTo>
                      <a:pt x="432" y="626"/>
                    </a:lnTo>
                    <a:lnTo>
                      <a:pt x="432" y="623"/>
                    </a:lnTo>
                    <a:lnTo>
                      <a:pt x="432" y="622"/>
                    </a:lnTo>
                    <a:lnTo>
                      <a:pt x="433" y="614"/>
                    </a:lnTo>
                    <a:lnTo>
                      <a:pt x="436" y="611"/>
                    </a:lnTo>
                    <a:lnTo>
                      <a:pt x="438" y="608"/>
                    </a:lnTo>
                    <a:lnTo>
                      <a:pt x="440" y="605"/>
                    </a:lnTo>
                    <a:lnTo>
                      <a:pt x="445" y="602"/>
                    </a:lnTo>
                    <a:lnTo>
                      <a:pt x="446" y="602"/>
                    </a:lnTo>
                    <a:lnTo>
                      <a:pt x="447" y="602"/>
                    </a:lnTo>
                    <a:lnTo>
                      <a:pt x="448" y="600"/>
                    </a:lnTo>
                    <a:lnTo>
                      <a:pt x="452" y="600"/>
                    </a:lnTo>
                    <a:lnTo>
                      <a:pt x="456" y="599"/>
                    </a:lnTo>
                    <a:lnTo>
                      <a:pt x="457" y="598"/>
                    </a:lnTo>
                    <a:lnTo>
                      <a:pt x="460" y="598"/>
                    </a:lnTo>
                    <a:lnTo>
                      <a:pt x="461" y="598"/>
                    </a:lnTo>
                    <a:lnTo>
                      <a:pt x="465" y="597"/>
                    </a:lnTo>
                    <a:lnTo>
                      <a:pt x="467" y="595"/>
                    </a:lnTo>
                    <a:lnTo>
                      <a:pt x="471" y="588"/>
                    </a:lnTo>
                    <a:lnTo>
                      <a:pt x="471" y="586"/>
                    </a:lnTo>
                    <a:lnTo>
                      <a:pt x="470" y="585"/>
                    </a:lnTo>
                    <a:lnTo>
                      <a:pt x="469" y="585"/>
                    </a:lnTo>
                    <a:lnTo>
                      <a:pt x="466" y="583"/>
                    </a:lnTo>
                    <a:lnTo>
                      <a:pt x="464" y="581"/>
                    </a:lnTo>
                    <a:lnTo>
                      <a:pt x="462" y="580"/>
                    </a:lnTo>
                    <a:lnTo>
                      <a:pt x="461" y="580"/>
                    </a:lnTo>
                    <a:lnTo>
                      <a:pt x="460" y="579"/>
                    </a:lnTo>
                    <a:lnTo>
                      <a:pt x="459" y="578"/>
                    </a:lnTo>
                    <a:lnTo>
                      <a:pt x="457" y="572"/>
                    </a:lnTo>
                    <a:lnTo>
                      <a:pt x="457" y="571"/>
                    </a:lnTo>
                    <a:lnTo>
                      <a:pt x="457" y="569"/>
                    </a:lnTo>
                    <a:lnTo>
                      <a:pt x="459" y="565"/>
                    </a:lnTo>
                    <a:lnTo>
                      <a:pt x="466" y="560"/>
                    </a:lnTo>
                    <a:lnTo>
                      <a:pt x="479" y="550"/>
                    </a:lnTo>
                    <a:lnTo>
                      <a:pt x="480" y="548"/>
                    </a:lnTo>
                    <a:lnTo>
                      <a:pt x="481" y="547"/>
                    </a:lnTo>
                    <a:lnTo>
                      <a:pt x="483" y="546"/>
                    </a:lnTo>
                    <a:lnTo>
                      <a:pt x="490" y="540"/>
                    </a:lnTo>
                    <a:lnTo>
                      <a:pt x="493" y="537"/>
                    </a:lnTo>
                    <a:lnTo>
                      <a:pt x="494" y="537"/>
                    </a:lnTo>
                    <a:lnTo>
                      <a:pt x="494" y="536"/>
                    </a:lnTo>
                    <a:lnTo>
                      <a:pt x="498" y="532"/>
                    </a:lnTo>
                    <a:lnTo>
                      <a:pt x="500" y="529"/>
                    </a:lnTo>
                    <a:lnTo>
                      <a:pt x="503" y="526"/>
                    </a:lnTo>
                    <a:lnTo>
                      <a:pt x="503" y="524"/>
                    </a:lnTo>
                    <a:lnTo>
                      <a:pt x="504" y="524"/>
                    </a:lnTo>
                    <a:lnTo>
                      <a:pt x="508" y="517"/>
                    </a:lnTo>
                    <a:lnTo>
                      <a:pt x="508" y="513"/>
                    </a:lnTo>
                    <a:lnTo>
                      <a:pt x="508" y="505"/>
                    </a:lnTo>
                    <a:lnTo>
                      <a:pt x="509" y="503"/>
                    </a:lnTo>
                    <a:lnTo>
                      <a:pt x="513" y="500"/>
                    </a:lnTo>
                    <a:lnTo>
                      <a:pt x="518" y="502"/>
                    </a:lnTo>
                    <a:lnTo>
                      <a:pt x="527" y="504"/>
                    </a:lnTo>
                    <a:lnTo>
                      <a:pt x="533" y="507"/>
                    </a:lnTo>
                    <a:lnTo>
                      <a:pt x="536" y="509"/>
                    </a:lnTo>
                    <a:lnTo>
                      <a:pt x="537" y="509"/>
                    </a:lnTo>
                    <a:lnTo>
                      <a:pt x="538" y="509"/>
                    </a:lnTo>
                    <a:lnTo>
                      <a:pt x="540" y="509"/>
                    </a:lnTo>
                    <a:lnTo>
                      <a:pt x="541" y="507"/>
                    </a:lnTo>
                    <a:lnTo>
                      <a:pt x="540" y="503"/>
                    </a:lnTo>
                    <a:lnTo>
                      <a:pt x="537" y="502"/>
                    </a:lnTo>
                    <a:lnTo>
                      <a:pt x="537" y="500"/>
                    </a:lnTo>
                    <a:lnTo>
                      <a:pt x="536" y="499"/>
                    </a:lnTo>
                    <a:lnTo>
                      <a:pt x="532" y="494"/>
                    </a:lnTo>
                    <a:lnTo>
                      <a:pt x="532" y="491"/>
                    </a:lnTo>
                    <a:lnTo>
                      <a:pt x="531" y="490"/>
                    </a:lnTo>
                    <a:lnTo>
                      <a:pt x="531" y="488"/>
                    </a:lnTo>
                    <a:lnTo>
                      <a:pt x="526" y="476"/>
                    </a:lnTo>
                    <a:lnTo>
                      <a:pt x="526" y="470"/>
                    </a:lnTo>
                    <a:lnTo>
                      <a:pt x="526" y="465"/>
                    </a:lnTo>
                    <a:lnTo>
                      <a:pt x="524" y="461"/>
                    </a:lnTo>
                    <a:lnTo>
                      <a:pt x="524" y="457"/>
                    </a:lnTo>
                    <a:lnTo>
                      <a:pt x="526" y="452"/>
                    </a:lnTo>
                    <a:lnTo>
                      <a:pt x="527" y="448"/>
                    </a:lnTo>
                    <a:lnTo>
                      <a:pt x="530" y="445"/>
                    </a:lnTo>
                    <a:lnTo>
                      <a:pt x="530" y="443"/>
                    </a:lnTo>
                    <a:lnTo>
                      <a:pt x="532" y="438"/>
                    </a:lnTo>
                    <a:lnTo>
                      <a:pt x="536" y="423"/>
                    </a:lnTo>
                    <a:lnTo>
                      <a:pt x="538" y="420"/>
                    </a:lnTo>
                    <a:lnTo>
                      <a:pt x="540" y="419"/>
                    </a:lnTo>
                    <a:lnTo>
                      <a:pt x="545" y="414"/>
                    </a:lnTo>
                    <a:lnTo>
                      <a:pt x="547" y="410"/>
                    </a:lnTo>
                    <a:lnTo>
                      <a:pt x="551" y="406"/>
                    </a:lnTo>
                    <a:lnTo>
                      <a:pt x="554" y="400"/>
                    </a:lnTo>
                    <a:lnTo>
                      <a:pt x="552" y="395"/>
                    </a:lnTo>
                    <a:lnTo>
                      <a:pt x="547" y="389"/>
                    </a:lnTo>
                    <a:lnTo>
                      <a:pt x="546" y="385"/>
                    </a:lnTo>
                    <a:lnTo>
                      <a:pt x="545" y="379"/>
                    </a:lnTo>
                    <a:lnTo>
                      <a:pt x="543" y="377"/>
                    </a:lnTo>
                    <a:lnTo>
                      <a:pt x="542" y="374"/>
                    </a:lnTo>
                    <a:lnTo>
                      <a:pt x="541" y="371"/>
                    </a:lnTo>
                    <a:lnTo>
                      <a:pt x="538" y="367"/>
                    </a:lnTo>
                    <a:lnTo>
                      <a:pt x="537" y="365"/>
                    </a:lnTo>
                    <a:lnTo>
                      <a:pt x="536" y="365"/>
                    </a:lnTo>
                    <a:lnTo>
                      <a:pt x="535" y="362"/>
                    </a:lnTo>
                    <a:lnTo>
                      <a:pt x="532" y="361"/>
                    </a:lnTo>
                    <a:lnTo>
                      <a:pt x="531" y="360"/>
                    </a:lnTo>
                    <a:lnTo>
                      <a:pt x="528" y="358"/>
                    </a:lnTo>
                    <a:lnTo>
                      <a:pt x="527" y="357"/>
                    </a:lnTo>
                    <a:lnTo>
                      <a:pt x="519" y="355"/>
                    </a:lnTo>
                    <a:lnTo>
                      <a:pt x="518" y="353"/>
                    </a:lnTo>
                    <a:lnTo>
                      <a:pt x="518" y="352"/>
                    </a:lnTo>
                    <a:lnTo>
                      <a:pt x="516" y="351"/>
                    </a:lnTo>
                    <a:lnTo>
                      <a:pt x="514" y="351"/>
                    </a:lnTo>
                    <a:lnTo>
                      <a:pt x="513" y="349"/>
                    </a:lnTo>
                    <a:lnTo>
                      <a:pt x="512" y="349"/>
                    </a:lnTo>
                    <a:lnTo>
                      <a:pt x="508" y="341"/>
                    </a:lnTo>
                    <a:lnTo>
                      <a:pt x="507" y="337"/>
                    </a:lnTo>
                    <a:lnTo>
                      <a:pt x="505" y="334"/>
                    </a:lnTo>
                    <a:lnTo>
                      <a:pt x="507" y="329"/>
                    </a:lnTo>
                    <a:lnTo>
                      <a:pt x="508" y="324"/>
                    </a:lnTo>
                    <a:lnTo>
                      <a:pt x="507" y="311"/>
                    </a:lnTo>
                    <a:lnTo>
                      <a:pt x="508" y="310"/>
                    </a:lnTo>
                    <a:lnTo>
                      <a:pt x="509" y="308"/>
                    </a:lnTo>
                    <a:lnTo>
                      <a:pt x="511" y="306"/>
                    </a:lnTo>
                    <a:lnTo>
                      <a:pt x="512" y="306"/>
                    </a:lnTo>
                    <a:lnTo>
                      <a:pt x="513" y="306"/>
                    </a:lnTo>
                    <a:lnTo>
                      <a:pt x="514" y="306"/>
                    </a:lnTo>
                    <a:lnTo>
                      <a:pt x="516" y="306"/>
                    </a:lnTo>
                    <a:lnTo>
                      <a:pt x="517" y="306"/>
                    </a:lnTo>
                    <a:lnTo>
                      <a:pt x="522" y="306"/>
                    </a:lnTo>
                    <a:lnTo>
                      <a:pt x="527" y="306"/>
                    </a:lnTo>
                    <a:lnTo>
                      <a:pt x="531" y="305"/>
                    </a:lnTo>
                    <a:lnTo>
                      <a:pt x="537" y="305"/>
                    </a:lnTo>
                    <a:lnTo>
                      <a:pt x="543" y="305"/>
                    </a:lnTo>
                    <a:lnTo>
                      <a:pt x="546" y="304"/>
                    </a:lnTo>
                    <a:lnTo>
                      <a:pt x="551" y="304"/>
                    </a:lnTo>
                    <a:lnTo>
                      <a:pt x="554" y="303"/>
                    </a:lnTo>
                    <a:lnTo>
                      <a:pt x="557" y="303"/>
                    </a:lnTo>
                    <a:lnTo>
                      <a:pt x="559" y="301"/>
                    </a:lnTo>
                    <a:lnTo>
                      <a:pt x="560" y="301"/>
                    </a:lnTo>
                    <a:lnTo>
                      <a:pt x="561" y="301"/>
                    </a:lnTo>
                    <a:lnTo>
                      <a:pt x="566" y="301"/>
                    </a:lnTo>
                    <a:lnTo>
                      <a:pt x="568" y="303"/>
                    </a:lnTo>
                    <a:lnTo>
                      <a:pt x="571" y="304"/>
                    </a:lnTo>
                    <a:lnTo>
                      <a:pt x="574" y="305"/>
                    </a:lnTo>
                    <a:lnTo>
                      <a:pt x="583" y="314"/>
                    </a:lnTo>
                    <a:lnTo>
                      <a:pt x="587" y="315"/>
                    </a:lnTo>
                    <a:lnTo>
                      <a:pt x="589" y="317"/>
                    </a:lnTo>
                    <a:lnTo>
                      <a:pt x="592" y="318"/>
                    </a:lnTo>
                    <a:lnTo>
                      <a:pt x="594" y="318"/>
                    </a:lnTo>
                    <a:lnTo>
                      <a:pt x="603" y="318"/>
                    </a:lnTo>
                    <a:lnTo>
                      <a:pt x="606" y="315"/>
                    </a:lnTo>
                    <a:lnTo>
                      <a:pt x="612" y="313"/>
                    </a:lnTo>
                    <a:lnTo>
                      <a:pt x="614" y="311"/>
                    </a:lnTo>
                    <a:lnTo>
                      <a:pt x="616" y="310"/>
                    </a:lnTo>
                    <a:lnTo>
                      <a:pt x="617" y="309"/>
                    </a:lnTo>
                    <a:lnTo>
                      <a:pt x="621" y="306"/>
                    </a:lnTo>
                    <a:lnTo>
                      <a:pt x="625" y="304"/>
                    </a:lnTo>
                    <a:lnTo>
                      <a:pt x="626" y="304"/>
                    </a:lnTo>
                    <a:lnTo>
                      <a:pt x="627" y="303"/>
                    </a:lnTo>
                    <a:lnTo>
                      <a:pt x="630" y="299"/>
                    </a:lnTo>
                    <a:lnTo>
                      <a:pt x="630" y="298"/>
                    </a:lnTo>
                    <a:lnTo>
                      <a:pt x="633" y="290"/>
                    </a:lnTo>
                    <a:lnTo>
                      <a:pt x="636" y="279"/>
                    </a:lnTo>
                    <a:lnTo>
                      <a:pt x="636" y="275"/>
                    </a:lnTo>
                    <a:lnTo>
                      <a:pt x="636" y="267"/>
                    </a:lnTo>
                    <a:lnTo>
                      <a:pt x="636" y="265"/>
                    </a:lnTo>
                    <a:lnTo>
                      <a:pt x="633" y="256"/>
                    </a:lnTo>
                    <a:lnTo>
                      <a:pt x="631" y="246"/>
                    </a:lnTo>
                    <a:lnTo>
                      <a:pt x="631" y="239"/>
                    </a:lnTo>
                    <a:lnTo>
                      <a:pt x="631" y="234"/>
                    </a:lnTo>
                    <a:lnTo>
                      <a:pt x="631" y="230"/>
                    </a:lnTo>
                    <a:lnTo>
                      <a:pt x="631" y="229"/>
                    </a:lnTo>
                    <a:lnTo>
                      <a:pt x="632" y="220"/>
                    </a:lnTo>
                    <a:lnTo>
                      <a:pt x="633" y="216"/>
                    </a:lnTo>
                    <a:lnTo>
                      <a:pt x="633" y="213"/>
                    </a:lnTo>
                    <a:lnTo>
                      <a:pt x="633" y="211"/>
                    </a:lnTo>
                    <a:lnTo>
                      <a:pt x="633" y="209"/>
                    </a:lnTo>
                    <a:lnTo>
                      <a:pt x="635" y="201"/>
                    </a:lnTo>
                    <a:lnTo>
                      <a:pt x="635" y="200"/>
                    </a:lnTo>
                    <a:lnTo>
                      <a:pt x="635" y="197"/>
                    </a:lnTo>
                    <a:lnTo>
                      <a:pt x="633" y="196"/>
                    </a:lnTo>
                    <a:lnTo>
                      <a:pt x="633" y="194"/>
                    </a:lnTo>
                    <a:lnTo>
                      <a:pt x="632" y="191"/>
                    </a:lnTo>
                    <a:lnTo>
                      <a:pt x="631" y="189"/>
                    </a:lnTo>
                    <a:lnTo>
                      <a:pt x="631" y="187"/>
                    </a:lnTo>
                    <a:lnTo>
                      <a:pt x="628" y="186"/>
                    </a:lnTo>
                    <a:lnTo>
                      <a:pt x="622" y="180"/>
                    </a:lnTo>
                    <a:lnTo>
                      <a:pt x="613" y="170"/>
                    </a:lnTo>
                    <a:lnTo>
                      <a:pt x="613" y="168"/>
                    </a:lnTo>
                    <a:lnTo>
                      <a:pt x="609" y="164"/>
                    </a:lnTo>
                    <a:lnTo>
                      <a:pt x="606" y="154"/>
                    </a:lnTo>
                    <a:lnTo>
                      <a:pt x="606" y="153"/>
                    </a:lnTo>
                    <a:lnTo>
                      <a:pt x="604" y="151"/>
                    </a:lnTo>
                    <a:lnTo>
                      <a:pt x="602" y="144"/>
                    </a:lnTo>
                    <a:lnTo>
                      <a:pt x="599" y="139"/>
                    </a:lnTo>
                    <a:lnTo>
                      <a:pt x="597" y="137"/>
                    </a:lnTo>
                    <a:lnTo>
                      <a:pt x="594" y="130"/>
                    </a:lnTo>
                    <a:lnTo>
                      <a:pt x="589" y="124"/>
                    </a:lnTo>
                    <a:lnTo>
                      <a:pt x="584" y="119"/>
                    </a:lnTo>
                    <a:lnTo>
                      <a:pt x="575" y="113"/>
                    </a:lnTo>
                    <a:lnTo>
                      <a:pt x="574" y="111"/>
                    </a:lnTo>
                    <a:lnTo>
                      <a:pt x="573" y="109"/>
                    </a:lnTo>
                    <a:lnTo>
                      <a:pt x="573" y="106"/>
                    </a:lnTo>
                    <a:lnTo>
                      <a:pt x="573" y="105"/>
                    </a:lnTo>
                    <a:lnTo>
                      <a:pt x="573" y="102"/>
                    </a:lnTo>
                    <a:lnTo>
                      <a:pt x="575" y="100"/>
                    </a:lnTo>
                    <a:lnTo>
                      <a:pt x="578" y="97"/>
                    </a:lnTo>
                    <a:lnTo>
                      <a:pt x="579" y="96"/>
                    </a:lnTo>
                    <a:lnTo>
                      <a:pt x="581" y="95"/>
                    </a:lnTo>
                    <a:lnTo>
                      <a:pt x="584" y="94"/>
                    </a:lnTo>
                    <a:lnTo>
                      <a:pt x="589" y="90"/>
                    </a:lnTo>
                    <a:lnTo>
                      <a:pt x="590" y="90"/>
                    </a:lnTo>
                    <a:lnTo>
                      <a:pt x="598" y="83"/>
                    </a:lnTo>
                    <a:lnTo>
                      <a:pt x="602" y="82"/>
                    </a:lnTo>
                    <a:lnTo>
                      <a:pt x="607" y="80"/>
                    </a:lnTo>
                    <a:lnTo>
                      <a:pt x="611" y="80"/>
                    </a:lnTo>
                    <a:lnTo>
                      <a:pt x="612" y="80"/>
                    </a:lnTo>
                    <a:lnTo>
                      <a:pt x="613" y="80"/>
                    </a:lnTo>
                    <a:lnTo>
                      <a:pt x="618" y="81"/>
                    </a:lnTo>
                    <a:lnTo>
                      <a:pt x="623" y="81"/>
                    </a:lnTo>
                    <a:lnTo>
                      <a:pt x="625" y="80"/>
                    </a:lnTo>
                    <a:lnTo>
                      <a:pt x="627" y="80"/>
                    </a:lnTo>
                    <a:lnTo>
                      <a:pt x="628" y="77"/>
                    </a:lnTo>
                    <a:lnTo>
                      <a:pt x="628" y="76"/>
                    </a:lnTo>
                    <a:lnTo>
                      <a:pt x="628" y="72"/>
                    </a:lnTo>
                    <a:lnTo>
                      <a:pt x="627" y="69"/>
                    </a:lnTo>
                    <a:lnTo>
                      <a:pt x="626" y="69"/>
                    </a:lnTo>
                    <a:lnTo>
                      <a:pt x="625" y="68"/>
                    </a:lnTo>
                    <a:lnTo>
                      <a:pt x="622" y="66"/>
                    </a:lnTo>
                    <a:lnTo>
                      <a:pt x="621" y="63"/>
                    </a:lnTo>
                    <a:lnTo>
                      <a:pt x="619" y="61"/>
                    </a:lnTo>
                    <a:lnTo>
                      <a:pt x="619" y="58"/>
                    </a:lnTo>
                    <a:lnTo>
                      <a:pt x="621" y="55"/>
                    </a:lnTo>
                    <a:lnTo>
                      <a:pt x="623" y="54"/>
                    </a:lnTo>
                    <a:lnTo>
                      <a:pt x="623" y="53"/>
                    </a:lnTo>
                    <a:lnTo>
                      <a:pt x="625" y="53"/>
                    </a:lnTo>
                    <a:lnTo>
                      <a:pt x="627" y="50"/>
                    </a:lnTo>
                    <a:lnTo>
                      <a:pt x="628" y="49"/>
                    </a:lnTo>
                    <a:lnTo>
                      <a:pt x="630" y="48"/>
                    </a:lnTo>
                    <a:lnTo>
                      <a:pt x="631" y="48"/>
                    </a:lnTo>
                    <a:lnTo>
                      <a:pt x="639" y="42"/>
                    </a:lnTo>
                    <a:lnTo>
                      <a:pt x="640" y="42"/>
                    </a:lnTo>
                    <a:lnTo>
                      <a:pt x="641" y="40"/>
                    </a:lnTo>
                    <a:lnTo>
                      <a:pt x="642" y="39"/>
                    </a:lnTo>
                    <a:lnTo>
                      <a:pt x="646" y="38"/>
                    </a:lnTo>
                    <a:lnTo>
                      <a:pt x="647" y="36"/>
                    </a:lnTo>
                    <a:lnTo>
                      <a:pt x="650" y="35"/>
                    </a:lnTo>
                    <a:lnTo>
                      <a:pt x="651" y="35"/>
                    </a:lnTo>
                    <a:lnTo>
                      <a:pt x="654" y="35"/>
                    </a:lnTo>
                    <a:lnTo>
                      <a:pt x="654" y="34"/>
                    </a:lnTo>
                    <a:lnTo>
                      <a:pt x="660" y="33"/>
                    </a:lnTo>
                    <a:lnTo>
                      <a:pt x="668" y="28"/>
                    </a:lnTo>
                    <a:lnTo>
                      <a:pt x="669" y="28"/>
                    </a:lnTo>
                    <a:lnTo>
                      <a:pt x="671" y="26"/>
                    </a:lnTo>
                    <a:lnTo>
                      <a:pt x="673" y="25"/>
                    </a:lnTo>
                    <a:lnTo>
                      <a:pt x="675" y="21"/>
                    </a:lnTo>
                    <a:lnTo>
                      <a:pt x="677" y="20"/>
                    </a:lnTo>
                    <a:lnTo>
                      <a:pt x="679" y="17"/>
                    </a:lnTo>
                    <a:lnTo>
                      <a:pt x="680" y="16"/>
                    </a:lnTo>
                    <a:lnTo>
                      <a:pt x="682" y="15"/>
                    </a:lnTo>
                    <a:lnTo>
                      <a:pt x="688" y="9"/>
                    </a:lnTo>
                    <a:lnTo>
                      <a:pt x="690" y="0"/>
                    </a:lnTo>
                  </a:path>
                </a:pathLst>
              </a:custGeom>
              <a:noFill/>
              <a:ln w="4763">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9" name="Freeform 8"/>
              <p:cNvSpPr>
                <a:spLocks/>
              </p:cNvSpPr>
              <p:nvPr/>
            </p:nvSpPr>
            <p:spPr bwMode="auto">
              <a:xfrm>
                <a:off x="2883" y="1055"/>
                <a:ext cx="1805" cy="949"/>
              </a:xfrm>
              <a:custGeom>
                <a:avLst/>
                <a:gdLst>
                  <a:gd name="T0" fmla="*/ 7 w 1805"/>
                  <a:gd name="T1" fmla="*/ 836 h 949"/>
                  <a:gd name="T2" fmla="*/ 28 w 1805"/>
                  <a:gd name="T3" fmla="*/ 825 h 949"/>
                  <a:gd name="T4" fmla="*/ 49 w 1805"/>
                  <a:gd name="T5" fmla="*/ 815 h 949"/>
                  <a:gd name="T6" fmla="*/ 65 w 1805"/>
                  <a:gd name="T7" fmla="*/ 799 h 949"/>
                  <a:gd name="T8" fmla="*/ 68 w 1805"/>
                  <a:gd name="T9" fmla="*/ 782 h 949"/>
                  <a:gd name="T10" fmla="*/ 79 w 1805"/>
                  <a:gd name="T11" fmla="*/ 783 h 949"/>
                  <a:gd name="T12" fmla="*/ 88 w 1805"/>
                  <a:gd name="T13" fmla="*/ 803 h 949"/>
                  <a:gd name="T14" fmla="*/ 99 w 1805"/>
                  <a:gd name="T15" fmla="*/ 812 h 949"/>
                  <a:gd name="T16" fmla="*/ 79 w 1805"/>
                  <a:gd name="T17" fmla="*/ 820 h 949"/>
                  <a:gd name="T18" fmla="*/ 70 w 1805"/>
                  <a:gd name="T19" fmla="*/ 830 h 949"/>
                  <a:gd name="T20" fmla="*/ 78 w 1805"/>
                  <a:gd name="T21" fmla="*/ 839 h 949"/>
                  <a:gd name="T22" fmla="*/ 103 w 1805"/>
                  <a:gd name="T23" fmla="*/ 840 h 949"/>
                  <a:gd name="T24" fmla="*/ 123 w 1805"/>
                  <a:gd name="T25" fmla="*/ 846 h 949"/>
                  <a:gd name="T26" fmla="*/ 144 w 1805"/>
                  <a:gd name="T27" fmla="*/ 849 h 949"/>
                  <a:gd name="T28" fmla="*/ 164 w 1805"/>
                  <a:gd name="T29" fmla="*/ 854 h 949"/>
                  <a:gd name="T30" fmla="*/ 202 w 1805"/>
                  <a:gd name="T31" fmla="*/ 889 h 949"/>
                  <a:gd name="T32" fmla="*/ 242 w 1805"/>
                  <a:gd name="T33" fmla="*/ 919 h 949"/>
                  <a:gd name="T34" fmla="*/ 265 w 1805"/>
                  <a:gd name="T35" fmla="*/ 931 h 949"/>
                  <a:gd name="T36" fmla="*/ 311 w 1805"/>
                  <a:gd name="T37" fmla="*/ 946 h 949"/>
                  <a:gd name="T38" fmla="*/ 335 w 1805"/>
                  <a:gd name="T39" fmla="*/ 948 h 949"/>
                  <a:gd name="T40" fmla="*/ 343 w 1805"/>
                  <a:gd name="T41" fmla="*/ 940 h 949"/>
                  <a:gd name="T42" fmla="*/ 341 w 1805"/>
                  <a:gd name="T43" fmla="*/ 913 h 949"/>
                  <a:gd name="T44" fmla="*/ 348 w 1805"/>
                  <a:gd name="T45" fmla="*/ 894 h 949"/>
                  <a:gd name="T46" fmla="*/ 377 w 1805"/>
                  <a:gd name="T47" fmla="*/ 892 h 949"/>
                  <a:gd name="T48" fmla="*/ 416 w 1805"/>
                  <a:gd name="T49" fmla="*/ 888 h 949"/>
                  <a:gd name="T50" fmla="*/ 434 w 1805"/>
                  <a:gd name="T51" fmla="*/ 874 h 949"/>
                  <a:gd name="T52" fmla="*/ 422 w 1805"/>
                  <a:gd name="T53" fmla="*/ 850 h 949"/>
                  <a:gd name="T54" fmla="*/ 421 w 1805"/>
                  <a:gd name="T55" fmla="*/ 818 h 949"/>
                  <a:gd name="T56" fmla="*/ 412 w 1805"/>
                  <a:gd name="T57" fmla="*/ 764 h 949"/>
                  <a:gd name="T58" fmla="*/ 424 w 1805"/>
                  <a:gd name="T59" fmla="*/ 736 h 949"/>
                  <a:gd name="T60" fmla="*/ 425 w 1805"/>
                  <a:gd name="T61" fmla="*/ 707 h 949"/>
                  <a:gd name="T62" fmla="*/ 411 w 1805"/>
                  <a:gd name="T63" fmla="*/ 682 h 949"/>
                  <a:gd name="T64" fmla="*/ 422 w 1805"/>
                  <a:gd name="T65" fmla="*/ 673 h 949"/>
                  <a:gd name="T66" fmla="*/ 459 w 1805"/>
                  <a:gd name="T67" fmla="*/ 689 h 949"/>
                  <a:gd name="T68" fmla="*/ 473 w 1805"/>
                  <a:gd name="T69" fmla="*/ 688 h 949"/>
                  <a:gd name="T70" fmla="*/ 491 w 1805"/>
                  <a:gd name="T71" fmla="*/ 684 h 949"/>
                  <a:gd name="T72" fmla="*/ 521 w 1805"/>
                  <a:gd name="T73" fmla="*/ 713 h 949"/>
                  <a:gd name="T74" fmla="*/ 539 w 1805"/>
                  <a:gd name="T75" fmla="*/ 703 h 949"/>
                  <a:gd name="T76" fmla="*/ 548 w 1805"/>
                  <a:gd name="T77" fmla="*/ 698 h 949"/>
                  <a:gd name="T78" fmla="*/ 562 w 1805"/>
                  <a:gd name="T79" fmla="*/ 707 h 949"/>
                  <a:gd name="T80" fmla="*/ 579 w 1805"/>
                  <a:gd name="T81" fmla="*/ 716 h 949"/>
                  <a:gd name="T82" fmla="*/ 601 w 1805"/>
                  <a:gd name="T83" fmla="*/ 637 h 949"/>
                  <a:gd name="T84" fmla="*/ 623 w 1805"/>
                  <a:gd name="T85" fmla="*/ 565 h 949"/>
                  <a:gd name="T86" fmla="*/ 640 w 1805"/>
                  <a:gd name="T87" fmla="*/ 499 h 949"/>
                  <a:gd name="T88" fmla="*/ 762 w 1805"/>
                  <a:gd name="T89" fmla="*/ 423 h 949"/>
                  <a:gd name="T90" fmla="*/ 900 w 1805"/>
                  <a:gd name="T91" fmla="*/ 409 h 949"/>
                  <a:gd name="T92" fmla="*/ 994 w 1805"/>
                  <a:gd name="T93" fmla="*/ 460 h 949"/>
                  <a:gd name="T94" fmla="*/ 1053 w 1805"/>
                  <a:gd name="T95" fmla="*/ 326 h 949"/>
                  <a:gd name="T96" fmla="*/ 1260 w 1805"/>
                  <a:gd name="T97" fmla="*/ 248 h 949"/>
                  <a:gd name="T98" fmla="*/ 1493 w 1805"/>
                  <a:gd name="T99" fmla="*/ 144 h 949"/>
                  <a:gd name="T100" fmla="*/ 1531 w 1805"/>
                  <a:gd name="T101" fmla="*/ 119 h 949"/>
                  <a:gd name="T102" fmla="*/ 1568 w 1805"/>
                  <a:gd name="T103" fmla="*/ 90 h 949"/>
                  <a:gd name="T104" fmla="*/ 1597 w 1805"/>
                  <a:gd name="T105" fmla="*/ 61 h 949"/>
                  <a:gd name="T106" fmla="*/ 1615 w 1805"/>
                  <a:gd name="T107" fmla="*/ 43 h 949"/>
                  <a:gd name="T108" fmla="*/ 1626 w 1805"/>
                  <a:gd name="T109" fmla="*/ 33 h 949"/>
                  <a:gd name="T110" fmla="*/ 1641 w 1805"/>
                  <a:gd name="T111" fmla="*/ 21 h 949"/>
                  <a:gd name="T112" fmla="*/ 1662 w 1805"/>
                  <a:gd name="T113" fmla="*/ 9 h 949"/>
                  <a:gd name="T114" fmla="*/ 1677 w 1805"/>
                  <a:gd name="T115" fmla="*/ 1 h 949"/>
                  <a:gd name="T116" fmla="*/ 1729 w 1805"/>
                  <a:gd name="T117" fmla="*/ 1 h 949"/>
                  <a:gd name="T118" fmla="*/ 1783 w 1805"/>
                  <a:gd name="T119" fmla="*/ 1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05" h="949">
                    <a:moveTo>
                      <a:pt x="0" y="858"/>
                    </a:moveTo>
                    <a:lnTo>
                      <a:pt x="3" y="853"/>
                    </a:lnTo>
                    <a:lnTo>
                      <a:pt x="3" y="850"/>
                    </a:lnTo>
                    <a:lnTo>
                      <a:pt x="4" y="843"/>
                    </a:lnTo>
                    <a:lnTo>
                      <a:pt x="7" y="837"/>
                    </a:lnTo>
                    <a:lnTo>
                      <a:pt x="7" y="836"/>
                    </a:lnTo>
                    <a:lnTo>
                      <a:pt x="12" y="832"/>
                    </a:lnTo>
                    <a:lnTo>
                      <a:pt x="14" y="831"/>
                    </a:lnTo>
                    <a:lnTo>
                      <a:pt x="16" y="831"/>
                    </a:lnTo>
                    <a:lnTo>
                      <a:pt x="19" y="830"/>
                    </a:lnTo>
                    <a:lnTo>
                      <a:pt x="25" y="829"/>
                    </a:lnTo>
                    <a:lnTo>
                      <a:pt x="28" y="825"/>
                    </a:lnTo>
                    <a:lnTo>
                      <a:pt x="30" y="824"/>
                    </a:lnTo>
                    <a:lnTo>
                      <a:pt x="32" y="821"/>
                    </a:lnTo>
                    <a:lnTo>
                      <a:pt x="33" y="820"/>
                    </a:lnTo>
                    <a:lnTo>
                      <a:pt x="40" y="817"/>
                    </a:lnTo>
                    <a:lnTo>
                      <a:pt x="47" y="815"/>
                    </a:lnTo>
                    <a:lnTo>
                      <a:pt x="49" y="815"/>
                    </a:lnTo>
                    <a:lnTo>
                      <a:pt x="50" y="815"/>
                    </a:lnTo>
                    <a:lnTo>
                      <a:pt x="55" y="813"/>
                    </a:lnTo>
                    <a:lnTo>
                      <a:pt x="59" y="811"/>
                    </a:lnTo>
                    <a:lnTo>
                      <a:pt x="59" y="810"/>
                    </a:lnTo>
                    <a:lnTo>
                      <a:pt x="65" y="801"/>
                    </a:lnTo>
                    <a:lnTo>
                      <a:pt x="65" y="799"/>
                    </a:lnTo>
                    <a:lnTo>
                      <a:pt x="66" y="798"/>
                    </a:lnTo>
                    <a:lnTo>
                      <a:pt x="66" y="793"/>
                    </a:lnTo>
                    <a:lnTo>
                      <a:pt x="65" y="789"/>
                    </a:lnTo>
                    <a:lnTo>
                      <a:pt x="65" y="784"/>
                    </a:lnTo>
                    <a:lnTo>
                      <a:pt x="65" y="783"/>
                    </a:lnTo>
                    <a:lnTo>
                      <a:pt x="68" y="782"/>
                    </a:lnTo>
                    <a:lnTo>
                      <a:pt x="71" y="780"/>
                    </a:lnTo>
                    <a:lnTo>
                      <a:pt x="74" y="780"/>
                    </a:lnTo>
                    <a:lnTo>
                      <a:pt x="76" y="780"/>
                    </a:lnTo>
                    <a:lnTo>
                      <a:pt x="78" y="782"/>
                    </a:lnTo>
                    <a:lnTo>
                      <a:pt x="79" y="782"/>
                    </a:lnTo>
                    <a:lnTo>
                      <a:pt x="79" y="783"/>
                    </a:lnTo>
                    <a:lnTo>
                      <a:pt x="82" y="791"/>
                    </a:lnTo>
                    <a:lnTo>
                      <a:pt x="82" y="792"/>
                    </a:lnTo>
                    <a:lnTo>
                      <a:pt x="83" y="794"/>
                    </a:lnTo>
                    <a:lnTo>
                      <a:pt x="83" y="797"/>
                    </a:lnTo>
                    <a:lnTo>
                      <a:pt x="84" y="801"/>
                    </a:lnTo>
                    <a:lnTo>
                      <a:pt x="88" y="803"/>
                    </a:lnTo>
                    <a:lnTo>
                      <a:pt x="90" y="803"/>
                    </a:lnTo>
                    <a:lnTo>
                      <a:pt x="97" y="806"/>
                    </a:lnTo>
                    <a:lnTo>
                      <a:pt x="99" y="808"/>
                    </a:lnTo>
                    <a:lnTo>
                      <a:pt x="99" y="810"/>
                    </a:lnTo>
                    <a:lnTo>
                      <a:pt x="99" y="811"/>
                    </a:lnTo>
                    <a:lnTo>
                      <a:pt x="99" y="812"/>
                    </a:lnTo>
                    <a:lnTo>
                      <a:pt x="98" y="815"/>
                    </a:lnTo>
                    <a:lnTo>
                      <a:pt x="94" y="815"/>
                    </a:lnTo>
                    <a:lnTo>
                      <a:pt x="92" y="816"/>
                    </a:lnTo>
                    <a:lnTo>
                      <a:pt x="89" y="816"/>
                    </a:lnTo>
                    <a:lnTo>
                      <a:pt x="84" y="818"/>
                    </a:lnTo>
                    <a:lnTo>
                      <a:pt x="79" y="820"/>
                    </a:lnTo>
                    <a:lnTo>
                      <a:pt x="75" y="821"/>
                    </a:lnTo>
                    <a:lnTo>
                      <a:pt x="73" y="824"/>
                    </a:lnTo>
                    <a:lnTo>
                      <a:pt x="71" y="825"/>
                    </a:lnTo>
                    <a:lnTo>
                      <a:pt x="70" y="826"/>
                    </a:lnTo>
                    <a:lnTo>
                      <a:pt x="70" y="827"/>
                    </a:lnTo>
                    <a:lnTo>
                      <a:pt x="70" y="830"/>
                    </a:lnTo>
                    <a:lnTo>
                      <a:pt x="70" y="831"/>
                    </a:lnTo>
                    <a:lnTo>
                      <a:pt x="71" y="832"/>
                    </a:lnTo>
                    <a:lnTo>
                      <a:pt x="71" y="834"/>
                    </a:lnTo>
                    <a:lnTo>
                      <a:pt x="74" y="836"/>
                    </a:lnTo>
                    <a:lnTo>
                      <a:pt x="75" y="836"/>
                    </a:lnTo>
                    <a:lnTo>
                      <a:pt x="78" y="839"/>
                    </a:lnTo>
                    <a:lnTo>
                      <a:pt x="83" y="840"/>
                    </a:lnTo>
                    <a:lnTo>
                      <a:pt x="84" y="841"/>
                    </a:lnTo>
                    <a:lnTo>
                      <a:pt x="89" y="840"/>
                    </a:lnTo>
                    <a:lnTo>
                      <a:pt x="92" y="840"/>
                    </a:lnTo>
                    <a:lnTo>
                      <a:pt x="101" y="840"/>
                    </a:lnTo>
                    <a:lnTo>
                      <a:pt x="103" y="840"/>
                    </a:lnTo>
                    <a:lnTo>
                      <a:pt x="104" y="841"/>
                    </a:lnTo>
                    <a:lnTo>
                      <a:pt x="109" y="843"/>
                    </a:lnTo>
                    <a:lnTo>
                      <a:pt x="111" y="843"/>
                    </a:lnTo>
                    <a:lnTo>
                      <a:pt x="116" y="844"/>
                    </a:lnTo>
                    <a:lnTo>
                      <a:pt x="118" y="844"/>
                    </a:lnTo>
                    <a:lnTo>
                      <a:pt x="123" y="846"/>
                    </a:lnTo>
                    <a:lnTo>
                      <a:pt x="125" y="846"/>
                    </a:lnTo>
                    <a:lnTo>
                      <a:pt x="128" y="848"/>
                    </a:lnTo>
                    <a:lnTo>
                      <a:pt x="131" y="849"/>
                    </a:lnTo>
                    <a:lnTo>
                      <a:pt x="139" y="849"/>
                    </a:lnTo>
                    <a:lnTo>
                      <a:pt x="140" y="849"/>
                    </a:lnTo>
                    <a:lnTo>
                      <a:pt x="144" y="849"/>
                    </a:lnTo>
                    <a:lnTo>
                      <a:pt x="146" y="849"/>
                    </a:lnTo>
                    <a:lnTo>
                      <a:pt x="147" y="849"/>
                    </a:lnTo>
                    <a:lnTo>
                      <a:pt x="147" y="848"/>
                    </a:lnTo>
                    <a:lnTo>
                      <a:pt x="150" y="848"/>
                    </a:lnTo>
                    <a:lnTo>
                      <a:pt x="158" y="850"/>
                    </a:lnTo>
                    <a:lnTo>
                      <a:pt x="164" y="854"/>
                    </a:lnTo>
                    <a:lnTo>
                      <a:pt x="168" y="856"/>
                    </a:lnTo>
                    <a:lnTo>
                      <a:pt x="170" y="859"/>
                    </a:lnTo>
                    <a:lnTo>
                      <a:pt x="174" y="863"/>
                    </a:lnTo>
                    <a:lnTo>
                      <a:pt x="188" y="882"/>
                    </a:lnTo>
                    <a:lnTo>
                      <a:pt x="194" y="887"/>
                    </a:lnTo>
                    <a:lnTo>
                      <a:pt x="202" y="889"/>
                    </a:lnTo>
                    <a:lnTo>
                      <a:pt x="203" y="889"/>
                    </a:lnTo>
                    <a:lnTo>
                      <a:pt x="212" y="893"/>
                    </a:lnTo>
                    <a:lnTo>
                      <a:pt x="220" y="897"/>
                    </a:lnTo>
                    <a:lnTo>
                      <a:pt x="225" y="902"/>
                    </a:lnTo>
                    <a:lnTo>
                      <a:pt x="231" y="907"/>
                    </a:lnTo>
                    <a:lnTo>
                      <a:pt x="242" y="919"/>
                    </a:lnTo>
                    <a:lnTo>
                      <a:pt x="251" y="925"/>
                    </a:lnTo>
                    <a:lnTo>
                      <a:pt x="255" y="927"/>
                    </a:lnTo>
                    <a:lnTo>
                      <a:pt x="260" y="929"/>
                    </a:lnTo>
                    <a:lnTo>
                      <a:pt x="261" y="930"/>
                    </a:lnTo>
                    <a:lnTo>
                      <a:pt x="264" y="930"/>
                    </a:lnTo>
                    <a:lnTo>
                      <a:pt x="265" y="931"/>
                    </a:lnTo>
                    <a:lnTo>
                      <a:pt x="279" y="938"/>
                    </a:lnTo>
                    <a:lnTo>
                      <a:pt x="280" y="938"/>
                    </a:lnTo>
                    <a:lnTo>
                      <a:pt x="288" y="943"/>
                    </a:lnTo>
                    <a:lnTo>
                      <a:pt x="302" y="945"/>
                    </a:lnTo>
                    <a:lnTo>
                      <a:pt x="305" y="945"/>
                    </a:lnTo>
                    <a:lnTo>
                      <a:pt x="311" y="946"/>
                    </a:lnTo>
                    <a:lnTo>
                      <a:pt x="313" y="948"/>
                    </a:lnTo>
                    <a:lnTo>
                      <a:pt x="315" y="948"/>
                    </a:lnTo>
                    <a:lnTo>
                      <a:pt x="320" y="948"/>
                    </a:lnTo>
                    <a:lnTo>
                      <a:pt x="322" y="949"/>
                    </a:lnTo>
                    <a:lnTo>
                      <a:pt x="330" y="949"/>
                    </a:lnTo>
                    <a:lnTo>
                      <a:pt x="335" y="948"/>
                    </a:lnTo>
                    <a:lnTo>
                      <a:pt x="336" y="946"/>
                    </a:lnTo>
                    <a:lnTo>
                      <a:pt x="337" y="946"/>
                    </a:lnTo>
                    <a:lnTo>
                      <a:pt x="339" y="945"/>
                    </a:lnTo>
                    <a:lnTo>
                      <a:pt x="340" y="944"/>
                    </a:lnTo>
                    <a:lnTo>
                      <a:pt x="340" y="943"/>
                    </a:lnTo>
                    <a:lnTo>
                      <a:pt x="343" y="940"/>
                    </a:lnTo>
                    <a:lnTo>
                      <a:pt x="343" y="939"/>
                    </a:lnTo>
                    <a:lnTo>
                      <a:pt x="344" y="931"/>
                    </a:lnTo>
                    <a:lnTo>
                      <a:pt x="344" y="930"/>
                    </a:lnTo>
                    <a:lnTo>
                      <a:pt x="344" y="926"/>
                    </a:lnTo>
                    <a:lnTo>
                      <a:pt x="343" y="917"/>
                    </a:lnTo>
                    <a:lnTo>
                      <a:pt x="341" y="913"/>
                    </a:lnTo>
                    <a:lnTo>
                      <a:pt x="336" y="905"/>
                    </a:lnTo>
                    <a:lnTo>
                      <a:pt x="336" y="901"/>
                    </a:lnTo>
                    <a:lnTo>
                      <a:pt x="337" y="898"/>
                    </a:lnTo>
                    <a:lnTo>
                      <a:pt x="339" y="897"/>
                    </a:lnTo>
                    <a:lnTo>
                      <a:pt x="341" y="896"/>
                    </a:lnTo>
                    <a:lnTo>
                      <a:pt x="348" y="894"/>
                    </a:lnTo>
                    <a:lnTo>
                      <a:pt x="351" y="893"/>
                    </a:lnTo>
                    <a:lnTo>
                      <a:pt x="355" y="893"/>
                    </a:lnTo>
                    <a:lnTo>
                      <a:pt x="360" y="892"/>
                    </a:lnTo>
                    <a:lnTo>
                      <a:pt x="368" y="892"/>
                    </a:lnTo>
                    <a:lnTo>
                      <a:pt x="369" y="892"/>
                    </a:lnTo>
                    <a:lnTo>
                      <a:pt x="377" y="892"/>
                    </a:lnTo>
                    <a:lnTo>
                      <a:pt x="383" y="891"/>
                    </a:lnTo>
                    <a:lnTo>
                      <a:pt x="392" y="889"/>
                    </a:lnTo>
                    <a:lnTo>
                      <a:pt x="400" y="889"/>
                    </a:lnTo>
                    <a:lnTo>
                      <a:pt x="401" y="889"/>
                    </a:lnTo>
                    <a:lnTo>
                      <a:pt x="402" y="889"/>
                    </a:lnTo>
                    <a:lnTo>
                      <a:pt x="416" y="888"/>
                    </a:lnTo>
                    <a:lnTo>
                      <a:pt x="417" y="888"/>
                    </a:lnTo>
                    <a:lnTo>
                      <a:pt x="425" y="887"/>
                    </a:lnTo>
                    <a:lnTo>
                      <a:pt x="430" y="884"/>
                    </a:lnTo>
                    <a:lnTo>
                      <a:pt x="431" y="883"/>
                    </a:lnTo>
                    <a:lnTo>
                      <a:pt x="434" y="877"/>
                    </a:lnTo>
                    <a:lnTo>
                      <a:pt x="434" y="874"/>
                    </a:lnTo>
                    <a:lnTo>
                      <a:pt x="434" y="873"/>
                    </a:lnTo>
                    <a:lnTo>
                      <a:pt x="434" y="870"/>
                    </a:lnTo>
                    <a:lnTo>
                      <a:pt x="431" y="867"/>
                    </a:lnTo>
                    <a:lnTo>
                      <a:pt x="431" y="865"/>
                    </a:lnTo>
                    <a:lnTo>
                      <a:pt x="430" y="860"/>
                    </a:lnTo>
                    <a:lnTo>
                      <a:pt x="422" y="850"/>
                    </a:lnTo>
                    <a:lnTo>
                      <a:pt x="422" y="849"/>
                    </a:lnTo>
                    <a:lnTo>
                      <a:pt x="422" y="845"/>
                    </a:lnTo>
                    <a:lnTo>
                      <a:pt x="422" y="832"/>
                    </a:lnTo>
                    <a:lnTo>
                      <a:pt x="422" y="829"/>
                    </a:lnTo>
                    <a:lnTo>
                      <a:pt x="422" y="827"/>
                    </a:lnTo>
                    <a:lnTo>
                      <a:pt x="421" y="818"/>
                    </a:lnTo>
                    <a:lnTo>
                      <a:pt x="420" y="806"/>
                    </a:lnTo>
                    <a:lnTo>
                      <a:pt x="419" y="797"/>
                    </a:lnTo>
                    <a:lnTo>
                      <a:pt x="417" y="792"/>
                    </a:lnTo>
                    <a:lnTo>
                      <a:pt x="416" y="783"/>
                    </a:lnTo>
                    <a:lnTo>
                      <a:pt x="415" y="775"/>
                    </a:lnTo>
                    <a:lnTo>
                      <a:pt x="412" y="764"/>
                    </a:lnTo>
                    <a:lnTo>
                      <a:pt x="414" y="758"/>
                    </a:lnTo>
                    <a:lnTo>
                      <a:pt x="417" y="751"/>
                    </a:lnTo>
                    <a:lnTo>
                      <a:pt x="419" y="751"/>
                    </a:lnTo>
                    <a:lnTo>
                      <a:pt x="419" y="750"/>
                    </a:lnTo>
                    <a:lnTo>
                      <a:pt x="422" y="744"/>
                    </a:lnTo>
                    <a:lnTo>
                      <a:pt x="424" y="736"/>
                    </a:lnTo>
                    <a:lnTo>
                      <a:pt x="424" y="731"/>
                    </a:lnTo>
                    <a:lnTo>
                      <a:pt x="424" y="728"/>
                    </a:lnTo>
                    <a:lnTo>
                      <a:pt x="425" y="720"/>
                    </a:lnTo>
                    <a:lnTo>
                      <a:pt x="425" y="718"/>
                    </a:lnTo>
                    <a:lnTo>
                      <a:pt x="424" y="716"/>
                    </a:lnTo>
                    <a:lnTo>
                      <a:pt x="425" y="707"/>
                    </a:lnTo>
                    <a:lnTo>
                      <a:pt x="425" y="697"/>
                    </a:lnTo>
                    <a:lnTo>
                      <a:pt x="421" y="693"/>
                    </a:lnTo>
                    <a:lnTo>
                      <a:pt x="419" y="689"/>
                    </a:lnTo>
                    <a:lnTo>
                      <a:pt x="415" y="687"/>
                    </a:lnTo>
                    <a:lnTo>
                      <a:pt x="412" y="684"/>
                    </a:lnTo>
                    <a:lnTo>
                      <a:pt x="411" y="682"/>
                    </a:lnTo>
                    <a:lnTo>
                      <a:pt x="411" y="680"/>
                    </a:lnTo>
                    <a:lnTo>
                      <a:pt x="411" y="679"/>
                    </a:lnTo>
                    <a:lnTo>
                      <a:pt x="414" y="674"/>
                    </a:lnTo>
                    <a:lnTo>
                      <a:pt x="416" y="673"/>
                    </a:lnTo>
                    <a:lnTo>
                      <a:pt x="417" y="673"/>
                    </a:lnTo>
                    <a:lnTo>
                      <a:pt x="422" y="673"/>
                    </a:lnTo>
                    <a:lnTo>
                      <a:pt x="424" y="673"/>
                    </a:lnTo>
                    <a:lnTo>
                      <a:pt x="425" y="674"/>
                    </a:lnTo>
                    <a:lnTo>
                      <a:pt x="433" y="675"/>
                    </a:lnTo>
                    <a:lnTo>
                      <a:pt x="438" y="678"/>
                    </a:lnTo>
                    <a:lnTo>
                      <a:pt x="448" y="684"/>
                    </a:lnTo>
                    <a:lnTo>
                      <a:pt x="459" y="689"/>
                    </a:lnTo>
                    <a:lnTo>
                      <a:pt x="462" y="689"/>
                    </a:lnTo>
                    <a:lnTo>
                      <a:pt x="463" y="689"/>
                    </a:lnTo>
                    <a:lnTo>
                      <a:pt x="467" y="689"/>
                    </a:lnTo>
                    <a:lnTo>
                      <a:pt x="468" y="689"/>
                    </a:lnTo>
                    <a:lnTo>
                      <a:pt x="472" y="688"/>
                    </a:lnTo>
                    <a:lnTo>
                      <a:pt x="473" y="688"/>
                    </a:lnTo>
                    <a:lnTo>
                      <a:pt x="474" y="687"/>
                    </a:lnTo>
                    <a:lnTo>
                      <a:pt x="478" y="685"/>
                    </a:lnTo>
                    <a:lnTo>
                      <a:pt x="484" y="684"/>
                    </a:lnTo>
                    <a:lnTo>
                      <a:pt x="487" y="684"/>
                    </a:lnTo>
                    <a:lnTo>
                      <a:pt x="490" y="684"/>
                    </a:lnTo>
                    <a:lnTo>
                      <a:pt x="491" y="684"/>
                    </a:lnTo>
                    <a:lnTo>
                      <a:pt x="498" y="684"/>
                    </a:lnTo>
                    <a:lnTo>
                      <a:pt x="500" y="685"/>
                    </a:lnTo>
                    <a:lnTo>
                      <a:pt x="506" y="689"/>
                    </a:lnTo>
                    <a:lnTo>
                      <a:pt x="510" y="693"/>
                    </a:lnTo>
                    <a:lnTo>
                      <a:pt x="517" y="701"/>
                    </a:lnTo>
                    <a:lnTo>
                      <a:pt x="521" y="713"/>
                    </a:lnTo>
                    <a:lnTo>
                      <a:pt x="525" y="720"/>
                    </a:lnTo>
                    <a:lnTo>
                      <a:pt x="528" y="720"/>
                    </a:lnTo>
                    <a:lnTo>
                      <a:pt x="529" y="720"/>
                    </a:lnTo>
                    <a:lnTo>
                      <a:pt x="531" y="717"/>
                    </a:lnTo>
                    <a:lnTo>
                      <a:pt x="539" y="704"/>
                    </a:lnTo>
                    <a:lnTo>
                      <a:pt x="539" y="703"/>
                    </a:lnTo>
                    <a:lnTo>
                      <a:pt x="540" y="702"/>
                    </a:lnTo>
                    <a:lnTo>
                      <a:pt x="541" y="702"/>
                    </a:lnTo>
                    <a:lnTo>
                      <a:pt x="543" y="701"/>
                    </a:lnTo>
                    <a:lnTo>
                      <a:pt x="544" y="699"/>
                    </a:lnTo>
                    <a:lnTo>
                      <a:pt x="547" y="698"/>
                    </a:lnTo>
                    <a:lnTo>
                      <a:pt x="548" y="698"/>
                    </a:lnTo>
                    <a:lnTo>
                      <a:pt x="550" y="698"/>
                    </a:lnTo>
                    <a:lnTo>
                      <a:pt x="552" y="699"/>
                    </a:lnTo>
                    <a:lnTo>
                      <a:pt x="553" y="699"/>
                    </a:lnTo>
                    <a:lnTo>
                      <a:pt x="559" y="706"/>
                    </a:lnTo>
                    <a:lnTo>
                      <a:pt x="560" y="707"/>
                    </a:lnTo>
                    <a:lnTo>
                      <a:pt x="562" y="707"/>
                    </a:lnTo>
                    <a:lnTo>
                      <a:pt x="571" y="716"/>
                    </a:lnTo>
                    <a:lnTo>
                      <a:pt x="573" y="718"/>
                    </a:lnTo>
                    <a:lnTo>
                      <a:pt x="576" y="717"/>
                    </a:lnTo>
                    <a:lnTo>
                      <a:pt x="577" y="717"/>
                    </a:lnTo>
                    <a:lnTo>
                      <a:pt x="578" y="717"/>
                    </a:lnTo>
                    <a:lnTo>
                      <a:pt x="579" y="716"/>
                    </a:lnTo>
                    <a:lnTo>
                      <a:pt x="582" y="715"/>
                    </a:lnTo>
                    <a:lnTo>
                      <a:pt x="586" y="713"/>
                    </a:lnTo>
                    <a:lnTo>
                      <a:pt x="614" y="704"/>
                    </a:lnTo>
                    <a:lnTo>
                      <a:pt x="598" y="670"/>
                    </a:lnTo>
                    <a:lnTo>
                      <a:pt x="600" y="661"/>
                    </a:lnTo>
                    <a:lnTo>
                      <a:pt x="601" y="637"/>
                    </a:lnTo>
                    <a:lnTo>
                      <a:pt x="601" y="632"/>
                    </a:lnTo>
                    <a:lnTo>
                      <a:pt x="602" y="626"/>
                    </a:lnTo>
                    <a:lnTo>
                      <a:pt x="602" y="620"/>
                    </a:lnTo>
                    <a:lnTo>
                      <a:pt x="604" y="616"/>
                    </a:lnTo>
                    <a:lnTo>
                      <a:pt x="610" y="599"/>
                    </a:lnTo>
                    <a:lnTo>
                      <a:pt x="623" y="565"/>
                    </a:lnTo>
                    <a:lnTo>
                      <a:pt x="634" y="535"/>
                    </a:lnTo>
                    <a:lnTo>
                      <a:pt x="625" y="533"/>
                    </a:lnTo>
                    <a:lnTo>
                      <a:pt x="624" y="533"/>
                    </a:lnTo>
                    <a:lnTo>
                      <a:pt x="628" y="519"/>
                    </a:lnTo>
                    <a:lnTo>
                      <a:pt x="631" y="504"/>
                    </a:lnTo>
                    <a:lnTo>
                      <a:pt x="640" y="499"/>
                    </a:lnTo>
                    <a:lnTo>
                      <a:pt x="640" y="500"/>
                    </a:lnTo>
                    <a:lnTo>
                      <a:pt x="648" y="497"/>
                    </a:lnTo>
                    <a:lnTo>
                      <a:pt x="713" y="467"/>
                    </a:lnTo>
                    <a:lnTo>
                      <a:pt x="718" y="464"/>
                    </a:lnTo>
                    <a:lnTo>
                      <a:pt x="762" y="424"/>
                    </a:lnTo>
                    <a:lnTo>
                      <a:pt x="762" y="423"/>
                    </a:lnTo>
                    <a:lnTo>
                      <a:pt x="759" y="421"/>
                    </a:lnTo>
                    <a:lnTo>
                      <a:pt x="809" y="388"/>
                    </a:lnTo>
                    <a:lnTo>
                      <a:pt x="847" y="399"/>
                    </a:lnTo>
                    <a:lnTo>
                      <a:pt x="847" y="398"/>
                    </a:lnTo>
                    <a:lnTo>
                      <a:pt x="849" y="398"/>
                    </a:lnTo>
                    <a:lnTo>
                      <a:pt x="900" y="409"/>
                    </a:lnTo>
                    <a:lnTo>
                      <a:pt x="915" y="418"/>
                    </a:lnTo>
                    <a:lnTo>
                      <a:pt x="925" y="424"/>
                    </a:lnTo>
                    <a:lnTo>
                      <a:pt x="979" y="452"/>
                    </a:lnTo>
                    <a:lnTo>
                      <a:pt x="991" y="460"/>
                    </a:lnTo>
                    <a:lnTo>
                      <a:pt x="993" y="460"/>
                    </a:lnTo>
                    <a:lnTo>
                      <a:pt x="994" y="460"/>
                    </a:lnTo>
                    <a:lnTo>
                      <a:pt x="1000" y="456"/>
                    </a:lnTo>
                    <a:lnTo>
                      <a:pt x="1047" y="437"/>
                    </a:lnTo>
                    <a:lnTo>
                      <a:pt x="1050" y="389"/>
                    </a:lnTo>
                    <a:lnTo>
                      <a:pt x="1051" y="380"/>
                    </a:lnTo>
                    <a:lnTo>
                      <a:pt x="1051" y="374"/>
                    </a:lnTo>
                    <a:lnTo>
                      <a:pt x="1053" y="326"/>
                    </a:lnTo>
                    <a:lnTo>
                      <a:pt x="1056" y="298"/>
                    </a:lnTo>
                    <a:lnTo>
                      <a:pt x="1143" y="295"/>
                    </a:lnTo>
                    <a:lnTo>
                      <a:pt x="1160" y="295"/>
                    </a:lnTo>
                    <a:lnTo>
                      <a:pt x="1169" y="295"/>
                    </a:lnTo>
                    <a:lnTo>
                      <a:pt x="1204" y="284"/>
                    </a:lnTo>
                    <a:lnTo>
                      <a:pt x="1260" y="248"/>
                    </a:lnTo>
                    <a:lnTo>
                      <a:pt x="1335" y="201"/>
                    </a:lnTo>
                    <a:lnTo>
                      <a:pt x="1382" y="172"/>
                    </a:lnTo>
                    <a:lnTo>
                      <a:pt x="1414" y="165"/>
                    </a:lnTo>
                    <a:lnTo>
                      <a:pt x="1460" y="153"/>
                    </a:lnTo>
                    <a:lnTo>
                      <a:pt x="1482" y="148"/>
                    </a:lnTo>
                    <a:lnTo>
                      <a:pt x="1493" y="144"/>
                    </a:lnTo>
                    <a:lnTo>
                      <a:pt x="1513" y="128"/>
                    </a:lnTo>
                    <a:lnTo>
                      <a:pt x="1513" y="129"/>
                    </a:lnTo>
                    <a:lnTo>
                      <a:pt x="1513" y="128"/>
                    </a:lnTo>
                    <a:lnTo>
                      <a:pt x="1521" y="123"/>
                    </a:lnTo>
                    <a:lnTo>
                      <a:pt x="1527" y="120"/>
                    </a:lnTo>
                    <a:lnTo>
                      <a:pt x="1531" y="119"/>
                    </a:lnTo>
                    <a:lnTo>
                      <a:pt x="1536" y="116"/>
                    </a:lnTo>
                    <a:lnTo>
                      <a:pt x="1545" y="110"/>
                    </a:lnTo>
                    <a:lnTo>
                      <a:pt x="1560" y="97"/>
                    </a:lnTo>
                    <a:lnTo>
                      <a:pt x="1561" y="97"/>
                    </a:lnTo>
                    <a:lnTo>
                      <a:pt x="1563" y="95"/>
                    </a:lnTo>
                    <a:lnTo>
                      <a:pt x="1568" y="90"/>
                    </a:lnTo>
                    <a:lnTo>
                      <a:pt x="1570" y="89"/>
                    </a:lnTo>
                    <a:lnTo>
                      <a:pt x="1573" y="85"/>
                    </a:lnTo>
                    <a:lnTo>
                      <a:pt x="1569" y="84"/>
                    </a:lnTo>
                    <a:lnTo>
                      <a:pt x="1593" y="65"/>
                    </a:lnTo>
                    <a:lnTo>
                      <a:pt x="1594" y="65"/>
                    </a:lnTo>
                    <a:lnTo>
                      <a:pt x="1597" y="61"/>
                    </a:lnTo>
                    <a:lnTo>
                      <a:pt x="1601" y="58"/>
                    </a:lnTo>
                    <a:lnTo>
                      <a:pt x="1607" y="51"/>
                    </a:lnTo>
                    <a:lnTo>
                      <a:pt x="1610" y="48"/>
                    </a:lnTo>
                    <a:lnTo>
                      <a:pt x="1611" y="48"/>
                    </a:lnTo>
                    <a:lnTo>
                      <a:pt x="1613" y="46"/>
                    </a:lnTo>
                    <a:lnTo>
                      <a:pt x="1615" y="43"/>
                    </a:lnTo>
                    <a:lnTo>
                      <a:pt x="1616" y="42"/>
                    </a:lnTo>
                    <a:lnTo>
                      <a:pt x="1617" y="42"/>
                    </a:lnTo>
                    <a:lnTo>
                      <a:pt x="1618" y="39"/>
                    </a:lnTo>
                    <a:lnTo>
                      <a:pt x="1621" y="37"/>
                    </a:lnTo>
                    <a:lnTo>
                      <a:pt x="1624" y="34"/>
                    </a:lnTo>
                    <a:lnTo>
                      <a:pt x="1626" y="33"/>
                    </a:lnTo>
                    <a:lnTo>
                      <a:pt x="1629" y="32"/>
                    </a:lnTo>
                    <a:lnTo>
                      <a:pt x="1632" y="28"/>
                    </a:lnTo>
                    <a:lnTo>
                      <a:pt x="1635" y="26"/>
                    </a:lnTo>
                    <a:lnTo>
                      <a:pt x="1636" y="25"/>
                    </a:lnTo>
                    <a:lnTo>
                      <a:pt x="1637" y="24"/>
                    </a:lnTo>
                    <a:lnTo>
                      <a:pt x="1641" y="21"/>
                    </a:lnTo>
                    <a:lnTo>
                      <a:pt x="1648" y="18"/>
                    </a:lnTo>
                    <a:lnTo>
                      <a:pt x="1653" y="15"/>
                    </a:lnTo>
                    <a:lnTo>
                      <a:pt x="1654" y="15"/>
                    </a:lnTo>
                    <a:lnTo>
                      <a:pt x="1654" y="14"/>
                    </a:lnTo>
                    <a:lnTo>
                      <a:pt x="1660" y="10"/>
                    </a:lnTo>
                    <a:lnTo>
                      <a:pt x="1662" y="9"/>
                    </a:lnTo>
                    <a:lnTo>
                      <a:pt x="1663" y="7"/>
                    </a:lnTo>
                    <a:lnTo>
                      <a:pt x="1665" y="6"/>
                    </a:lnTo>
                    <a:lnTo>
                      <a:pt x="1674" y="2"/>
                    </a:lnTo>
                    <a:lnTo>
                      <a:pt x="1674" y="1"/>
                    </a:lnTo>
                    <a:lnTo>
                      <a:pt x="1675" y="1"/>
                    </a:lnTo>
                    <a:lnTo>
                      <a:pt x="1677" y="1"/>
                    </a:lnTo>
                    <a:lnTo>
                      <a:pt x="1679" y="1"/>
                    </a:lnTo>
                    <a:lnTo>
                      <a:pt x="1683" y="1"/>
                    </a:lnTo>
                    <a:lnTo>
                      <a:pt x="1686" y="1"/>
                    </a:lnTo>
                    <a:lnTo>
                      <a:pt x="1694" y="1"/>
                    </a:lnTo>
                    <a:lnTo>
                      <a:pt x="1715" y="1"/>
                    </a:lnTo>
                    <a:lnTo>
                      <a:pt x="1729" y="1"/>
                    </a:lnTo>
                    <a:lnTo>
                      <a:pt x="1745" y="1"/>
                    </a:lnTo>
                    <a:lnTo>
                      <a:pt x="1750" y="1"/>
                    </a:lnTo>
                    <a:lnTo>
                      <a:pt x="1758" y="1"/>
                    </a:lnTo>
                    <a:lnTo>
                      <a:pt x="1768" y="1"/>
                    </a:lnTo>
                    <a:lnTo>
                      <a:pt x="1779" y="1"/>
                    </a:lnTo>
                    <a:lnTo>
                      <a:pt x="1783" y="1"/>
                    </a:lnTo>
                    <a:lnTo>
                      <a:pt x="1795" y="1"/>
                    </a:lnTo>
                    <a:lnTo>
                      <a:pt x="1802" y="0"/>
                    </a:lnTo>
                    <a:lnTo>
                      <a:pt x="1803" y="1"/>
                    </a:lnTo>
                    <a:lnTo>
                      <a:pt x="1805" y="1"/>
                    </a:lnTo>
                  </a:path>
                </a:pathLst>
              </a:custGeom>
              <a:noFill/>
              <a:ln w="4763">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10" name="Rectangle 9"/>
              <p:cNvSpPr>
                <a:spLocks noChangeArrowheads="1"/>
              </p:cNvSpPr>
              <p:nvPr/>
            </p:nvSpPr>
            <p:spPr bwMode="auto">
              <a:xfrm>
                <a:off x="4863" y="3836"/>
                <a:ext cx="0" cy="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buClrTx/>
                  <a:buFontTx/>
                  <a:buNone/>
                </a:pPr>
                <a:endParaRPr lang="en-US" altLang="en-US" sz="1800" kern="1200" dirty="0">
                  <a:solidFill>
                    <a:prstClr val="black"/>
                  </a:solidFill>
                  <a:ea typeface="+mn-ea"/>
                  <a:cs typeface="Arial" panose="020B0604020202020204" pitchFamily="34" charset="0"/>
                </a:endParaRPr>
              </a:p>
            </p:txBody>
          </p:sp>
          <p:sp>
            <p:nvSpPr>
              <p:cNvPr id="11" name="Line 40"/>
              <p:cNvSpPr>
                <a:spLocks noChangeShapeType="1"/>
              </p:cNvSpPr>
              <p:nvPr/>
            </p:nvSpPr>
            <p:spPr bwMode="auto">
              <a:xfrm flipV="1">
                <a:off x="4912" y="995"/>
                <a:ext cx="0" cy="26"/>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12" name="Line 42"/>
              <p:cNvSpPr>
                <a:spLocks noChangeShapeType="1"/>
              </p:cNvSpPr>
              <p:nvPr/>
            </p:nvSpPr>
            <p:spPr bwMode="auto">
              <a:xfrm>
                <a:off x="3433" y="3805"/>
                <a:ext cx="0" cy="26"/>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13" name="Rectangle 12"/>
              <p:cNvSpPr>
                <a:spLocks noChangeArrowheads="1"/>
              </p:cNvSpPr>
              <p:nvPr/>
            </p:nvSpPr>
            <p:spPr bwMode="auto">
              <a:xfrm>
                <a:off x="3368" y="3836"/>
                <a:ext cx="92" cy="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buClrTx/>
                  <a:buFontTx/>
                  <a:buNone/>
                </a:pPr>
                <a:r>
                  <a:rPr lang="en-US" altLang="en-US" sz="400" kern="1200" dirty="0">
                    <a:solidFill>
                      <a:srgbClr val="000000"/>
                    </a:solidFill>
                    <a:ea typeface="+mn-ea"/>
                    <a:cs typeface="Arial" panose="020B0604020202020204" pitchFamily="34" charset="0"/>
                  </a:rPr>
                  <a:t>3°0'0"W</a:t>
                </a:r>
                <a:endParaRPr lang="en-US" altLang="en-US" sz="1800" kern="1200" dirty="0">
                  <a:solidFill>
                    <a:prstClr val="black"/>
                  </a:solidFill>
                  <a:ea typeface="+mn-ea"/>
                  <a:cs typeface="Arial" panose="020B0604020202020204" pitchFamily="34" charset="0"/>
                </a:endParaRPr>
              </a:p>
            </p:txBody>
          </p:sp>
          <p:sp>
            <p:nvSpPr>
              <p:cNvPr id="14" name="Line 44"/>
              <p:cNvSpPr>
                <a:spLocks noChangeShapeType="1"/>
              </p:cNvSpPr>
              <p:nvPr/>
            </p:nvSpPr>
            <p:spPr bwMode="auto">
              <a:xfrm flipV="1">
                <a:off x="3433" y="995"/>
                <a:ext cx="0" cy="26"/>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15" name="Rectangle 14"/>
              <p:cNvSpPr>
                <a:spLocks noChangeArrowheads="1"/>
              </p:cNvSpPr>
              <p:nvPr/>
            </p:nvSpPr>
            <p:spPr bwMode="auto">
              <a:xfrm>
                <a:off x="1890" y="3836"/>
                <a:ext cx="92" cy="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buClrTx/>
                  <a:buFontTx/>
                  <a:buNone/>
                </a:pPr>
                <a:r>
                  <a:rPr lang="en-US" altLang="en-US" sz="400" kern="1200" dirty="0">
                    <a:solidFill>
                      <a:srgbClr val="000000"/>
                    </a:solidFill>
                    <a:ea typeface="+mn-ea"/>
                    <a:cs typeface="Arial" panose="020B0604020202020204" pitchFamily="34" charset="0"/>
                  </a:rPr>
                  <a:t>6°0'0"W</a:t>
                </a:r>
                <a:endParaRPr lang="en-US" altLang="en-US" sz="1800" kern="1200" dirty="0">
                  <a:solidFill>
                    <a:prstClr val="black"/>
                  </a:solidFill>
                  <a:ea typeface="+mn-ea"/>
                  <a:cs typeface="Arial" panose="020B0604020202020204" pitchFamily="34" charset="0"/>
                </a:endParaRPr>
              </a:p>
            </p:txBody>
          </p:sp>
          <p:sp>
            <p:nvSpPr>
              <p:cNvPr id="16" name="Line 48"/>
              <p:cNvSpPr>
                <a:spLocks noChangeShapeType="1"/>
              </p:cNvSpPr>
              <p:nvPr/>
            </p:nvSpPr>
            <p:spPr bwMode="auto">
              <a:xfrm flipV="1">
                <a:off x="1955" y="995"/>
                <a:ext cx="0" cy="26"/>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17" name="Line 50"/>
              <p:cNvSpPr>
                <a:spLocks noChangeShapeType="1"/>
              </p:cNvSpPr>
              <p:nvPr/>
            </p:nvSpPr>
            <p:spPr bwMode="auto">
              <a:xfrm flipH="1">
                <a:off x="1316" y="1590"/>
                <a:ext cx="27"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18" name="Line 52"/>
              <p:cNvSpPr>
                <a:spLocks noChangeShapeType="1"/>
              </p:cNvSpPr>
              <p:nvPr/>
            </p:nvSpPr>
            <p:spPr bwMode="auto">
              <a:xfrm>
                <a:off x="6355" y="1590"/>
                <a:ext cx="27"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19" name="Line 54"/>
              <p:cNvSpPr>
                <a:spLocks noChangeShapeType="1"/>
              </p:cNvSpPr>
              <p:nvPr/>
            </p:nvSpPr>
            <p:spPr bwMode="auto">
              <a:xfrm flipH="1">
                <a:off x="1316" y="2575"/>
                <a:ext cx="27"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20" name="Line 56"/>
              <p:cNvSpPr>
                <a:spLocks noChangeShapeType="1"/>
              </p:cNvSpPr>
              <p:nvPr/>
            </p:nvSpPr>
            <p:spPr bwMode="auto">
              <a:xfrm>
                <a:off x="6355" y="2575"/>
                <a:ext cx="27"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21" name="Rectangle 20"/>
              <p:cNvSpPr>
                <a:spLocks noChangeArrowheads="1"/>
              </p:cNvSpPr>
              <p:nvPr/>
            </p:nvSpPr>
            <p:spPr bwMode="auto">
              <a:xfrm>
                <a:off x="6387" y="2559"/>
                <a:ext cx="101" cy="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buClrTx/>
                  <a:buFontTx/>
                  <a:buNone/>
                </a:pPr>
                <a:r>
                  <a:rPr lang="en-US" altLang="en-US" sz="400" kern="1200" dirty="0">
                    <a:solidFill>
                      <a:srgbClr val="000000"/>
                    </a:solidFill>
                    <a:ea typeface="+mn-ea"/>
                    <a:cs typeface="Arial" panose="020B0604020202020204" pitchFamily="34" charset="0"/>
                  </a:rPr>
                  <a:t>12°0'0"N</a:t>
                </a:r>
                <a:endParaRPr lang="en-US" altLang="en-US" sz="1800" kern="1200" dirty="0">
                  <a:solidFill>
                    <a:prstClr val="black"/>
                  </a:solidFill>
                  <a:ea typeface="+mn-ea"/>
                  <a:cs typeface="Arial" panose="020B0604020202020204" pitchFamily="34" charset="0"/>
                </a:endParaRPr>
              </a:p>
            </p:txBody>
          </p:sp>
          <p:sp>
            <p:nvSpPr>
              <p:cNvPr id="22" name="Line 58"/>
              <p:cNvSpPr>
                <a:spLocks noChangeShapeType="1"/>
              </p:cNvSpPr>
              <p:nvPr/>
            </p:nvSpPr>
            <p:spPr bwMode="auto">
              <a:xfrm flipH="1">
                <a:off x="1316" y="3560"/>
                <a:ext cx="27"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buClrTx/>
                  <a:buFontTx/>
                  <a:buNone/>
                </a:pPr>
                <a:endParaRPr lang="en-GB" sz="1800" kern="1200" dirty="0">
                  <a:solidFill>
                    <a:prstClr val="black"/>
                  </a:solidFill>
                  <a:latin typeface="Arial" panose="020B0604020202020204" pitchFamily="34" charset="0"/>
                  <a:ea typeface="+mn-ea"/>
                  <a:cs typeface="Arial" panose="020B0604020202020204" pitchFamily="34" charset="0"/>
                </a:endParaRPr>
              </a:p>
            </p:txBody>
          </p:sp>
          <p:sp>
            <p:nvSpPr>
              <p:cNvPr id="23" name="Rectangle 22"/>
              <p:cNvSpPr>
                <a:spLocks noChangeArrowheads="1"/>
              </p:cNvSpPr>
              <p:nvPr/>
            </p:nvSpPr>
            <p:spPr bwMode="auto">
              <a:xfrm>
                <a:off x="5781" y="3927"/>
                <a:ext cx="87" cy="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buClrTx/>
                  <a:buFontTx/>
                  <a:buNone/>
                </a:pPr>
                <a:r>
                  <a:rPr lang="en-US" altLang="en-US" sz="800" kern="1200" dirty="0">
                    <a:solidFill>
                      <a:srgbClr val="000000"/>
                    </a:solidFill>
                    <a:ea typeface="+mn-ea"/>
                    <a:cs typeface="Arial" panose="020B0604020202020204" pitchFamily="34" charset="0"/>
                  </a:rPr>
                  <a:t>480</a:t>
                </a:r>
                <a:endParaRPr lang="en-US" altLang="en-US" sz="1800" kern="1200" dirty="0">
                  <a:solidFill>
                    <a:prstClr val="black"/>
                  </a:solidFill>
                  <a:ea typeface="+mn-ea"/>
                  <a:cs typeface="Arial" panose="020B0604020202020204" pitchFamily="34" charset="0"/>
                </a:endParaRPr>
              </a:p>
            </p:txBody>
          </p:sp>
          <p:sp>
            <p:nvSpPr>
              <p:cNvPr id="24" name="Rectangle 23"/>
              <p:cNvSpPr>
                <a:spLocks noChangeArrowheads="1"/>
              </p:cNvSpPr>
              <p:nvPr/>
            </p:nvSpPr>
            <p:spPr bwMode="auto">
              <a:xfrm>
                <a:off x="5865" y="3856"/>
                <a:ext cx="244" cy="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buClrTx/>
                  <a:buFontTx/>
                  <a:buNone/>
                </a:pPr>
                <a:r>
                  <a:rPr lang="en-US" altLang="en-US" sz="800" kern="1200" dirty="0">
                    <a:solidFill>
                      <a:srgbClr val="000000"/>
                    </a:solidFill>
                    <a:ea typeface="+mn-ea"/>
                    <a:cs typeface="Arial" panose="020B0604020202020204" pitchFamily="34" charset="0"/>
                  </a:rPr>
                  <a:t>Kilometers</a:t>
                </a:r>
                <a:endParaRPr lang="en-US" altLang="en-US" sz="1800" kern="1200" dirty="0">
                  <a:solidFill>
                    <a:prstClr val="black"/>
                  </a:solidFill>
                  <a:ea typeface="+mn-ea"/>
                  <a:cs typeface="Arial" panose="020B0604020202020204" pitchFamily="34" charset="0"/>
                </a:endParaRPr>
              </a:p>
            </p:txBody>
          </p:sp>
        </p:grpSp>
      </p:grpSp>
      <p:cxnSp>
        <p:nvCxnSpPr>
          <p:cNvPr id="182" name="Straight Connector 181"/>
          <p:cNvCxnSpPr>
            <a:stCxn id="99" idx="41"/>
            <a:endCxn id="92" idx="38"/>
          </p:cNvCxnSpPr>
          <p:nvPr/>
        </p:nvCxnSpPr>
        <p:spPr>
          <a:xfrm flipH="1">
            <a:off x="2216317" y="3515553"/>
            <a:ext cx="127929" cy="1326853"/>
          </a:xfrm>
          <a:prstGeom prst="line">
            <a:avLst/>
          </a:prstGeom>
          <a:noFill/>
          <a:ln w="1905" cap="flat" cmpd="sng" algn="ctr">
            <a:solidFill>
              <a:sysClr val="windowText" lastClr="000000">
                <a:lumMod val="95000"/>
                <a:lumOff val="5000"/>
              </a:sysClr>
            </a:solidFill>
            <a:prstDash val="sysDot"/>
          </a:ln>
          <a:effectLst/>
        </p:spPr>
      </p:cxnSp>
      <p:cxnSp>
        <p:nvCxnSpPr>
          <p:cNvPr id="183" name="Straight Connector 182"/>
          <p:cNvCxnSpPr/>
          <p:nvPr/>
        </p:nvCxnSpPr>
        <p:spPr>
          <a:xfrm>
            <a:off x="3042444" y="3482182"/>
            <a:ext cx="236538" cy="598488"/>
          </a:xfrm>
          <a:prstGeom prst="line">
            <a:avLst/>
          </a:prstGeom>
          <a:noFill/>
          <a:ln w="1905" cap="flat" cmpd="sng" algn="ctr">
            <a:solidFill>
              <a:sysClr val="windowText" lastClr="000000">
                <a:lumMod val="95000"/>
                <a:lumOff val="5000"/>
              </a:sysClr>
            </a:solidFill>
            <a:prstDash val="sysDot"/>
          </a:ln>
          <a:effectLst/>
        </p:spPr>
      </p:cxnSp>
      <p:cxnSp>
        <p:nvCxnSpPr>
          <p:cNvPr id="184" name="Straight Connector 183"/>
          <p:cNvCxnSpPr/>
          <p:nvPr/>
        </p:nvCxnSpPr>
        <p:spPr>
          <a:xfrm>
            <a:off x="3092907" y="3463926"/>
            <a:ext cx="746350" cy="190500"/>
          </a:xfrm>
          <a:prstGeom prst="line">
            <a:avLst/>
          </a:prstGeom>
          <a:noFill/>
          <a:ln w="1905" cap="flat" cmpd="sng" algn="ctr">
            <a:solidFill>
              <a:sysClr val="windowText" lastClr="000000"/>
            </a:solidFill>
            <a:prstDash val="sysDot"/>
          </a:ln>
          <a:effectLst/>
        </p:spPr>
      </p:cxnSp>
      <p:cxnSp>
        <p:nvCxnSpPr>
          <p:cNvPr id="185" name="Straight Arrow Connector 184"/>
          <p:cNvCxnSpPr>
            <a:endCxn id="102" idx="51"/>
          </p:cNvCxnSpPr>
          <p:nvPr/>
        </p:nvCxnSpPr>
        <p:spPr>
          <a:xfrm flipV="1">
            <a:off x="1758950" y="5025987"/>
            <a:ext cx="853364" cy="258"/>
          </a:xfrm>
          <a:prstGeom prst="straightConnector1">
            <a:avLst/>
          </a:prstGeom>
          <a:noFill/>
          <a:ln w="9525" cap="flat" cmpd="sng" algn="ctr">
            <a:solidFill>
              <a:srgbClr val="70AD47"/>
            </a:solidFill>
            <a:prstDash val="solid"/>
            <a:headEnd type="triangle"/>
            <a:tailEnd type="triangle"/>
          </a:ln>
          <a:effectLst/>
        </p:spPr>
      </p:cxnSp>
      <p:cxnSp>
        <p:nvCxnSpPr>
          <p:cNvPr id="186" name="Straight Arrow Connector 185"/>
          <p:cNvCxnSpPr>
            <a:stCxn id="99" idx="4"/>
          </p:cNvCxnSpPr>
          <p:nvPr/>
        </p:nvCxnSpPr>
        <p:spPr>
          <a:xfrm flipH="1" flipV="1">
            <a:off x="1441267" y="3246715"/>
            <a:ext cx="678168" cy="66878"/>
          </a:xfrm>
          <a:prstGeom prst="straightConnector1">
            <a:avLst/>
          </a:prstGeom>
          <a:noFill/>
          <a:ln w="9525" cap="flat" cmpd="sng" algn="ctr">
            <a:solidFill>
              <a:srgbClr val="70AD47"/>
            </a:solidFill>
            <a:prstDash val="solid"/>
            <a:headEnd type="triangle"/>
            <a:tailEnd type="triangle"/>
          </a:ln>
          <a:effectLst/>
        </p:spPr>
      </p:cxnSp>
      <p:sp>
        <p:nvSpPr>
          <p:cNvPr id="187" name="Oval 186"/>
          <p:cNvSpPr/>
          <p:nvPr/>
        </p:nvSpPr>
        <p:spPr>
          <a:xfrm>
            <a:off x="55777" y="1221958"/>
            <a:ext cx="299368" cy="347732"/>
          </a:xfrm>
          <a:prstGeom prst="ellipse">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mj-lt"/>
                <a:ea typeface="+mn-ea"/>
                <a:cs typeface="+mn-cs"/>
              </a:rPr>
              <a:t>1</a:t>
            </a:r>
            <a:endParaRPr kumimoji="0" lang="en-GB" sz="1000" b="1" i="0" u="none" strike="noStrike" kern="1200" cap="none" spc="0" normalizeH="0" baseline="0" noProof="0" dirty="0">
              <a:ln>
                <a:noFill/>
              </a:ln>
              <a:solidFill>
                <a:prstClr val="black"/>
              </a:solidFill>
              <a:effectLst/>
              <a:uLnTx/>
              <a:uFillTx/>
              <a:latin typeface="+mj-lt"/>
              <a:ea typeface="+mn-ea"/>
              <a:cs typeface="+mn-cs"/>
            </a:endParaRPr>
          </a:p>
        </p:txBody>
      </p:sp>
      <p:sp>
        <p:nvSpPr>
          <p:cNvPr id="188" name="Oval 187"/>
          <p:cNvSpPr/>
          <p:nvPr/>
        </p:nvSpPr>
        <p:spPr>
          <a:xfrm>
            <a:off x="14057" y="2316888"/>
            <a:ext cx="299368" cy="347732"/>
          </a:xfrm>
          <a:prstGeom prst="ellipse">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mj-lt"/>
                <a:ea typeface="+mn-ea"/>
                <a:cs typeface="+mn-cs"/>
              </a:rPr>
              <a:t>2</a:t>
            </a:r>
            <a:endParaRPr kumimoji="0" lang="en-GB" sz="1000" b="1" i="0" u="none" strike="noStrike" kern="1200" cap="none" spc="0" normalizeH="0" baseline="0" noProof="0" dirty="0">
              <a:ln>
                <a:noFill/>
              </a:ln>
              <a:solidFill>
                <a:prstClr val="black"/>
              </a:solidFill>
              <a:effectLst/>
              <a:uLnTx/>
              <a:uFillTx/>
              <a:latin typeface="+mj-lt"/>
              <a:ea typeface="+mn-ea"/>
              <a:cs typeface="+mn-cs"/>
            </a:endParaRPr>
          </a:p>
        </p:txBody>
      </p:sp>
      <p:sp>
        <p:nvSpPr>
          <p:cNvPr id="189" name="Oval 188"/>
          <p:cNvSpPr/>
          <p:nvPr/>
        </p:nvSpPr>
        <p:spPr>
          <a:xfrm>
            <a:off x="92075" y="3717891"/>
            <a:ext cx="299368" cy="347732"/>
          </a:xfrm>
          <a:prstGeom prst="ellipse">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mj-lt"/>
                <a:ea typeface="+mn-ea"/>
                <a:cs typeface="+mn-cs"/>
              </a:rPr>
              <a:t>3</a:t>
            </a:r>
            <a:endParaRPr kumimoji="0" lang="en-GB" sz="1000" b="1" i="0" u="none" strike="noStrike" kern="1200" cap="none" spc="0" normalizeH="0" baseline="0" noProof="0" dirty="0">
              <a:ln>
                <a:noFill/>
              </a:ln>
              <a:solidFill>
                <a:prstClr val="black"/>
              </a:solidFill>
              <a:effectLst/>
              <a:uLnTx/>
              <a:uFillTx/>
              <a:latin typeface="+mj-lt"/>
              <a:ea typeface="+mn-ea"/>
              <a:cs typeface="+mn-cs"/>
            </a:endParaRPr>
          </a:p>
        </p:txBody>
      </p:sp>
      <p:sp>
        <p:nvSpPr>
          <p:cNvPr id="190" name="Oval 189"/>
          <p:cNvSpPr/>
          <p:nvPr/>
        </p:nvSpPr>
        <p:spPr>
          <a:xfrm>
            <a:off x="7224713" y="969126"/>
            <a:ext cx="299368" cy="347732"/>
          </a:xfrm>
          <a:prstGeom prst="ellipse">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mj-lt"/>
                <a:ea typeface="+mn-ea"/>
                <a:cs typeface="+mn-cs"/>
              </a:rPr>
              <a:t>5</a:t>
            </a:r>
            <a:endParaRPr kumimoji="0" lang="en-GB" sz="900" b="1" i="0" u="none" strike="noStrike" kern="1200" cap="none" spc="0" normalizeH="0" baseline="0" noProof="0" dirty="0">
              <a:ln>
                <a:noFill/>
              </a:ln>
              <a:solidFill>
                <a:prstClr val="black"/>
              </a:solidFill>
              <a:effectLst/>
              <a:uLnTx/>
              <a:uFillTx/>
              <a:latin typeface="+mj-lt"/>
              <a:ea typeface="+mn-ea"/>
              <a:cs typeface="+mn-cs"/>
            </a:endParaRPr>
          </a:p>
        </p:txBody>
      </p:sp>
      <p:sp>
        <p:nvSpPr>
          <p:cNvPr id="191" name="Oval 190"/>
          <p:cNvSpPr/>
          <p:nvPr/>
        </p:nvSpPr>
        <p:spPr>
          <a:xfrm>
            <a:off x="4472958" y="4995073"/>
            <a:ext cx="299368" cy="347732"/>
          </a:xfrm>
          <a:prstGeom prst="ellipse">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mj-lt"/>
                <a:ea typeface="+mn-ea"/>
                <a:cs typeface="+mn-cs"/>
              </a:rPr>
              <a:t>6</a:t>
            </a:r>
            <a:endParaRPr kumimoji="0" lang="en-GB" sz="1100" b="1" i="0" u="none" strike="noStrike" kern="1200" cap="none" spc="0" normalizeH="0" baseline="0" noProof="0" dirty="0">
              <a:ln>
                <a:noFill/>
              </a:ln>
              <a:solidFill>
                <a:prstClr val="black"/>
              </a:solidFill>
              <a:effectLst/>
              <a:uLnTx/>
              <a:uFillTx/>
              <a:latin typeface="+mj-lt"/>
              <a:ea typeface="+mn-ea"/>
              <a:cs typeface="+mn-cs"/>
            </a:endParaRPr>
          </a:p>
        </p:txBody>
      </p:sp>
      <p:cxnSp>
        <p:nvCxnSpPr>
          <p:cNvPr id="192" name="Elbow Connector 191"/>
          <p:cNvCxnSpPr/>
          <p:nvPr/>
        </p:nvCxnSpPr>
        <p:spPr>
          <a:xfrm flipV="1">
            <a:off x="4277960" y="1345849"/>
            <a:ext cx="3107063" cy="1830388"/>
          </a:xfrm>
          <a:prstGeom prst="bentConnector3">
            <a:avLst>
              <a:gd name="adj1" fmla="val 50000"/>
            </a:avLst>
          </a:prstGeom>
          <a:noFill/>
          <a:ln w="9525" cap="flat" cmpd="sng" algn="ctr">
            <a:solidFill>
              <a:srgbClr val="339933"/>
            </a:solidFill>
            <a:prstDash val="sysDot"/>
            <a:headEnd type="triangle"/>
            <a:tailEnd type="triangle"/>
          </a:ln>
          <a:effectLst/>
        </p:spPr>
      </p:cxnSp>
      <p:cxnSp>
        <p:nvCxnSpPr>
          <p:cNvPr id="193" name="Elbow Connector 192"/>
          <p:cNvCxnSpPr/>
          <p:nvPr/>
        </p:nvCxnSpPr>
        <p:spPr>
          <a:xfrm rot="5400000">
            <a:off x="5751343" y="4555150"/>
            <a:ext cx="850297" cy="344937"/>
          </a:xfrm>
          <a:prstGeom prst="bentConnector3">
            <a:avLst>
              <a:gd name="adj1" fmla="val 50000"/>
            </a:avLst>
          </a:prstGeom>
          <a:noFill/>
          <a:ln w="9525" cap="flat" cmpd="sng" algn="ctr">
            <a:solidFill>
              <a:srgbClr val="339933"/>
            </a:solidFill>
            <a:prstDash val="sysDot"/>
            <a:headEnd type="triangle"/>
            <a:tailEnd type="triangle"/>
          </a:ln>
          <a:effectLst/>
        </p:spPr>
      </p:cxnSp>
      <p:cxnSp>
        <p:nvCxnSpPr>
          <p:cNvPr id="194" name="Straight Arrow Connector 193"/>
          <p:cNvCxnSpPr/>
          <p:nvPr/>
        </p:nvCxnSpPr>
        <p:spPr>
          <a:xfrm flipH="1">
            <a:off x="4262692" y="2205365"/>
            <a:ext cx="699449" cy="137785"/>
          </a:xfrm>
          <a:prstGeom prst="straightConnector1">
            <a:avLst/>
          </a:prstGeom>
          <a:noFill/>
          <a:ln w="9525" cap="flat" cmpd="sng" algn="ctr">
            <a:solidFill>
              <a:srgbClr val="339933"/>
            </a:solidFill>
            <a:prstDash val="sysDot"/>
            <a:headEnd type="triangle"/>
            <a:tailEnd type="triangle"/>
          </a:ln>
          <a:effectLst/>
        </p:spPr>
      </p:cxnSp>
      <p:cxnSp>
        <p:nvCxnSpPr>
          <p:cNvPr id="195" name="Straight Arrow Connector 194"/>
          <p:cNvCxnSpPr>
            <a:stCxn id="123" idx="25"/>
          </p:cNvCxnSpPr>
          <p:nvPr/>
        </p:nvCxnSpPr>
        <p:spPr>
          <a:xfrm flipV="1">
            <a:off x="4509060" y="884813"/>
            <a:ext cx="87508" cy="828466"/>
          </a:xfrm>
          <a:prstGeom prst="straightConnector1">
            <a:avLst/>
          </a:prstGeom>
          <a:noFill/>
          <a:ln w="9525" cap="flat" cmpd="sng" algn="ctr">
            <a:solidFill>
              <a:srgbClr val="339933"/>
            </a:solidFill>
            <a:prstDash val="sysDot"/>
            <a:headEnd type="triangle"/>
            <a:tailEnd type="triangle"/>
          </a:ln>
          <a:effectLst/>
        </p:spPr>
      </p:cxnSp>
      <p:sp>
        <p:nvSpPr>
          <p:cNvPr id="201" name="Oval 200"/>
          <p:cNvSpPr/>
          <p:nvPr/>
        </p:nvSpPr>
        <p:spPr>
          <a:xfrm>
            <a:off x="79022" y="4525046"/>
            <a:ext cx="299368" cy="347732"/>
          </a:xfrm>
          <a:prstGeom prst="ellipse">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mj-lt"/>
                <a:ea typeface="+mn-ea"/>
                <a:cs typeface="+mn-cs"/>
              </a:rPr>
              <a:t>4</a:t>
            </a:r>
            <a:endParaRPr kumimoji="0" lang="en-GB" sz="1100" b="1" i="0" u="none" strike="noStrike" kern="1200" cap="none" spc="0" normalizeH="0" baseline="0" noProof="0" dirty="0">
              <a:ln>
                <a:noFill/>
              </a:ln>
              <a:solidFill>
                <a:prstClr val="black"/>
              </a:solidFill>
              <a:effectLst/>
              <a:uLnTx/>
              <a:uFillTx/>
              <a:latin typeface="+mj-lt"/>
              <a:ea typeface="+mn-ea"/>
              <a:cs typeface="+mn-cs"/>
            </a:endParaRPr>
          </a:p>
        </p:txBody>
      </p:sp>
      <p:sp>
        <p:nvSpPr>
          <p:cNvPr id="202" name="TextBox 201"/>
          <p:cNvSpPr txBox="1"/>
          <p:nvPr/>
        </p:nvSpPr>
        <p:spPr>
          <a:xfrm>
            <a:off x="4597048" y="5128190"/>
            <a:ext cx="2661772" cy="646331"/>
          </a:xfrm>
          <a:prstGeom prst="rect">
            <a:avLst/>
          </a:prstGeom>
          <a:noFill/>
          <a:ln>
            <a:noFill/>
          </a:ln>
        </p:spPr>
        <p:txBody>
          <a:bodyPr wrap="square" rtlCol="0">
            <a:spAutoFit/>
          </a:bodyPr>
          <a:lstStyle/>
          <a:p>
            <a:pPr>
              <a:buClrTx/>
              <a:buFontTx/>
              <a:buNone/>
            </a:pPr>
            <a:r>
              <a:rPr lang="en-US" sz="900" b="1" kern="1200" dirty="0">
                <a:solidFill>
                  <a:prstClr val="black">
                    <a:lumMod val="95000"/>
                    <a:lumOff val="5000"/>
                  </a:prstClr>
                </a:solidFill>
                <a:latin typeface="+mj-lt"/>
                <a:ea typeface="+mn-ea"/>
                <a:cs typeface="+mn-cs"/>
              </a:rPr>
              <a:t>Grant Type: </a:t>
            </a:r>
            <a:r>
              <a:rPr lang="en-US" sz="900" kern="1200" dirty="0">
                <a:solidFill>
                  <a:prstClr val="black">
                    <a:lumMod val="95000"/>
                    <a:lumOff val="5000"/>
                  </a:prstClr>
                </a:solidFill>
                <a:latin typeface="+mj-lt"/>
                <a:ea typeface="+mn-ea"/>
                <a:cs typeface="+mn-cs"/>
              </a:rPr>
              <a:t>Consortium</a:t>
            </a:r>
            <a:endParaRPr lang="en-US" sz="900" b="1" kern="1200" dirty="0">
              <a:solidFill>
                <a:prstClr val="black">
                  <a:lumMod val="95000"/>
                  <a:lumOff val="5000"/>
                </a:prstClr>
              </a:solidFill>
              <a:latin typeface="+mj-lt"/>
              <a:ea typeface="+mn-ea"/>
              <a:cs typeface="+mn-cs"/>
            </a:endParaRPr>
          </a:p>
          <a:p>
            <a:pPr>
              <a:buClrTx/>
              <a:buFontTx/>
              <a:buNone/>
            </a:pPr>
            <a:r>
              <a:rPr lang="en-US" sz="900" b="1" kern="1200" dirty="0">
                <a:solidFill>
                  <a:prstClr val="black">
                    <a:lumMod val="95000"/>
                    <a:lumOff val="5000"/>
                  </a:prstClr>
                </a:solidFill>
                <a:latin typeface="+mj-lt"/>
                <a:ea typeface="+mn-ea"/>
                <a:cs typeface="+mn-cs"/>
              </a:rPr>
              <a:t>Grant Title: </a:t>
            </a:r>
            <a:r>
              <a:rPr lang="en-US" sz="900" kern="1200" dirty="0">
                <a:solidFill>
                  <a:prstClr val="black">
                    <a:lumMod val="95000"/>
                    <a:lumOff val="5000"/>
                  </a:prstClr>
                </a:solidFill>
                <a:latin typeface="+mj-lt"/>
                <a:ea typeface="+mn-ea"/>
                <a:cs typeface="+mn-cs"/>
              </a:rPr>
              <a:t>Selling quality rice for a better income – Consortium Bagré</a:t>
            </a:r>
          </a:p>
          <a:p>
            <a:pPr>
              <a:buClrTx/>
              <a:buFontTx/>
              <a:buNone/>
            </a:pPr>
            <a:r>
              <a:rPr lang="en-US" sz="900" b="1" kern="1200" dirty="0">
                <a:solidFill>
                  <a:prstClr val="black">
                    <a:lumMod val="95000"/>
                    <a:lumOff val="5000"/>
                  </a:prstClr>
                </a:solidFill>
                <a:latin typeface="+mj-lt"/>
                <a:ea typeface="+mn-ea"/>
                <a:cs typeface="+mn-cs"/>
              </a:rPr>
              <a:t>Coverage</a:t>
            </a:r>
            <a:r>
              <a:rPr lang="en-US" sz="900" kern="1200" dirty="0">
                <a:solidFill>
                  <a:prstClr val="black"/>
                </a:solidFill>
                <a:latin typeface="+mj-lt"/>
                <a:ea typeface="+mn-ea"/>
                <a:cs typeface="+mn-cs"/>
              </a:rPr>
              <a:t>: Center-East Regions </a:t>
            </a:r>
          </a:p>
        </p:txBody>
      </p:sp>
      <p:sp>
        <p:nvSpPr>
          <p:cNvPr id="196" name="Rectangle 195"/>
          <p:cNvSpPr/>
          <p:nvPr/>
        </p:nvSpPr>
        <p:spPr>
          <a:xfrm>
            <a:off x="8350624" y="5325035"/>
            <a:ext cx="1371600" cy="322730"/>
          </a:xfrm>
          <a:prstGeom prst="rect">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800" dirty="0" smtClean="0">
                <a:solidFill>
                  <a:schemeClr val="tx1"/>
                </a:solidFill>
              </a:rPr>
              <a:t>All investments have a component of resilience</a:t>
            </a:r>
            <a:endParaRPr lang="en-US" sz="800" dirty="0">
              <a:solidFill>
                <a:schemeClr val="tx1"/>
              </a:solidFill>
            </a:endParaRPr>
          </a:p>
        </p:txBody>
      </p:sp>
    </p:spTree>
    <p:extLst>
      <p:ext uri="{BB962C8B-B14F-4D97-AF65-F5344CB8AC3E}">
        <p14:creationId xmlns:p14="http://schemas.microsoft.com/office/powerpoint/2010/main" val="233787990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662281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662" name="think-cell Slide" r:id="rId30" imgW="470" imgH="469" progId="TCLayout.ActiveDocument.1">
                  <p:embed/>
                </p:oleObj>
              </mc:Choice>
              <mc:Fallback>
                <p:oleObj name="think-cell Slide" r:id="rId30" imgW="470" imgH="469" progId="TCLayout.ActiveDocument.1">
                  <p:embed/>
                  <p:pic>
                    <p:nvPicPr>
                      <p:cNvPr id="4" name="Object 3" hidden="1"/>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200" b="1"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Details of Existing Portfolio of Investments in Mali </a:t>
            </a:r>
          </a:p>
        </p:txBody>
      </p:sp>
      <p:sp>
        <p:nvSpPr>
          <p:cNvPr id="6" name="TextBox 5"/>
          <p:cNvSpPr txBox="1">
            <a:spLocks/>
          </p:cNvSpPr>
          <p:nvPr/>
        </p:nvSpPr>
        <p:spPr>
          <a:xfrm>
            <a:off x="46999" y="1067738"/>
            <a:ext cx="380293" cy="909554"/>
          </a:xfrm>
          <a:prstGeom prst="rect">
            <a:avLst/>
          </a:prstGeom>
          <a:solidFill>
            <a:srgbClr val="71A014"/>
          </a:solidFill>
          <a:ln w="9525">
            <a:noFill/>
            <a:miter lim="800000"/>
            <a:headEnd/>
            <a:tailEnd/>
          </a:ln>
          <a:effectLst/>
        </p:spPr>
        <p:txBody>
          <a:bodyPr vert="vert270" wrap="square" lIns="72009" tIns="72009" rIns="72009" bIns="72009" numCol="1" anchor="ctr" anchorCtr="0" compatLnSpc="1">
            <a:prstTxWarp prst="textNoShape">
              <a:avLst/>
            </a:prstTxWarp>
            <a:noAutofit/>
          </a:bodyPr>
          <a:lstStyle>
            <a:defPPr>
              <a:defRPr lang="en-US"/>
            </a:defPPr>
            <a:lvl1pPr lvl="0" indent="0" algn="ctr" defTabSz="913429" fontAlgn="base">
              <a:spcBef>
                <a:spcPct val="0"/>
              </a:spcBef>
              <a:spcAft>
                <a:spcPct val="0"/>
              </a:spcAft>
              <a:buClr>
                <a:srgbClr val="000000"/>
              </a:buClr>
              <a:defRPr sz="1400" b="1" baseline="0">
                <a:solidFill>
                  <a:schemeClr val="bg1"/>
                </a:solidFill>
              </a:defRPr>
            </a:lvl1pPr>
            <a:lvl2pPr marL="197586" lvl="1" indent="-195966" defTabSz="913429">
              <a:buClr>
                <a:schemeClr val="tx2"/>
              </a:buClr>
              <a:buSzPct val="125000"/>
              <a:buFont typeface="Arial" charset="0"/>
              <a:buChar char="▪"/>
              <a:defRPr baseline="0"/>
            </a:lvl2pPr>
            <a:lvl3pPr marL="466431" lvl="2" indent="-267227" defTabSz="913429">
              <a:buClr>
                <a:schemeClr val="tx2"/>
              </a:buClr>
              <a:buSzPct val="120000"/>
              <a:buFont typeface="Arial" charset="0"/>
              <a:buChar char="–"/>
              <a:defRPr baseline="0"/>
            </a:lvl3pPr>
            <a:lvl4pPr marL="626768" lvl="3" indent="-158716" defTabSz="913429">
              <a:buClr>
                <a:schemeClr val="tx2"/>
              </a:buClr>
              <a:buSzPct val="120000"/>
              <a:buFont typeface="Arial" charset="0"/>
              <a:buChar char="▫"/>
              <a:defRPr baseline="0"/>
            </a:lvl4pPr>
            <a:lvl5pPr marL="764947" lvl="4" indent="-132804" defTabSz="913429">
              <a:buClr>
                <a:schemeClr val="tx2"/>
              </a:buClr>
              <a:buSzPct val="89000"/>
              <a:buFont typeface="Arial" charset="0"/>
              <a:buChar char="-"/>
              <a:defRPr baseline="0"/>
            </a:lvl5pPr>
            <a:lvl6pPr marL="764947" indent="-132804" defTabSz="913429" fontAlgn="base">
              <a:spcBef>
                <a:spcPct val="0"/>
              </a:spcBef>
              <a:spcAft>
                <a:spcPct val="0"/>
              </a:spcAft>
              <a:buClr>
                <a:schemeClr val="tx2"/>
              </a:buClr>
              <a:buSzPct val="89000"/>
              <a:buFont typeface="Arial" charset="0"/>
              <a:buChar char="-"/>
              <a:defRPr baseline="0"/>
            </a:lvl6pPr>
            <a:lvl7pPr marL="764947" indent="-132804" defTabSz="913429" fontAlgn="base">
              <a:spcBef>
                <a:spcPct val="0"/>
              </a:spcBef>
              <a:spcAft>
                <a:spcPct val="0"/>
              </a:spcAft>
              <a:buClr>
                <a:schemeClr val="tx2"/>
              </a:buClr>
              <a:buSzPct val="89000"/>
              <a:buFont typeface="Arial" charset="0"/>
              <a:buChar char="-"/>
              <a:defRPr baseline="0"/>
            </a:lvl7pPr>
            <a:lvl8pPr marL="764947" indent="-132804" defTabSz="913429" fontAlgn="base">
              <a:spcBef>
                <a:spcPct val="0"/>
              </a:spcBef>
              <a:spcAft>
                <a:spcPct val="0"/>
              </a:spcAft>
              <a:buClr>
                <a:schemeClr val="tx2"/>
              </a:buClr>
              <a:buSzPct val="89000"/>
              <a:buFont typeface="Arial" charset="0"/>
              <a:buChar char="-"/>
              <a:defRPr baseline="0"/>
            </a:lvl8pPr>
            <a:lvl9pPr marL="764947" indent="-132804" defTabSz="913429" fontAlgn="base">
              <a:spcBef>
                <a:spcPct val="0"/>
              </a:spcBef>
              <a:spcAft>
                <a:spcPct val="0"/>
              </a:spcAft>
              <a:buClr>
                <a:schemeClr val="tx2"/>
              </a:buClr>
              <a:buSzPct val="89000"/>
              <a:buFont typeface="Arial" charset="0"/>
              <a:buChar char="-"/>
              <a:defRPr baseline="0"/>
            </a:lvl9pPr>
          </a:lstStyle>
          <a:p>
            <a:pPr marL="0" marR="0" lvl="0" indent="0" algn="ctr" defTabSz="913429" eaLnBrk="1" fontAlgn="base" latinLnBrk="0" hangingPunct="1">
              <a:lnSpc>
                <a:spcPct val="100000"/>
              </a:lnSpc>
              <a:spcBef>
                <a:spcPct val="0"/>
              </a:spcBef>
              <a:spcAft>
                <a:spcPct val="0"/>
              </a:spcAft>
              <a:buClr>
                <a:srgbClr val="000000"/>
              </a:buClr>
              <a:buSzTx/>
              <a:buFontTx/>
              <a:buNone/>
              <a:tabLst/>
              <a:defRPr/>
            </a:pPr>
            <a:r>
              <a:rPr kumimoji="0" lang="en-US" sz="1100" b="1" i="0" u="none" strike="noStrike" kern="1200" cap="none" spc="0" normalizeH="0" baseline="0" noProof="0" dirty="0">
                <a:ln>
                  <a:noFill/>
                </a:ln>
                <a:solidFill>
                  <a:srgbClr val="FFFFFF"/>
                </a:solidFill>
                <a:effectLst/>
                <a:uLnTx/>
                <a:uFillTx/>
                <a:ea typeface="+mn-ea"/>
                <a:cs typeface="+mn-cs"/>
              </a:rPr>
              <a:t>Policy</a:t>
            </a:r>
            <a:r>
              <a:rPr kumimoji="0" lang="en-US" sz="800" b="1" i="0" u="none" strike="noStrike" kern="1200" cap="none" spc="0" normalizeH="0" baseline="0" noProof="0" dirty="0">
                <a:ln>
                  <a:noFill/>
                </a:ln>
                <a:solidFill>
                  <a:srgbClr val="FFFFFF"/>
                </a:solidFill>
                <a:effectLst/>
                <a:uLnTx/>
                <a:uFillTx/>
                <a:ea typeface="+mn-ea"/>
                <a:cs typeface="+mn-cs"/>
              </a:rPr>
              <a:t> </a:t>
            </a:r>
            <a:r>
              <a:rPr kumimoji="0" lang="en-US" sz="900" b="1" i="0" u="none" strike="noStrike" kern="1200" cap="none" spc="0" normalizeH="0" baseline="0" noProof="0" dirty="0">
                <a:ln>
                  <a:noFill/>
                </a:ln>
                <a:solidFill>
                  <a:srgbClr val="FFFFFF"/>
                </a:solidFill>
                <a:effectLst/>
                <a:uLnTx/>
                <a:uFillTx/>
                <a:ea typeface="+mn-ea"/>
                <a:cs typeface="+mn-cs"/>
              </a:rPr>
              <a:t>&amp; Advocacy</a:t>
            </a:r>
            <a:endParaRPr kumimoji="0" lang="en-US" sz="1200" b="1" i="0" u="none" strike="noStrike" kern="1200" cap="none" spc="0" normalizeH="0" baseline="0" noProof="0" dirty="0">
              <a:ln>
                <a:noFill/>
              </a:ln>
              <a:solidFill>
                <a:srgbClr val="FFFFFF"/>
              </a:solidFill>
              <a:effectLst/>
              <a:uLnTx/>
              <a:uFillTx/>
              <a:ea typeface="+mn-ea"/>
              <a:cs typeface="+mn-cs"/>
            </a:endParaRPr>
          </a:p>
        </p:txBody>
      </p:sp>
      <p:sp>
        <p:nvSpPr>
          <p:cNvPr id="7" name="TextBox 6"/>
          <p:cNvSpPr txBox="1"/>
          <p:nvPr>
            <p:custDataLst>
              <p:tags r:id="rId4"/>
            </p:custDataLst>
          </p:nvPr>
        </p:nvSpPr>
        <p:spPr>
          <a:xfrm>
            <a:off x="7058723" y="864504"/>
            <a:ext cx="162974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0" marR="0" lvl="0" indent="0" defTabSz="913429" eaLnBrk="1" fontAlgn="base" latinLnBrk="0" hangingPunct="1">
              <a:lnSpc>
                <a:spcPct val="100000"/>
              </a:lnSpc>
              <a:spcBef>
                <a:spcPct val="0"/>
              </a:spcBef>
              <a:spcAft>
                <a:spcPct val="0"/>
              </a:spcAft>
              <a:buClr>
                <a:srgbClr val="000000"/>
              </a:buClr>
              <a:buSzTx/>
              <a:buFontTx/>
              <a:buNone/>
              <a:tabLst/>
              <a:defRPr/>
            </a:pPr>
            <a:r>
              <a:rPr kumimoji="0" lang="en-US" sz="1000" b="1" i="0" u="none" strike="noStrike" kern="1200" cap="none" spc="0" normalizeH="0" baseline="0" noProof="0" dirty="0">
                <a:ln>
                  <a:noFill/>
                </a:ln>
                <a:solidFill>
                  <a:srgbClr val="01632F"/>
                </a:solidFill>
                <a:effectLst/>
                <a:uLnTx/>
                <a:uFillTx/>
                <a:latin typeface="Arial"/>
                <a:ea typeface="+mn-ea"/>
                <a:cs typeface="+mn-cs"/>
              </a:rPr>
              <a:t>Crops/Value Chain </a:t>
            </a:r>
          </a:p>
        </p:txBody>
      </p:sp>
      <p:sp>
        <p:nvSpPr>
          <p:cNvPr id="13" name="TextBox 12"/>
          <p:cNvSpPr txBox="1"/>
          <p:nvPr>
            <p:custDataLst>
              <p:tags r:id="rId5"/>
            </p:custDataLst>
          </p:nvPr>
        </p:nvSpPr>
        <p:spPr>
          <a:xfrm>
            <a:off x="6839532" y="4613200"/>
            <a:ext cx="2447458" cy="3077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0" fontAlgn="base">
              <a:spcBef>
                <a:spcPct val="0"/>
              </a:spcBef>
              <a:spcAft>
                <a:spcPct val="0"/>
              </a:spcAft>
              <a:buClr>
                <a:srgbClr val="000000"/>
              </a:buClr>
              <a:defRPr/>
            </a:pPr>
            <a:r>
              <a:rPr lang="en-GB" sz="1000" kern="1200" dirty="0">
                <a:solidFill>
                  <a:schemeClr val="tx1"/>
                </a:solidFill>
              </a:rPr>
              <a:t>200,000 SHFs; </a:t>
            </a:r>
            <a:r>
              <a:rPr lang="en-ZA" sz="1000" kern="1200" dirty="0">
                <a:solidFill>
                  <a:schemeClr val="tx1"/>
                </a:solidFill>
              </a:rPr>
              <a:t>Maize, Sorghum and Cowpea</a:t>
            </a:r>
            <a:endParaRPr kumimoji="0" lang="en-US" sz="1000" i="0" u="none" strike="noStrike" kern="1200" cap="none" spc="0" normalizeH="0" baseline="0" noProof="0" dirty="0">
              <a:ln>
                <a:noFill/>
              </a:ln>
              <a:solidFill>
                <a:schemeClr val="tx1"/>
              </a:solidFill>
              <a:effectLst/>
              <a:uLnTx/>
              <a:uFillTx/>
              <a:latin typeface="Arial"/>
              <a:ea typeface="+mn-ea"/>
              <a:cs typeface="+mn-cs"/>
            </a:endParaRPr>
          </a:p>
        </p:txBody>
      </p:sp>
      <p:sp>
        <p:nvSpPr>
          <p:cNvPr id="16" name="TextBox 15"/>
          <p:cNvSpPr txBox="1"/>
          <p:nvPr>
            <p:custDataLst>
              <p:tags r:id="rId6"/>
            </p:custDataLst>
          </p:nvPr>
        </p:nvSpPr>
        <p:spPr>
          <a:xfrm>
            <a:off x="931406" y="841200"/>
            <a:ext cx="2641788"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0" marR="0" lvl="0" indent="0" defTabSz="913429" eaLnBrk="1" fontAlgn="base" latinLnBrk="0" hangingPunct="1">
              <a:lnSpc>
                <a:spcPct val="100000"/>
              </a:lnSpc>
              <a:spcBef>
                <a:spcPct val="0"/>
              </a:spcBef>
              <a:spcAft>
                <a:spcPct val="0"/>
              </a:spcAft>
              <a:buClr>
                <a:srgbClr val="000000"/>
              </a:buClr>
              <a:buSzTx/>
              <a:buFontTx/>
              <a:buNone/>
              <a:tabLst/>
              <a:defRPr/>
            </a:pPr>
            <a:r>
              <a:rPr kumimoji="0" lang="en-US" sz="1000" b="1" i="0" u="none" strike="noStrike" kern="1200" cap="none" spc="0" normalizeH="0" baseline="0" noProof="0" dirty="0">
                <a:ln>
                  <a:noFill/>
                </a:ln>
                <a:solidFill>
                  <a:srgbClr val="01632F"/>
                </a:solidFill>
                <a:effectLst/>
                <a:uLnTx/>
                <a:uFillTx/>
                <a:latin typeface="Arial"/>
                <a:ea typeface="+mn-ea"/>
                <a:cs typeface="+mn-cs"/>
              </a:rPr>
              <a:t>Description </a:t>
            </a:r>
          </a:p>
        </p:txBody>
      </p:sp>
      <p:sp>
        <p:nvSpPr>
          <p:cNvPr id="17" name="TextBox 16"/>
          <p:cNvSpPr txBox="1"/>
          <p:nvPr>
            <p:custDataLst>
              <p:tags r:id="rId7"/>
            </p:custDataLst>
          </p:nvPr>
        </p:nvSpPr>
        <p:spPr>
          <a:xfrm>
            <a:off x="646421" y="1381886"/>
            <a:ext cx="2831159" cy="3077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3" lvl="0" defTabSz="914395">
              <a:buClrTx/>
              <a:defRPr/>
            </a:pPr>
            <a:r>
              <a:rPr lang="en-US" sz="1000" dirty="0">
                <a:solidFill>
                  <a:schemeClr val="tx1"/>
                </a:solidFill>
              </a:rPr>
              <a:t>Domestication of Regional (ECOWAS) seed and fertilizer regulation.</a:t>
            </a:r>
          </a:p>
        </p:txBody>
      </p:sp>
      <p:sp>
        <p:nvSpPr>
          <p:cNvPr id="18" name="TextBox 17"/>
          <p:cNvSpPr txBox="1"/>
          <p:nvPr>
            <p:custDataLst>
              <p:tags r:id="rId8"/>
            </p:custDataLst>
          </p:nvPr>
        </p:nvSpPr>
        <p:spPr>
          <a:xfrm>
            <a:off x="575943" y="2832304"/>
            <a:ext cx="2922708" cy="3077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3" lvl="0" defTabSz="914395">
              <a:buClrTx/>
              <a:defRPr/>
            </a:pPr>
            <a:r>
              <a:rPr lang="en-US" sz="1000" kern="1200" dirty="0">
                <a:solidFill>
                  <a:schemeClr val="tx1"/>
                </a:solidFill>
                <a:latin typeface="Arial" panose="020B0604020202020204" pitchFamily="34" charset="0"/>
                <a:ea typeface="+mn-ea"/>
                <a:cs typeface="Arial" panose="020B0604020202020204" pitchFamily="34" charset="0"/>
              </a:rPr>
              <a:t>Institutional coordination of the Ministry of Agriculture</a:t>
            </a:r>
          </a:p>
        </p:txBody>
      </p:sp>
      <p:sp>
        <p:nvSpPr>
          <p:cNvPr id="21" name="TextBox 20"/>
          <p:cNvSpPr txBox="1"/>
          <p:nvPr>
            <p:custDataLst>
              <p:tags r:id="rId9"/>
            </p:custDataLst>
          </p:nvPr>
        </p:nvSpPr>
        <p:spPr>
          <a:xfrm>
            <a:off x="596998" y="5435208"/>
            <a:ext cx="2641788" cy="46166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0" algn="just" fontAlgn="b">
              <a:buClr>
                <a:srgbClr val="000000"/>
              </a:buClr>
              <a:defRPr/>
            </a:pPr>
            <a:r>
              <a:rPr lang="en-US" sz="1000" kern="1200" dirty="0">
                <a:solidFill>
                  <a:schemeClr val="tx1"/>
                </a:solidFill>
              </a:rPr>
              <a:t>Enhancing crop production and access to profitable markets for smallholder farmers in the region of Segou</a:t>
            </a:r>
            <a:endParaRPr kumimoji="0" lang="en-US" sz="100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p:txBody>
      </p:sp>
      <p:sp>
        <p:nvSpPr>
          <p:cNvPr id="25" name="TextBox 24"/>
          <p:cNvSpPr txBox="1"/>
          <p:nvPr>
            <p:custDataLst>
              <p:tags r:id="rId10"/>
            </p:custDataLst>
          </p:nvPr>
        </p:nvSpPr>
        <p:spPr>
          <a:xfrm>
            <a:off x="4021084" y="838277"/>
            <a:ext cx="2447458"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0" marR="0" lvl="0" indent="0" defTabSz="913429" eaLnBrk="1" fontAlgn="base" latinLnBrk="0" hangingPunct="1">
              <a:lnSpc>
                <a:spcPct val="100000"/>
              </a:lnSpc>
              <a:spcBef>
                <a:spcPct val="0"/>
              </a:spcBef>
              <a:spcAft>
                <a:spcPct val="0"/>
              </a:spcAft>
              <a:buClr>
                <a:srgbClr val="000000"/>
              </a:buClr>
              <a:buSzTx/>
              <a:buFontTx/>
              <a:buNone/>
              <a:tabLst/>
              <a:defRPr/>
            </a:pPr>
            <a:r>
              <a:rPr kumimoji="0" lang="en-US" sz="1000" b="1" i="0" u="none" strike="noStrike" kern="1200" cap="none" spc="0" normalizeH="0" baseline="0" noProof="0" dirty="0">
                <a:ln>
                  <a:noFill/>
                </a:ln>
                <a:solidFill>
                  <a:srgbClr val="01632F"/>
                </a:solidFill>
                <a:effectLst/>
                <a:uLnTx/>
                <a:uFillTx/>
                <a:latin typeface="Arial"/>
                <a:ea typeface="+mn-ea"/>
                <a:cs typeface="+mn-cs"/>
              </a:rPr>
              <a:t>Partners </a:t>
            </a:r>
          </a:p>
        </p:txBody>
      </p:sp>
      <p:sp>
        <p:nvSpPr>
          <p:cNvPr id="26" name="TextBox 25"/>
          <p:cNvSpPr txBox="1"/>
          <p:nvPr>
            <p:custDataLst>
              <p:tags r:id="rId11"/>
            </p:custDataLst>
          </p:nvPr>
        </p:nvSpPr>
        <p:spPr>
          <a:xfrm>
            <a:off x="3872341" y="1422228"/>
            <a:ext cx="2447458"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0" marR="0" lvl="0" indent="0" defTabSz="913429" eaLnBrk="1" fontAlgn="auto" latinLnBrk="0" hangingPunct="1">
              <a:lnSpc>
                <a:spcPct val="100000"/>
              </a:lnSpc>
              <a:spcBef>
                <a:spcPts val="0"/>
              </a:spcBef>
              <a:spcAft>
                <a:spcPts val="0"/>
              </a:spcAft>
              <a:buClr>
                <a:srgbClr val="000000"/>
              </a:buClr>
              <a:buSzTx/>
              <a:buFontTx/>
              <a:buNone/>
              <a:tabLst/>
              <a:defRPr/>
            </a:pPr>
            <a:r>
              <a:rPr kumimoji="0" lang="en-US" sz="1000" b="0" i="0" u="none" strike="noStrike" kern="1200" cap="none" spc="0" normalizeH="0" baseline="0" noProof="0" dirty="0">
                <a:ln>
                  <a:noFill/>
                </a:ln>
                <a:solidFill>
                  <a:sysClr val="windowText" lastClr="000000"/>
                </a:solidFill>
                <a:effectLst/>
                <a:uLnTx/>
                <a:uFillTx/>
                <a:latin typeface="Arial"/>
                <a:ea typeface="+mn-ea"/>
                <a:cs typeface="+mn-cs"/>
              </a:rPr>
              <a:t>CPS/SDR, DNA,</a:t>
            </a:r>
            <a:r>
              <a:rPr kumimoji="0" lang="en-US" sz="1000" b="0" i="0" u="none" strike="noStrike" kern="1200" cap="none" spc="0" normalizeH="0" noProof="0" dirty="0">
                <a:ln>
                  <a:noFill/>
                </a:ln>
                <a:solidFill>
                  <a:sysClr val="windowText" lastClr="000000"/>
                </a:solidFill>
                <a:effectLst/>
                <a:uLnTx/>
                <a:uFillTx/>
                <a:latin typeface="Arial"/>
                <a:ea typeface="+mn-ea"/>
                <a:cs typeface="+mn-cs"/>
              </a:rPr>
              <a:t> ECOWAS</a:t>
            </a:r>
            <a:endParaRPr kumimoji="0" lang="en-US" sz="1000" b="0" i="0" u="none" strike="noStrike" kern="1200" cap="none" spc="0" normalizeH="0" baseline="0" noProof="0" dirty="0">
              <a:ln>
                <a:noFill/>
              </a:ln>
              <a:solidFill>
                <a:sysClr val="windowText" lastClr="000000"/>
              </a:solidFill>
              <a:effectLst/>
              <a:uLnTx/>
              <a:uFillTx/>
              <a:latin typeface="Arial"/>
              <a:ea typeface="+mn-ea"/>
              <a:cs typeface="+mn-cs"/>
            </a:endParaRPr>
          </a:p>
        </p:txBody>
      </p:sp>
      <p:sp>
        <p:nvSpPr>
          <p:cNvPr id="27" name="TextBox 26"/>
          <p:cNvSpPr txBox="1"/>
          <p:nvPr>
            <p:custDataLst>
              <p:tags r:id="rId12"/>
            </p:custDataLst>
          </p:nvPr>
        </p:nvSpPr>
        <p:spPr>
          <a:xfrm>
            <a:off x="3838199" y="2842599"/>
            <a:ext cx="2447458"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0" fontAlgn="base">
              <a:spcBef>
                <a:spcPct val="0"/>
              </a:spcBef>
              <a:spcAft>
                <a:spcPct val="0"/>
              </a:spcAft>
              <a:buClr>
                <a:srgbClr val="000000"/>
              </a:buClr>
              <a:defRPr/>
            </a:pPr>
            <a:r>
              <a:rPr lang="en-GB" sz="1000" dirty="0"/>
              <a:t>Ministry of Agriculture, ASWG</a:t>
            </a:r>
            <a:endParaRPr kumimoji="0" lang="en-US" sz="1000" b="0" i="0" u="none" strike="noStrike" kern="1200" cap="none" spc="0" normalizeH="0" baseline="0" noProof="0" dirty="0">
              <a:ln>
                <a:noFill/>
              </a:ln>
              <a:solidFill>
                <a:sysClr val="windowText" lastClr="000000"/>
              </a:solidFill>
              <a:effectLst/>
              <a:uLnTx/>
              <a:uFillTx/>
              <a:ea typeface="+mn-ea"/>
              <a:cs typeface="+mn-cs"/>
            </a:endParaRPr>
          </a:p>
        </p:txBody>
      </p:sp>
      <p:sp>
        <p:nvSpPr>
          <p:cNvPr id="33" name="TextBox 32"/>
          <p:cNvSpPr txBox="1">
            <a:spLocks/>
          </p:cNvSpPr>
          <p:nvPr/>
        </p:nvSpPr>
        <p:spPr>
          <a:xfrm>
            <a:off x="46999" y="2029804"/>
            <a:ext cx="403742" cy="2020174"/>
          </a:xfrm>
          <a:prstGeom prst="rect">
            <a:avLst/>
          </a:prstGeom>
          <a:solidFill>
            <a:srgbClr val="71A014"/>
          </a:solidFill>
          <a:ln w="9525">
            <a:noFill/>
            <a:miter lim="800000"/>
            <a:headEnd/>
            <a:tailEnd/>
          </a:ln>
          <a:effectLst/>
        </p:spPr>
        <p:txBody>
          <a:bodyPr vert="vert270" wrap="square" lIns="72009" tIns="72009" rIns="72009" bIns="72009" numCol="1" anchor="ctr" anchorCtr="0" compatLnSpc="1">
            <a:prstTxWarp prst="textNoShape">
              <a:avLst/>
            </a:prstTxWarp>
            <a:noAutofit/>
          </a:bodyPr>
          <a:lstStyle>
            <a:defPPr>
              <a:defRPr lang="en-US"/>
            </a:defPPr>
            <a:lvl1pPr lvl="0" indent="0" algn="ctr" defTabSz="913429" fontAlgn="base">
              <a:spcBef>
                <a:spcPct val="0"/>
              </a:spcBef>
              <a:spcAft>
                <a:spcPct val="0"/>
              </a:spcAft>
              <a:buClr>
                <a:srgbClr val="000000"/>
              </a:buClr>
              <a:defRPr sz="1400" b="1" baseline="0">
                <a:solidFill>
                  <a:schemeClr val="bg1"/>
                </a:solidFill>
              </a:defRPr>
            </a:lvl1pPr>
            <a:lvl2pPr marL="197586" lvl="1" indent="-195966" defTabSz="913429">
              <a:buClr>
                <a:schemeClr val="tx2"/>
              </a:buClr>
              <a:buSzPct val="125000"/>
              <a:buFont typeface="Arial" charset="0"/>
              <a:buChar char="▪"/>
              <a:defRPr baseline="0"/>
            </a:lvl2pPr>
            <a:lvl3pPr marL="466431" lvl="2" indent="-267227" defTabSz="913429">
              <a:buClr>
                <a:schemeClr val="tx2"/>
              </a:buClr>
              <a:buSzPct val="120000"/>
              <a:buFont typeface="Arial" charset="0"/>
              <a:buChar char="–"/>
              <a:defRPr baseline="0"/>
            </a:lvl3pPr>
            <a:lvl4pPr marL="626768" lvl="3" indent="-158716" defTabSz="913429">
              <a:buClr>
                <a:schemeClr val="tx2"/>
              </a:buClr>
              <a:buSzPct val="120000"/>
              <a:buFont typeface="Arial" charset="0"/>
              <a:buChar char="▫"/>
              <a:defRPr baseline="0"/>
            </a:lvl4pPr>
            <a:lvl5pPr marL="764947" lvl="4" indent="-132804" defTabSz="913429">
              <a:buClr>
                <a:schemeClr val="tx2"/>
              </a:buClr>
              <a:buSzPct val="89000"/>
              <a:buFont typeface="Arial" charset="0"/>
              <a:buChar char="-"/>
              <a:defRPr baseline="0"/>
            </a:lvl5pPr>
            <a:lvl6pPr marL="764947" indent="-132804" defTabSz="913429" fontAlgn="base">
              <a:spcBef>
                <a:spcPct val="0"/>
              </a:spcBef>
              <a:spcAft>
                <a:spcPct val="0"/>
              </a:spcAft>
              <a:buClr>
                <a:schemeClr val="tx2"/>
              </a:buClr>
              <a:buSzPct val="89000"/>
              <a:buFont typeface="Arial" charset="0"/>
              <a:buChar char="-"/>
              <a:defRPr baseline="0"/>
            </a:lvl6pPr>
            <a:lvl7pPr marL="764947" indent="-132804" defTabSz="913429" fontAlgn="base">
              <a:spcBef>
                <a:spcPct val="0"/>
              </a:spcBef>
              <a:spcAft>
                <a:spcPct val="0"/>
              </a:spcAft>
              <a:buClr>
                <a:schemeClr val="tx2"/>
              </a:buClr>
              <a:buSzPct val="89000"/>
              <a:buFont typeface="Arial" charset="0"/>
              <a:buChar char="-"/>
              <a:defRPr baseline="0"/>
            </a:lvl7pPr>
            <a:lvl8pPr marL="764947" indent="-132804" defTabSz="913429" fontAlgn="base">
              <a:spcBef>
                <a:spcPct val="0"/>
              </a:spcBef>
              <a:spcAft>
                <a:spcPct val="0"/>
              </a:spcAft>
              <a:buClr>
                <a:schemeClr val="tx2"/>
              </a:buClr>
              <a:buSzPct val="89000"/>
              <a:buFont typeface="Arial" charset="0"/>
              <a:buChar char="-"/>
              <a:defRPr baseline="0"/>
            </a:lvl8pPr>
            <a:lvl9pPr marL="764947" indent="-132804" defTabSz="913429" fontAlgn="base">
              <a:spcBef>
                <a:spcPct val="0"/>
              </a:spcBef>
              <a:spcAft>
                <a:spcPct val="0"/>
              </a:spcAft>
              <a:buClr>
                <a:schemeClr val="tx2"/>
              </a:buClr>
              <a:buSzPct val="89000"/>
              <a:buFont typeface="Arial" charset="0"/>
              <a:buChar char="-"/>
              <a:defRPr baseline="0"/>
            </a:lvl9pPr>
          </a:lstStyle>
          <a:p>
            <a:pPr marL="0" marR="0" lvl="0" indent="0" algn="ctr" defTabSz="913429" eaLnBrk="1" fontAlgn="base" latinLnBrk="0" hangingPunct="1">
              <a:lnSpc>
                <a:spcPct val="100000"/>
              </a:lnSpc>
              <a:spcBef>
                <a:spcPct val="0"/>
              </a:spcBef>
              <a:spcAft>
                <a:spcPct val="0"/>
              </a:spcAft>
              <a:buClr>
                <a:srgbClr val="000000"/>
              </a:buClr>
              <a:buSzTx/>
              <a:buFontTx/>
              <a:buNone/>
              <a:tabLst/>
              <a:defRPr/>
            </a:pPr>
            <a:r>
              <a:rPr kumimoji="0" lang="en-US" sz="1100" b="1" i="0" u="none" strike="noStrike" kern="1200" cap="none" spc="0" normalizeH="0" baseline="0" noProof="0" dirty="0">
                <a:ln>
                  <a:noFill/>
                </a:ln>
                <a:solidFill>
                  <a:srgbClr val="FFFFFF"/>
                </a:solidFill>
                <a:effectLst/>
                <a:uLnTx/>
                <a:uFillTx/>
                <a:ea typeface="+mn-ea"/>
                <a:cs typeface="+mn-cs"/>
              </a:rPr>
              <a:t>State </a:t>
            </a:r>
            <a:r>
              <a:rPr kumimoji="0" lang="en-US" sz="1050" b="1" i="0" u="none" strike="noStrike" kern="1200" cap="none" spc="0" normalizeH="0" baseline="0" noProof="0" dirty="0">
                <a:ln>
                  <a:noFill/>
                </a:ln>
                <a:solidFill>
                  <a:srgbClr val="FFFFFF"/>
                </a:solidFill>
                <a:effectLst/>
                <a:uLnTx/>
                <a:uFillTx/>
                <a:ea typeface="+mn-ea"/>
                <a:cs typeface="+mn-cs"/>
              </a:rPr>
              <a:t>Capability</a:t>
            </a:r>
            <a:r>
              <a:rPr kumimoji="0" lang="en-US" sz="1100" b="1" i="0" u="none" strike="noStrike" kern="1200" cap="none" spc="0" normalizeH="0" baseline="0" noProof="0" dirty="0">
                <a:ln>
                  <a:noFill/>
                </a:ln>
                <a:solidFill>
                  <a:srgbClr val="FFFFFF"/>
                </a:solidFill>
                <a:effectLst/>
                <a:uLnTx/>
                <a:uFillTx/>
                <a:ea typeface="+mn-ea"/>
                <a:cs typeface="+mn-cs"/>
              </a:rPr>
              <a:t> </a:t>
            </a:r>
          </a:p>
        </p:txBody>
      </p:sp>
      <p:sp>
        <p:nvSpPr>
          <p:cNvPr id="34" name="TextBox 33"/>
          <p:cNvSpPr txBox="1">
            <a:spLocks/>
          </p:cNvSpPr>
          <p:nvPr/>
        </p:nvSpPr>
        <p:spPr>
          <a:xfrm>
            <a:off x="60993" y="4211432"/>
            <a:ext cx="395857" cy="2200662"/>
          </a:xfrm>
          <a:prstGeom prst="rect">
            <a:avLst/>
          </a:prstGeom>
          <a:solidFill>
            <a:srgbClr val="71A014"/>
          </a:solidFill>
          <a:ln w="9525">
            <a:noFill/>
            <a:miter lim="800000"/>
            <a:headEnd/>
            <a:tailEnd/>
          </a:ln>
          <a:effectLst/>
        </p:spPr>
        <p:txBody>
          <a:bodyPr vert="vert270" wrap="square" lIns="72009" tIns="72009" rIns="72009" bIns="72009"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429" eaLnBrk="1" fontAlgn="base" latinLnBrk="0" hangingPunct="1">
              <a:lnSpc>
                <a:spcPct val="100000"/>
              </a:lnSpc>
              <a:spcBef>
                <a:spcPct val="0"/>
              </a:spcBef>
              <a:spcAft>
                <a:spcPct val="0"/>
              </a:spcAft>
              <a:buClr>
                <a:srgbClr val="000000"/>
              </a:buClr>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Systems Development </a:t>
            </a:r>
          </a:p>
        </p:txBody>
      </p:sp>
      <p:sp>
        <p:nvSpPr>
          <p:cNvPr id="37" name="TextBox 36"/>
          <p:cNvSpPr txBox="1"/>
          <p:nvPr>
            <p:custDataLst>
              <p:tags r:id="rId13"/>
            </p:custDataLst>
          </p:nvPr>
        </p:nvSpPr>
        <p:spPr>
          <a:xfrm>
            <a:off x="572200" y="4248182"/>
            <a:ext cx="2641788" cy="3077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0" algn="just">
              <a:buClr>
                <a:srgbClr val="000000"/>
              </a:buClr>
              <a:defRPr/>
            </a:pPr>
            <a:r>
              <a:rPr lang="en-US" sz="1000" kern="1200" dirty="0">
                <a:solidFill>
                  <a:schemeClr val="tx1"/>
                </a:solidFill>
              </a:rPr>
              <a:t>Koulikoro Inclusive and Competitive Agricultural Market Systems for Smallholders</a:t>
            </a:r>
            <a:endParaRPr kumimoji="0" lang="en-US" sz="100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p:txBody>
      </p:sp>
      <p:sp>
        <p:nvSpPr>
          <p:cNvPr id="38" name="TextBox 37"/>
          <p:cNvSpPr txBox="1"/>
          <p:nvPr>
            <p:custDataLst>
              <p:tags r:id="rId14"/>
            </p:custDataLst>
          </p:nvPr>
        </p:nvSpPr>
        <p:spPr>
          <a:xfrm>
            <a:off x="3838200" y="4211432"/>
            <a:ext cx="2447458" cy="3077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buClr>
                <a:srgbClr val="000000"/>
              </a:buClr>
              <a:buFontTx/>
              <a:buNone/>
            </a:pPr>
            <a:r>
              <a:rPr lang="en-US" sz="1000" kern="1200" dirty="0">
                <a:ea typeface="+mn-ea"/>
                <a:cs typeface="Arial" panose="020B0604020202020204" pitchFamily="34" charset="0"/>
              </a:rPr>
              <a:t>Faso Kaba, AMASSA, Camara semences, Malimark, Mission Sahel, AMDD, DNA, IER</a:t>
            </a:r>
          </a:p>
        </p:txBody>
      </p:sp>
      <p:sp>
        <p:nvSpPr>
          <p:cNvPr id="40" name="TextBox 39"/>
          <p:cNvSpPr txBox="1"/>
          <p:nvPr>
            <p:custDataLst>
              <p:tags r:id="rId15"/>
            </p:custDataLst>
          </p:nvPr>
        </p:nvSpPr>
        <p:spPr>
          <a:xfrm>
            <a:off x="555528" y="4732792"/>
            <a:ext cx="2737578" cy="46166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0" algn="just">
              <a:buClr>
                <a:srgbClr val="000000"/>
              </a:buClr>
              <a:defRPr/>
            </a:pPr>
            <a:r>
              <a:rPr lang="en-ZA" sz="1000" kern="1200" dirty="0">
                <a:solidFill>
                  <a:schemeClr val="tx1"/>
                </a:solidFill>
              </a:rPr>
              <a:t>Improving Smallholder Farmers’ Incomes and Food Security Through Enhancing Productivity and Market Access in Sikasso Region</a:t>
            </a:r>
            <a:endParaRPr kumimoji="0" lang="en-US" sz="100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p:txBody>
      </p:sp>
      <p:sp>
        <p:nvSpPr>
          <p:cNvPr id="46" name="Rectangle 45"/>
          <p:cNvSpPr/>
          <p:nvPr/>
        </p:nvSpPr>
        <p:spPr>
          <a:xfrm>
            <a:off x="479029" y="3180645"/>
            <a:ext cx="3253569" cy="400110"/>
          </a:xfrm>
          <a:prstGeom prst="rect">
            <a:avLst/>
          </a:prstGeom>
        </p:spPr>
        <p:txBody>
          <a:bodyPr wrap="square">
            <a:spAutoFit/>
          </a:bodyPr>
          <a:lstStyle/>
          <a:p>
            <a:pPr marL="3" lvl="0" defTabSz="914395">
              <a:buClrTx/>
              <a:defRPr/>
            </a:pPr>
            <a:r>
              <a:rPr lang="en-US" sz="1000" kern="1200" dirty="0">
                <a:solidFill>
                  <a:schemeClr val="tx1"/>
                </a:solidFill>
                <a:latin typeface="Arial" panose="020B0604020202020204" pitchFamily="34" charset="0"/>
                <a:ea typeface="+mn-ea"/>
                <a:cs typeface="Arial" panose="020B0604020202020204" pitchFamily="34" charset="0"/>
              </a:rPr>
              <a:t>Support to the Ministry in the rationalization and roll out of the existing Input Subsidy Program</a:t>
            </a:r>
          </a:p>
        </p:txBody>
      </p:sp>
      <p:sp>
        <p:nvSpPr>
          <p:cNvPr id="52" name="TextBox 51"/>
          <p:cNvSpPr txBox="1"/>
          <p:nvPr>
            <p:custDataLst>
              <p:tags r:id="rId16"/>
            </p:custDataLst>
          </p:nvPr>
        </p:nvSpPr>
        <p:spPr>
          <a:xfrm>
            <a:off x="3858892" y="4686951"/>
            <a:ext cx="2447458" cy="46166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000" dirty="0"/>
              <a:t>DRA, IER, AMEDD, Eucord, AMASSA, SOPROSA, SOPROSEK, AGRI-PLUS, ZAMOHO, SODIAF</a:t>
            </a:r>
          </a:p>
        </p:txBody>
      </p:sp>
      <p:sp>
        <p:nvSpPr>
          <p:cNvPr id="53" name="TextBox 52"/>
          <p:cNvSpPr txBox="1"/>
          <p:nvPr>
            <p:custDataLst>
              <p:tags r:id="rId17"/>
            </p:custDataLst>
          </p:nvPr>
        </p:nvSpPr>
        <p:spPr>
          <a:xfrm>
            <a:off x="6839532" y="4168724"/>
            <a:ext cx="2447458" cy="3077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000" kern="1200" dirty="0">
                <a:solidFill>
                  <a:schemeClr val="tx1"/>
                </a:solidFill>
              </a:rPr>
              <a:t>320,000</a:t>
            </a:r>
            <a:r>
              <a:rPr lang="en-US" sz="1000" b="1" kern="1200" dirty="0">
                <a:solidFill>
                  <a:schemeClr val="tx1"/>
                </a:solidFill>
              </a:rPr>
              <a:t> </a:t>
            </a:r>
            <a:r>
              <a:rPr lang="en-US" sz="1000" kern="1200" dirty="0">
                <a:solidFill>
                  <a:schemeClr val="tx1"/>
                </a:solidFill>
              </a:rPr>
              <a:t>SHFs; maize, millet, sorghum &amp; cowpea</a:t>
            </a:r>
            <a:endParaRPr lang="en-US" sz="1000" dirty="0">
              <a:solidFill>
                <a:schemeClr val="tx1"/>
              </a:solidFill>
            </a:endParaRPr>
          </a:p>
        </p:txBody>
      </p:sp>
      <p:sp>
        <p:nvSpPr>
          <p:cNvPr id="54" name="TextBox 53"/>
          <p:cNvSpPr txBox="1"/>
          <p:nvPr>
            <p:custDataLst>
              <p:tags r:id="rId18"/>
            </p:custDataLst>
          </p:nvPr>
        </p:nvSpPr>
        <p:spPr>
          <a:xfrm>
            <a:off x="3858894" y="5370012"/>
            <a:ext cx="2666952" cy="3077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000" dirty="0"/>
              <a:t>DNA, IER, AMASSA, Faso Jigi, MALIMARK, Comptoir 2000 SA, Doun Ka Fa, </a:t>
            </a:r>
          </a:p>
        </p:txBody>
      </p:sp>
      <p:sp>
        <p:nvSpPr>
          <p:cNvPr id="55" name="TextBox 54"/>
          <p:cNvSpPr txBox="1"/>
          <p:nvPr>
            <p:custDataLst>
              <p:tags r:id="rId19"/>
            </p:custDataLst>
          </p:nvPr>
        </p:nvSpPr>
        <p:spPr>
          <a:xfrm>
            <a:off x="6839532" y="5308214"/>
            <a:ext cx="2447458" cy="3077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000" kern="1200" dirty="0">
                <a:solidFill>
                  <a:schemeClr val="tx1"/>
                </a:solidFill>
              </a:rPr>
              <a:t>200,000 SHFs</a:t>
            </a:r>
            <a:r>
              <a:rPr lang="en-US" sz="1000" b="1" kern="1200" dirty="0">
                <a:solidFill>
                  <a:schemeClr val="tx1"/>
                </a:solidFill>
              </a:rPr>
              <a:t>; </a:t>
            </a:r>
            <a:r>
              <a:rPr lang="en-US" sz="1000" kern="1200" dirty="0">
                <a:solidFill>
                  <a:schemeClr val="tx1"/>
                </a:solidFill>
              </a:rPr>
              <a:t>sorghum, millet and cowpea</a:t>
            </a:r>
            <a:endParaRPr lang="en-US" sz="1000" dirty="0">
              <a:solidFill>
                <a:schemeClr val="tx1"/>
              </a:solidFill>
            </a:endParaRPr>
          </a:p>
        </p:txBody>
      </p:sp>
      <p:sp>
        <p:nvSpPr>
          <p:cNvPr id="58" name="TextBox 57"/>
          <p:cNvSpPr txBox="1"/>
          <p:nvPr>
            <p:custDataLst>
              <p:tags r:id="rId20"/>
            </p:custDataLst>
          </p:nvPr>
        </p:nvSpPr>
        <p:spPr>
          <a:xfrm>
            <a:off x="6599924" y="3414814"/>
            <a:ext cx="2447458"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0" marR="0" lvl="0" indent="0" defTabSz="913429" eaLnBrk="1" fontAlgn="base" latinLnBrk="0" hangingPunct="1">
              <a:lnSpc>
                <a:spcPct val="100000"/>
              </a:lnSpc>
              <a:spcBef>
                <a:spcPct val="0"/>
              </a:spcBef>
              <a:spcAft>
                <a:spcPct val="0"/>
              </a:spcAft>
              <a:buClr>
                <a:srgbClr val="000000"/>
              </a:buClr>
              <a:buSzTx/>
              <a:buFontTx/>
              <a:buNone/>
              <a:tabLst/>
              <a:defRPr/>
            </a:pPr>
            <a:endParaRPr kumimoji="0" lang="en-US" sz="1000" b="0" i="0" u="none" strike="noStrike" kern="1200" cap="none" spc="0" normalizeH="0" baseline="0" noProof="0" dirty="0">
              <a:ln>
                <a:noFill/>
              </a:ln>
              <a:solidFill>
                <a:sysClr val="windowText" lastClr="000000"/>
              </a:solidFill>
              <a:effectLst/>
              <a:uLnTx/>
              <a:uFillTx/>
              <a:latin typeface="Arial"/>
              <a:ea typeface="+mn-ea"/>
              <a:cs typeface="+mn-cs"/>
            </a:endParaRPr>
          </a:p>
        </p:txBody>
      </p:sp>
      <p:cxnSp>
        <p:nvCxnSpPr>
          <p:cNvPr id="12" name="Straight Connector 11"/>
          <p:cNvCxnSpPr/>
          <p:nvPr/>
        </p:nvCxnSpPr>
        <p:spPr>
          <a:xfrm>
            <a:off x="495261" y="1018392"/>
            <a:ext cx="289905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3704310" y="1018392"/>
            <a:ext cx="289905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6961125" y="1018392"/>
            <a:ext cx="289905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427292" y="1977292"/>
            <a:ext cx="9088093"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396859" y="4144107"/>
            <a:ext cx="9088093"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62" name="TextBox 61"/>
          <p:cNvSpPr txBox="1"/>
          <p:nvPr>
            <p:custDataLst>
              <p:tags r:id="rId21"/>
            </p:custDataLst>
          </p:nvPr>
        </p:nvSpPr>
        <p:spPr>
          <a:xfrm>
            <a:off x="3838199" y="3188590"/>
            <a:ext cx="2447458"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0" fontAlgn="base">
              <a:spcBef>
                <a:spcPct val="0"/>
              </a:spcBef>
              <a:spcAft>
                <a:spcPct val="0"/>
              </a:spcAft>
              <a:buClr>
                <a:srgbClr val="000000"/>
              </a:buClr>
              <a:defRPr/>
            </a:pPr>
            <a:r>
              <a:rPr lang="en-GB" sz="1000" dirty="0"/>
              <a:t>Ministry of Agriculture, WB, EU, USAID</a:t>
            </a:r>
            <a:endParaRPr kumimoji="0" lang="en-US" sz="1000" b="0" i="0" u="none" strike="noStrike" kern="1200" cap="none" spc="0" normalizeH="0" baseline="0" noProof="0" dirty="0">
              <a:ln>
                <a:noFill/>
              </a:ln>
              <a:solidFill>
                <a:sysClr val="windowText" lastClr="000000"/>
              </a:solidFill>
              <a:effectLst/>
              <a:uLnTx/>
              <a:uFillTx/>
              <a:ea typeface="+mn-ea"/>
              <a:cs typeface="+mn-cs"/>
            </a:endParaRPr>
          </a:p>
        </p:txBody>
      </p:sp>
      <p:sp>
        <p:nvSpPr>
          <p:cNvPr id="63" name="TextBox 62"/>
          <p:cNvSpPr txBox="1"/>
          <p:nvPr>
            <p:custDataLst>
              <p:tags r:id="rId22"/>
            </p:custDataLst>
          </p:nvPr>
        </p:nvSpPr>
        <p:spPr>
          <a:xfrm>
            <a:off x="575943" y="2485320"/>
            <a:ext cx="3148782" cy="3077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3" lvl="0" defTabSz="914395">
              <a:buClrTx/>
              <a:defRPr/>
            </a:pPr>
            <a:r>
              <a:rPr lang="en-US" sz="1000" kern="1200" dirty="0">
                <a:solidFill>
                  <a:schemeClr val="tx1"/>
                </a:solidFill>
                <a:latin typeface="Arial" panose="020B0604020202020204" pitchFamily="34" charset="0"/>
                <a:ea typeface="+mn-ea"/>
                <a:cs typeface="Arial" panose="020B0604020202020204" pitchFamily="34" charset="0"/>
              </a:rPr>
              <a:t>Support Government to Develop a country flagship program</a:t>
            </a:r>
          </a:p>
        </p:txBody>
      </p:sp>
      <p:sp>
        <p:nvSpPr>
          <p:cNvPr id="64" name="TextBox 63"/>
          <p:cNvSpPr txBox="1"/>
          <p:nvPr>
            <p:custDataLst>
              <p:tags r:id="rId23"/>
            </p:custDataLst>
          </p:nvPr>
        </p:nvSpPr>
        <p:spPr>
          <a:xfrm>
            <a:off x="3874298" y="2397729"/>
            <a:ext cx="2741030" cy="3077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0" fontAlgn="base">
              <a:spcBef>
                <a:spcPct val="0"/>
              </a:spcBef>
              <a:spcAft>
                <a:spcPct val="0"/>
              </a:spcAft>
              <a:buClr>
                <a:srgbClr val="000000"/>
              </a:buClr>
              <a:defRPr/>
            </a:pPr>
            <a:r>
              <a:rPr lang="en-GB" sz="1000" dirty="0"/>
              <a:t>Ministry of Agriculture, ASWG, private sector, NGOs, Agricultural professions</a:t>
            </a:r>
            <a:endParaRPr kumimoji="0" lang="en-US" sz="1000" b="0" i="0" u="none" strike="noStrike" kern="1200" cap="none" spc="0" normalizeH="0" baseline="0" noProof="0" dirty="0">
              <a:ln>
                <a:noFill/>
              </a:ln>
              <a:solidFill>
                <a:sysClr val="windowText" lastClr="000000"/>
              </a:solidFill>
              <a:effectLst/>
              <a:uLnTx/>
              <a:uFillTx/>
              <a:ea typeface="+mn-ea"/>
              <a:cs typeface="+mn-cs"/>
            </a:endParaRPr>
          </a:p>
        </p:txBody>
      </p:sp>
      <p:sp>
        <p:nvSpPr>
          <p:cNvPr id="65" name="TextBox 64"/>
          <p:cNvSpPr txBox="1"/>
          <p:nvPr>
            <p:custDataLst>
              <p:tags r:id="rId24"/>
            </p:custDataLst>
          </p:nvPr>
        </p:nvSpPr>
        <p:spPr>
          <a:xfrm>
            <a:off x="575943" y="3636170"/>
            <a:ext cx="3209050" cy="46166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3" lvl="0" defTabSz="914395">
              <a:buClrTx/>
              <a:defRPr/>
            </a:pPr>
            <a:r>
              <a:rPr lang="en-US" sz="1000" dirty="0">
                <a:solidFill>
                  <a:schemeClr val="tx1"/>
                </a:solidFill>
              </a:rPr>
              <a:t>Assisting the Government to cascade the PNISA (NAIP) to the subnational level and develop regional investment plans</a:t>
            </a:r>
          </a:p>
        </p:txBody>
      </p:sp>
      <p:sp>
        <p:nvSpPr>
          <p:cNvPr id="66" name="TextBox 65"/>
          <p:cNvSpPr txBox="1"/>
          <p:nvPr>
            <p:custDataLst>
              <p:tags r:id="rId25"/>
            </p:custDataLst>
          </p:nvPr>
        </p:nvSpPr>
        <p:spPr>
          <a:xfrm>
            <a:off x="3858892" y="3639069"/>
            <a:ext cx="2447458" cy="3077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0" fontAlgn="base">
              <a:spcBef>
                <a:spcPct val="0"/>
              </a:spcBef>
              <a:spcAft>
                <a:spcPct val="0"/>
              </a:spcAft>
              <a:buClr>
                <a:srgbClr val="000000"/>
              </a:buClr>
              <a:defRPr/>
            </a:pPr>
            <a:r>
              <a:rPr lang="en-GB" sz="1000" dirty="0"/>
              <a:t>Ministry of Agriculture, ASWG, private sector, NGOs, Agricultural professions</a:t>
            </a:r>
            <a:endParaRPr kumimoji="0" lang="en-US" sz="1000" b="0" i="0" u="none" strike="noStrike" kern="1200" cap="none" spc="0" normalizeH="0" baseline="0" noProof="0" dirty="0">
              <a:ln>
                <a:noFill/>
              </a:ln>
              <a:solidFill>
                <a:sysClr val="windowText" lastClr="000000"/>
              </a:solidFill>
              <a:effectLst/>
              <a:uLnTx/>
              <a:uFillTx/>
              <a:ea typeface="+mn-ea"/>
              <a:cs typeface="+mn-cs"/>
            </a:endParaRPr>
          </a:p>
        </p:txBody>
      </p:sp>
      <p:sp>
        <p:nvSpPr>
          <p:cNvPr id="67" name="TextBox 66"/>
          <p:cNvSpPr txBox="1"/>
          <p:nvPr>
            <p:custDataLst>
              <p:tags r:id="rId26"/>
            </p:custDataLst>
          </p:nvPr>
        </p:nvSpPr>
        <p:spPr>
          <a:xfrm>
            <a:off x="583816" y="2043251"/>
            <a:ext cx="3148782" cy="3077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3" lvl="0" defTabSz="914395">
              <a:buClrTx/>
              <a:defRPr/>
            </a:pPr>
            <a:r>
              <a:rPr lang="en-US" sz="1000" kern="1200" dirty="0">
                <a:solidFill>
                  <a:schemeClr val="tx1"/>
                </a:solidFill>
                <a:latin typeface="Arial" panose="020B0604020202020204" pitchFamily="34" charset="0"/>
                <a:ea typeface="+mn-ea"/>
                <a:cs typeface="Arial" panose="020B0604020202020204" pitchFamily="34" charset="0"/>
              </a:rPr>
              <a:t>Strengthen the M&amp;E system of the Ministry of Agriculture through the CPS/SDR</a:t>
            </a:r>
          </a:p>
        </p:txBody>
      </p:sp>
      <p:sp>
        <p:nvSpPr>
          <p:cNvPr id="68" name="TextBox 67"/>
          <p:cNvSpPr txBox="1"/>
          <p:nvPr>
            <p:custDataLst>
              <p:tags r:id="rId27"/>
            </p:custDataLst>
          </p:nvPr>
        </p:nvSpPr>
        <p:spPr>
          <a:xfrm>
            <a:off x="3838200" y="2029804"/>
            <a:ext cx="2609649"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0" fontAlgn="base">
              <a:spcBef>
                <a:spcPct val="0"/>
              </a:spcBef>
              <a:spcAft>
                <a:spcPct val="0"/>
              </a:spcAft>
              <a:buClr>
                <a:srgbClr val="000000"/>
              </a:buClr>
              <a:defRPr/>
            </a:pPr>
            <a:r>
              <a:rPr lang="en-GB" sz="1000" dirty="0"/>
              <a:t>Ministry of Agriculture (CPS/SDR, DNA), EU</a:t>
            </a:r>
            <a:endParaRPr kumimoji="0" lang="en-US" sz="1000" b="0" i="0" u="none" strike="noStrike" kern="1200" cap="none" spc="0" normalizeH="0" baseline="0" noProof="0" dirty="0">
              <a:ln>
                <a:noFill/>
              </a:ln>
              <a:solidFill>
                <a:sysClr val="windowText" lastClr="000000"/>
              </a:solidFill>
              <a:effectLst/>
              <a:uLnTx/>
              <a:uFillTx/>
              <a:ea typeface="+mn-ea"/>
              <a:cs typeface="+mn-cs"/>
            </a:endParaRPr>
          </a:p>
        </p:txBody>
      </p:sp>
      <p:sp>
        <p:nvSpPr>
          <p:cNvPr id="39" name="TextBox 38"/>
          <p:cNvSpPr txBox="1"/>
          <p:nvPr>
            <p:custDataLst>
              <p:tags r:id="rId28"/>
            </p:custDataLst>
          </p:nvPr>
        </p:nvSpPr>
        <p:spPr>
          <a:xfrm>
            <a:off x="7036883" y="1050192"/>
            <a:ext cx="2447458"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0" marR="0" lvl="0" indent="0" defTabSz="913429" eaLnBrk="1" fontAlgn="auto" latinLnBrk="0" hangingPunct="1">
              <a:lnSpc>
                <a:spcPct val="100000"/>
              </a:lnSpc>
              <a:spcBef>
                <a:spcPts val="0"/>
              </a:spcBef>
              <a:spcAft>
                <a:spcPts val="0"/>
              </a:spcAft>
              <a:buClr>
                <a:srgbClr val="000000"/>
              </a:buClr>
              <a:buSzTx/>
              <a:buFontTx/>
              <a:buNone/>
              <a:tabLst/>
              <a:defRPr/>
            </a:pPr>
            <a:r>
              <a:rPr kumimoji="0" lang="en-US" sz="1000" b="0" i="0" u="none" strike="noStrike" kern="1200" cap="none" spc="0" normalizeH="0" baseline="0" noProof="0" dirty="0">
                <a:ln>
                  <a:noFill/>
                </a:ln>
                <a:solidFill>
                  <a:sysClr val="windowText" lastClr="000000"/>
                </a:solidFill>
                <a:effectLst/>
                <a:uLnTx/>
                <a:uFillTx/>
                <a:latin typeface="Arial"/>
                <a:ea typeface="+mn-ea"/>
                <a:cs typeface="+mn-cs"/>
              </a:rPr>
              <a:t>Seed, fertilizer </a:t>
            </a:r>
          </a:p>
        </p:txBody>
      </p:sp>
    </p:spTree>
    <p:extLst>
      <p:ext uri="{BB962C8B-B14F-4D97-AF65-F5344CB8AC3E}">
        <p14:creationId xmlns:p14="http://schemas.microsoft.com/office/powerpoint/2010/main" val="406443119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686"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90000"/>
              </a:lnSpc>
              <a:spcBef>
                <a:spcPct val="0"/>
              </a:spcBef>
              <a:spcAft>
                <a:spcPct val="0"/>
              </a:spcAft>
              <a:buClr>
                <a:srgbClr val="000000"/>
              </a:buClr>
              <a:buSzTx/>
              <a:buFont typeface="Arial"/>
              <a:buNone/>
              <a:tabLst/>
              <a:defRPr/>
            </a:pPr>
            <a:endParaRPr kumimoji="0" lang="en-US" sz="2031"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Mapping the Strategy to outcomes in the theory of change</a:t>
            </a:r>
          </a:p>
        </p:txBody>
      </p:sp>
      <p:graphicFrame>
        <p:nvGraphicFramePr>
          <p:cNvPr id="6" name="Table 5"/>
          <p:cNvGraphicFramePr>
            <a:graphicFrameLocks noGrp="1"/>
          </p:cNvGraphicFramePr>
          <p:nvPr>
            <p:extLst>
              <p:ext uri="{D42A27DB-BD31-4B8C-83A1-F6EECF244321}">
                <p14:modId xmlns:p14="http://schemas.microsoft.com/office/powerpoint/2010/main" val="2286183253"/>
              </p:ext>
            </p:extLst>
          </p:nvPr>
        </p:nvGraphicFramePr>
        <p:xfrm>
          <a:off x="309811" y="932800"/>
          <a:ext cx="9035741" cy="4661848"/>
        </p:xfrm>
        <a:graphic>
          <a:graphicData uri="http://schemas.openxmlformats.org/drawingml/2006/table">
            <a:tbl>
              <a:tblPr firstRow="1" bandRow="1">
                <a:tableStyleId>{E8B1032C-EA38-4F05-BA0D-38AFFFC7BED3}</a:tableStyleId>
              </a:tblPr>
              <a:tblGrid>
                <a:gridCol w="1244709">
                  <a:extLst>
                    <a:ext uri="{9D8B030D-6E8A-4147-A177-3AD203B41FA5}">
                      <a16:colId xmlns="" xmlns:a16="http://schemas.microsoft.com/office/drawing/2014/main" val="20000"/>
                    </a:ext>
                  </a:extLst>
                </a:gridCol>
                <a:gridCol w="2743200">
                  <a:extLst>
                    <a:ext uri="{9D8B030D-6E8A-4147-A177-3AD203B41FA5}">
                      <a16:colId xmlns="" xmlns:a16="http://schemas.microsoft.com/office/drawing/2014/main" val="20001"/>
                    </a:ext>
                  </a:extLst>
                </a:gridCol>
                <a:gridCol w="2011680">
                  <a:extLst>
                    <a:ext uri="{9D8B030D-6E8A-4147-A177-3AD203B41FA5}">
                      <a16:colId xmlns="" xmlns:a16="http://schemas.microsoft.com/office/drawing/2014/main" val="20002"/>
                    </a:ext>
                  </a:extLst>
                </a:gridCol>
                <a:gridCol w="1640264">
                  <a:extLst>
                    <a:ext uri="{9D8B030D-6E8A-4147-A177-3AD203B41FA5}">
                      <a16:colId xmlns="" xmlns:a16="http://schemas.microsoft.com/office/drawing/2014/main" val="20003"/>
                    </a:ext>
                  </a:extLst>
                </a:gridCol>
                <a:gridCol w="1395888">
                  <a:extLst>
                    <a:ext uri="{9D8B030D-6E8A-4147-A177-3AD203B41FA5}">
                      <a16:colId xmlns="" xmlns:a16="http://schemas.microsoft.com/office/drawing/2014/main" val="20004"/>
                    </a:ext>
                  </a:extLst>
                </a:gridCol>
              </a:tblGrid>
              <a:tr h="464498">
                <a:tc>
                  <a:txBody>
                    <a:bodyPr/>
                    <a:lstStyle/>
                    <a:p>
                      <a:r>
                        <a:rPr lang="en-US" sz="1200" dirty="0">
                          <a:solidFill>
                            <a:schemeClr val="tx1"/>
                          </a:solidFill>
                          <a:latin typeface="Arial" panose="020B0604020202020204" pitchFamily="34" charset="0"/>
                          <a:cs typeface="Arial" panose="020B0604020202020204" pitchFamily="34" charset="0"/>
                        </a:rPr>
                        <a:t>Change area (outcomes)</a:t>
                      </a:r>
                    </a:p>
                  </a:txBody>
                  <a:tcPr/>
                </a:tc>
                <a:tc>
                  <a:txBody>
                    <a:bodyPr/>
                    <a:lstStyle/>
                    <a:p>
                      <a:r>
                        <a:rPr lang="en-US" sz="1200" dirty="0">
                          <a:solidFill>
                            <a:schemeClr val="tx1"/>
                          </a:solidFill>
                          <a:latin typeface="Arial" panose="020B0604020202020204" pitchFamily="34" charset="0"/>
                          <a:cs typeface="Arial" panose="020B0604020202020204" pitchFamily="34" charset="0"/>
                        </a:rPr>
                        <a:t>Activities</a:t>
                      </a:r>
                    </a:p>
                  </a:txBody>
                  <a:tcPr/>
                </a:tc>
                <a:tc>
                  <a:txBody>
                    <a:bodyPr/>
                    <a:lstStyle/>
                    <a:p>
                      <a:r>
                        <a:rPr lang="en-US" sz="1200" dirty="0">
                          <a:solidFill>
                            <a:schemeClr val="tx1"/>
                          </a:solidFill>
                          <a:latin typeface="Arial" panose="020B0604020202020204" pitchFamily="34" charset="0"/>
                          <a:cs typeface="Arial" panose="020B0604020202020204" pitchFamily="34" charset="0"/>
                        </a:rPr>
                        <a:t>Current investments</a:t>
                      </a:r>
                    </a:p>
                  </a:txBody>
                  <a:tcPr/>
                </a:tc>
                <a:tc>
                  <a:txBody>
                    <a:bodyPr/>
                    <a:lstStyle/>
                    <a:p>
                      <a:r>
                        <a:rPr lang="en-US" sz="1200" dirty="0">
                          <a:solidFill>
                            <a:schemeClr val="tx1"/>
                          </a:solidFill>
                          <a:latin typeface="Arial" panose="020B0604020202020204" pitchFamily="34" charset="0"/>
                          <a:cs typeface="Arial" panose="020B0604020202020204" pitchFamily="34" charset="0"/>
                        </a:rPr>
                        <a:t>Gaps for future</a:t>
                      </a:r>
                      <a:r>
                        <a:rPr lang="en-US" sz="1200" baseline="0" dirty="0">
                          <a:solidFill>
                            <a:schemeClr val="tx1"/>
                          </a:solidFill>
                          <a:latin typeface="Arial" panose="020B0604020202020204" pitchFamily="34" charset="0"/>
                          <a:cs typeface="Arial" panose="020B0604020202020204" pitchFamily="34" charset="0"/>
                        </a:rPr>
                        <a:t> investments</a:t>
                      </a:r>
                      <a:endParaRPr lang="en-US" sz="1200" dirty="0">
                        <a:solidFill>
                          <a:schemeClr val="tx1"/>
                        </a:solidFill>
                        <a:latin typeface="Arial" panose="020B0604020202020204" pitchFamily="34" charset="0"/>
                        <a:cs typeface="Arial" panose="020B0604020202020204" pitchFamily="34" charset="0"/>
                      </a:endParaRPr>
                    </a:p>
                  </a:txBody>
                  <a:tcPr/>
                </a:tc>
                <a:tc>
                  <a:txBody>
                    <a:bodyPr/>
                    <a:lstStyle/>
                    <a:p>
                      <a:r>
                        <a:rPr lang="en-US" sz="1200" dirty="0">
                          <a:solidFill>
                            <a:schemeClr val="tx1"/>
                          </a:solidFill>
                          <a:latin typeface="Arial" panose="020B0604020202020204" pitchFamily="34" charset="0"/>
                          <a:cs typeface="Arial" panose="020B0604020202020204" pitchFamily="34" charset="0"/>
                        </a:rPr>
                        <a:t>Potential</a:t>
                      </a:r>
                      <a:r>
                        <a:rPr lang="en-US" sz="1200" baseline="0" dirty="0">
                          <a:solidFill>
                            <a:schemeClr val="tx1"/>
                          </a:solidFill>
                          <a:latin typeface="Arial" panose="020B0604020202020204" pitchFamily="34" charset="0"/>
                          <a:cs typeface="Arial" panose="020B0604020202020204" pitchFamily="34" charset="0"/>
                        </a:rPr>
                        <a:t> partners</a:t>
                      </a:r>
                      <a:endParaRPr lang="en-US" sz="1200"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 xmlns:a16="http://schemas.microsoft.com/office/drawing/2014/main" val="10000"/>
                  </a:ext>
                </a:extLst>
              </a:tr>
              <a:tr h="370840">
                <a:tc>
                  <a:txBody>
                    <a:bodyPr/>
                    <a:lstStyle/>
                    <a:p>
                      <a:pPr marL="0" marR="0">
                        <a:spcBef>
                          <a:spcPts val="0"/>
                        </a:spcBef>
                        <a:spcAft>
                          <a:spcPts val="0"/>
                        </a:spcAft>
                      </a:pPr>
                      <a:r>
                        <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rPr>
                        <a:t>Strengthened planning, coordination and implementation of agricultural sector investment plans </a:t>
                      </a:r>
                    </a:p>
                    <a:p>
                      <a:pPr marL="0" marR="0">
                        <a:spcBef>
                          <a:spcPts val="0"/>
                        </a:spcBef>
                        <a:spcAft>
                          <a:spcPts val="0"/>
                        </a:spcAft>
                      </a:pPr>
                      <a:endPar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marL="0" marR="0">
                        <a:spcBef>
                          <a:spcPts val="0"/>
                        </a:spcBef>
                        <a:spcAft>
                          <a:spcPts val="0"/>
                        </a:spcAft>
                      </a:pPr>
                      <a:endPar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marL="0" marR="0">
                        <a:spcBef>
                          <a:spcPts val="0"/>
                        </a:spcBef>
                        <a:spcAft>
                          <a:spcPts val="0"/>
                        </a:spcAft>
                      </a:pPr>
                      <a:endPar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marL="0" marR="0">
                        <a:spcBef>
                          <a:spcPts val="0"/>
                        </a:spcBef>
                        <a:spcAft>
                          <a:spcPts val="0"/>
                        </a:spcAft>
                      </a:pPr>
                      <a:endPar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marL="0" marR="0">
                        <a:spcBef>
                          <a:spcPts val="0"/>
                        </a:spcBef>
                        <a:spcAft>
                          <a:spcPts val="0"/>
                        </a:spcAft>
                      </a:pPr>
                      <a:endPar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marL="0" marR="0">
                        <a:spcBef>
                          <a:spcPts val="0"/>
                        </a:spcBef>
                        <a:spcAft>
                          <a:spcPts val="0"/>
                        </a:spcAft>
                      </a:pPr>
                      <a:endPar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marL="0" marR="0">
                        <a:spcBef>
                          <a:spcPts val="0"/>
                        </a:spcBef>
                        <a:spcAft>
                          <a:spcPts val="0"/>
                        </a:spcAft>
                      </a:pPr>
                      <a:endPar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marL="0" marR="0">
                        <a:spcBef>
                          <a:spcPts val="0"/>
                        </a:spcBef>
                        <a:spcAft>
                          <a:spcPts val="0"/>
                        </a:spcAft>
                      </a:pPr>
                      <a:endPar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rPr>
                        <a:t>Enabling policy environment developed</a:t>
                      </a:r>
                    </a:p>
                    <a:p>
                      <a:pPr marL="0" marR="0">
                        <a:spcBef>
                          <a:spcPts val="0"/>
                        </a:spcBef>
                        <a:spcAft>
                          <a:spcPts val="0"/>
                        </a:spcAft>
                      </a:pPr>
                      <a:r>
                        <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rPr>
                        <a:t> </a:t>
                      </a:r>
                    </a:p>
                  </a:txBody>
                  <a:tcPr marL="68580" marR="68580" marT="0" marB="0"/>
                </a:tc>
                <a:tc>
                  <a:txBody>
                    <a:bodyPr/>
                    <a:lstStyle/>
                    <a:p>
                      <a:pPr marL="171450" indent="-171450">
                        <a:lnSpc>
                          <a:spcPct val="107000"/>
                        </a:lnSpc>
                        <a:spcAft>
                          <a:spcPts val="800"/>
                        </a:spcAft>
                        <a:buFont typeface="Arial" panose="020B0604020202020204" pitchFamily="34" charset="0"/>
                        <a:buChar char="•"/>
                      </a:pPr>
                      <a:r>
                        <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rPr>
                        <a:t>Organization of regional workshops for PNSIA-2 declination and dissemination </a:t>
                      </a:r>
                      <a:endParaRPr lang="en-GB" sz="11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marL="171450" indent="-171450">
                        <a:lnSpc>
                          <a:spcPct val="107000"/>
                        </a:lnSpc>
                        <a:spcAft>
                          <a:spcPts val="800"/>
                        </a:spcAft>
                        <a:buFont typeface="Arial" panose="020B0604020202020204" pitchFamily="34" charset="0"/>
                        <a:buChar char="•"/>
                      </a:pPr>
                      <a:r>
                        <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rPr>
                        <a:t>Establishment and organization of steering committee meetings for the consolidation of regional plans into national plan held</a:t>
                      </a:r>
                      <a:endParaRPr lang="en-GB" sz="11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marL="171450" indent="-171450">
                        <a:lnSpc>
                          <a:spcPct val="107000"/>
                        </a:lnSpc>
                        <a:spcAft>
                          <a:spcPts val="800"/>
                        </a:spcAft>
                        <a:buFont typeface="Arial" panose="020B0604020202020204" pitchFamily="34" charset="0"/>
                        <a:buChar char="•"/>
                      </a:pPr>
                      <a:r>
                        <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rPr>
                        <a:t>Value chains analysis to inform areas of investment with regards to emerging value chains in Mali</a:t>
                      </a:r>
                    </a:p>
                    <a:p>
                      <a:pPr marL="171450" indent="-171450">
                        <a:lnSpc>
                          <a:spcPct val="107000"/>
                        </a:lnSpc>
                        <a:spcAft>
                          <a:spcPts val="800"/>
                        </a:spcAft>
                        <a:buFont typeface="Arial" panose="020B0604020202020204" pitchFamily="34" charset="0"/>
                        <a:buChar char="•"/>
                      </a:pPr>
                      <a:r>
                        <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rPr>
                        <a:t>Development of a flagship programs </a:t>
                      </a:r>
                      <a:endParaRPr lang="en-GB" sz="11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marL="171450" indent="-171450">
                        <a:lnSpc>
                          <a:spcPct val="107000"/>
                        </a:lnSpc>
                        <a:spcAft>
                          <a:spcPts val="800"/>
                        </a:spcAft>
                        <a:buFont typeface="Arial" panose="020B0604020202020204" pitchFamily="34" charset="0"/>
                        <a:buChar char="•"/>
                      </a:pPr>
                      <a:r>
                        <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rPr>
                        <a:t>Support to the Ministry of Agriculture in the rationalization and roll out of the existing input subsidy program in Mali</a:t>
                      </a:r>
                      <a:endParaRPr lang="en-GB" sz="11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marL="171450" indent="-171450">
                        <a:lnSpc>
                          <a:spcPct val="107000"/>
                        </a:lnSpc>
                        <a:spcAft>
                          <a:spcPts val="800"/>
                        </a:spcAft>
                        <a:buFont typeface="Arial" panose="020B0604020202020204" pitchFamily="34" charset="0"/>
                        <a:buChar char="•"/>
                      </a:pPr>
                      <a:r>
                        <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rPr>
                        <a:t>Identification and reform of key policy challenges in inputs (seeds and fertilizer) and markets systems.</a:t>
                      </a:r>
                      <a:endParaRPr lang="en-GB" sz="11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marL="171450" indent="-171450">
                        <a:lnSpc>
                          <a:spcPct val="107000"/>
                        </a:lnSpc>
                        <a:spcAft>
                          <a:spcPts val="800"/>
                        </a:spcAft>
                        <a:buFont typeface="Arial" panose="020B0604020202020204" pitchFamily="34" charset="0"/>
                        <a:buChar char="•"/>
                      </a:pPr>
                      <a:r>
                        <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rPr>
                        <a:t>Strengthening the Monitoring and Evaluation system of the Ministry of Agriculture/CPS/SDR in line with PNSIA-II implementation.</a:t>
                      </a:r>
                      <a:endParaRPr lang="en-GB" sz="11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lvl="0" indent="0">
                        <a:spcBef>
                          <a:spcPts val="0"/>
                        </a:spcBef>
                        <a:spcAft>
                          <a:spcPts val="0"/>
                        </a:spcAft>
                        <a:buFont typeface="Symbol" panose="05050102010706020507" pitchFamily="18" charset="2"/>
                        <a:buNone/>
                      </a:pPr>
                      <a:endPar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marL="0" marR="0" lvl="0" indent="0">
                        <a:spcBef>
                          <a:spcPts val="0"/>
                        </a:spcBef>
                        <a:spcAft>
                          <a:spcPts val="0"/>
                        </a:spcAft>
                        <a:buFont typeface="Symbol" panose="05050102010706020507" pitchFamily="18" charset="2"/>
                        <a:buNone/>
                      </a:pPr>
                      <a:endPar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marL="0" marR="0" lvl="0" indent="0">
                        <a:spcBef>
                          <a:spcPts val="0"/>
                        </a:spcBef>
                        <a:spcAft>
                          <a:spcPts val="0"/>
                        </a:spcAft>
                        <a:buFont typeface="Symbol" panose="05050102010706020507" pitchFamily="18" charset="2"/>
                        <a:buNone/>
                      </a:pPr>
                      <a:endPar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marL="0" marR="0" lvl="0" indent="0">
                        <a:spcBef>
                          <a:spcPts val="0"/>
                        </a:spcBef>
                        <a:spcAft>
                          <a:spcPts val="0"/>
                        </a:spcAft>
                        <a:buFont typeface="Symbol" panose="05050102010706020507" pitchFamily="18" charset="2"/>
                        <a:buNone/>
                      </a:pPr>
                      <a:endPar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marL="0" marR="0" lvl="0" indent="0">
                        <a:spcBef>
                          <a:spcPts val="0"/>
                        </a:spcBef>
                        <a:spcAft>
                          <a:spcPts val="0"/>
                        </a:spcAft>
                        <a:buFont typeface="Symbol" panose="05050102010706020507" pitchFamily="18" charset="2"/>
                        <a:buNone/>
                      </a:pPr>
                      <a:endPar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marL="0" marR="0" lvl="0" indent="0">
                        <a:spcBef>
                          <a:spcPts val="0"/>
                        </a:spcBef>
                        <a:spcAft>
                          <a:spcPts val="0"/>
                        </a:spcAft>
                        <a:buFont typeface="Symbol" panose="05050102010706020507" pitchFamily="18" charset="2"/>
                        <a:buNone/>
                      </a:pPr>
                      <a:endPar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marL="0" marR="0" lvl="0" indent="0">
                        <a:spcBef>
                          <a:spcPts val="0"/>
                        </a:spcBef>
                        <a:spcAft>
                          <a:spcPts val="0"/>
                        </a:spcAft>
                        <a:buFont typeface="Symbol" panose="05050102010706020507" pitchFamily="18" charset="2"/>
                        <a:buNone/>
                      </a:pPr>
                      <a:endPar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marL="0" marR="0" lvl="0" indent="0">
                        <a:spcBef>
                          <a:spcPts val="0"/>
                        </a:spcBef>
                        <a:spcAft>
                          <a:spcPts val="0"/>
                        </a:spcAft>
                        <a:buFont typeface="Symbol" panose="05050102010706020507" pitchFamily="18" charset="2"/>
                        <a:buNone/>
                      </a:pPr>
                      <a:endPar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marL="0" marR="0" lvl="0" indent="0">
                        <a:spcBef>
                          <a:spcPts val="0"/>
                        </a:spcBef>
                        <a:spcAft>
                          <a:spcPts val="0"/>
                        </a:spcAft>
                        <a:buFont typeface="Symbol" panose="05050102010706020507" pitchFamily="18" charset="2"/>
                        <a:buNone/>
                      </a:pPr>
                      <a:endPar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marL="0" marR="0" lvl="0" indent="0">
                        <a:spcBef>
                          <a:spcPts val="0"/>
                        </a:spcBef>
                        <a:spcAft>
                          <a:spcPts val="0"/>
                        </a:spcAft>
                        <a:buFont typeface="Symbol" panose="05050102010706020507" pitchFamily="18" charset="2"/>
                        <a:buNone/>
                      </a:pPr>
                      <a:endPar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marL="0" marR="0" lvl="0" indent="0">
                        <a:spcBef>
                          <a:spcPts val="0"/>
                        </a:spcBef>
                        <a:spcAft>
                          <a:spcPts val="0"/>
                        </a:spcAft>
                        <a:buFont typeface="Symbol" panose="05050102010706020507" pitchFamily="18" charset="2"/>
                        <a:buNone/>
                      </a:pPr>
                      <a:r>
                        <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rPr>
                        <a:t>ICS-SAT ML 005 project</a:t>
                      </a:r>
                    </a:p>
                  </a:txBody>
                  <a:tcPr marL="68580" marR="68580" marT="0" marB="0"/>
                </a:tc>
                <a:tc>
                  <a:txBody>
                    <a:bodyPr/>
                    <a:lstStyle/>
                    <a:p>
                      <a:pPr marL="342900" marR="0" lvl="0" indent="-342900">
                        <a:spcBef>
                          <a:spcPts val="0"/>
                        </a:spcBef>
                        <a:spcAft>
                          <a:spcPts val="0"/>
                        </a:spcAft>
                        <a:buFont typeface="Symbol" panose="05050102010706020507" pitchFamily="18" charset="2"/>
                        <a:buChar char=""/>
                      </a:pPr>
                      <a:r>
                        <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rPr>
                        <a:t>Policy reforms</a:t>
                      </a:r>
                    </a:p>
                    <a:p>
                      <a:pPr marL="342900" marR="0" lvl="0" indent="-342900">
                        <a:spcBef>
                          <a:spcPts val="0"/>
                        </a:spcBef>
                        <a:spcAft>
                          <a:spcPts val="0"/>
                        </a:spcAft>
                        <a:buFont typeface="Symbol" panose="05050102010706020507" pitchFamily="18" charset="2"/>
                        <a:buChar char=""/>
                      </a:pPr>
                      <a:endPar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rPr>
                        <a:t>Centralization of seed certification process: existence of only one LAB – LABOSEM – in Bamako, servicing all the agricultural regions</a:t>
                      </a:r>
                    </a:p>
                  </a:txBody>
                  <a:tcPr marL="68580" marR="68580" marT="0" marB="0"/>
                </a:tc>
                <a:tc>
                  <a:txBody>
                    <a:bodyPr/>
                    <a:lstStyle/>
                    <a:p>
                      <a:pPr marL="0" marR="0">
                        <a:spcBef>
                          <a:spcPts val="0"/>
                        </a:spcBef>
                        <a:spcAft>
                          <a:spcPts val="0"/>
                        </a:spcAft>
                      </a:pPr>
                      <a:r>
                        <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rPr>
                        <a:t>MOA (DNA, CPS/SDR, IER, CNRA, OPV), World Bank, EU, USAID, IsDB, FAO, GIZ, AfDB, </a:t>
                      </a:r>
                    </a:p>
                    <a:p>
                      <a:pPr marL="0" marR="0">
                        <a:spcBef>
                          <a:spcPts val="0"/>
                        </a:spcBef>
                        <a:spcAft>
                          <a:spcPts val="0"/>
                        </a:spcAft>
                      </a:pPr>
                      <a:r>
                        <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rPr>
                        <a:t> </a:t>
                      </a:r>
                    </a:p>
                    <a:p>
                      <a:pPr marL="0" marR="0">
                        <a:spcBef>
                          <a:spcPts val="0"/>
                        </a:spcBef>
                        <a:spcAft>
                          <a:spcPts val="0"/>
                        </a:spcAft>
                      </a:pPr>
                      <a:r>
                        <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rPr>
                        <a:t>Trade Associations,  Statistical Services (INSTAT), input suppliers (Elephant Vert, CropLife, DPA, TOGUNA AGRO-INDUSTRIES..)</a:t>
                      </a:r>
                    </a:p>
                    <a:p>
                      <a:pPr marL="0" marR="0">
                        <a:spcBef>
                          <a:spcPts val="0"/>
                        </a:spcBef>
                        <a:spcAft>
                          <a:spcPts val="0"/>
                        </a:spcAft>
                      </a:pPr>
                      <a:r>
                        <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rPr>
                        <a:t>Processing enterprises (M3, Bara Mousso, GMM)</a:t>
                      </a:r>
                    </a:p>
                    <a:p>
                      <a:pPr marL="0" marR="0">
                        <a:spcBef>
                          <a:spcPts val="0"/>
                        </a:spcBef>
                        <a:spcAft>
                          <a:spcPts val="0"/>
                        </a:spcAft>
                      </a:pPr>
                      <a:r>
                        <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rPr>
                        <a:t> </a:t>
                      </a:r>
                    </a:p>
                  </a:txBody>
                  <a:tcPr marL="68580" marR="68580" marT="0" marB="0"/>
                </a:tc>
                <a:extLst>
                  <a:ext uri="{0D108BD9-81ED-4DB2-BD59-A6C34878D82A}">
                    <a16:rowId xmlns="" xmlns:a16="http://schemas.microsoft.com/office/drawing/2014/main" val="10001"/>
                  </a:ext>
                </a:extLst>
              </a:tr>
            </a:tbl>
          </a:graphicData>
        </a:graphic>
      </p:graphicFrame>
    </p:spTree>
    <p:extLst>
      <p:ext uri="{BB962C8B-B14F-4D97-AF65-F5344CB8AC3E}">
        <p14:creationId xmlns:p14="http://schemas.microsoft.com/office/powerpoint/2010/main" val="116202265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7711"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90000"/>
              </a:lnSpc>
              <a:spcBef>
                <a:spcPct val="0"/>
              </a:spcBef>
              <a:spcAft>
                <a:spcPct val="0"/>
              </a:spcAft>
              <a:buClr>
                <a:srgbClr val="000000"/>
              </a:buClr>
              <a:buSzTx/>
              <a:buFont typeface="Arial"/>
              <a:buNone/>
              <a:tabLst/>
              <a:defRPr/>
            </a:pPr>
            <a:endParaRPr kumimoji="0" lang="en-US" sz="2031"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450741" y="134056"/>
            <a:ext cx="7536812" cy="582389"/>
          </a:xfrm>
        </p:spPr>
        <p:txBody>
          <a:bodyPr/>
          <a:lstStyle/>
          <a:p>
            <a:r>
              <a:rPr lang="en-US" dirty="0"/>
              <a:t>Mapping the Strategy to outcomes in the theory of change </a:t>
            </a:r>
            <a:r>
              <a:rPr lang="en-US" sz="1100" dirty="0"/>
              <a:t>(2/3)</a:t>
            </a:r>
          </a:p>
        </p:txBody>
      </p:sp>
      <p:graphicFrame>
        <p:nvGraphicFramePr>
          <p:cNvPr id="6" name="Table 5"/>
          <p:cNvGraphicFramePr>
            <a:graphicFrameLocks noGrp="1"/>
          </p:cNvGraphicFramePr>
          <p:nvPr>
            <p:extLst>
              <p:ext uri="{D42A27DB-BD31-4B8C-83A1-F6EECF244321}">
                <p14:modId xmlns:p14="http://schemas.microsoft.com/office/powerpoint/2010/main" val="1357321668"/>
              </p:ext>
            </p:extLst>
          </p:nvPr>
        </p:nvGraphicFramePr>
        <p:xfrm>
          <a:off x="450741" y="871542"/>
          <a:ext cx="9108759" cy="5654040"/>
        </p:xfrm>
        <a:graphic>
          <a:graphicData uri="http://schemas.openxmlformats.org/drawingml/2006/table">
            <a:tbl>
              <a:tblPr firstRow="1" bandRow="1">
                <a:tableStyleId>{E8B1032C-EA38-4F05-BA0D-38AFFFC7BED3}</a:tableStyleId>
              </a:tblPr>
              <a:tblGrid>
                <a:gridCol w="1161243">
                  <a:extLst>
                    <a:ext uri="{9D8B030D-6E8A-4147-A177-3AD203B41FA5}">
                      <a16:colId xmlns="" xmlns:a16="http://schemas.microsoft.com/office/drawing/2014/main" val="20000"/>
                    </a:ext>
                  </a:extLst>
                </a:gridCol>
                <a:gridCol w="2403835">
                  <a:extLst>
                    <a:ext uri="{9D8B030D-6E8A-4147-A177-3AD203B41FA5}">
                      <a16:colId xmlns="" xmlns:a16="http://schemas.microsoft.com/office/drawing/2014/main" val="20001"/>
                    </a:ext>
                  </a:extLst>
                </a:gridCol>
                <a:gridCol w="2507529">
                  <a:extLst>
                    <a:ext uri="{9D8B030D-6E8A-4147-A177-3AD203B41FA5}">
                      <a16:colId xmlns="" xmlns:a16="http://schemas.microsoft.com/office/drawing/2014/main" val="20002"/>
                    </a:ext>
                  </a:extLst>
                </a:gridCol>
                <a:gridCol w="1640264">
                  <a:extLst>
                    <a:ext uri="{9D8B030D-6E8A-4147-A177-3AD203B41FA5}">
                      <a16:colId xmlns="" xmlns:a16="http://schemas.microsoft.com/office/drawing/2014/main" val="20003"/>
                    </a:ext>
                  </a:extLst>
                </a:gridCol>
                <a:gridCol w="1395888">
                  <a:extLst>
                    <a:ext uri="{9D8B030D-6E8A-4147-A177-3AD203B41FA5}">
                      <a16:colId xmlns="" xmlns:a16="http://schemas.microsoft.com/office/drawing/2014/main" val="20004"/>
                    </a:ext>
                  </a:extLst>
                </a:gridCol>
              </a:tblGrid>
              <a:tr h="370840">
                <a:tc>
                  <a:txBody>
                    <a:bodyPr/>
                    <a:lstStyle/>
                    <a:p>
                      <a:r>
                        <a:rPr lang="en-US" sz="1200" dirty="0">
                          <a:solidFill>
                            <a:schemeClr val="tx1"/>
                          </a:solidFill>
                          <a:latin typeface="Arial" panose="020B0604020202020204" pitchFamily="34" charset="0"/>
                          <a:cs typeface="Arial" panose="020B0604020202020204" pitchFamily="34" charset="0"/>
                        </a:rPr>
                        <a:t>Change area (outcomes)</a:t>
                      </a:r>
                    </a:p>
                  </a:txBody>
                  <a:tcPr/>
                </a:tc>
                <a:tc>
                  <a:txBody>
                    <a:bodyPr/>
                    <a:lstStyle/>
                    <a:p>
                      <a:r>
                        <a:rPr lang="en-US" sz="1200" dirty="0">
                          <a:solidFill>
                            <a:schemeClr val="tx1"/>
                          </a:solidFill>
                          <a:latin typeface="Arial" panose="020B0604020202020204" pitchFamily="34" charset="0"/>
                          <a:cs typeface="Arial" panose="020B0604020202020204" pitchFamily="34" charset="0"/>
                        </a:rPr>
                        <a:t>Activities</a:t>
                      </a:r>
                    </a:p>
                  </a:txBody>
                  <a:tcPr/>
                </a:tc>
                <a:tc>
                  <a:txBody>
                    <a:bodyPr/>
                    <a:lstStyle/>
                    <a:p>
                      <a:r>
                        <a:rPr lang="en-US" sz="1200" dirty="0">
                          <a:solidFill>
                            <a:schemeClr val="tx1"/>
                          </a:solidFill>
                          <a:latin typeface="Arial" panose="020B0604020202020204" pitchFamily="34" charset="0"/>
                          <a:cs typeface="Arial" panose="020B0604020202020204" pitchFamily="34" charset="0"/>
                        </a:rPr>
                        <a:t>Current investments</a:t>
                      </a:r>
                    </a:p>
                  </a:txBody>
                  <a:tcPr/>
                </a:tc>
                <a:tc>
                  <a:txBody>
                    <a:bodyPr/>
                    <a:lstStyle/>
                    <a:p>
                      <a:r>
                        <a:rPr lang="en-US" sz="1200" dirty="0">
                          <a:solidFill>
                            <a:schemeClr val="tx1"/>
                          </a:solidFill>
                          <a:latin typeface="Arial" panose="020B0604020202020204" pitchFamily="34" charset="0"/>
                          <a:cs typeface="Arial" panose="020B0604020202020204" pitchFamily="34" charset="0"/>
                        </a:rPr>
                        <a:t>Gaps for future</a:t>
                      </a:r>
                      <a:r>
                        <a:rPr lang="en-US" sz="1200" baseline="0" dirty="0">
                          <a:solidFill>
                            <a:schemeClr val="tx1"/>
                          </a:solidFill>
                          <a:latin typeface="Arial" panose="020B0604020202020204" pitchFamily="34" charset="0"/>
                          <a:cs typeface="Arial" panose="020B0604020202020204" pitchFamily="34" charset="0"/>
                        </a:rPr>
                        <a:t> investments</a:t>
                      </a:r>
                      <a:endParaRPr lang="en-US" sz="1200" dirty="0">
                        <a:solidFill>
                          <a:schemeClr val="tx1"/>
                        </a:solidFill>
                        <a:latin typeface="Arial" panose="020B0604020202020204" pitchFamily="34" charset="0"/>
                        <a:cs typeface="Arial" panose="020B0604020202020204" pitchFamily="34" charset="0"/>
                      </a:endParaRPr>
                    </a:p>
                  </a:txBody>
                  <a:tcPr/>
                </a:tc>
                <a:tc>
                  <a:txBody>
                    <a:bodyPr/>
                    <a:lstStyle/>
                    <a:p>
                      <a:r>
                        <a:rPr lang="en-US" sz="1200" dirty="0">
                          <a:solidFill>
                            <a:schemeClr val="tx1"/>
                          </a:solidFill>
                          <a:latin typeface="Arial" panose="020B0604020202020204" pitchFamily="34" charset="0"/>
                          <a:cs typeface="Arial" panose="020B0604020202020204" pitchFamily="34" charset="0"/>
                        </a:rPr>
                        <a:t>Potential</a:t>
                      </a:r>
                      <a:r>
                        <a:rPr lang="en-US" sz="1200" baseline="0" dirty="0">
                          <a:solidFill>
                            <a:schemeClr val="tx1"/>
                          </a:solidFill>
                          <a:latin typeface="Arial" panose="020B0604020202020204" pitchFamily="34" charset="0"/>
                          <a:cs typeface="Arial" panose="020B0604020202020204" pitchFamily="34" charset="0"/>
                        </a:rPr>
                        <a:t> partners</a:t>
                      </a:r>
                      <a:endParaRPr lang="en-US" sz="1200"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 xmlns:a16="http://schemas.microsoft.com/office/drawing/2014/main" val="10000"/>
                  </a:ext>
                </a:extLst>
              </a:tr>
              <a:tr h="370840">
                <a:tc>
                  <a:txBody>
                    <a:bodyPr/>
                    <a:lstStyle/>
                    <a:p>
                      <a:pPr marL="0" marR="0">
                        <a:spcBef>
                          <a:spcPts val="0"/>
                        </a:spcBef>
                        <a:spcAft>
                          <a:spcPts val="0"/>
                        </a:spcAft>
                      </a:pPr>
                      <a:r>
                        <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rPr>
                        <a:t>Enabling policy environment developed</a:t>
                      </a:r>
                      <a:endParaRPr lang="en-US" sz="16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169863" marR="0" lvl="0" indent="-169863">
                        <a:spcBef>
                          <a:spcPts val="0"/>
                        </a:spcBef>
                        <a:spcAft>
                          <a:spcPts val="0"/>
                        </a:spcAft>
                        <a:buFont typeface="Symbol" panose="05050102010706020507" pitchFamily="18" charset="2"/>
                        <a:buChar char=""/>
                      </a:pPr>
                      <a:r>
                        <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rPr>
                        <a:t>Undertake policy reforms under specific issues to be identified</a:t>
                      </a:r>
                      <a:endParaRPr lang="en-US" sz="16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166688" indent="-166688">
                        <a:buFont typeface="Arial" panose="020B0604020202020204" pitchFamily="34" charset="0"/>
                        <a:buChar char="•"/>
                      </a:pPr>
                      <a:r>
                        <a:rPr lang="en-US" sz="1100" dirty="0">
                          <a:solidFill>
                            <a:schemeClr val="tx1"/>
                          </a:solidFill>
                          <a:latin typeface="Arial" panose="020B0604020202020204" pitchFamily="34" charset="0"/>
                          <a:cs typeface="Arial" panose="020B0604020202020204" pitchFamily="34" charset="0"/>
                        </a:rPr>
                        <a:t>Harmonized ECOWAS seed and fertilizer regulations</a:t>
                      </a:r>
                    </a:p>
                    <a:p>
                      <a:pPr marL="166688" indent="-166688">
                        <a:buFont typeface="Arial" panose="020B0604020202020204" pitchFamily="34" charset="0"/>
                        <a:buChar char="•"/>
                      </a:pPr>
                      <a:r>
                        <a:rPr lang="en-US" sz="1100" dirty="0">
                          <a:solidFill>
                            <a:schemeClr val="tx1"/>
                          </a:solidFill>
                          <a:latin typeface="Arial" panose="020B0604020202020204" pitchFamily="34" charset="0"/>
                          <a:cs typeface="Arial" panose="020B0604020202020204" pitchFamily="34" charset="0"/>
                        </a:rPr>
                        <a:t>Domesticate seed regulations</a:t>
                      </a:r>
                    </a:p>
                    <a:p>
                      <a:pPr marL="166688" indent="-166688">
                        <a:buFont typeface="Arial" panose="020B0604020202020204" pitchFamily="34" charset="0"/>
                        <a:buChar char="•"/>
                      </a:pPr>
                      <a:r>
                        <a:rPr lang="en-US" sz="1100" dirty="0">
                          <a:solidFill>
                            <a:schemeClr val="tx1"/>
                          </a:solidFill>
                          <a:latin typeface="Arial" panose="020B0604020202020204" pitchFamily="34" charset="0"/>
                          <a:cs typeface="Arial" panose="020B0604020202020204" pitchFamily="34" charset="0"/>
                        </a:rPr>
                        <a:t>Fertilizer subsidy targeting</a:t>
                      </a:r>
                    </a:p>
                    <a:p>
                      <a:pPr marL="342900" marR="0" lvl="0" indent="-342900">
                        <a:spcBef>
                          <a:spcPts val="0"/>
                        </a:spcBef>
                        <a:spcAft>
                          <a:spcPts val="0"/>
                        </a:spcAft>
                        <a:buFont typeface="Symbol" panose="05050102010706020507" pitchFamily="18" charset="2"/>
                        <a:buChar char=""/>
                      </a:pPr>
                      <a:endPar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169863" marR="0" lvl="0" indent="-169863"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r>
                        <a:rPr lang="en-US" sz="1100" b="0" i="0" u="none" strike="noStrike" dirty="0">
                          <a:solidFill>
                            <a:schemeClr val="tx1"/>
                          </a:solidFill>
                          <a:effectLst/>
                          <a:latin typeface="Arial" panose="020B0604020202020204" pitchFamily="34" charset="0"/>
                          <a:cs typeface="Arial" panose="020B0604020202020204" pitchFamily="34" charset="0"/>
                        </a:rPr>
                        <a:t>Support the passage of legislation on Plant Breeders Right in Mali </a:t>
                      </a:r>
                    </a:p>
                    <a:p>
                      <a:pPr marL="342900" marR="0" lvl="0" indent="-342900">
                        <a:spcBef>
                          <a:spcPts val="0"/>
                        </a:spcBef>
                        <a:spcAft>
                          <a:spcPts val="0"/>
                        </a:spcAft>
                        <a:buFont typeface="Symbol" panose="05050102010706020507" pitchFamily="18" charset="2"/>
                        <a:buChar char=""/>
                      </a:pPr>
                      <a:endPar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spcBef>
                          <a:spcPts val="0"/>
                        </a:spcBef>
                        <a:spcAft>
                          <a:spcPts val="0"/>
                        </a:spcAft>
                      </a:pPr>
                      <a:r>
                        <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rPr>
                        <a:t>World Bank, USAID, GIZ, Global Affairs of Canada</a:t>
                      </a:r>
                      <a:endParaRPr lang="en-US" sz="16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 xmlns:a16="http://schemas.microsoft.com/office/drawing/2014/main" val="10001"/>
                  </a:ext>
                </a:extLst>
              </a:tr>
              <a:tr h="967027">
                <a:tc>
                  <a:txBody>
                    <a:bodyPr/>
                    <a:lstStyle/>
                    <a:p>
                      <a:pPr marL="0" marR="0">
                        <a:spcBef>
                          <a:spcPts val="0"/>
                        </a:spcBef>
                        <a:spcAft>
                          <a:spcPts val="0"/>
                        </a:spcAft>
                      </a:pPr>
                      <a:r>
                        <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rPr>
                        <a:t>Systems for increasing access to seeds, fertilizer and extension services strengthened</a:t>
                      </a:r>
                      <a:endParaRPr lang="en-US" sz="16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169863" marR="0" lvl="0" indent="-169863">
                        <a:spcBef>
                          <a:spcPts val="0"/>
                        </a:spcBef>
                        <a:spcAft>
                          <a:spcPts val="0"/>
                        </a:spcAft>
                        <a:buFont typeface="Symbol" panose="05050102010706020507" pitchFamily="18" charset="2"/>
                        <a:buChar char=""/>
                      </a:pPr>
                      <a:r>
                        <a:rPr lang="en-US" sz="11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Work with IER and seed companies to increase availability of EGS</a:t>
                      </a:r>
                    </a:p>
                    <a:p>
                      <a:pPr marL="169863" marR="0" lvl="0" indent="-169863">
                        <a:spcBef>
                          <a:spcPts val="0"/>
                        </a:spcBef>
                        <a:spcAft>
                          <a:spcPts val="0"/>
                        </a:spcAft>
                        <a:buFont typeface="Symbol" panose="05050102010706020507" pitchFamily="18" charset="2"/>
                        <a:buChar char=""/>
                      </a:pPr>
                      <a:r>
                        <a:rPr lang="en-US" sz="11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Work </a:t>
                      </a:r>
                      <a:r>
                        <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rPr>
                        <a:t>with seed companies to  increase availability of certified seeds for maize (hybrid), millet, sorghum and cowpea within the consortia</a:t>
                      </a:r>
                      <a:endParaRPr lang="en-US" sz="16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marL="169863" marR="0" lvl="0" indent="-169863">
                        <a:spcBef>
                          <a:spcPts val="0"/>
                        </a:spcBef>
                        <a:spcAft>
                          <a:spcPts val="0"/>
                        </a:spcAft>
                        <a:buFont typeface="Symbol" panose="05050102010706020507" pitchFamily="18" charset="2"/>
                        <a:buChar char=""/>
                      </a:pPr>
                      <a:r>
                        <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rPr>
                        <a:t>Engage </a:t>
                      </a:r>
                      <a:r>
                        <a:rPr lang="en-US" sz="11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agro-dealers hub </a:t>
                      </a:r>
                      <a:r>
                        <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rPr>
                        <a:t>agro dealers to increase farmer access to inputs in the consortia </a:t>
                      </a:r>
                      <a:endParaRPr lang="en-US" sz="16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342900" marR="0" lvl="0" indent="-342900">
                        <a:spcBef>
                          <a:spcPts val="0"/>
                        </a:spcBef>
                        <a:spcAft>
                          <a:spcPts val="0"/>
                        </a:spcAft>
                        <a:buFont typeface="Symbol" panose="05050102010706020507" pitchFamily="18" charset="2"/>
                        <a:buChar char=""/>
                      </a:pPr>
                      <a:r>
                        <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rPr>
                        <a:t>Consortium investments in the three</a:t>
                      </a:r>
                      <a:r>
                        <a:rPr lang="en-US" sz="1100" baseline="0" dirty="0">
                          <a:solidFill>
                            <a:schemeClr val="tx1"/>
                          </a:solidFill>
                          <a:effectLst/>
                          <a:latin typeface="Arial" panose="020B0604020202020204" pitchFamily="34" charset="0"/>
                          <a:ea typeface="Calibri" panose="020F0502020204030204" pitchFamily="34" charset="0"/>
                          <a:cs typeface="Arial" panose="020B0604020202020204" pitchFamily="34" charset="0"/>
                        </a:rPr>
                        <a:t> regions (Sikasso, Koulikoro and Segou</a:t>
                      </a:r>
                      <a:r>
                        <a:rPr lang="en-US" sz="1100" baseline="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a:t>
                      </a:r>
                    </a:p>
                    <a:p>
                      <a:pPr marL="342900" marR="0" lvl="0" indent="-342900">
                        <a:spcBef>
                          <a:spcPts val="0"/>
                        </a:spcBef>
                        <a:spcAft>
                          <a:spcPts val="0"/>
                        </a:spcAft>
                        <a:buFont typeface="Symbol" panose="05050102010706020507" pitchFamily="18" charset="2"/>
                        <a:buChar char=""/>
                      </a:pPr>
                      <a:r>
                        <a:rPr lang="en-US" sz="1100" baseline="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Implementation of new approach of extension (VBA model) to increase awareness and improve adoption of technologies </a:t>
                      </a:r>
                      <a:endPar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169863" marR="0" lvl="0" indent="-169863"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r>
                        <a:rPr lang="en-US" sz="1100" b="0" i="0" u="none" strike="noStrike" dirty="0">
                          <a:solidFill>
                            <a:schemeClr val="tx1"/>
                          </a:solidFill>
                          <a:effectLst/>
                          <a:latin typeface="Arial" panose="020B0604020202020204" pitchFamily="34" charset="0"/>
                          <a:cs typeface="Arial" panose="020B0604020202020204" pitchFamily="34" charset="0"/>
                        </a:rPr>
                        <a:t>Fertilizer blends development</a:t>
                      </a:r>
                    </a:p>
                    <a:p>
                      <a:pPr marL="169863" marR="0" lvl="0" indent="-169863"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r>
                        <a:rPr lang="en-US" sz="1100" b="0" i="0" u="none" strike="noStrike" dirty="0">
                          <a:solidFill>
                            <a:schemeClr val="tx1"/>
                          </a:solidFill>
                          <a:effectLst/>
                          <a:latin typeface="Arial" panose="020B0604020202020204" pitchFamily="34" charset="0"/>
                          <a:cs typeface="Arial" panose="020B0604020202020204" pitchFamily="34" charset="0"/>
                        </a:rPr>
                        <a:t>Improve public extension approach </a:t>
                      </a:r>
                    </a:p>
                  </a:txBody>
                  <a:tcPr marL="68580" marR="68580" marT="0" marB="0"/>
                </a:tc>
                <a:tc>
                  <a:txBody>
                    <a:bodyPr/>
                    <a:lstStyle/>
                    <a:p>
                      <a:pPr marL="0" marR="0">
                        <a:spcBef>
                          <a:spcPts val="0"/>
                        </a:spcBef>
                        <a:spcAft>
                          <a:spcPts val="0"/>
                        </a:spcAft>
                      </a:pPr>
                      <a:r>
                        <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rPr>
                        <a:t>IER, Seed companies,</a:t>
                      </a:r>
                      <a:r>
                        <a:rPr lang="en-US" sz="1100" baseline="0" dirty="0">
                          <a:solidFill>
                            <a:schemeClr val="tx1"/>
                          </a:solidFill>
                          <a:effectLst/>
                          <a:latin typeface="Arial" panose="020B0604020202020204" pitchFamily="34" charset="0"/>
                          <a:ea typeface="Calibri" panose="020F0502020204030204" pitchFamily="34" charset="0"/>
                          <a:cs typeface="Arial" panose="020B0604020202020204" pitchFamily="34" charset="0"/>
                        </a:rPr>
                        <a:t> Apex organizations, UNRIA, DNA, Toguna</a:t>
                      </a:r>
                      <a:endParaRPr lang="en-US" sz="16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 xmlns:a16="http://schemas.microsoft.com/office/drawing/2014/main" val="10002"/>
                  </a:ext>
                </a:extLst>
              </a:tr>
              <a:tr h="370840">
                <a:tc>
                  <a:txBody>
                    <a:bodyPr/>
                    <a:lstStyle/>
                    <a:p>
                      <a:pPr marL="0" marR="0">
                        <a:spcBef>
                          <a:spcPts val="0"/>
                        </a:spcBef>
                        <a:spcAft>
                          <a:spcPts val="0"/>
                        </a:spcAft>
                      </a:pPr>
                      <a:r>
                        <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rPr>
                        <a:t>Systems for increasing access to financial and credit services strengthened</a:t>
                      </a:r>
                      <a:endParaRPr lang="en-US" sz="16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spcBef>
                          <a:spcPts val="0"/>
                        </a:spcBef>
                        <a:spcAft>
                          <a:spcPts val="0"/>
                        </a:spcAft>
                      </a:pPr>
                      <a:r>
                        <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rPr>
                        <a:t>Technical Assistance (TA) and Business Development Services (BDS) to:</a:t>
                      </a:r>
                      <a:endParaRPr lang="en-US" sz="16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marL="169863" marR="0" lvl="0" indent="-169863">
                        <a:spcBef>
                          <a:spcPts val="0"/>
                        </a:spcBef>
                        <a:spcAft>
                          <a:spcPts val="0"/>
                        </a:spcAft>
                        <a:buFont typeface="Symbol" panose="05050102010706020507" pitchFamily="18" charset="2"/>
                        <a:buChar char=""/>
                      </a:pPr>
                      <a:r>
                        <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rPr>
                        <a:t>Financial Service Providers (FSPs) to develop Value Chain Finance (VCF) for mechanization support schemes</a:t>
                      </a:r>
                      <a:endParaRPr lang="en-US" sz="16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marL="169863" marR="0" lvl="0" indent="-169863">
                        <a:spcBef>
                          <a:spcPts val="0"/>
                        </a:spcBef>
                        <a:spcAft>
                          <a:spcPts val="0"/>
                        </a:spcAft>
                        <a:buFont typeface="Symbol" panose="05050102010706020507" pitchFamily="18" charset="2"/>
                        <a:buChar char=""/>
                      </a:pPr>
                      <a:r>
                        <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rPr>
                        <a:t>Catalyze credit lines and guarantee fund</a:t>
                      </a:r>
                      <a:endParaRPr lang="en-US" sz="16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marL="169863" marR="0" lvl="0" indent="-169863">
                        <a:spcBef>
                          <a:spcPts val="0"/>
                        </a:spcBef>
                        <a:spcAft>
                          <a:spcPts val="0"/>
                        </a:spcAft>
                        <a:buFont typeface="Symbol" panose="05050102010706020507" pitchFamily="18" charset="2"/>
                        <a:buChar char=""/>
                      </a:pPr>
                      <a:r>
                        <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rPr>
                        <a:t>SMEs</a:t>
                      </a:r>
                      <a:r>
                        <a:rPr lang="en-US" sz="1100" baseline="0" dirty="0">
                          <a:solidFill>
                            <a:schemeClr val="tx1"/>
                          </a:solidFill>
                          <a:effectLst/>
                          <a:latin typeface="Arial" panose="020B0604020202020204" pitchFamily="34" charset="0"/>
                          <a:ea typeface="Calibri" panose="020F0502020204030204" pitchFamily="34" charset="0"/>
                          <a:cs typeface="Arial" panose="020B0604020202020204" pitchFamily="34" charset="0"/>
                        </a:rPr>
                        <a:t> capacity strengthening through access to improved </a:t>
                      </a:r>
                      <a:r>
                        <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rPr>
                        <a:t>post harvest technologies thanks</a:t>
                      </a:r>
                      <a:r>
                        <a:rPr lang="en-US" sz="1100" baseline="0" dirty="0">
                          <a:solidFill>
                            <a:schemeClr val="tx1"/>
                          </a:solidFill>
                          <a:effectLst/>
                          <a:latin typeface="Arial" panose="020B0604020202020204" pitchFamily="34" charset="0"/>
                          <a:ea typeface="Calibri" panose="020F0502020204030204" pitchFamily="34" charset="0"/>
                          <a:cs typeface="Arial" panose="020B0604020202020204" pitchFamily="34" charset="0"/>
                        </a:rPr>
                        <a:t> </a:t>
                      </a:r>
                      <a:r>
                        <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rPr>
                        <a:t>participation in challenge funds/incentives and attract matching grants </a:t>
                      </a:r>
                      <a:endParaRPr lang="en-US" sz="16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342900" marR="0" lvl="0" indent="-342900">
                        <a:spcBef>
                          <a:spcPts val="0"/>
                        </a:spcBef>
                        <a:spcAft>
                          <a:spcPts val="0"/>
                        </a:spcAft>
                        <a:buFont typeface="Symbol" panose="05050102010706020507" pitchFamily="18" charset="2"/>
                        <a:buChar char=""/>
                      </a:pPr>
                      <a:endPar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169863" marR="0" lvl="0" indent="-169863"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r>
                        <a:rPr lang="en-GB" sz="1100" dirty="0">
                          <a:solidFill>
                            <a:schemeClr val="tx1"/>
                          </a:solidFill>
                          <a:effectLst/>
                          <a:latin typeface="Arial" panose="020B0604020202020204" pitchFamily="34" charset="0"/>
                          <a:ea typeface="Calibri" panose="020F0502020204030204" pitchFamily="34" charset="0"/>
                          <a:cs typeface="Arial" panose="020B0604020202020204" pitchFamily="34" charset="0"/>
                        </a:rPr>
                        <a:t>Support Risk</a:t>
                      </a:r>
                      <a:r>
                        <a:rPr lang="en-GB" sz="1100" baseline="0" dirty="0">
                          <a:solidFill>
                            <a:schemeClr val="tx1"/>
                          </a:solidFill>
                          <a:effectLst/>
                          <a:latin typeface="Arial" panose="020B0604020202020204" pitchFamily="34" charset="0"/>
                          <a:ea typeface="Calibri" panose="020F0502020204030204" pitchFamily="34" charset="0"/>
                          <a:cs typeface="Arial" panose="020B0604020202020204" pitchFamily="34" charset="0"/>
                        </a:rPr>
                        <a:t> sharing mechanism to access agricultural inputs for smallholder farmers through </a:t>
                      </a:r>
                      <a:r>
                        <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rPr>
                        <a:t>insurance incentive mechanisms, CSA (</a:t>
                      </a:r>
                      <a:r>
                        <a:rPr lang="en-US" sz="1100" baseline="0" dirty="0">
                          <a:solidFill>
                            <a:schemeClr val="tx1"/>
                          </a:solidFill>
                          <a:effectLst/>
                          <a:latin typeface="Arial" panose="020B0604020202020204" pitchFamily="34" charset="0"/>
                          <a:ea typeface="Calibri" panose="020F0502020204030204" pitchFamily="34" charset="0"/>
                          <a:cs typeface="Arial" panose="020B0604020202020204" pitchFamily="34" charset="0"/>
                        </a:rPr>
                        <a:t> climate smart agriculture)</a:t>
                      </a:r>
                      <a:r>
                        <a:rPr lang="en-GB" sz="1100" baseline="0" dirty="0">
                          <a:solidFill>
                            <a:schemeClr val="tx1"/>
                          </a:solidFill>
                          <a:effectLst/>
                          <a:latin typeface="Arial" panose="020B0604020202020204" pitchFamily="34" charset="0"/>
                          <a:ea typeface="Calibri" panose="020F0502020204030204" pitchFamily="34" charset="0"/>
                          <a:cs typeface="Arial" panose="020B0604020202020204" pitchFamily="34" charset="0"/>
                        </a:rPr>
                        <a:t>.</a:t>
                      </a:r>
                      <a:endParaRPr lang="en-US" sz="16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marL="169863" marR="0" lvl="0" indent="-169863"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68580" marR="68580" marT="0" marB="0"/>
                </a:tc>
                <a:tc>
                  <a:txBody>
                    <a:bodyPr/>
                    <a:lstStyle/>
                    <a:p>
                      <a:pPr marL="0" marR="0">
                        <a:spcBef>
                          <a:spcPts val="0"/>
                        </a:spcBef>
                        <a:spcAft>
                          <a:spcPts val="0"/>
                        </a:spcAft>
                      </a:pPr>
                      <a:r>
                        <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rPr>
                        <a:t>BNDA, SORO</a:t>
                      </a:r>
                      <a:r>
                        <a:rPr lang="en-US" sz="1100" baseline="0" dirty="0">
                          <a:solidFill>
                            <a:schemeClr val="tx1"/>
                          </a:solidFill>
                          <a:effectLst/>
                          <a:latin typeface="Arial" panose="020B0604020202020204" pitchFamily="34" charset="0"/>
                          <a:ea typeface="Calibri" panose="020F0502020204030204" pitchFamily="34" charset="0"/>
                          <a:cs typeface="Arial" panose="020B0604020202020204" pitchFamily="34" charset="0"/>
                        </a:rPr>
                        <a:t> Yiriwaso, KAFO JIGINEW, AMASSA Afrique Verte, AMEDD</a:t>
                      </a:r>
                      <a:endParaRPr lang="en-US" sz="16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 xmlns:a16="http://schemas.microsoft.com/office/drawing/2014/main" val="10003"/>
                  </a:ext>
                </a:extLst>
              </a:tr>
            </a:tbl>
          </a:graphicData>
        </a:graphic>
      </p:graphicFrame>
    </p:spTree>
    <p:extLst>
      <p:ext uri="{BB962C8B-B14F-4D97-AF65-F5344CB8AC3E}">
        <p14:creationId xmlns:p14="http://schemas.microsoft.com/office/powerpoint/2010/main" val="413600133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8734"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90000"/>
              </a:lnSpc>
              <a:spcBef>
                <a:spcPct val="0"/>
              </a:spcBef>
              <a:spcAft>
                <a:spcPct val="0"/>
              </a:spcAft>
              <a:buClr>
                <a:srgbClr val="000000"/>
              </a:buClr>
              <a:buSzTx/>
              <a:buFont typeface="Arial"/>
              <a:buNone/>
              <a:tabLst/>
              <a:defRPr/>
            </a:pPr>
            <a:endParaRPr kumimoji="0" lang="en-US" sz="2031"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450741" y="134056"/>
            <a:ext cx="7523365" cy="582389"/>
          </a:xfrm>
        </p:spPr>
        <p:txBody>
          <a:bodyPr/>
          <a:lstStyle/>
          <a:p>
            <a:r>
              <a:rPr lang="en-US" dirty="0"/>
              <a:t>Mapping the Strategy to outcomes in the theory of change </a:t>
            </a:r>
            <a:r>
              <a:rPr lang="en-US" sz="1100" dirty="0"/>
              <a:t>(3/3)</a:t>
            </a:r>
          </a:p>
        </p:txBody>
      </p:sp>
      <p:graphicFrame>
        <p:nvGraphicFramePr>
          <p:cNvPr id="6" name="Table 5"/>
          <p:cNvGraphicFramePr>
            <a:graphicFrameLocks noGrp="1"/>
          </p:cNvGraphicFramePr>
          <p:nvPr>
            <p:extLst>
              <p:ext uri="{D42A27DB-BD31-4B8C-83A1-F6EECF244321}">
                <p14:modId xmlns:p14="http://schemas.microsoft.com/office/powerpoint/2010/main" val="1445003928"/>
              </p:ext>
            </p:extLst>
          </p:nvPr>
        </p:nvGraphicFramePr>
        <p:xfrm>
          <a:off x="450741" y="973142"/>
          <a:ext cx="9108759" cy="3657600"/>
        </p:xfrm>
        <a:graphic>
          <a:graphicData uri="http://schemas.openxmlformats.org/drawingml/2006/table">
            <a:tbl>
              <a:tblPr firstRow="1" bandRow="1">
                <a:tableStyleId>{E8B1032C-EA38-4F05-BA0D-38AFFFC7BED3}</a:tableStyleId>
              </a:tblPr>
              <a:tblGrid>
                <a:gridCol w="1161243">
                  <a:extLst>
                    <a:ext uri="{9D8B030D-6E8A-4147-A177-3AD203B41FA5}">
                      <a16:colId xmlns="" xmlns:a16="http://schemas.microsoft.com/office/drawing/2014/main" val="20000"/>
                    </a:ext>
                  </a:extLst>
                </a:gridCol>
                <a:gridCol w="2403835">
                  <a:extLst>
                    <a:ext uri="{9D8B030D-6E8A-4147-A177-3AD203B41FA5}">
                      <a16:colId xmlns="" xmlns:a16="http://schemas.microsoft.com/office/drawing/2014/main" val="20001"/>
                    </a:ext>
                  </a:extLst>
                </a:gridCol>
                <a:gridCol w="2507529">
                  <a:extLst>
                    <a:ext uri="{9D8B030D-6E8A-4147-A177-3AD203B41FA5}">
                      <a16:colId xmlns="" xmlns:a16="http://schemas.microsoft.com/office/drawing/2014/main" val="20002"/>
                    </a:ext>
                  </a:extLst>
                </a:gridCol>
                <a:gridCol w="1640264">
                  <a:extLst>
                    <a:ext uri="{9D8B030D-6E8A-4147-A177-3AD203B41FA5}">
                      <a16:colId xmlns="" xmlns:a16="http://schemas.microsoft.com/office/drawing/2014/main" val="20003"/>
                    </a:ext>
                  </a:extLst>
                </a:gridCol>
                <a:gridCol w="1395888">
                  <a:extLst>
                    <a:ext uri="{9D8B030D-6E8A-4147-A177-3AD203B41FA5}">
                      <a16:colId xmlns="" xmlns:a16="http://schemas.microsoft.com/office/drawing/2014/main" val="20004"/>
                    </a:ext>
                  </a:extLst>
                </a:gridCol>
              </a:tblGrid>
              <a:tr h="370840">
                <a:tc>
                  <a:txBody>
                    <a:bodyPr/>
                    <a:lstStyle/>
                    <a:p>
                      <a:r>
                        <a:rPr lang="en-US" sz="1200" dirty="0">
                          <a:solidFill>
                            <a:schemeClr val="tx1"/>
                          </a:solidFill>
                        </a:rPr>
                        <a:t>Change area (outcomes)</a:t>
                      </a:r>
                    </a:p>
                  </a:txBody>
                  <a:tcPr/>
                </a:tc>
                <a:tc>
                  <a:txBody>
                    <a:bodyPr/>
                    <a:lstStyle/>
                    <a:p>
                      <a:r>
                        <a:rPr lang="en-US" sz="1200" dirty="0">
                          <a:solidFill>
                            <a:schemeClr val="tx1"/>
                          </a:solidFill>
                        </a:rPr>
                        <a:t>Activities</a:t>
                      </a:r>
                    </a:p>
                  </a:txBody>
                  <a:tcPr/>
                </a:tc>
                <a:tc>
                  <a:txBody>
                    <a:bodyPr/>
                    <a:lstStyle/>
                    <a:p>
                      <a:r>
                        <a:rPr lang="en-US" sz="1200" dirty="0">
                          <a:solidFill>
                            <a:schemeClr val="tx1"/>
                          </a:solidFill>
                        </a:rPr>
                        <a:t>Current investments</a:t>
                      </a:r>
                    </a:p>
                  </a:txBody>
                  <a:tcPr/>
                </a:tc>
                <a:tc>
                  <a:txBody>
                    <a:bodyPr/>
                    <a:lstStyle/>
                    <a:p>
                      <a:r>
                        <a:rPr lang="en-US" sz="1200" dirty="0">
                          <a:solidFill>
                            <a:schemeClr val="tx1"/>
                          </a:solidFill>
                        </a:rPr>
                        <a:t>Gaps for future</a:t>
                      </a:r>
                      <a:r>
                        <a:rPr lang="en-US" sz="1200" baseline="0" dirty="0">
                          <a:solidFill>
                            <a:schemeClr val="tx1"/>
                          </a:solidFill>
                        </a:rPr>
                        <a:t> investments</a:t>
                      </a:r>
                      <a:endParaRPr lang="en-US" sz="1200" dirty="0">
                        <a:solidFill>
                          <a:schemeClr val="tx1"/>
                        </a:solidFill>
                      </a:endParaRPr>
                    </a:p>
                  </a:txBody>
                  <a:tcPr/>
                </a:tc>
                <a:tc>
                  <a:txBody>
                    <a:bodyPr/>
                    <a:lstStyle/>
                    <a:p>
                      <a:r>
                        <a:rPr lang="en-US" sz="1200" dirty="0">
                          <a:solidFill>
                            <a:schemeClr val="tx1"/>
                          </a:solidFill>
                        </a:rPr>
                        <a:t>Potential</a:t>
                      </a:r>
                      <a:r>
                        <a:rPr lang="en-US" sz="1200" baseline="0" dirty="0">
                          <a:solidFill>
                            <a:schemeClr val="tx1"/>
                          </a:solidFill>
                        </a:rPr>
                        <a:t> partners</a:t>
                      </a:r>
                      <a:endParaRPr lang="en-US" sz="1200" dirty="0">
                        <a:solidFill>
                          <a:schemeClr val="tx1"/>
                        </a:solidFill>
                      </a:endParaRPr>
                    </a:p>
                  </a:txBody>
                  <a:tcPr/>
                </a:tc>
                <a:extLst>
                  <a:ext uri="{0D108BD9-81ED-4DB2-BD59-A6C34878D82A}">
                    <a16:rowId xmlns="" xmlns:a16="http://schemas.microsoft.com/office/drawing/2014/main" val="10000"/>
                  </a:ext>
                </a:extLst>
              </a:tr>
              <a:tr h="370840">
                <a:tc>
                  <a:txBody>
                    <a:bodyPr/>
                    <a:lstStyle/>
                    <a:p>
                      <a:pPr marL="0" marR="0">
                        <a:spcBef>
                          <a:spcPts val="0"/>
                        </a:spcBef>
                        <a:spcAft>
                          <a:spcPts val="0"/>
                        </a:spcAft>
                      </a:pPr>
                      <a:r>
                        <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rPr>
                        <a:t>Systems for increasing access to output markets strengthened</a:t>
                      </a:r>
                      <a:endParaRPr lang="en-US" sz="16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spcBef>
                          <a:spcPts val="0"/>
                        </a:spcBef>
                        <a:spcAft>
                          <a:spcPts val="0"/>
                        </a:spcAft>
                      </a:pPr>
                      <a:r>
                        <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rPr>
                        <a:t>Develop integrated value chain models for key crops (production, aggregation, processing and mechanization) within Koulikoro, Sikasso and Segou consortia: </a:t>
                      </a:r>
                      <a:endParaRPr lang="en-US" sz="16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marL="171450" marR="0" indent="-171450" algn="just">
                        <a:spcBef>
                          <a:spcPts val="0"/>
                        </a:spcBef>
                        <a:spcAft>
                          <a:spcPts val="110"/>
                        </a:spcAft>
                        <a:buFont typeface="Arial" panose="020B0604020202020204" pitchFamily="34" charset="0"/>
                        <a:buChar char="•"/>
                      </a:pPr>
                      <a:r>
                        <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rPr>
                        <a:t>Engage market players to determine demand </a:t>
                      </a:r>
                      <a:endParaRPr lang="en-US" sz="16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marL="171450" marR="0" indent="-171450" algn="just">
                        <a:spcBef>
                          <a:spcPts val="0"/>
                        </a:spcBef>
                        <a:spcAft>
                          <a:spcPts val="110"/>
                        </a:spcAft>
                        <a:buFont typeface="Arial" panose="020B0604020202020204" pitchFamily="34" charset="0"/>
                        <a:buChar char="•"/>
                      </a:pPr>
                      <a:r>
                        <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rPr>
                        <a:t>Engage seed companies and agro dealers to enhance input supply </a:t>
                      </a:r>
                      <a:endParaRPr lang="en-US" sz="16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marL="171450" marR="0" indent="-171450" algn="just">
                        <a:spcBef>
                          <a:spcPts val="0"/>
                        </a:spcBef>
                        <a:spcAft>
                          <a:spcPts val="110"/>
                        </a:spcAft>
                        <a:buFont typeface="Arial" panose="020B0604020202020204" pitchFamily="34" charset="0"/>
                        <a:buChar char="•"/>
                      </a:pPr>
                      <a:r>
                        <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rPr>
                        <a:t>Engage SHFs to ensure quality and quantity produced meets market demand </a:t>
                      </a:r>
                      <a:endParaRPr lang="en-US" sz="16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marL="171450" marR="0" indent="-171450" algn="just">
                        <a:spcBef>
                          <a:spcPts val="0"/>
                        </a:spcBef>
                        <a:spcAft>
                          <a:spcPts val="0"/>
                        </a:spcAft>
                        <a:buFont typeface="Arial" panose="020B0604020202020204" pitchFamily="34" charset="0"/>
                        <a:buChar char="•"/>
                      </a:pPr>
                      <a:r>
                        <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rPr>
                        <a:t>Facilitate convening of all value chain actors for Business to Business (B2B) exchanges </a:t>
                      </a:r>
                      <a:endParaRPr lang="en-US" sz="16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342900" marR="0" lvl="0" indent="-342900"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r>
                        <a:rPr kumimoji="0" lang="en-US" sz="1100" b="0" i="0" u="none" strike="noStrike" kern="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sym typeface="Arial"/>
                        </a:rPr>
                        <a:t>Consortium investments in the three regions (Sikasso, Koulikoro and Segou)</a:t>
                      </a:r>
                    </a:p>
                  </a:txBody>
                  <a:tcPr marL="68580" marR="68580" marT="0" marB="0"/>
                </a:tc>
                <a:tc>
                  <a:txBody>
                    <a:bodyPr/>
                    <a:lstStyle/>
                    <a:p>
                      <a:pPr marL="169863" marR="0" lvl="0" indent="-169863"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r>
                        <a:rPr lang="en-US" sz="1100" b="0" i="0" u="none" strike="noStrike" dirty="0">
                          <a:solidFill>
                            <a:schemeClr val="tx1"/>
                          </a:solidFill>
                          <a:effectLst/>
                          <a:latin typeface="Arial" panose="020B0604020202020204" pitchFamily="34" charset="0"/>
                          <a:cs typeface="Arial" panose="020B0604020202020204" pitchFamily="34" charset="0"/>
                        </a:rPr>
                        <a:t>Weakness in access and use of market information system</a:t>
                      </a:r>
                    </a:p>
                    <a:p>
                      <a:pPr marL="0" marR="0" lvl="0" indent="0"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None/>
                        <a:tabLst/>
                        <a:defRPr/>
                      </a:pPr>
                      <a:endParaRPr lang="en-US" sz="1100" b="0" i="0" u="none" strike="noStrike" baseline="0" dirty="0">
                        <a:solidFill>
                          <a:schemeClr val="tx1"/>
                        </a:solidFill>
                        <a:effectLst/>
                        <a:latin typeface="Arial" panose="020B0604020202020204" pitchFamily="34" charset="0"/>
                        <a:cs typeface="Arial" panose="020B0604020202020204" pitchFamily="34" charset="0"/>
                      </a:endParaRPr>
                    </a:p>
                    <a:p>
                      <a:pPr marL="169863" marR="0" lvl="0" indent="-169863"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r>
                        <a:rPr kumimoji="0" lang="en-GB" sz="1100" b="0" i="0" u="none" strike="noStrike" kern="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sym typeface="Arial"/>
                        </a:rPr>
                        <a:t>Support Risk sharing mechanism to facilitate access to financial product.</a:t>
                      </a:r>
                      <a:endParaRPr lang="en-US" sz="1100" b="0" i="0" u="none" strike="noStrike" baseline="0" dirty="0">
                        <a:solidFill>
                          <a:schemeClr val="tx1"/>
                        </a:solidFill>
                        <a:effectLst/>
                        <a:latin typeface="Arial" panose="020B0604020202020204" pitchFamily="34" charset="0"/>
                        <a:cs typeface="Arial" panose="020B0604020202020204" pitchFamily="34" charset="0"/>
                      </a:endParaRPr>
                    </a:p>
                    <a:p>
                      <a:pPr marL="169863" marR="0" lvl="0" indent="-169863"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68580" marR="68580" marT="0" marB="0"/>
                </a:tc>
                <a:tc>
                  <a:txBody>
                    <a:bodyPr/>
                    <a:lstStyle/>
                    <a:p>
                      <a:pPr marL="0" marR="0">
                        <a:spcBef>
                          <a:spcPts val="0"/>
                        </a:spcBef>
                        <a:spcAft>
                          <a:spcPts val="0"/>
                        </a:spcAft>
                      </a:pPr>
                      <a:r>
                        <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rPr>
                        <a:t>AMASSA Afrique Verte, AMEDD, M3,</a:t>
                      </a:r>
                      <a:r>
                        <a:rPr lang="en-US" sz="1100" baseline="0" dirty="0">
                          <a:solidFill>
                            <a:schemeClr val="tx1"/>
                          </a:solidFill>
                          <a:effectLst/>
                          <a:latin typeface="Arial" panose="020B0604020202020204" pitchFamily="34" charset="0"/>
                          <a:ea typeface="Calibri" panose="020F0502020204030204" pitchFamily="34" charset="0"/>
                          <a:cs typeface="Arial" panose="020B0604020202020204" pitchFamily="34" charset="0"/>
                        </a:rPr>
                        <a:t> GMM, PATAM</a:t>
                      </a:r>
                    </a:p>
                    <a:p>
                      <a:pPr marL="0" marR="0">
                        <a:spcBef>
                          <a:spcPts val="0"/>
                        </a:spcBef>
                        <a:spcAft>
                          <a:spcPts val="0"/>
                        </a:spcAft>
                      </a:pPr>
                      <a:endParaRPr lang="en-US" sz="1100" baseline="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sym typeface="Arial"/>
                        </a:rPr>
                        <a:t>BNDA, SORO Yiriwaso, KAFO JIGINEW, AMASSA Afrique Verte, AMEDD</a:t>
                      </a:r>
                      <a:endParaRPr kumimoji="0" lang="en-US" sz="1600" b="0" i="0" u="none" strike="noStrike" kern="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sym typeface="Arial"/>
                      </a:endParaRPr>
                    </a:p>
                    <a:p>
                      <a:pPr marL="0" marR="0">
                        <a:spcBef>
                          <a:spcPts val="0"/>
                        </a:spcBef>
                        <a:spcAft>
                          <a:spcPts val="0"/>
                        </a:spcAft>
                      </a:pPr>
                      <a:endParaRPr lang="en-US" sz="1100" baseline="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marL="0" marR="0">
                        <a:spcBef>
                          <a:spcPts val="0"/>
                        </a:spcBef>
                        <a:spcAft>
                          <a:spcPts val="0"/>
                        </a:spcAft>
                      </a:pPr>
                      <a:endParaRPr lang="en-US" sz="1100" baseline="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 xmlns:a16="http://schemas.microsoft.com/office/drawing/2014/main" val="10001"/>
                  </a:ext>
                </a:extLst>
              </a:tr>
              <a:tr h="370840">
                <a:tc>
                  <a:txBody>
                    <a:bodyPr/>
                    <a:lstStyle/>
                    <a:p>
                      <a:pPr marL="0" marR="0">
                        <a:spcBef>
                          <a:spcPts val="0"/>
                        </a:spcBef>
                        <a:spcAft>
                          <a:spcPts val="0"/>
                        </a:spcAft>
                      </a:pPr>
                      <a:r>
                        <a:rPr lang="en-US" sz="1050" dirty="0">
                          <a:solidFill>
                            <a:schemeClr val="tx1"/>
                          </a:solidFill>
                          <a:effectLst/>
                          <a:latin typeface="Arial" panose="020B0604020202020204" pitchFamily="34" charset="0"/>
                          <a:ea typeface="Calibri" panose="020F0502020204030204" pitchFamily="34" charset="0"/>
                          <a:cs typeface="Arial" panose="020B0604020202020204" pitchFamily="34" charset="0"/>
                        </a:rPr>
                        <a:t>Partnerships</a:t>
                      </a:r>
                      <a:endParaRPr lang="en-US"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5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CPS/SDR capacity building in M&amp;E with European Union (EU)</a:t>
                      </a:r>
                    </a:p>
                  </a:txBody>
                  <a:tcPr marL="68580" marR="68580" marT="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AGRA investment is around $ 124,000 to leverage $1.2million from European Union</a:t>
                      </a:r>
                    </a:p>
                  </a:txBody>
                  <a:tcPr marL="68580" marR="68580" marT="0" marB="0"/>
                </a:tc>
                <a:tc>
                  <a:txBody>
                    <a:bodyPr/>
                    <a:lstStyle/>
                    <a:p>
                      <a:pPr marL="169863" marR="0" lvl="0" indent="-169863"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r>
                        <a:rPr lang="en-US" sz="1050" b="0" i="0" u="none" strike="noStrike" dirty="0">
                          <a:solidFill>
                            <a:schemeClr val="tx1"/>
                          </a:solidFill>
                          <a:effectLst/>
                          <a:latin typeface="Arial" panose="020B0604020202020204" pitchFamily="34" charset="0"/>
                          <a:cs typeface="Arial" panose="020B0604020202020204" pitchFamily="34" charset="0"/>
                        </a:rPr>
                        <a:t>Equipment</a:t>
                      </a:r>
                      <a:r>
                        <a:rPr lang="en-US" sz="1050" b="0" i="0" u="none" strike="noStrike" baseline="0" dirty="0">
                          <a:solidFill>
                            <a:schemeClr val="tx1"/>
                          </a:solidFill>
                          <a:effectLst/>
                          <a:latin typeface="Arial" panose="020B0604020202020204" pitchFamily="34" charset="0"/>
                          <a:cs typeface="Arial" panose="020B0604020202020204" pitchFamily="34" charset="0"/>
                        </a:rPr>
                        <a:t> for the M&amp;E operationalization</a:t>
                      </a:r>
                    </a:p>
                  </a:txBody>
                  <a:tcPr marL="68580" marR="68580" marT="0" marB="0"/>
                </a:tc>
                <a:tc>
                  <a:txBody>
                    <a:bodyPr/>
                    <a:lstStyle/>
                    <a:p>
                      <a:pPr marL="0" marR="0">
                        <a:spcBef>
                          <a:spcPts val="0"/>
                        </a:spcBef>
                        <a:spcAft>
                          <a:spcPts val="0"/>
                        </a:spcAft>
                      </a:pPr>
                      <a:r>
                        <a:rPr lang="en-US" sz="1050" dirty="0">
                          <a:solidFill>
                            <a:schemeClr val="tx1"/>
                          </a:solidFill>
                          <a:effectLst/>
                          <a:latin typeface="Arial" panose="020B0604020202020204" pitchFamily="34" charset="0"/>
                          <a:ea typeface="Calibri" panose="020F0502020204030204" pitchFamily="34" charset="0"/>
                          <a:cs typeface="Arial" panose="020B0604020202020204" pitchFamily="34" charset="0"/>
                        </a:rPr>
                        <a:t>EU, Ministry of Agriculture</a:t>
                      </a:r>
                      <a:endParaRPr lang="en-US"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 xmlns:a16="http://schemas.microsoft.com/office/drawing/2014/main" val="10002"/>
                  </a:ext>
                </a:extLst>
              </a:tr>
            </a:tbl>
          </a:graphicData>
        </a:graphic>
      </p:graphicFrame>
    </p:spTree>
    <p:extLst>
      <p:ext uri="{BB962C8B-B14F-4D97-AF65-F5344CB8AC3E}">
        <p14:creationId xmlns:p14="http://schemas.microsoft.com/office/powerpoint/2010/main" val="392428651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200351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9759" name="think-cell Slide" r:id="rId5" imgW="470" imgH="469" progId="TCLayout.ActiveDocument.1">
                  <p:embed/>
                </p:oleObj>
              </mc:Choice>
              <mc:Fallback>
                <p:oleObj name="think-cell Slide" r:id="rId5" imgW="470" imgH="469"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200" b="1"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sz="2000" dirty="0"/>
              <a:t>Early Results from investments made in Mali are outlined below…..</a:t>
            </a:r>
          </a:p>
        </p:txBody>
      </p:sp>
      <p:cxnSp>
        <p:nvCxnSpPr>
          <p:cNvPr id="5" name="Straight Connector 4"/>
          <p:cNvCxnSpPr/>
          <p:nvPr/>
        </p:nvCxnSpPr>
        <p:spPr>
          <a:xfrm>
            <a:off x="1264084" y="1298713"/>
            <a:ext cx="0" cy="392048"/>
          </a:xfrm>
          <a:prstGeom prst="line">
            <a:avLst/>
          </a:prstGeom>
          <a:noFill/>
          <a:ln w="9525" cap="flat" cmpd="sng" algn="ctr">
            <a:solidFill>
              <a:srgbClr val="808080"/>
            </a:solidFill>
            <a:prstDash val="sysDash"/>
          </a:ln>
          <a:effectLst/>
        </p:spPr>
      </p:cxnSp>
      <p:cxnSp>
        <p:nvCxnSpPr>
          <p:cNvPr id="6" name="Straight Connector 5"/>
          <p:cNvCxnSpPr/>
          <p:nvPr/>
        </p:nvCxnSpPr>
        <p:spPr>
          <a:xfrm>
            <a:off x="3831087" y="900078"/>
            <a:ext cx="0" cy="5037844"/>
          </a:xfrm>
          <a:prstGeom prst="line">
            <a:avLst/>
          </a:prstGeom>
          <a:noFill/>
          <a:ln w="9525" cap="flat" cmpd="sng" algn="ctr">
            <a:solidFill>
              <a:srgbClr val="808080"/>
            </a:solidFill>
            <a:prstDash val="sysDash"/>
          </a:ln>
          <a:effectLst/>
        </p:spPr>
      </p:cxnSp>
      <p:sp>
        <p:nvSpPr>
          <p:cNvPr id="7" name="TextBox 6"/>
          <p:cNvSpPr txBox="1"/>
          <p:nvPr/>
        </p:nvSpPr>
        <p:spPr>
          <a:xfrm>
            <a:off x="4019118" y="1230673"/>
            <a:ext cx="5383960" cy="461665"/>
          </a:xfrm>
          <a:prstGeom prst="rect">
            <a:avLst/>
          </a:prstGeom>
          <a:noFill/>
        </p:spPr>
        <p:txBody>
          <a:bodyPr wrap="square" rtlCol="0">
            <a:spAutoFit/>
          </a:bodyPr>
          <a:lstStyle/>
          <a:p>
            <a:pPr lvl="2" defTabSz="914293">
              <a:buClrTx/>
              <a:buFontTx/>
              <a:buNone/>
            </a:pPr>
            <a:r>
              <a:rPr lang="en-US" sz="1200" kern="1200" dirty="0">
                <a:solidFill>
                  <a:schemeClr val="tx1"/>
                </a:solidFill>
                <a:latin typeface="Arial" panose="020B0604020202020204" pitchFamily="34" charset="0"/>
                <a:ea typeface="+mn-ea"/>
                <a:cs typeface="Arial" panose="020B0604020202020204" pitchFamily="34" charset="0"/>
              </a:rPr>
              <a:t>AGRA aims to reach 720 K HHs directly and a further </a:t>
            </a:r>
            <a:r>
              <a:rPr lang="en-US" sz="1200" kern="1200" dirty="0" smtClean="0">
                <a:solidFill>
                  <a:schemeClr val="tx1"/>
                </a:solidFill>
                <a:latin typeface="Arial" panose="020B0604020202020204" pitchFamily="34" charset="0"/>
                <a:ea typeface="+mn-ea"/>
                <a:cs typeface="Arial" panose="020B0604020202020204" pitchFamily="34" charset="0"/>
              </a:rPr>
              <a:t>700 </a:t>
            </a:r>
            <a:r>
              <a:rPr lang="en-US" sz="1200" kern="1200" dirty="0" smtClean="0">
                <a:solidFill>
                  <a:schemeClr val="tx1"/>
                </a:solidFill>
                <a:latin typeface="Arial" panose="020B0604020202020204" pitchFamily="34" charset="0"/>
                <a:ea typeface="+mn-ea"/>
                <a:cs typeface="Arial" panose="020B0604020202020204" pitchFamily="34" charset="0"/>
              </a:rPr>
              <a:t>K HHs </a:t>
            </a:r>
            <a:r>
              <a:rPr lang="en-US" sz="1200" kern="1200" dirty="0">
                <a:solidFill>
                  <a:schemeClr val="tx1"/>
                </a:solidFill>
                <a:latin typeface="Arial" panose="020B0604020202020204" pitchFamily="34" charset="0"/>
                <a:ea typeface="+mn-ea"/>
                <a:cs typeface="Arial" panose="020B0604020202020204" pitchFamily="34" charset="0"/>
              </a:rPr>
              <a:t>indirectly.  So far, 100% have been committed and 25% (180K) reached.  </a:t>
            </a:r>
          </a:p>
        </p:txBody>
      </p:sp>
      <p:sp>
        <p:nvSpPr>
          <p:cNvPr id="8" name="TextBox 7"/>
          <p:cNvSpPr txBox="1"/>
          <p:nvPr/>
        </p:nvSpPr>
        <p:spPr>
          <a:xfrm>
            <a:off x="1618711" y="1352207"/>
            <a:ext cx="1843843" cy="338554"/>
          </a:xfrm>
          <a:prstGeom prst="rect">
            <a:avLst/>
          </a:prstGeom>
          <a:noFill/>
        </p:spPr>
        <p:txBody>
          <a:bodyPr wrap="square" rtlCol="0">
            <a:spAutoFit/>
          </a:bodyPr>
          <a:lstStyle/>
          <a:p>
            <a:pPr lvl="2" algn="ctr" defTabSz="914293">
              <a:buClrTx/>
            </a:pPr>
            <a:r>
              <a:rPr lang="en-US" sz="1600" b="1" kern="1200" dirty="0">
                <a:solidFill>
                  <a:srgbClr val="3F5F1F"/>
                </a:solidFill>
                <a:ea typeface="+mn-ea"/>
                <a:cs typeface="+mn-cs"/>
              </a:rPr>
              <a:t>180,000 farmers</a:t>
            </a:r>
          </a:p>
        </p:txBody>
      </p:sp>
      <p:pic>
        <p:nvPicPr>
          <p:cNvPr id="9" name="Picture 2" descr="Image result for picture of men and women"/>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80683" y="1213229"/>
            <a:ext cx="599245" cy="64008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p:cNvSpPr txBox="1"/>
          <p:nvPr/>
        </p:nvSpPr>
        <p:spPr>
          <a:xfrm>
            <a:off x="1564922" y="2243432"/>
            <a:ext cx="1828800" cy="584775"/>
          </a:xfrm>
          <a:prstGeom prst="rect">
            <a:avLst/>
          </a:prstGeom>
          <a:noFill/>
        </p:spPr>
        <p:txBody>
          <a:bodyPr wrap="square" rtlCol="0">
            <a:spAutoFit/>
          </a:bodyPr>
          <a:lstStyle/>
          <a:p>
            <a:pPr lvl="2" algn="ctr" defTabSz="914293">
              <a:buClrTx/>
              <a:buFontTx/>
              <a:buNone/>
            </a:pPr>
            <a:r>
              <a:rPr lang="en-US" sz="1600" b="1" kern="1200" dirty="0">
                <a:solidFill>
                  <a:schemeClr val="accent6">
                    <a:lumMod val="50000"/>
                  </a:schemeClr>
                </a:solidFill>
                <a:ea typeface="+mn-ea"/>
                <a:cs typeface="+mn-cs"/>
              </a:rPr>
              <a:t>3,428 M</a:t>
            </a:r>
            <a:r>
              <a:rPr kumimoji="0" lang="en-US" sz="1600" b="1" i="0" u="none" strike="noStrike" kern="1200" cap="none" spc="0" normalizeH="0" baseline="0" noProof="0" dirty="0">
                <a:ln>
                  <a:noFill/>
                </a:ln>
                <a:solidFill>
                  <a:schemeClr val="accent6">
                    <a:lumMod val="50000"/>
                  </a:schemeClr>
                </a:solidFill>
                <a:effectLst/>
                <a:uLnTx/>
                <a:uFillTx/>
                <a:ea typeface="+mn-ea"/>
                <a:cs typeface="+mn-cs"/>
              </a:rPr>
              <a:t>T of Seed</a:t>
            </a:r>
          </a:p>
        </p:txBody>
      </p:sp>
      <p:sp>
        <p:nvSpPr>
          <p:cNvPr id="12" name="TextBox 11"/>
          <p:cNvSpPr txBox="1"/>
          <p:nvPr/>
        </p:nvSpPr>
        <p:spPr>
          <a:xfrm>
            <a:off x="4019118" y="2295775"/>
            <a:ext cx="5219010" cy="461665"/>
          </a:xfrm>
          <a:prstGeom prst="rect">
            <a:avLst/>
          </a:prstGeom>
          <a:noFill/>
        </p:spPr>
        <p:txBody>
          <a:bodyPr wrap="square" rtlCol="0">
            <a:spAutoFit/>
          </a:bodyPr>
          <a:lstStyle/>
          <a:p>
            <a:pPr lvl="2" defTabSz="914293">
              <a:buClrTx/>
              <a:buFontTx/>
              <a:buNone/>
            </a:pPr>
            <a:r>
              <a:rPr lang="en-US" sz="1200" kern="1200" dirty="0">
                <a:solidFill>
                  <a:schemeClr val="tx1"/>
                </a:solidFill>
                <a:latin typeface="Arial" panose="020B0604020202020204" pitchFamily="34" charset="0"/>
                <a:ea typeface="+mn-ea"/>
                <a:cs typeface="Arial" panose="020B0604020202020204" pitchFamily="34" charset="0"/>
              </a:rPr>
              <a:t>AGRA aims to produce 32 K MT of seed over the life of strategy.  To date, </a:t>
            </a:r>
            <a:r>
              <a:rPr lang="en-US" sz="1200" kern="1200" dirty="0" smtClean="0">
                <a:solidFill>
                  <a:schemeClr val="tx1"/>
                </a:solidFill>
                <a:latin typeface="Arial" panose="020B0604020202020204" pitchFamily="34" charset="0"/>
                <a:ea typeface="+mn-ea"/>
                <a:cs typeface="Arial" panose="020B0604020202020204" pitchFamily="34" charset="0"/>
              </a:rPr>
              <a:t>3,428  </a:t>
            </a:r>
            <a:r>
              <a:rPr lang="en-US" sz="1200" kern="1200" dirty="0">
                <a:solidFill>
                  <a:schemeClr val="tx1"/>
                </a:solidFill>
                <a:latin typeface="Arial" panose="020B0604020202020204" pitchFamily="34" charset="0"/>
                <a:ea typeface="+mn-ea"/>
                <a:cs typeface="Arial" panose="020B0604020202020204" pitchFamily="34" charset="0"/>
              </a:rPr>
              <a:t>MT has been produced and sold to farmers for US$ 3.26M</a:t>
            </a:r>
          </a:p>
        </p:txBody>
      </p:sp>
      <p:pic>
        <p:nvPicPr>
          <p:cNvPr id="13" name="Picture 8" descr="Image result for PICTURE OF STAPLE SEEDS"/>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80683" y="2334305"/>
            <a:ext cx="594360" cy="537785"/>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Straight Connector 13"/>
          <p:cNvCxnSpPr/>
          <p:nvPr/>
        </p:nvCxnSpPr>
        <p:spPr>
          <a:xfrm>
            <a:off x="1264084" y="2417226"/>
            <a:ext cx="0" cy="392048"/>
          </a:xfrm>
          <a:prstGeom prst="line">
            <a:avLst/>
          </a:prstGeom>
          <a:noFill/>
          <a:ln w="9525" cap="flat" cmpd="sng" algn="ctr">
            <a:solidFill>
              <a:srgbClr val="808080"/>
            </a:solidFill>
            <a:prstDash val="sysDash"/>
          </a:ln>
          <a:effectLst/>
        </p:spPr>
      </p:cxnSp>
      <p:sp>
        <p:nvSpPr>
          <p:cNvPr id="23" name="TextBox 22"/>
          <p:cNvSpPr txBox="1"/>
          <p:nvPr/>
        </p:nvSpPr>
        <p:spPr>
          <a:xfrm>
            <a:off x="4019118" y="3413648"/>
            <a:ext cx="5340032" cy="830997"/>
          </a:xfrm>
          <a:prstGeom prst="rect">
            <a:avLst/>
          </a:prstGeom>
          <a:noFill/>
        </p:spPr>
        <p:txBody>
          <a:bodyPr wrap="square" rtlCol="0">
            <a:spAutoFit/>
          </a:bodyPr>
          <a:lstStyle/>
          <a:p>
            <a:pPr lvl="2" defTabSz="914293">
              <a:buClrTx/>
              <a:buFontTx/>
              <a:buNone/>
            </a:pPr>
            <a:r>
              <a:rPr lang="en-US" sz="1200" kern="1200" dirty="0">
                <a:solidFill>
                  <a:schemeClr val="tx1"/>
                </a:solidFill>
                <a:latin typeface="Arial" panose="020B0604020202020204" pitchFamily="34" charset="0"/>
                <a:ea typeface="+mn-ea"/>
                <a:cs typeface="Arial" panose="020B0604020202020204" pitchFamily="34" charset="0"/>
              </a:rPr>
              <a:t>AGRA’s work in connection with the implementation the current consortia project led to mobilization of US$ </a:t>
            </a:r>
            <a:r>
              <a:rPr lang="en-US" sz="1200" kern="1200" dirty="0" smtClean="0">
                <a:solidFill>
                  <a:schemeClr val="tx1"/>
                </a:solidFill>
                <a:latin typeface="Arial" panose="020B0604020202020204" pitchFamily="34" charset="0"/>
                <a:ea typeface="+mn-ea"/>
                <a:cs typeface="Arial" panose="020B0604020202020204" pitchFamily="34" charset="0"/>
              </a:rPr>
              <a:t>5.72M </a:t>
            </a:r>
            <a:r>
              <a:rPr lang="en-US" sz="1200" kern="1200" dirty="0">
                <a:solidFill>
                  <a:schemeClr val="tx1"/>
                </a:solidFill>
                <a:latin typeface="Arial" panose="020B0604020202020204" pitchFamily="34" charset="0"/>
                <a:ea typeface="+mn-ea"/>
                <a:cs typeface="Arial" panose="020B0604020202020204" pitchFamily="34" charset="0"/>
              </a:rPr>
              <a:t>toward the program from the Lux-Development, USAID</a:t>
            </a:r>
            <a:r>
              <a:rPr lang="en-US" sz="1200" dirty="0">
                <a:solidFill>
                  <a:schemeClr val="tx1"/>
                </a:solidFill>
              </a:rPr>
              <a:t>, SUISSE CONTACT, PACEPEP (Danmark), Lux-Development ICRISAT-HOPE-2, IITA, MCNIGHT Foundation</a:t>
            </a:r>
            <a:endParaRPr lang="en-US" sz="1200" kern="1200" dirty="0">
              <a:solidFill>
                <a:schemeClr val="tx1"/>
              </a:solidFill>
              <a:latin typeface="Arial" panose="020B0604020202020204" pitchFamily="34" charset="0"/>
              <a:ea typeface="+mn-ea"/>
              <a:cs typeface="Arial" panose="020B0604020202020204" pitchFamily="34" charset="0"/>
            </a:endParaRPr>
          </a:p>
        </p:txBody>
      </p:sp>
      <p:sp>
        <p:nvSpPr>
          <p:cNvPr id="24" name="TextBox 23"/>
          <p:cNvSpPr txBox="1"/>
          <p:nvPr/>
        </p:nvSpPr>
        <p:spPr>
          <a:xfrm>
            <a:off x="1618711" y="3468647"/>
            <a:ext cx="1828800" cy="584775"/>
          </a:xfrm>
          <a:prstGeom prst="rect">
            <a:avLst/>
          </a:prstGeom>
          <a:noFill/>
        </p:spPr>
        <p:txBody>
          <a:bodyPr wrap="square" rtlCol="0">
            <a:spAutoFit/>
          </a:bodyPr>
          <a:lstStyle/>
          <a:p>
            <a:pPr lvl="2" algn="ctr" defTabSz="914293">
              <a:buClrTx/>
              <a:buFontTx/>
              <a:buNone/>
            </a:pPr>
            <a:r>
              <a:rPr kumimoji="0" lang="en-US" sz="1600" b="1" i="0" u="none" strike="noStrike" kern="1200" cap="none" spc="0" normalizeH="0" baseline="0" noProof="0" dirty="0">
                <a:ln>
                  <a:noFill/>
                </a:ln>
                <a:solidFill>
                  <a:srgbClr val="3F5F1F"/>
                </a:solidFill>
                <a:effectLst/>
                <a:uLnTx/>
                <a:uFillTx/>
                <a:ea typeface="+mn-ea"/>
                <a:cs typeface="+mn-cs"/>
              </a:rPr>
              <a:t>US$ </a:t>
            </a:r>
            <a:r>
              <a:rPr lang="en-US" sz="1600" b="1" kern="1200" dirty="0">
                <a:solidFill>
                  <a:srgbClr val="3F5F1F"/>
                </a:solidFill>
                <a:ea typeface="+mn-ea"/>
                <a:cs typeface="+mn-cs"/>
              </a:rPr>
              <a:t>5.72 M </a:t>
            </a:r>
            <a:r>
              <a:rPr kumimoji="0" lang="en-US" sz="1600" b="1" i="0" u="none" strike="noStrike" kern="1200" cap="none" spc="0" normalizeH="0" baseline="0" noProof="0" dirty="0">
                <a:ln>
                  <a:noFill/>
                </a:ln>
                <a:solidFill>
                  <a:srgbClr val="3F5F1F"/>
                </a:solidFill>
                <a:effectLst/>
                <a:uLnTx/>
                <a:uFillTx/>
                <a:ea typeface="+mn-ea"/>
                <a:cs typeface="+mn-cs"/>
              </a:rPr>
              <a:t>leveraged </a:t>
            </a:r>
          </a:p>
        </p:txBody>
      </p:sp>
      <p:cxnSp>
        <p:nvCxnSpPr>
          <p:cNvPr id="25" name="Straight Connector 24"/>
          <p:cNvCxnSpPr/>
          <p:nvPr/>
        </p:nvCxnSpPr>
        <p:spPr>
          <a:xfrm>
            <a:off x="1264084" y="3539427"/>
            <a:ext cx="0" cy="392048"/>
          </a:xfrm>
          <a:prstGeom prst="line">
            <a:avLst/>
          </a:prstGeom>
          <a:noFill/>
          <a:ln w="9525" cap="flat" cmpd="sng" algn="ctr">
            <a:solidFill>
              <a:srgbClr val="808080"/>
            </a:solidFill>
            <a:prstDash val="sysDash"/>
          </a:ln>
          <a:effectLst/>
        </p:spPr>
      </p:cxnSp>
      <p:cxnSp>
        <p:nvCxnSpPr>
          <p:cNvPr id="28" name="Straight Connector 27"/>
          <p:cNvCxnSpPr/>
          <p:nvPr/>
        </p:nvCxnSpPr>
        <p:spPr>
          <a:xfrm>
            <a:off x="1264084" y="4911387"/>
            <a:ext cx="0" cy="392048"/>
          </a:xfrm>
          <a:prstGeom prst="line">
            <a:avLst/>
          </a:prstGeom>
          <a:noFill/>
          <a:ln w="9525" cap="flat" cmpd="sng" algn="ctr">
            <a:solidFill>
              <a:srgbClr val="808080"/>
            </a:solidFill>
            <a:prstDash val="sysDash"/>
          </a:ln>
          <a:effectLst/>
        </p:spPr>
      </p:cxnSp>
      <p:sp>
        <p:nvSpPr>
          <p:cNvPr id="29" name="TextBox 28"/>
          <p:cNvSpPr txBox="1"/>
          <p:nvPr/>
        </p:nvSpPr>
        <p:spPr>
          <a:xfrm>
            <a:off x="1618711" y="4981283"/>
            <a:ext cx="2032646" cy="338554"/>
          </a:xfrm>
          <a:prstGeom prst="rect">
            <a:avLst/>
          </a:prstGeom>
          <a:noFill/>
        </p:spPr>
        <p:txBody>
          <a:bodyPr wrap="square" rtlCol="0">
            <a:spAutoFit/>
          </a:bodyPr>
          <a:lstStyle/>
          <a:p>
            <a:pPr lvl="2" algn="ctr" defTabSz="914293">
              <a:buClrTx/>
              <a:buFontTx/>
              <a:buNone/>
            </a:pPr>
            <a:r>
              <a:rPr lang="en-US" sz="1600" b="1" kern="1200" dirty="0">
                <a:solidFill>
                  <a:srgbClr val="3F5F1F"/>
                </a:solidFill>
                <a:ea typeface="+mn-ea"/>
                <a:cs typeface="+mn-cs"/>
              </a:rPr>
              <a:t>5 Policies</a:t>
            </a:r>
          </a:p>
        </p:txBody>
      </p:sp>
      <p:sp>
        <p:nvSpPr>
          <p:cNvPr id="30" name="TextBox 29"/>
          <p:cNvSpPr txBox="1"/>
          <p:nvPr/>
        </p:nvSpPr>
        <p:spPr>
          <a:xfrm>
            <a:off x="4019118" y="4997641"/>
            <a:ext cx="5340032" cy="830997"/>
          </a:xfrm>
          <a:prstGeom prst="rect">
            <a:avLst/>
          </a:prstGeom>
          <a:noFill/>
        </p:spPr>
        <p:txBody>
          <a:bodyPr wrap="square" rtlCol="0">
            <a:spAutoFit/>
          </a:bodyPr>
          <a:lstStyle/>
          <a:p>
            <a:pPr lvl="2" algn="just" defTabSz="914293">
              <a:buClrTx/>
              <a:buFontTx/>
              <a:buNone/>
            </a:pPr>
            <a:r>
              <a:rPr lang="en-US" sz="1200" kern="1200" dirty="0">
                <a:solidFill>
                  <a:schemeClr val="tx1"/>
                </a:solidFill>
                <a:latin typeface="Arial" panose="020B0604020202020204" pitchFamily="34" charset="0"/>
                <a:ea typeface="+mn-ea"/>
                <a:cs typeface="Arial" panose="020B0604020202020204" pitchFamily="34" charset="0"/>
              </a:rPr>
              <a:t>AGRA has prioritized five policies in Mali which include the Warehouse Receipt System, ECOWAS seed domestication, ECOWAS fertilizer domestication, ECOWAS standards domestication and Mechanization policy.  All the five policies are at legislation stage </a:t>
            </a:r>
          </a:p>
        </p:txBody>
      </p:sp>
      <p:pic>
        <p:nvPicPr>
          <p:cNvPr id="32" name="Picture 31"/>
          <p:cNvPicPr>
            <a:picLocks noChangeAspect="1"/>
          </p:cNvPicPr>
          <p:nvPr/>
        </p:nvPicPr>
        <p:blipFill>
          <a:blip r:embed="rId9"/>
          <a:stretch>
            <a:fillRect/>
          </a:stretch>
        </p:blipFill>
        <p:spPr>
          <a:xfrm>
            <a:off x="180683" y="3535268"/>
            <a:ext cx="615455" cy="537400"/>
          </a:xfrm>
          <a:prstGeom prst="rect">
            <a:avLst/>
          </a:prstGeom>
        </p:spPr>
      </p:pic>
      <p:sp>
        <p:nvSpPr>
          <p:cNvPr id="19" name="AutoShape 463" descr="Image result for FLAG OF MALI"/>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21" name="Picture 20"/>
          <p:cNvPicPr>
            <a:picLocks noChangeAspect="1"/>
          </p:cNvPicPr>
          <p:nvPr/>
        </p:nvPicPr>
        <p:blipFill>
          <a:blip r:embed="rId10"/>
          <a:stretch>
            <a:fillRect/>
          </a:stretch>
        </p:blipFill>
        <p:spPr>
          <a:xfrm>
            <a:off x="191061" y="4779589"/>
            <a:ext cx="696446" cy="626129"/>
          </a:xfrm>
          <a:prstGeom prst="rect">
            <a:avLst/>
          </a:prstGeom>
        </p:spPr>
      </p:pic>
    </p:spTree>
    <p:extLst>
      <p:ext uri="{BB962C8B-B14F-4D97-AF65-F5344CB8AC3E}">
        <p14:creationId xmlns:p14="http://schemas.microsoft.com/office/powerpoint/2010/main" val="384742241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merging Lessons </a:t>
            </a:r>
          </a:p>
        </p:txBody>
      </p:sp>
      <p:graphicFrame>
        <p:nvGraphicFramePr>
          <p:cNvPr id="3" name="Table 2"/>
          <p:cNvGraphicFramePr>
            <a:graphicFrameLocks noGrp="1"/>
          </p:cNvGraphicFramePr>
          <p:nvPr>
            <p:extLst>
              <p:ext uri="{D42A27DB-BD31-4B8C-83A1-F6EECF244321}">
                <p14:modId xmlns:p14="http://schemas.microsoft.com/office/powerpoint/2010/main" val="2283295768"/>
              </p:ext>
            </p:extLst>
          </p:nvPr>
        </p:nvGraphicFramePr>
        <p:xfrm>
          <a:off x="404655" y="1014248"/>
          <a:ext cx="8998524" cy="5394960"/>
        </p:xfrm>
        <a:graphic>
          <a:graphicData uri="http://schemas.openxmlformats.org/drawingml/2006/table">
            <a:tbl>
              <a:tblPr firstRow="1" bandRow="1">
                <a:tableStyleId>{912C8C85-51F0-491E-9774-3900AFEF0FD7}</a:tableStyleId>
              </a:tblPr>
              <a:tblGrid>
                <a:gridCol w="3294986">
                  <a:extLst>
                    <a:ext uri="{9D8B030D-6E8A-4147-A177-3AD203B41FA5}">
                      <a16:colId xmlns="" xmlns:a16="http://schemas.microsoft.com/office/drawing/2014/main" val="218853500"/>
                    </a:ext>
                  </a:extLst>
                </a:gridCol>
                <a:gridCol w="5703538">
                  <a:extLst>
                    <a:ext uri="{9D8B030D-6E8A-4147-A177-3AD203B41FA5}">
                      <a16:colId xmlns="" xmlns:a16="http://schemas.microsoft.com/office/drawing/2014/main" val="1070729646"/>
                    </a:ext>
                  </a:extLst>
                </a:gridCol>
              </a:tblGrid>
              <a:tr h="370840">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dirty="0"/>
                        <a:t>Lesson</a:t>
                      </a:r>
                      <a:endParaRPr lang="en-US" sz="1200" b="1" dirty="0">
                        <a:solidFill>
                          <a:schemeClr val="tx1"/>
                        </a:solidFill>
                        <a:latin typeface="+mn-lt"/>
                        <a:cs typeface="Arial" panose="020B0604020202020204" pitchFamily="34" charset="0"/>
                      </a:endParaRPr>
                    </a:p>
                  </a:txBody>
                  <a:tcPr/>
                </a:tc>
                <a:tc>
                  <a:txBody>
                    <a:bodyPr/>
                    <a:lstStyle/>
                    <a:p>
                      <a:pPr>
                        <a:lnSpc>
                          <a:spcPts val="1400"/>
                        </a:lnSpc>
                        <a:spcAft>
                          <a:spcPts val="600"/>
                        </a:spcAft>
                      </a:pPr>
                      <a:r>
                        <a:rPr lang="en-GB" sz="1200" u="none" strike="noStrike" cap="none" dirty="0">
                          <a:sym typeface="Arial"/>
                        </a:rPr>
                        <a:t>Adaptive Response</a:t>
                      </a:r>
                      <a:endParaRPr lang="en-GB" sz="1200" b="1" dirty="0">
                        <a:solidFill>
                          <a:schemeClr val="tx1"/>
                        </a:solidFill>
                        <a:latin typeface="+mn-lt"/>
                        <a:cs typeface="Arial" panose="020B0604020202020204" pitchFamily="34" charset="0"/>
                      </a:endParaRPr>
                    </a:p>
                  </a:txBody>
                  <a:tcPr/>
                </a:tc>
                <a:extLst>
                  <a:ext uri="{0D108BD9-81ED-4DB2-BD59-A6C34878D82A}">
                    <a16:rowId xmlns="" xmlns:a16="http://schemas.microsoft.com/office/drawing/2014/main" val="2806127866"/>
                  </a:ext>
                </a:extLst>
              </a:tr>
              <a:tr h="370840">
                <a:tc>
                  <a:txBody>
                    <a:bodyPr/>
                    <a:lstStyle/>
                    <a:p>
                      <a:pPr marL="0" marR="0" indent="0" algn="just" defTabSz="914400" rtl="0" eaLnBrk="1" fontAlgn="auto" latinLnBrk="0" hangingPunct="1">
                        <a:lnSpc>
                          <a:spcPts val="1400"/>
                        </a:lnSpc>
                        <a:spcBef>
                          <a:spcPts val="0"/>
                        </a:spcBef>
                        <a:spcAft>
                          <a:spcPts val="600"/>
                        </a:spcAft>
                        <a:buClr>
                          <a:srgbClr val="000000"/>
                        </a:buClr>
                        <a:buSzTx/>
                        <a:buFont typeface="Arial"/>
                        <a:buNone/>
                        <a:tabLst/>
                        <a:defRPr/>
                      </a:pPr>
                      <a:r>
                        <a:rPr lang="en-GB" sz="1200" b="0" u="sng" dirty="0">
                          <a:solidFill>
                            <a:schemeClr val="tx1"/>
                          </a:solidFill>
                        </a:rPr>
                        <a:t>Lesson 1: Providing evidence-based information is key in the Government support</a:t>
                      </a:r>
                      <a:endParaRPr lang="en-GB" sz="1200" b="0" i="0" u="sng" strike="noStrike" cap="none" dirty="0">
                        <a:solidFill>
                          <a:schemeClr val="tx1"/>
                        </a:solidFill>
                        <a:latin typeface="+mn-lt"/>
                        <a:ea typeface="+mn-ea"/>
                        <a:cs typeface="+mn-cs"/>
                        <a:sym typeface="Arial"/>
                      </a:endParaRPr>
                    </a:p>
                    <a:p>
                      <a:pPr marL="0" marR="0" lvl="0" indent="0" algn="just" defTabSz="914400" rtl="0" eaLnBrk="1" fontAlgn="auto" latinLnBrk="0" hangingPunct="1">
                        <a:lnSpc>
                          <a:spcPts val="1400"/>
                        </a:lnSpc>
                        <a:spcBef>
                          <a:spcPts val="0"/>
                        </a:spcBef>
                        <a:spcAft>
                          <a:spcPts val="600"/>
                        </a:spcAft>
                        <a:buClr>
                          <a:srgbClr val="000000"/>
                        </a:buClr>
                        <a:buSzTx/>
                        <a:buFont typeface="Arial"/>
                        <a:buNone/>
                        <a:tabLst/>
                        <a:defRPr/>
                      </a:pPr>
                      <a:endParaRPr lang="en-US" sz="1200" b="0" i="0" u="none" strike="noStrike" cap="none" dirty="0">
                        <a:solidFill>
                          <a:schemeClr val="tx1"/>
                        </a:solidFill>
                        <a:latin typeface="+mn-lt"/>
                        <a:ea typeface="+mn-ea"/>
                        <a:cs typeface="+mn-cs"/>
                        <a:sym typeface="Arial"/>
                      </a:endParaRPr>
                    </a:p>
                    <a:p>
                      <a:pPr marL="0" marR="0" indent="0" algn="just" defTabSz="914400" rtl="0" eaLnBrk="1" fontAlgn="auto" latinLnBrk="0" hangingPunct="1">
                        <a:lnSpc>
                          <a:spcPts val="1400"/>
                        </a:lnSpc>
                        <a:spcBef>
                          <a:spcPts val="0"/>
                        </a:spcBef>
                        <a:spcAft>
                          <a:spcPts val="600"/>
                        </a:spcAft>
                        <a:buClr>
                          <a:srgbClr val="000000"/>
                        </a:buClr>
                        <a:buSzTx/>
                        <a:buFont typeface="Arial"/>
                        <a:buNone/>
                        <a:tabLst/>
                        <a:defRPr/>
                      </a:pPr>
                      <a:r>
                        <a:rPr lang="en-US" sz="1200" b="0" u="none" dirty="0">
                          <a:solidFill>
                            <a:schemeClr val="tx1"/>
                          </a:solidFill>
                        </a:rPr>
                        <a:t> </a:t>
                      </a:r>
                      <a:endParaRPr lang="en-US" sz="1200" b="0" u="none" dirty="0">
                        <a:solidFill>
                          <a:schemeClr val="tx1"/>
                        </a:solidFill>
                        <a:latin typeface="+mn-lt"/>
                        <a:cs typeface="Arial" panose="020B0604020202020204" pitchFamily="34" charset="0"/>
                      </a:endParaRPr>
                    </a:p>
                  </a:txBody>
                  <a:tcPr/>
                </a:tc>
                <a:tc>
                  <a:txBody>
                    <a:bodyPr/>
                    <a:lstStyle/>
                    <a:p>
                      <a:pPr marL="171450" marR="0" lvl="0" indent="-171450" algn="just" defTabSz="914400" rtl="0" eaLnBrk="1" fontAlgn="auto" latinLnBrk="0" hangingPunct="1">
                        <a:lnSpc>
                          <a:spcPts val="1400"/>
                        </a:lnSpc>
                        <a:spcBef>
                          <a:spcPts val="0"/>
                        </a:spcBef>
                        <a:spcAft>
                          <a:spcPts val="600"/>
                        </a:spcAft>
                        <a:buClr>
                          <a:srgbClr val="000000"/>
                        </a:buClr>
                        <a:buSzTx/>
                        <a:buFont typeface="Arial" panose="020B0604020202020204" pitchFamily="34" charset="0"/>
                        <a:buChar char="•"/>
                        <a:tabLst/>
                        <a:defRPr/>
                      </a:pPr>
                      <a:r>
                        <a:rPr lang="en-US" sz="1200" b="0" dirty="0">
                          <a:solidFill>
                            <a:schemeClr val="tx1"/>
                          </a:solidFill>
                        </a:rPr>
                        <a:t>Key intervention areas supported by analytical priority studies has created confidence for the engagements / commitment by the government officials, as well as in-country development partners.</a:t>
                      </a:r>
                      <a:r>
                        <a:rPr lang="en-US" sz="1200" b="0" baseline="0" dirty="0">
                          <a:solidFill>
                            <a:schemeClr val="tx1"/>
                          </a:solidFill>
                        </a:rPr>
                        <a:t> It has led to the opportunities for leveraging resources and expertise for high impact of agricultural transformation in Mali.</a:t>
                      </a:r>
                      <a:endParaRPr lang="en-US" sz="1200" b="0" i="0" u="none" strike="noStrike" cap="none" dirty="0">
                        <a:solidFill>
                          <a:schemeClr val="tx1"/>
                        </a:solidFill>
                        <a:latin typeface="+mn-lt"/>
                        <a:ea typeface="+mn-ea"/>
                        <a:cs typeface="+mn-cs"/>
                        <a:sym typeface="Arial"/>
                      </a:endParaRPr>
                    </a:p>
                  </a:txBody>
                  <a:tcPr/>
                </a:tc>
                <a:extLst>
                  <a:ext uri="{0D108BD9-81ED-4DB2-BD59-A6C34878D82A}">
                    <a16:rowId xmlns="" xmlns:a16="http://schemas.microsoft.com/office/drawing/2014/main" val="2330181215"/>
                  </a:ext>
                </a:extLst>
              </a:tr>
              <a:tr h="370840">
                <a:tc>
                  <a:txBody>
                    <a:bodyPr/>
                    <a:lstStyle/>
                    <a:p>
                      <a:pPr algn="just">
                        <a:lnSpc>
                          <a:spcPts val="1400"/>
                        </a:lnSpc>
                        <a:spcAft>
                          <a:spcPts val="600"/>
                        </a:spcAft>
                      </a:pPr>
                      <a:r>
                        <a:rPr lang="en-GB" sz="1200" b="0" u="sng" dirty="0">
                          <a:solidFill>
                            <a:schemeClr val="tx1"/>
                          </a:solidFill>
                        </a:rPr>
                        <a:t>Lesson 2: </a:t>
                      </a:r>
                      <a:r>
                        <a:rPr lang="en-US" sz="1200" b="0" i="0" u="sng" strike="noStrike" cap="none" baseline="0" dirty="0">
                          <a:solidFill>
                            <a:schemeClr val="tx1"/>
                          </a:solidFill>
                          <a:latin typeface="+mn-lt"/>
                          <a:ea typeface="+mn-ea"/>
                          <a:cs typeface="+mn-cs"/>
                          <a:sym typeface="Arial"/>
                        </a:rPr>
                        <a:t>System </a:t>
                      </a:r>
                      <a:r>
                        <a:rPr lang="en-US" sz="1200" b="0" i="0" u="sng" strike="noStrike" cap="none" baseline="0" dirty="0" smtClean="0">
                          <a:solidFill>
                            <a:schemeClr val="tx1"/>
                          </a:solidFill>
                          <a:latin typeface="+mn-lt"/>
                          <a:ea typeface="+mn-ea"/>
                          <a:cs typeface="+mn-cs"/>
                          <a:sym typeface="Arial"/>
                        </a:rPr>
                        <a:t>Development </a:t>
                      </a:r>
                      <a:r>
                        <a:rPr lang="en-US" sz="1200" b="0" i="0" u="sng" strike="noStrike" cap="none" baseline="0" dirty="0" smtClean="0">
                          <a:solidFill>
                            <a:srgbClr val="FF0000"/>
                          </a:solidFill>
                          <a:latin typeface="+mn-lt"/>
                          <a:ea typeface="+mn-ea"/>
                          <a:cs typeface="+mn-cs"/>
                          <a:sym typeface="Arial"/>
                        </a:rPr>
                        <a:t>is the way to impact and sustainability</a:t>
                      </a:r>
                      <a:endParaRPr lang="en-GB" sz="1200" b="0" i="0" u="sng" strike="noStrike" cap="none" baseline="0" dirty="0">
                        <a:solidFill>
                          <a:srgbClr val="FF0000"/>
                        </a:solidFill>
                        <a:latin typeface="+mn-lt"/>
                        <a:ea typeface="+mn-ea"/>
                        <a:cs typeface="+mn-cs"/>
                        <a:sym typeface="Arial"/>
                      </a:endParaRPr>
                    </a:p>
                    <a:p>
                      <a:pPr algn="just">
                        <a:lnSpc>
                          <a:spcPts val="1400"/>
                        </a:lnSpc>
                        <a:spcAft>
                          <a:spcPts val="600"/>
                        </a:spcAft>
                      </a:pPr>
                      <a:r>
                        <a:rPr lang="en-US" sz="1200" b="0" baseline="0" dirty="0">
                          <a:solidFill>
                            <a:schemeClr val="tx1"/>
                          </a:solidFill>
                        </a:rPr>
                        <a:t>  </a:t>
                      </a:r>
                      <a:endParaRPr lang="en-GB" sz="1200" b="0" dirty="0">
                        <a:solidFill>
                          <a:schemeClr val="tx1"/>
                        </a:solidFill>
                      </a:endParaRPr>
                    </a:p>
                    <a:p>
                      <a:pPr algn="just">
                        <a:lnSpc>
                          <a:spcPts val="1400"/>
                        </a:lnSpc>
                        <a:spcAft>
                          <a:spcPts val="600"/>
                        </a:spcAft>
                      </a:pPr>
                      <a:endParaRPr lang="en-US" sz="1200" b="0" dirty="0">
                        <a:solidFill>
                          <a:schemeClr val="tx1"/>
                        </a:solidFill>
                        <a:latin typeface="+mn-lt"/>
                      </a:endParaRPr>
                    </a:p>
                  </a:txBody>
                  <a:tcPr/>
                </a:tc>
                <a:tc>
                  <a:txBody>
                    <a:bodyPr/>
                    <a:lstStyle/>
                    <a:p>
                      <a:pPr marL="171450" marR="0" indent="-171450" algn="just" rtl="0">
                        <a:lnSpc>
                          <a:spcPts val="1400"/>
                        </a:lnSpc>
                        <a:spcBef>
                          <a:spcPts val="0"/>
                        </a:spcBef>
                        <a:spcAft>
                          <a:spcPts val="600"/>
                        </a:spcAft>
                        <a:buClr>
                          <a:srgbClr val="000000"/>
                        </a:buClr>
                        <a:buFont typeface="Arial" panose="020B0604020202020204" pitchFamily="34" charset="0"/>
                        <a:buChar char="•"/>
                      </a:pPr>
                      <a:r>
                        <a:rPr lang="en-US" sz="1200" b="0" i="0" u="none" strike="noStrike" cap="none" dirty="0">
                          <a:solidFill>
                            <a:schemeClr val="tx1"/>
                          </a:solidFill>
                          <a:latin typeface="+mn-lt"/>
                          <a:ea typeface="+mn-ea"/>
                          <a:cs typeface="+mn-cs"/>
                          <a:sym typeface="Arial"/>
                        </a:rPr>
                        <a:t>The rapid acceptance of this new extension approach is mainly due to the engagement of the grantees on the one hand and on the other hand to the interest of the beneficiary farmers. Many farmers well understood the profit from the new technology and decided to implement it in a large scale of their farms.</a:t>
                      </a:r>
                      <a:r>
                        <a:rPr lang="en-US" sz="1200" b="0" i="0" u="none" strike="noStrike" cap="none" baseline="0" dirty="0">
                          <a:solidFill>
                            <a:schemeClr val="tx1"/>
                          </a:solidFill>
                          <a:latin typeface="+mn-lt"/>
                          <a:ea typeface="+mn-ea"/>
                          <a:cs typeface="+mn-cs"/>
                          <a:sym typeface="Arial"/>
                        </a:rPr>
                        <a:t> </a:t>
                      </a:r>
                      <a:r>
                        <a:rPr lang="en-US" sz="1200" b="0" i="0" u="none" strike="noStrike" cap="none" dirty="0">
                          <a:solidFill>
                            <a:schemeClr val="tx1"/>
                          </a:solidFill>
                          <a:latin typeface="+mn-lt"/>
                          <a:ea typeface="+mn-ea"/>
                          <a:cs typeface="+mn-cs"/>
                          <a:sym typeface="Arial"/>
                        </a:rPr>
                        <a:t>These VBAs played a fruitful role by providing required seeds and fertilizers, training support in linkage with 3,610 Mother and 161,530 Baby Demos implemented. </a:t>
                      </a:r>
                    </a:p>
                    <a:p>
                      <a:pPr marL="171450" marR="0" indent="-171450" algn="just" rtl="0">
                        <a:lnSpc>
                          <a:spcPts val="1400"/>
                        </a:lnSpc>
                        <a:spcBef>
                          <a:spcPts val="0"/>
                        </a:spcBef>
                        <a:spcAft>
                          <a:spcPts val="600"/>
                        </a:spcAft>
                        <a:buClr>
                          <a:srgbClr val="000000"/>
                        </a:buClr>
                        <a:buFont typeface="Arial" panose="020B0604020202020204" pitchFamily="34" charset="0"/>
                        <a:buChar char="•"/>
                      </a:pPr>
                      <a:r>
                        <a:rPr lang="en-US" sz="1200" b="0" i="0" u="none" strike="noStrike" cap="none" dirty="0">
                          <a:solidFill>
                            <a:schemeClr val="tx1"/>
                          </a:solidFill>
                          <a:latin typeface="+mn-lt"/>
                          <a:ea typeface="+mn-ea"/>
                          <a:cs typeface="+mn-cs"/>
                          <a:sym typeface="Arial"/>
                        </a:rPr>
                        <a:t>In addition, strengthening capacity of the partners grantees in charge of aggregation, market linkage resulted in a strong network of partnership between SHF organization and off-takers that increases the volume of grain sold; </a:t>
                      </a:r>
                    </a:p>
                  </a:txBody>
                  <a:tcPr/>
                </a:tc>
                <a:extLst>
                  <a:ext uri="{0D108BD9-81ED-4DB2-BD59-A6C34878D82A}">
                    <a16:rowId xmlns="" xmlns:a16="http://schemas.microsoft.com/office/drawing/2014/main" val="900949916"/>
                  </a:ext>
                </a:extLst>
              </a:tr>
              <a:tr h="370840">
                <a:tc>
                  <a:txBody>
                    <a:bodyPr/>
                    <a:lstStyle/>
                    <a:p>
                      <a:pPr marL="0" marR="0" lvl="0" indent="0" algn="just" defTabSz="914400" rtl="0" eaLnBrk="1" fontAlgn="auto" latinLnBrk="0" hangingPunct="1">
                        <a:lnSpc>
                          <a:spcPts val="1400"/>
                        </a:lnSpc>
                        <a:spcBef>
                          <a:spcPts val="0"/>
                        </a:spcBef>
                        <a:spcAft>
                          <a:spcPts val="600"/>
                        </a:spcAft>
                        <a:buClr>
                          <a:srgbClr val="000000"/>
                        </a:buClr>
                        <a:buSzTx/>
                        <a:buFont typeface="Arial"/>
                        <a:buNone/>
                        <a:tabLst/>
                        <a:defRPr/>
                      </a:pPr>
                      <a:r>
                        <a:rPr lang="en-GB" sz="1200" b="0" u="sng" dirty="0">
                          <a:solidFill>
                            <a:schemeClr val="tx1"/>
                          </a:solidFill>
                        </a:rPr>
                        <a:t>Lesson 3</a:t>
                      </a:r>
                      <a:r>
                        <a:rPr lang="en-GB" sz="1200" b="0" i="0" u="sng" strike="noStrike" cap="none" dirty="0">
                          <a:solidFill>
                            <a:schemeClr val="tx1"/>
                          </a:solidFill>
                          <a:latin typeface="+mn-lt"/>
                          <a:ea typeface="+mn-ea"/>
                          <a:cs typeface="+mn-cs"/>
                          <a:sym typeface="Arial"/>
                        </a:rPr>
                        <a:t>: Partnership </a:t>
                      </a:r>
                      <a:r>
                        <a:rPr lang="en-US" sz="1200" b="0" i="0" u="sng" strike="noStrike" cap="none" dirty="0">
                          <a:solidFill>
                            <a:schemeClr val="tx1"/>
                          </a:solidFill>
                          <a:latin typeface="+mn-lt"/>
                          <a:ea typeface="+mn-ea"/>
                          <a:cs typeface="+mn-cs"/>
                          <a:sym typeface="Arial"/>
                        </a:rPr>
                        <a:t>development is a long process but</a:t>
                      </a:r>
                      <a:r>
                        <a:rPr lang="en-US" sz="1200" b="0" i="0" u="sng" strike="noStrike" cap="none" baseline="0" dirty="0">
                          <a:solidFill>
                            <a:schemeClr val="tx1"/>
                          </a:solidFill>
                          <a:latin typeface="+mn-lt"/>
                          <a:ea typeface="+mn-ea"/>
                          <a:cs typeface="+mn-cs"/>
                          <a:sym typeface="Arial"/>
                        </a:rPr>
                        <a:t> key to increase  investment in agricultural sector.</a:t>
                      </a:r>
                      <a:endParaRPr lang="en-US" sz="1200" b="0" i="0" u="sng" strike="noStrike" cap="none" dirty="0">
                        <a:solidFill>
                          <a:schemeClr val="tx1"/>
                        </a:solidFill>
                        <a:latin typeface="+mn-lt"/>
                        <a:ea typeface="+mn-ea"/>
                        <a:cs typeface="+mn-cs"/>
                        <a:sym typeface="Arial"/>
                      </a:endParaRPr>
                    </a:p>
                    <a:p>
                      <a:pPr algn="just">
                        <a:lnSpc>
                          <a:spcPts val="1400"/>
                        </a:lnSpc>
                        <a:spcAft>
                          <a:spcPts val="600"/>
                        </a:spcAft>
                      </a:pPr>
                      <a:endParaRPr lang="en-GB" sz="1200" b="0" dirty="0">
                        <a:solidFill>
                          <a:schemeClr val="tx1"/>
                        </a:solidFill>
                      </a:endParaRPr>
                    </a:p>
                    <a:p>
                      <a:pPr algn="just">
                        <a:lnSpc>
                          <a:spcPts val="1400"/>
                        </a:lnSpc>
                        <a:spcAft>
                          <a:spcPts val="600"/>
                        </a:spcAft>
                      </a:pPr>
                      <a:endParaRPr lang="en-US" sz="1200" b="0" dirty="0">
                        <a:solidFill>
                          <a:schemeClr val="tx1"/>
                        </a:solidFill>
                        <a:latin typeface="+mn-lt"/>
                      </a:endParaRPr>
                    </a:p>
                  </a:txBody>
                  <a:tcPr/>
                </a:tc>
                <a:tc>
                  <a:txBody>
                    <a:bodyPr/>
                    <a:lstStyle/>
                    <a:p>
                      <a:pPr marL="171450" marR="0" lvl="0" indent="-171450" algn="just" defTabSz="914400" rtl="0" eaLnBrk="1" fontAlgn="auto" latinLnBrk="0" hangingPunct="1">
                        <a:lnSpc>
                          <a:spcPts val="1400"/>
                        </a:lnSpc>
                        <a:spcBef>
                          <a:spcPts val="0"/>
                        </a:spcBef>
                        <a:spcAft>
                          <a:spcPts val="600"/>
                        </a:spcAft>
                        <a:buClr>
                          <a:srgbClr val="000000"/>
                        </a:buClr>
                        <a:buSzTx/>
                        <a:buFont typeface="Arial" panose="020B0604020202020204" pitchFamily="34" charset="0"/>
                        <a:buChar char="•"/>
                        <a:tabLst/>
                        <a:defRPr/>
                      </a:pPr>
                      <a:r>
                        <a:rPr lang="en-US" sz="1200" b="0" dirty="0">
                          <a:solidFill>
                            <a:schemeClr val="tx1"/>
                          </a:solidFill>
                        </a:rPr>
                        <a:t>Being an active member of the Agricultural Sector Working Group (ASWG) and the Joint Agricultural Sector Review (JASR) has given AGRA the right visibility and continues to create</a:t>
                      </a:r>
                      <a:r>
                        <a:rPr lang="en-US" sz="1200" b="0" baseline="0" dirty="0">
                          <a:solidFill>
                            <a:schemeClr val="tx1"/>
                          </a:solidFill>
                        </a:rPr>
                        <a:t> a platform for meaningful interactions with </a:t>
                      </a:r>
                      <a:r>
                        <a:rPr lang="en-US" sz="1200" b="0" dirty="0">
                          <a:solidFill>
                            <a:schemeClr val="tx1"/>
                          </a:solidFill>
                        </a:rPr>
                        <a:t>stakeholders.</a:t>
                      </a:r>
                    </a:p>
                    <a:p>
                      <a:pPr marL="171450" marR="0" lvl="0" indent="-171450" algn="just" defTabSz="914400" rtl="0" eaLnBrk="1" fontAlgn="auto" latinLnBrk="0" hangingPunct="1">
                        <a:lnSpc>
                          <a:spcPts val="1400"/>
                        </a:lnSpc>
                        <a:spcBef>
                          <a:spcPts val="0"/>
                        </a:spcBef>
                        <a:spcAft>
                          <a:spcPts val="600"/>
                        </a:spcAft>
                        <a:buClr>
                          <a:srgbClr val="000000"/>
                        </a:buClr>
                        <a:buSzTx/>
                        <a:buFont typeface="Arial" panose="020B0604020202020204" pitchFamily="34" charset="0"/>
                        <a:buChar char="•"/>
                        <a:tabLst/>
                        <a:defRPr/>
                      </a:pPr>
                      <a:r>
                        <a:rPr lang="en-GB" sz="1200" b="0" dirty="0">
                          <a:solidFill>
                            <a:schemeClr val="tx1"/>
                          </a:solidFill>
                        </a:rPr>
                        <a:t>The continuity of the engagement with World Bank,</a:t>
                      </a:r>
                      <a:r>
                        <a:rPr lang="en-GB" sz="1200" b="0" baseline="0" dirty="0">
                          <a:solidFill>
                            <a:schemeClr val="tx1"/>
                          </a:solidFill>
                        </a:rPr>
                        <a:t> European Union, USAID, FAO to support AGRA’s efforts in improving the Input Subsidy Program (ISP), seed and extension program. </a:t>
                      </a:r>
                      <a:endParaRPr lang="en-US" sz="1200" b="0" dirty="0">
                        <a:solidFill>
                          <a:schemeClr val="tx1"/>
                        </a:solidFill>
                      </a:endParaRPr>
                    </a:p>
                    <a:p>
                      <a:pPr marL="171450" marR="0" indent="-171450" algn="just" rtl="0">
                        <a:lnSpc>
                          <a:spcPts val="1400"/>
                        </a:lnSpc>
                        <a:spcBef>
                          <a:spcPts val="0"/>
                        </a:spcBef>
                        <a:spcAft>
                          <a:spcPts val="600"/>
                        </a:spcAft>
                        <a:buClr>
                          <a:srgbClr val="000000"/>
                        </a:buClr>
                        <a:buFont typeface="Arial" panose="020B0604020202020204" pitchFamily="34" charset="0"/>
                        <a:buChar char="•"/>
                      </a:pPr>
                      <a:endParaRPr lang="en-US" sz="1200" b="0" i="0" u="none" strike="noStrike" cap="none" dirty="0">
                        <a:solidFill>
                          <a:schemeClr val="tx1"/>
                        </a:solidFill>
                        <a:latin typeface="+mn-lt"/>
                        <a:ea typeface="+mn-ea"/>
                        <a:cs typeface="+mn-cs"/>
                        <a:sym typeface="Arial"/>
                      </a:endParaRPr>
                    </a:p>
                    <a:p>
                      <a:pPr marL="171450" marR="0" indent="-171450" algn="just" defTabSz="914400" rtl="0" eaLnBrk="1" fontAlgn="auto" latinLnBrk="0" hangingPunct="1">
                        <a:lnSpc>
                          <a:spcPts val="1400"/>
                        </a:lnSpc>
                        <a:spcBef>
                          <a:spcPts val="0"/>
                        </a:spcBef>
                        <a:spcAft>
                          <a:spcPts val="600"/>
                        </a:spcAft>
                        <a:buClr>
                          <a:srgbClr val="000000"/>
                        </a:buClr>
                        <a:buSzTx/>
                        <a:buFont typeface="Arial" panose="020B0604020202020204" pitchFamily="34" charset="0"/>
                        <a:buChar char="•"/>
                        <a:tabLst/>
                        <a:defRPr/>
                      </a:pPr>
                      <a:endParaRPr lang="en-US" sz="1200" b="0" dirty="0">
                        <a:solidFill>
                          <a:schemeClr val="tx1"/>
                        </a:solidFill>
                        <a:latin typeface="+mn-lt"/>
                        <a:cs typeface="Arial" panose="020B0604020202020204" pitchFamily="34" charset="0"/>
                      </a:endParaRPr>
                    </a:p>
                  </a:txBody>
                  <a:tcPr/>
                </a:tc>
                <a:extLst>
                  <a:ext uri="{0D108BD9-81ED-4DB2-BD59-A6C34878D82A}">
                    <a16:rowId xmlns="" xmlns:a16="http://schemas.microsoft.com/office/drawing/2014/main" val="1124045165"/>
                  </a:ext>
                </a:extLst>
              </a:tr>
            </a:tbl>
          </a:graphicData>
        </a:graphic>
      </p:graphicFrame>
    </p:spTree>
    <p:extLst>
      <p:ext uri="{BB962C8B-B14F-4D97-AF65-F5344CB8AC3E}">
        <p14:creationId xmlns:p14="http://schemas.microsoft.com/office/powerpoint/2010/main" val="5464524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ecutive Summary </a:t>
            </a:r>
            <a:r>
              <a:rPr lang="en-US" sz="600" i="1" dirty="0" smtClean="0"/>
              <a:t>(1 of 2)</a:t>
            </a:r>
            <a:endParaRPr lang="en-US" sz="1800" i="1" dirty="0"/>
          </a:p>
        </p:txBody>
      </p:sp>
      <p:sp>
        <p:nvSpPr>
          <p:cNvPr id="4" name="Rectangle 3"/>
          <p:cNvSpPr/>
          <p:nvPr/>
        </p:nvSpPr>
        <p:spPr>
          <a:xfrm>
            <a:off x="275009" y="904854"/>
            <a:ext cx="9284930" cy="5078313"/>
          </a:xfrm>
          <a:prstGeom prst="rect">
            <a:avLst/>
          </a:prstGeom>
        </p:spPr>
        <p:txBody>
          <a:bodyPr wrap="square">
            <a:spAutoFit/>
          </a:bodyPr>
          <a:lstStyle/>
          <a:p>
            <a:pPr algn="just"/>
            <a:r>
              <a:rPr lang="en-US" sz="1200" dirty="0">
                <a:solidFill>
                  <a:schemeClr val="tx1"/>
                </a:solidFill>
              </a:rPr>
              <a:t>Agriculture is the cornerstone of Mali’s economy and holds great potential for driving economic growth, despite the fact that only the southern part of the country is suitable for farming.  The sector employs 80% of the Malian population (with 58% of agriculture labor force being  male) and contributes </a:t>
            </a:r>
            <a:r>
              <a:rPr lang="en-US" sz="1200" dirty="0" smtClean="0">
                <a:solidFill>
                  <a:schemeClr val="tx1"/>
                </a:solidFill>
              </a:rPr>
              <a:t>up to 40% </a:t>
            </a:r>
            <a:r>
              <a:rPr lang="en-US" sz="1200" dirty="0">
                <a:solidFill>
                  <a:schemeClr val="tx1"/>
                </a:solidFill>
              </a:rPr>
              <a:t>to Gross Domestic Product (GDP).  The Malian Government is committed to the sector  and have consistently allocated ~13% to the sector the past five years surpassing the Comprehensive African Agriculture Development Program (CAADP) Target of at least 10% </a:t>
            </a:r>
            <a:r>
              <a:rPr lang="en-US" sz="1200" dirty="0" smtClean="0">
                <a:solidFill>
                  <a:schemeClr val="tx1"/>
                </a:solidFill>
              </a:rPr>
              <a:t>allocation and leading </a:t>
            </a:r>
            <a:r>
              <a:rPr lang="en-US" sz="1200" dirty="0">
                <a:solidFill>
                  <a:schemeClr val="tx1"/>
                </a:solidFill>
              </a:rPr>
              <a:t>to sector growth of ~7</a:t>
            </a:r>
            <a:r>
              <a:rPr lang="en-US" sz="1200" dirty="0" smtClean="0">
                <a:solidFill>
                  <a:schemeClr val="tx1"/>
                </a:solidFill>
              </a:rPr>
              <a:t>%.  </a:t>
            </a:r>
            <a:r>
              <a:rPr lang="en-US" sz="1200" dirty="0">
                <a:solidFill>
                  <a:schemeClr val="tx1"/>
                </a:solidFill>
              </a:rPr>
              <a:t>Investments into agriculture are articulated in the Agriculture Development Policy (PDA) and its implementation and investment plan PNISA (2015-2025).</a:t>
            </a:r>
          </a:p>
          <a:p>
            <a:pPr algn="just"/>
            <a:endParaRPr lang="en-US" sz="1200" dirty="0">
              <a:solidFill>
                <a:schemeClr val="tx1"/>
              </a:solidFill>
            </a:endParaRPr>
          </a:p>
          <a:p>
            <a:pPr algn="just"/>
            <a:r>
              <a:rPr lang="en-US" sz="1200" dirty="0">
                <a:solidFill>
                  <a:schemeClr val="tx1"/>
                </a:solidFill>
              </a:rPr>
              <a:t>However, despite this commitment by Government, challenges abound in the ag sector largely due to </a:t>
            </a:r>
            <a:r>
              <a:rPr lang="en-US" sz="1200" dirty="0" smtClean="0">
                <a:solidFill>
                  <a:schemeClr val="tx1"/>
                </a:solidFill>
              </a:rPr>
              <a:t>variable and extreme </a:t>
            </a:r>
            <a:r>
              <a:rPr lang="en-US" sz="1200" dirty="0">
                <a:solidFill>
                  <a:schemeClr val="tx1"/>
                </a:solidFill>
              </a:rPr>
              <a:t>weather patterns.  The basic staple crops include: Millet, sorghum, maize, and rice which are produced by 90% of farmers for subsistence; crop yields depend almost entirely on the </a:t>
            </a:r>
            <a:r>
              <a:rPr lang="en-US" sz="1200" dirty="0" smtClean="0">
                <a:solidFill>
                  <a:schemeClr val="tx1"/>
                </a:solidFill>
              </a:rPr>
              <a:t>weather (rain) </a:t>
            </a:r>
            <a:r>
              <a:rPr lang="en-US" sz="1200" dirty="0">
                <a:solidFill>
                  <a:schemeClr val="tx1"/>
                </a:solidFill>
              </a:rPr>
              <a:t>and are much lower than optimal with maize estimated at ~2.7 MT/HA against 8 MT/HA; millet 0.83 MT/HA against 2.5MT/HA; sorghum being ~0.95MT/HA against ~3.5MT.  In the past five years, the production of cereals has increased, reaching an annual average of around 7.0 million MT. However, a large part of this growth was due to bringing more land into production and an increase in the rural population, rather than improvements in crop yields or labor productivity.  Fertilizer usage is slightly higher than the region at ~ 28kg/HA while post harvest losses are as high as ~25% for maize.  With regard to agricultural exports, cotton and livestock dominate export revenues in Mali.  </a:t>
            </a:r>
          </a:p>
          <a:p>
            <a:pPr algn="just"/>
            <a:endParaRPr lang="en-US" sz="1200" dirty="0">
              <a:solidFill>
                <a:schemeClr val="tx1"/>
              </a:solidFill>
            </a:endParaRPr>
          </a:p>
          <a:p>
            <a:pPr algn="just"/>
            <a:r>
              <a:rPr lang="en-US" sz="1200" dirty="0">
                <a:solidFill>
                  <a:schemeClr val="tx1"/>
                </a:solidFill>
              </a:rPr>
              <a:t>AGRA’s 2017 – 2021 strategy seeks to catalyze and sustain an inclusive agriculture transformation in 11 priority countries including Mali. The theory of change is that unlocking sustainable transformation will required a combination of {i} </a:t>
            </a:r>
            <a:r>
              <a:rPr lang="en-US" sz="1200" b="1" dirty="0">
                <a:solidFill>
                  <a:schemeClr val="tx1"/>
                </a:solidFill>
              </a:rPr>
              <a:t>Policy and State Capability: </a:t>
            </a:r>
            <a:r>
              <a:rPr lang="en-US" sz="1200" dirty="0">
                <a:solidFill>
                  <a:schemeClr val="tx1"/>
                </a:solidFill>
              </a:rPr>
              <a:t>w</a:t>
            </a:r>
            <a:r>
              <a:rPr lang="en-US" sz="1200" kern="1200" dirty="0">
                <a:solidFill>
                  <a:schemeClr val="tx1"/>
                </a:solidFill>
              </a:rPr>
              <a:t>orking with government to strengthen execution capacity while enhancing the transparency, accountability systems and policy environment for increased public and private sector investment in agriculture; </a:t>
            </a:r>
            <a:r>
              <a:rPr lang="en-US" sz="1200" b="1" dirty="0">
                <a:solidFill>
                  <a:schemeClr val="tx1"/>
                </a:solidFill>
              </a:rPr>
              <a:t>{ii} Systems Development: </a:t>
            </a:r>
            <a:r>
              <a:rPr lang="en-US" sz="1200" dirty="0">
                <a:solidFill>
                  <a:schemeClr val="tx1"/>
                </a:solidFill>
              </a:rPr>
              <a:t>investments to bu</a:t>
            </a:r>
            <a:r>
              <a:rPr lang="en-US" sz="1200" kern="1200" dirty="0">
                <a:solidFill>
                  <a:schemeClr val="tx1"/>
                </a:solidFill>
              </a:rPr>
              <a:t>ild downstream delivery systems closer to smallholder farmers while providing support to local private sector to scale technologies and services which deliver better productivity and incomes; </a:t>
            </a:r>
            <a:r>
              <a:rPr lang="en-US" sz="1200" b="1" dirty="0">
                <a:solidFill>
                  <a:schemeClr val="tx1"/>
                </a:solidFill>
              </a:rPr>
              <a:t>and Partnerships: </a:t>
            </a:r>
            <a:r>
              <a:rPr lang="en-US" sz="1200" dirty="0">
                <a:solidFill>
                  <a:schemeClr val="tx1"/>
                </a:solidFill>
              </a:rPr>
              <a:t>investments to </a:t>
            </a:r>
            <a:r>
              <a:rPr lang="en-US" sz="1200" kern="1200" dirty="0">
                <a:solidFill>
                  <a:schemeClr val="tx1"/>
                </a:solidFill>
              </a:rPr>
              <a:t>facilitate the alignment between government priorities and private sector interests; improving integration and coordination which lead to investments beneficial to smallholder farmers</a:t>
            </a:r>
          </a:p>
          <a:p>
            <a:pPr algn="just"/>
            <a:endParaRPr lang="en-US" sz="1200" dirty="0">
              <a:solidFill>
                <a:schemeClr val="tx1"/>
              </a:solidFill>
            </a:endParaRPr>
          </a:p>
          <a:p>
            <a:pPr algn="just"/>
            <a:endParaRPr lang="en-US" sz="1200" dirty="0">
              <a:solidFill>
                <a:schemeClr val="tx1"/>
              </a:solidFill>
            </a:endParaRPr>
          </a:p>
          <a:p>
            <a:pPr algn="just"/>
            <a:endParaRPr lang="en-US" sz="1200" dirty="0">
              <a:solidFill>
                <a:schemeClr val="tx1"/>
              </a:solidFill>
            </a:endParaRPr>
          </a:p>
        </p:txBody>
      </p:sp>
    </p:spTree>
    <p:extLst>
      <p:ext uri="{BB962C8B-B14F-4D97-AF65-F5344CB8AC3E}">
        <p14:creationId xmlns:p14="http://schemas.microsoft.com/office/powerpoint/2010/main" val="317316590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merging Opportunities for Mali</a:t>
            </a:r>
          </a:p>
        </p:txBody>
      </p:sp>
      <p:graphicFrame>
        <p:nvGraphicFramePr>
          <p:cNvPr id="3" name="Table 2"/>
          <p:cNvGraphicFramePr>
            <a:graphicFrameLocks noGrp="1"/>
          </p:cNvGraphicFramePr>
          <p:nvPr>
            <p:extLst>
              <p:ext uri="{D42A27DB-BD31-4B8C-83A1-F6EECF244321}">
                <p14:modId xmlns:p14="http://schemas.microsoft.com/office/powerpoint/2010/main" val="2599277850"/>
              </p:ext>
            </p:extLst>
          </p:nvPr>
        </p:nvGraphicFramePr>
        <p:xfrm>
          <a:off x="450742" y="929772"/>
          <a:ext cx="8869680" cy="5289515"/>
        </p:xfrm>
        <a:graphic>
          <a:graphicData uri="http://schemas.openxmlformats.org/drawingml/2006/table">
            <a:tbl>
              <a:tblPr firstRow="1" bandRow="1">
                <a:tableStyleId>{912C8C85-51F0-491E-9774-3900AFEF0FD7}</a:tableStyleId>
              </a:tblPr>
              <a:tblGrid>
                <a:gridCol w="4297680">
                  <a:extLst>
                    <a:ext uri="{9D8B030D-6E8A-4147-A177-3AD203B41FA5}">
                      <a16:colId xmlns="" xmlns:a16="http://schemas.microsoft.com/office/drawing/2014/main" val="218853500"/>
                    </a:ext>
                  </a:extLst>
                </a:gridCol>
                <a:gridCol w="4572000">
                  <a:extLst>
                    <a:ext uri="{9D8B030D-6E8A-4147-A177-3AD203B41FA5}">
                      <a16:colId xmlns="" xmlns:a16="http://schemas.microsoft.com/office/drawing/2014/main" val="1070729646"/>
                    </a:ext>
                  </a:extLst>
                </a:gridCol>
              </a:tblGrid>
              <a:tr h="366355">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dirty="0">
                          <a:solidFill>
                            <a:schemeClr val="tx1"/>
                          </a:solidFill>
                          <a:latin typeface="+mn-lt"/>
                        </a:rPr>
                        <a:t>Opportunity</a:t>
                      </a:r>
                      <a:endParaRPr lang="en-US" sz="1200" b="1" dirty="0">
                        <a:solidFill>
                          <a:schemeClr val="tx1"/>
                        </a:solidFill>
                        <a:latin typeface="+mn-lt"/>
                        <a:cs typeface="Arial" panose="020B0604020202020204" pitchFamily="34" charset="0"/>
                      </a:endParaRPr>
                    </a:p>
                  </a:txBody>
                  <a:tcPr marL="74295" marR="74295" marT="37148" marB="37148"/>
                </a:tc>
                <a:tc>
                  <a:txBody>
                    <a:bodyPr/>
                    <a:lstStyle/>
                    <a:p>
                      <a:pPr>
                        <a:lnSpc>
                          <a:spcPts val="1400"/>
                        </a:lnSpc>
                        <a:spcAft>
                          <a:spcPts val="600"/>
                        </a:spcAft>
                      </a:pPr>
                      <a:r>
                        <a:rPr lang="en-GB" sz="1200" u="none" strike="noStrike" cap="none" dirty="0">
                          <a:solidFill>
                            <a:schemeClr val="tx1"/>
                          </a:solidFill>
                          <a:latin typeface="+mn-lt"/>
                          <a:sym typeface="Arial"/>
                        </a:rPr>
                        <a:t>Implication for Mali</a:t>
                      </a:r>
                      <a:endParaRPr lang="en-GB" sz="1200" b="1" dirty="0">
                        <a:solidFill>
                          <a:schemeClr val="tx1"/>
                        </a:solidFill>
                        <a:latin typeface="+mn-lt"/>
                        <a:cs typeface="Arial" panose="020B0604020202020204" pitchFamily="34" charset="0"/>
                      </a:endParaRPr>
                    </a:p>
                  </a:txBody>
                  <a:tcPr marL="74295" marR="74295" marT="37148" marB="37148"/>
                </a:tc>
                <a:extLst>
                  <a:ext uri="{0D108BD9-81ED-4DB2-BD59-A6C34878D82A}">
                    <a16:rowId xmlns="" xmlns:a16="http://schemas.microsoft.com/office/drawing/2014/main" val="2806127866"/>
                  </a:ext>
                </a:extLst>
              </a:tr>
              <a:tr h="617284">
                <a:tc>
                  <a:txBody>
                    <a:bodyPr/>
                    <a:lstStyle/>
                    <a:p>
                      <a:pPr marL="228600" marR="0" indent="-228600" algn="l" defTabSz="914400" rtl="0" eaLnBrk="1" fontAlgn="auto" latinLnBrk="0" hangingPunct="1">
                        <a:lnSpc>
                          <a:spcPts val="1400"/>
                        </a:lnSpc>
                        <a:spcBef>
                          <a:spcPts val="0"/>
                        </a:spcBef>
                        <a:spcAft>
                          <a:spcPts val="600"/>
                        </a:spcAft>
                        <a:buClr>
                          <a:srgbClr val="000000"/>
                        </a:buClr>
                        <a:buSzTx/>
                        <a:buFont typeface="+mj-lt"/>
                        <a:buAutoNum type="arabicPeriod"/>
                        <a:tabLst/>
                        <a:defRPr/>
                      </a:pPr>
                      <a:r>
                        <a:rPr lang="en-GB" sz="1200" b="0" u="none" dirty="0">
                          <a:solidFill>
                            <a:schemeClr val="tx1"/>
                          </a:solidFill>
                          <a:latin typeface="+mn-lt"/>
                          <a:cs typeface="Arial" panose="020B0604020202020204" pitchFamily="34" charset="0"/>
                        </a:rPr>
                        <a:t>The Government willingness </a:t>
                      </a:r>
                      <a:r>
                        <a:rPr lang="en-GB" sz="1200" b="0" u="none" baseline="0" dirty="0">
                          <a:solidFill>
                            <a:schemeClr val="tx1"/>
                          </a:solidFill>
                          <a:latin typeface="+mn-lt"/>
                          <a:cs typeface="Arial" panose="020B0604020202020204" pitchFamily="34" charset="0"/>
                        </a:rPr>
                        <a:t>to set up the agricultural sector as a high priority despite the security context. For example the planning of the cropping campaign with emphasis on maize production and processing</a:t>
                      </a:r>
                      <a:endParaRPr lang="en-US" sz="1200" b="0" u="none" dirty="0">
                        <a:solidFill>
                          <a:schemeClr val="tx1"/>
                        </a:solidFill>
                        <a:latin typeface="+mn-lt"/>
                        <a:cs typeface="Arial" panose="020B0604020202020204" pitchFamily="34" charset="0"/>
                      </a:endParaRPr>
                    </a:p>
                  </a:txBody>
                  <a:tcPr marL="74295" marR="74295" marT="37148" marB="37148"/>
                </a:tc>
                <a:tc>
                  <a:txBody>
                    <a:bodyPr/>
                    <a:lstStyle/>
                    <a:p>
                      <a:pPr marL="171450" marR="0" indent="-171450" algn="l" defTabSz="914400" rtl="0" eaLnBrk="1" fontAlgn="auto" latinLnBrk="0" hangingPunct="1">
                        <a:lnSpc>
                          <a:spcPts val="1400"/>
                        </a:lnSpc>
                        <a:spcBef>
                          <a:spcPts val="0"/>
                        </a:spcBef>
                        <a:spcAft>
                          <a:spcPts val="600"/>
                        </a:spcAft>
                        <a:buClr>
                          <a:srgbClr val="000000"/>
                        </a:buClr>
                        <a:buSzTx/>
                        <a:buFont typeface="Arial" panose="020B0604020202020204" pitchFamily="34" charset="0"/>
                        <a:buChar char="•"/>
                        <a:tabLst/>
                        <a:defRPr/>
                      </a:pPr>
                      <a:r>
                        <a:rPr lang="en-US" sz="1200" dirty="0">
                          <a:solidFill>
                            <a:schemeClr val="tx1"/>
                          </a:solidFill>
                          <a:latin typeface="+mn-lt"/>
                          <a:cs typeface="Arial" panose="020B0604020202020204" pitchFamily="34" charset="0"/>
                        </a:rPr>
                        <a:t>AGRA will continue to contribute to the capacity building of the Government</a:t>
                      </a:r>
                      <a:r>
                        <a:rPr lang="en-US" sz="1200" baseline="0" dirty="0">
                          <a:solidFill>
                            <a:schemeClr val="tx1"/>
                          </a:solidFill>
                          <a:latin typeface="+mn-lt"/>
                          <a:cs typeface="Arial" panose="020B0604020202020204" pitchFamily="34" charset="0"/>
                        </a:rPr>
                        <a:t> for better implementation, coordination and accountability according to the weaknesses jointly identified. </a:t>
                      </a:r>
                    </a:p>
                    <a:p>
                      <a:pPr marL="171450" marR="0" indent="-171450" algn="l" defTabSz="914400" rtl="0" eaLnBrk="1" fontAlgn="auto" latinLnBrk="0" hangingPunct="1">
                        <a:lnSpc>
                          <a:spcPts val="1400"/>
                        </a:lnSpc>
                        <a:spcBef>
                          <a:spcPts val="0"/>
                        </a:spcBef>
                        <a:spcAft>
                          <a:spcPts val="600"/>
                        </a:spcAft>
                        <a:buClr>
                          <a:srgbClr val="000000"/>
                        </a:buClr>
                        <a:buSzTx/>
                        <a:buFont typeface="Arial" panose="020B0604020202020204" pitchFamily="34" charset="0"/>
                        <a:buChar char="•"/>
                        <a:tabLst/>
                        <a:defRPr/>
                      </a:pPr>
                      <a:r>
                        <a:rPr lang="en-US" sz="1200" baseline="0" dirty="0">
                          <a:solidFill>
                            <a:schemeClr val="tx1"/>
                          </a:solidFill>
                          <a:latin typeface="+mn-lt"/>
                          <a:cs typeface="Arial" panose="020B0604020202020204" pitchFamily="34" charset="0"/>
                        </a:rPr>
                        <a:t>AGRA will align with the Government decision to produce 11 Millions MT of cereals in 2019-2020 and contribute through the consortia investment. </a:t>
                      </a:r>
                    </a:p>
                  </a:txBody>
                  <a:tcPr marL="74295" marR="74295" marT="37148" marB="37148"/>
                </a:tc>
                <a:extLst>
                  <a:ext uri="{0D108BD9-81ED-4DB2-BD59-A6C34878D82A}">
                    <a16:rowId xmlns="" xmlns:a16="http://schemas.microsoft.com/office/drawing/2014/main" val="2330181215"/>
                  </a:ext>
                </a:extLst>
              </a:tr>
              <a:tr h="672463">
                <a:tc>
                  <a:txBody>
                    <a:bodyPr/>
                    <a:lstStyle/>
                    <a:p>
                      <a:pPr marL="228600" marR="0" indent="-228600" algn="l" defTabSz="914400" rtl="0" eaLnBrk="1" fontAlgn="auto" latinLnBrk="0" hangingPunct="1">
                        <a:lnSpc>
                          <a:spcPts val="1400"/>
                        </a:lnSpc>
                        <a:spcBef>
                          <a:spcPts val="0"/>
                        </a:spcBef>
                        <a:spcAft>
                          <a:spcPts val="600"/>
                        </a:spcAft>
                        <a:buClr>
                          <a:srgbClr val="000000"/>
                        </a:buClr>
                        <a:buSzTx/>
                        <a:buFont typeface="+mj-lt"/>
                        <a:buAutoNum type="arabicPeriod" startAt="2"/>
                        <a:tabLst/>
                        <a:defRPr/>
                      </a:pPr>
                      <a:r>
                        <a:rPr lang="en-US" sz="1200" b="0" i="0" u="none" strike="noStrike" cap="none" dirty="0">
                          <a:solidFill>
                            <a:schemeClr val="tx1"/>
                          </a:solidFill>
                          <a:latin typeface="+mn-lt"/>
                          <a:ea typeface="+mn-ea"/>
                          <a:cs typeface="Arial" panose="020B0604020202020204" pitchFamily="34" charset="0"/>
                          <a:sym typeface="Arial"/>
                        </a:rPr>
                        <a:t>The Government of Mali has launched a new 6</a:t>
                      </a:r>
                      <a:r>
                        <a:rPr lang="en-US" sz="1200" b="0" i="0" u="none" strike="noStrike" cap="none" baseline="0" dirty="0">
                          <a:solidFill>
                            <a:schemeClr val="tx1"/>
                          </a:solidFill>
                          <a:latin typeface="+mn-lt"/>
                          <a:ea typeface="+mn-ea"/>
                          <a:cs typeface="Arial" panose="020B0604020202020204" pitchFamily="34" charset="0"/>
                          <a:sym typeface="Arial"/>
                        </a:rPr>
                        <a:t> years’ </a:t>
                      </a:r>
                      <a:r>
                        <a:rPr lang="en-US" sz="1200" b="0" i="0" u="none" strike="noStrike" cap="none" dirty="0">
                          <a:solidFill>
                            <a:schemeClr val="tx1"/>
                          </a:solidFill>
                          <a:latin typeface="+mn-lt"/>
                          <a:ea typeface="+mn-ea"/>
                          <a:cs typeface="Arial" panose="020B0604020202020204" pitchFamily="34" charset="0"/>
                          <a:sym typeface="Arial"/>
                        </a:rPr>
                        <a:t>Inclusive Finance  project for private sector co-funded by the Malian Government, IFAD, Canadian  and Denmark cooperation.</a:t>
                      </a:r>
                    </a:p>
                  </a:txBody>
                  <a:tcPr marL="74295" marR="74295" marT="37148" marB="37148"/>
                </a:tc>
                <a:tc>
                  <a:txBody>
                    <a:bodyPr/>
                    <a:lstStyle/>
                    <a:p>
                      <a:pPr marL="171450" indent="-171450" algn="just">
                        <a:buFont typeface="Arial" panose="020B0604020202020204" pitchFamily="34" charset="0"/>
                        <a:buChar char="•"/>
                      </a:pPr>
                      <a:r>
                        <a:rPr lang="en-US" sz="1200" dirty="0">
                          <a:solidFill>
                            <a:schemeClr val="tx1"/>
                          </a:solidFill>
                          <a:latin typeface="+mn-lt"/>
                          <a:cs typeface="Arial" panose="020B0604020202020204" pitchFamily="34" charset="0"/>
                        </a:rPr>
                        <a:t>AGRA will continue to develop and strengthen its efforts in the</a:t>
                      </a:r>
                      <a:r>
                        <a:rPr lang="en-US" sz="1200" baseline="0" dirty="0">
                          <a:solidFill>
                            <a:schemeClr val="tx1"/>
                          </a:solidFill>
                          <a:latin typeface="+mn-lt"/>
                          <a:cs typeface="Arial" panose="020B0604020202020204" pitchFamily="34" charset="0"/>
                        </a:rPr>
                        <a:t> inclusive finance, </a:t>
                      </a:r>
                      <a:r>
                        <a:rPr lang="en-US" sz="1200" dirty="0">
                          <a:solidFill>
                            <a:schemeClr val="tx1"/>
                          </a:solidFill>
                          <a:latin typeface="+mn-lt"/>
                          <a:cs typeface="Arial" panose="020B0604020202020204" pitchFamily="34" charset="0"/>
                        </a:rPr>
                        <a:t>market and agro dealership systems development.  </a:t>
                      </a:r>
                    </a:p>
                    <a:p>
                      <a:pPr marL="171450" indent="-171450" algn="just">
                        <a:buFont typeface="Arial" panose="020B0604020202020204" pitchFamily="34" charset="0"/>
                        <a:buChar char="•"/>
                      </a:pPr>
                      <a:r>
                        <a:rPr lang="en-US" sz="1200" dirty="0">
                          <a:solidFill>
                            <a:schemeClr val="tx1"/>
                          </a:solidFill>
                          <a:latin typeface="+mn-lt"/>
                          <a:cs typeface="Arial" panose="020B0604020202020204" pitchFamily="34" charset="0"/>
                        </a:rPr>
                        <a:t>To create linkage between farmers, aggregators, off-tackers and banks / MFIs - this will be linked</a:t>
                      </a:r>
                      <a:r>
                        <a:rPr lang="en-US" sz="1200" baseline="0" dirty="0">
                          <a:solidFill>
                            <a:schemeClr val="tx1"/>
                          </a:solidFill>
                          <a:latin typeface="+mn-lt"/>
                          <a:cs typeface="Arial" panose="020B0604020202020204" pitchFamily="34" charset="0"/>
                        </a:rPr>
                        <a:t> to Government initiative for leveraging.</a:t>
                      </a:r>
                      <a:endParaRPr lang="en-US" sz="1200" b="0" dirty="0">
                        <a:solidFill>
                          <a:schemeClr val="tx1"/>
                        </a:solidFill>
                        <a:latin typeface="+mn-lt"/>
                        <a:cs typeface="Arial" panose="020B0604020202020204" pitchFamily="34" charset="0"/>
                      </a:endParaRPr>
                    </a:p>
                  </a:txBody>
                  <a:tcPr marL="74295" marR="74295" marT="37148" marB="37148"/>
                </a:tc>
                <a:extLst>
                  <a:ext uri="{0D108BD9-81ED-4DB2-BD59-A6C34878D82A}">
                    <a16:rowId xmlns="" xmlns:a16="http://schemas.microsoft.com/office/drawing/2014/main" val="900949916"/>
                  </a:ext>
                </a:extLst>
              </a:tr>
              <a:tr h="844317">
                <a:tc>
                  <a:txBody>
                    <a:bodyPr/>
                    <a:lstStyle/>
                    <a:p>
                      <a:pPr marL="228600" marR="0" indent="-228600" algn="l" defTabSz="914400" rtl="0" eaLnBrk="1" fontAlgn="auto" latinLnBrk="0" hangingPunct="1">
                        <a:lnSpc>
                          <a:spcPts val="1400"/>
                        </a:lnSpc>
                        <a:spcBef>
                          <a:spcPts val="0"/>
                        </a:spcBef>
                        <a:spcAft>
                          <a:spcPts val="600"/>
                        </a:spcAft>
                        <a:buClr>
                          <a:srgbClr val="000000"/>
                        </a:buClr>
                        <a:buSzTx/>
                        <a:buFont typeface="+mj-lt"/>
                        <a:buAutoNum type="arabicPeriod" startAt="3"/>
                        <a:tabLst/>
                        <a:defRPr/>
                      </a:pPr>
                      <a:r>
                        <a:rPr lang="en-US" sz="1200" b="0" i="0" u="none" strike="noStrike" cap="none" dirty="0">
                          <a:solidFill>
                            <a:schemeClr val="tx1"/>
                          </a:solidFill>
                          <a:latin typeface="+mn-lt"/>
                          <a:ea typeface="+mn-ea"/>
                          <a:cs typeface="Arial" panose="020B0604020202020204" pitchFamily="34" charset="0"/>
                          <a:sym typeface="Arial"/>
                        </a:rPr>
                        <a:t>Government has undertaken the harmonization of extension approaches / systems in view to maximize and</a:t>
                      </a:r>
                      <a:r>
                        <a:rPr lang="en-US" sz="1200" b="0" i="0" u="none" strike="noStrike" cap="none" baseline="0" dirty="0">
                          <a:solidFill>
                            <a:schemeClr val="tx1"/>
                          </a:solidFill>
                          <a:latin typeface="+mn-lt"/>
                          <a:ea typeface="+mn-ea"/>
                          <a:cs typeface="Arial" panose="020B0604020202020204" pitchFamily="34" charset="0"/>
                          <a:sym typeface="Arial"/>
                        </a:rPr>
                        <a:t> bring synergies within public and private partners</a:t>
                      </a:r>
                      <a:r>
                        <a:rPr lang="en-US" sz="1200" b="0" i="0" u="none" strike="noStrike" cap="none" dirty="0">
                          <a:solidFill>
                            <a:schemeClr val="tx1"/>
                          </a:solidFill>
                          <a:latin typeface="+mn-lt"/>
                          <a:ea typeface="+mn-ea"/>
                          <a:cs typeface="Arial" panose="020B0604020202020204" pitchFamily="34" charset="0"/>
                          <a:sym typeface="Arial"/>
                        </a:rPr>
                        <a:t>.</a:t>
                      </a:r>
                    </a:p>
                  </a:txBody>
                  <a:tcPr marL="74295" marR="74295" marT="37148" marB="37148"/>
                </a:tc>
                <a:tc>
                  <a:txBody>
                    <a:bodyPr/>
                    <a:lstStyle/>
                    <a:p>
                      <a:pPr marL="171450" marR="0" indent="-171450" algn="l" defTabSz="914400" rtl="0" eaLnBrk="1" fontAlgn="auto" latinLnBrk="0" hangingPunct="1">
                        <a:lnSpc>
                          <a:spcPts val="1400"/>
                        </a:lnSpc>
                        <a:spcBef>
                          <a:spcPts val="0"/>
                        </a:spcBef>
                        <a:spcAft>
                          <a:spcPts val="600"/>
                        </a:spcAft>
                        <a:buClr>
                          <a:srgbClr val="000000"/>
                        </a:buClr>
                        <a:buSzTx/>
                        <a:buFont typeface="Arial" panose="020B0604020202020204" pitchFamily="34" charset="0"/>
                        <a:buChar char="•"/>
                        <a:tabLst/>
                        <a:defRPr/>
                      </a:pPr>
                      <a:r>
                        <a:rPr lang="en-GB" sz="1200" dirty="0">
                          <a:solidFill>
                            <a:schemeClr val="tx1"/>
                          </a:solidFill>
                          <a:latin typeface="+mn-lt"/>
                          <a:cs typeface="Arial" panose="020B0604020202020204" pitchFamily="34" charset="0"/>
                        </a:rPr>
                        <a:t>AGRA will</a:t>
                      </a:r>
                      <a:r>
                        <a:rPr lang="en-GB" sz="1200" baseline="0" dirty="0">
                          <a:solidFill>
                            <a:schemeClr val="tx1"/>
                          </a:solidFill>
                          <a:latin typeface="+mn-lt"/>
                          <a:cs typeface="Arial" panose="020B0604020202020204" pitchFamily="34" charset="0"/>
                        </a:rPr>
                        <a:t> continue strengthening the VBA’s approach for the promotion of new technologies involving key areas in value chains (seed, fertilizer, market, mechanization, resilience…) and the creation of new employment for youth and women through agro dealership, staple crop market, post harvest </a:t>
                      </a:r>
                      <a:r>
                        <a:rPr lang="en-GB" sz="1200" baseline="0" dirty="0" smtClean="0">
                          <a:solidFill>
                            <a:srgbClr val="FF0000"/>
                          </a:solidFill>
                          <a:latin typeface="+mn-lt"/>
                          <a:cs typeface="Arial" panose="020B0604020202020204" pitchFamily="34" charset="0"/>
                        </a:rPr>
                        <a:t>handling…In addition, AGRA will continue its broker role to support the Government to mobilize resources</a:t>
                      </a:r>
                      <a:endParaRPr lang="en-US" sz="1200" dirty="0">
                        <a:solidFill>
                          <a:srgbClr val="FF0000"/>
                        </a:solidFill>
                        <a:latin typeface="+mn-lt"/>
                        <a:cs typeface="Arial" panose="020B0604020202020204" pitchFamily="34" charset="0"/>
                      </a:endParaRPr>
                    </a:p>
                  </a:txBody>
                  <a:tcPr marL="74295" marR="74295" marT="37148" marB="37148"/>
                </a:tc>
                <a:extLst>
                  <a:ext uri="{0D108BD9-81ED-4DB2-BD59-A6C34878D82A}">
                    <a16:rowId xmlns="" xmlns:a16="http://schemas.microsoft.com/office/drawing/2014/main" val="2600367691"/>
                  </a:ext>
                </a:extLst>
              </a:tr>
              <a:tr h="486589">
                <a:tc>
                  <a:txBody>
                    <a:bodyPr/>
                    <a:lstStyle/>
                    <a:p>
                      <a:pPr marL="228600" marR="0" indent="-228600" algn="l" defTabSz="914400" rtl="0" eaLnBrk="1" fontAlgn="auto" latinLnBrk="0" hangingPunct="1">
                        <a:lnSpc>
                          <a:spcPts val="1400"/>
                        </a:lnSpc>
                        <a:spcBef>
                          <a:spcPts val="0"/>
                        </a:spcBef>
                        <a:spcAft>
                          <a:spcPts val="600"/>
                        </a:spcAft>
                        <a:buClr>
                          <a:srgbClr val="000000"/>
                        </a:buClr>
                        <a:buSzTx/>
                        <a:buFont typeface="+mj-lt"/>
                        <a:buAutoNum type="arabicPeriod" startAt="4"/>
                        <a:tabLst/>
                        <a:defRPr/>
                      </a:pPr>
                      <a:r>
                        <a:rPr lang="en-GB" sz="1200" b="0" i="0" u="none" strike="noStrike" cap="none" dirty="0">
                          <a:solidFill>
                            <a:schemeClr val="tx1"/>
                          </a:solidFill>
                          <a:latin typeface="+mn-lt"/>
                          <a:ea typeface="+mn-ea"/>
                          <a:cs typeface="Arial" panose="020B0604020202020204" pitchFamily="34" charset="0"/>
                          <a:sym typeface="Arial"/>
                        </a:rPr>
                        <a:t>Government commitment to rationalize the 15% budget allocated to agricultural sector by</a:t>
                      </a:r>
                      <a:r>
                        <a:rPr lang="en-GB" sz="1200" b="0" i="0" u="none" strike="noStrike" cap="none" baseline="0" dirty="0">
                          <a:solidFill>
                            <a:schemeClr val="tx1"/>
                          </a:solidFill>
                          <a:latin typeface="+mn-lt"/>
                          <a:ea typeface="+mn-ea"/>
                          <a:cs typeface="Arial" panose="020B0604020202020204" pitchFamily="34" charset="0"/>
                          <a:sym typeface="Arial"/>
                        </a:rPr>
                        <a:t> taking into account new emergent value chains</a:t>
                      </a:r>
                      <a:r>
                        <a:rPr lang="en-GB" sz="1200" b="0" i="0" u="none" strike="noStrike" cap="none" dirty="0">
                          <a:solidFill>
                            <a:schemeClr val="tx1"/>
                          </a:solidFill>
                          <a:latin typeface="+mn-lt"/>
                          <a:ea typeface="+mn-ea"/>
                          <a:cs typeface="Arial" panose="020B0604020202020204" pitchFamily="34" charset="0"/>
                          <a:sym typeface="Arial"/>
                        </a:rPr>
                        <a:t> </a:t>
                      </a:r>
                    </a:p>
                  </a:txBody>
                  <a:tcPr marL="74295" marR="74295" marT="37148" marB="37148"/>
                </a:tc>
                <a:tc>
                  <a:txBody>
                    <a:bodyPr/>
                    <a:lstStyle/>
                    <a:p>
                      <a:pPr marL="171450" marR="0" indent="-171450" algn="l" defTabSz="914400" rtl="0" eaLnBrk="1" fontAlgn="auto" latinLnBrk="0" hangingPunct="1">
                        <a:lnSpc>
                          <a:spcPts val="1400"/>
                        </a:lnSpc>
                        <a:spcBef>
                          <a:spcPts val="0"/>
                        </a:spcBef>
                        <a:spcAft>
                          <a:spcPts val="600"/>
                        </a:spcAft>
                        <a:buClr>
                          <a:srgbClr val="000000"/>
                        </a:buClr>
                        <a:buSzTx/>
                        <a:buFont typeface="Arial" panose="020B0604020202020204" pitchFamily="34" charset="0"/>
                        <a:buChar char="•"/>
                        <a:tabLst/>
                        <a:defRPr/>
                      </a:pPr>
                      <a:r>
                        <a:rPr lang="en-GB" sz="1200" baseline="0" dirty="0">
                          <a:solidFill>
                            <a:schemeClr val="tx1"/>
                          </a:solidFill>
                          <a:latin typeface="+mn-lt"/>
                          <a:cs typeface="Arial" panose="020B0604020202020204" pitchFamily="34" charset="0"/>
                        </a:rPr>
                        <a:t>AGRA will pursue the support to the Government by providing needed evidence based data (several studies on value chains, input subsidy, etc.) </a:t>
                      </a:r>
                      <a:endParaRPr lang="en-US" sz="1200" dirty="0">
                        <a:solidFill>
                          <a:schemeClr val="tx1"/>
                        </a:solidFill>
                        <a:latin typeface="+mn-lt"/>
                        <a:cs typeface="Arial" panose="020B0604020202020204" pitchFamily="34" charset="0"/>
                      </a:endParaRPr>
                    </a:p>
                  </a:txBody>
                  <a:tcPr marL="74295" marR="74295" marT="37148" marB="37148"/>
                </a:tc>
                <a:extLst>
                  <a:ext uri="{0D108BD9-81ED-4DB2-BD59-A6C34878D82A}">
                    <a16:rowId xmlns="" xmlns:a16="http://schemas.microsoft.com/office/drawing/2014/main" val="1124045165"/>
                  </a:ext>
                </a:extLst>
              </a:tr>
              <a:tr h="517072">
                <a:tc>
                  <a:txBody>
                    <a:bodyPr/>
                    <a:lstStyle/>
                    <a:p>
                      <a:pPr marL="228600" marR="0" indent="-228600" algn="l" defTabSz="914400" rtl="0" eaLnBrk="1" fontAlgn="auto" latinLnBrk="0" hangingPunct="1">
                        <a:lnSpc>
                          <a:spcPts val="1400"/>
                        </a:lnSpc>
                        <a:spcBef>
                          <a:spcPts val="0"/>
                        </a:spcBef>
                        <a:spcAft>
                          <a:spcPts val="600"/>
                        </a:spcAft>
                        <a:buClr>
                          <a:srgbClr val="000000"/>
                        </a:buClr>
                        <a:buSzTx/>
                        <a:buFont typeface="+mj-lt"/>
                        <a:buAutoNum type="arabicPeriod" startAt="5"/>
                        <a:tabLst/>
                        <a:defRPr/>
                      </a:pPr>
                      <a:r>
                        <a:rPr lang="en-US" sz="1200" dirty="0">
                          <a:solidFill>
                            <a:schemeClr val="tx1"/>
                          </a:solidFill>
                          <a:latin typeface="+mn-lt"/>
                          <a:cs typeface="Arial" panose="020B0604020202020204" pitchFamily="34" charset="0"/>
                        </a:rPr>
                        <a:t>World Bank is</a:t>
                      </a:r>
                      <a:r>
                        <a:rPr lang="en-US" sz="1200" baseline="0" dirty="0">
                          <a:solidFill>
                            <a:schemeClr val="tx1"/>
                          </a:solidFill>
                          <a:latin typeface="+mn-lt"/>
                          <a:cs typeface="Arial" panose="020B0604020202020204" pitchFamily="34" charset="0"/>
                        </a:rPr>
                        <a:t> open to partner with </a:t>
                      </a:r>
                      <a:r>
                        <a:rPr lang="en-US" sz="1200" b="0" dirty="0">
                          <a:solidFill>
                            <a:schemeClr val="tx1"/>
                          </a:solidFill>
                          <a:latin typeface="+mn-lt"/>
                          <a:cs typeface="Arial" panose="020B0604020202020204" pitchFamily="34" charset="0"/>
                        </a:rPr>
                        <a:t>AGRA to support the improvement</a:t>
                      </a:r>
                      <a:r>
                        <a:rPr lang="en-US" sz="1200" b="0" baseline="0" dirty="0">
                          <a:solidFill>
                            <a:schemeClr val="tx1"/>
                          </a:solidFill>
                          <a:latin typeface="+mn-lt"/>
                          <a:cs typeface="Arial" panose="020B0604020202020204" pitchFamily="34" charset="0"/>
                        </a:rPr>
                        <a:t> of Input Subsidy Program and Technologies’ transfer</a:t>
                      </a:r>
                      <a:r>
                        <a:rPr lang="en-US" sz="1200" b="0" dirty="0">
                          <a:solidFill>
                            <a:schemeClr val="tx1"/>
                          </a:solidFill>
                          <a:latin typeface="+mn-lt"/>
                          <a:cs typeface="Arial" panose="020B0604020202020204" pitchFamily="34" charset="0"/>
                        </a:rPr>
                        <a:t>.</a:t>
                      </a:r>
                    </a:p>
                  </a:txBody>
                  <a:tcPr marL="74295" marR="74295" marT="37148" marB="37148">
                    <a:solidFill>
                      <a:schemeClr val="bg1"/>
                    </a:solidFill>
                  </a:tcPr>
                </a:tc>
                <a:tc>
                  <a:txBody>
                    <a:bodyPr/>
                    <a:lstStyle/>
                    <a:p>
                      <a:pPr marL="171450" marR="0" indent="-171450" algn="l" defTabSz="914400" rtl="0" eaLnBrk="1" fontAlgn="auto" latinLnBrk="0" hangingPunct="1">
                        <a:lnSpc>
                          <a:spcPts val="1400"/>
                        </a:lnSpc>
                        <a:spcBef>
                          <a:spcPts val="0"/>
                        </a:spcBef>
                        <a:spcAft>
                          <a:spcPts val="600"/>
                        </a:spcAft>
                        <a:buClr>
                          <a:srgbClr val="000000"/>
                        </a:buClr>
                        <a:buSzTx/>
                        <a:buFont typeface="Arial" panose="020B0604020202020204" pitchFamily="34" charset="0"/>
                        <a:buChar char="•"/>
                        <a:tabLst/>
                        <a:defRPr/>
                      </a:pPr>
                      <a:r>
                        <a:rPr lang="en-US" sz="1200" dirty="0">
                          <a:solidFill>
                            <a:schemeClr val="tx1"/>
                          </a:solidFill>
                          <a:latin typeface="+mn-lt"/>
                          <a:cs typeface="Arial" panose="020B0604020202020204" pitchFamily="34" charset="0"/>
                        </a:rPr>
                        <a:t>Partnerships with World</a:t>
                      </a:r>
                      <a:r>
                        <a:rPr lang="en-US" sz="1200" baseline="0" dirty="0">
                          <a:solidFill>
                            <a:schemeClr val="tx1"/>
                          </a:solidFill>
                          <a:latin typeface="+mn-lt"/>
                          <a:cs typeface="Arial" panose="020B0604020202020204" pitchFamily="34" charset="0"/>
                        </a:rPr>
                        <a:t> Bank and other partners </a:t>
                      </a:r>
                      <a:r>
                        <a:rPr lang="en-US" sz="1200" dirty="0">
                          <a:solidFill>
                            <a:schemeClr val="tx1"/>
                          </a:solidFill>
                          <a:latin typeface="+mn-lt"/>
                          <a:cs typeface="Arial" panose="020B0604020202020204" pitchFamily="34" charset="0"/>
                        </a:rPr>
                        <a:t>will accelerate AGRA’s leveraging capacity for better impact in Mali.</a:t>
                      </a:r>
                    </a:p>
                  </a:txBody>
                  <a:tcPr marL="74295" marR="74295" marT="37148" marB="37148">
                    <a:solidFill>
                      <a:schemeClr val="bg1"/>
                    </a:solidFill>
                  </a:tcPr>
                </a:tc>
                <a:extLst>
                  <a:ext uri="{0D108BD9-81ED-4DB2-BD59-A6C34878D82A}">
                    <a16:rowId xmlns="" xmlns:a16="http://schemas.microsoft.com/office/drawing/2014/main" val="73795164"/>
                  </a:ext>
                </a:extLst>
              </a:tr>
            </a:tbl>
          </a:graphicData>
        </a:graphic>
      </p:graphicFrame>
    </p:spTree>
    <p:extLst>
      <p:ext uri="{BB962C8B-B14F-4D97-AF65-F5344CB8AC3E}">
        <p14:creationId xmlns:p14="http://schemas.microsoft.com/office/powerpoint/2010/main" val="339872493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901070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2830" name="think-cell Slide" r:id="rId5" imgW="470" imgH="469" progId="TCLayout.ActiveDocument.1">
                  <p:embed/>
                </p:oleObj>
              </mc:Choice>
              <mc:Fallback>
                <p:oleObj name="think-cell Slide" r:id="rId5" imgW="470" imgH="469"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4400" dirty="0">
              <a:latin typeface="Arial" panose="020B0604020202020204" pitchFamily="34" charset="0"/>
              <a:cs typeface="Arial" panose="020B0604020202020204" pitchFamily="34" charset="0"/>
              <a:sym typeface="Arial" panose="020B0604020202020204" pitchFamily="34" charset="0"/>
            </a:endParaRPr>
          </a:p>
        </p:txBody>
      </p:sp>
      <p:sp>
        <p:nvSpPr>
          <p:cNvPr id="4" name="Title 3"/>
          <p:cNvSpPr>
            <a:spLocks noGrp="1"/>
          </p:cNvSpPr>
          <p:nvPr>
            <p:ph type="title"/>
          </p:nvPr>
        </p:nvSpPr>
        <p:spPr/>
        <p:txBody>
          <a:bodyPr/>
          <a:lstStyle/>
          <a:p>
            <a:pPr algn="ctr"/>
            <a:r>
              <a:rPr lang="en-US" dirty="0"/>
              <a:t>The Team</a:t>
            </a:r>
          </a:p>
        </p:txBody>
      </p:sp>
    </p:spTree>
    <p:extLst>
      <p:ext uri="{BB962C8B-B14F-4D97-AF65-F5344CB8AC3E}">
        <p14:creationId xmlns:p14="http://schemas.microsoft.com/office/powerpoint/2010/main" val="85602762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960111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54" name="think-cell Slide" r:id="rId35" imgW="270" imgH="270" progId="TCLayout.ActiveDocument.1">
                  <p:embed/>
                </p:oleObj>
              </mc:Choice>
              <mc:Fallback>
                <p:oleObj name="think-cell Slide" r:id="rId35" imgW="270" imgH="270" progId="TCLayout.ActiveDocument.1">
                  <p:embed/>
                  <p:pic>
                    <p:nvPicPr>
                      <p:cNvPr id="5" name="Object 4" hidden="1"/>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031" b="1" dirty="0">
              <a:latin typeface="Arial" panose="020B0604020202020204" pitchFamily="34" charset="0"/>
              <a:cs typeface="Arial" panose="020B0604020202020204" pitchFamily="34" charset="0"/>
              <a:sym typeface="Arial" panose="020B0604020202020204" pitchFamily="34" charset="0"/>
            </a:endParaRPr>
          </a:p>
        </p:txBody>
      </p:sp>
      <p:cxnSp>
        <p:nvCxnSpPr>
          <p:cNvPr id="116" name="Elbow Connector 115"/>
          <p:cNvCxnSpPr>
            <a:stCxn id="7" idx="3"/>
            <a:endCxn id="56" idx="0"/>
          </p:cNvCxnSpPr>
          <p:nvPr/>
        </p:nvCxnSpPr>
        <p:spPr>
          <a:xfrm>
            <a:off x="4616333" y="1131141"/>
            <a:ext cx="1538408" cy="3756696"/>
          </a:xfrm>
          <a:prstGeom prst="bentConnector2">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 name="Title 3"/>
          <p:cNvSpPr>
            <a:spLocks noGrp="1"/>
          </p:cNvSpPr>
          <p:nvPr>
            <p:ph type="title"/>
          </p:nvPr>
        </p:nvSpPr>
        <p:spPr/>
        <p:txBody>
          <a:bodyPr/>
          <a:lstStyle/>
          <a:p>
            <a:r>
              <a:rPr lang="en-US" dirty="0"/>
              <a:t>Country organogram and support structure</a:t>
            </a:r>
          </a:p>
        </p:txBody>
      </p:sp>
      <p:sp>
        <p:nvSpPr>
          <p:cNvPr id="7" name="Rectangle 6"/>
          <p:cNvSpPr/>
          <p:nvPr/>
        </p:nvSpPr>
        <p:spPr>
          <a:xfrm>
            <a:off x="3244733" y="902541"/>
            <a:ext cx="1371600" cy="457200"/>
          </a:xfrm>
          <a:prstGeom prst="rect">
            <a:avLst/>
          </a:prstGeom>
          <a:solidFill>
            <a:schemeClr val="accent3">
              <a:lumMod val="50000"/>
            </a:schemeClr>
          </a:solidFill>
          <a:ln>
            <a:noFill/>
          </a:ln>
          <a:effectLst/>
        </p:spPr>
        <p:txBody>
          <a:bodyPr vert="horz" wrap="square" lIns="45720" tIns="45720" rIns="45720" bIns="45720" numCol="1" anchor="ctr" anchorCtr="0" compatLnSpc="1">
            <a:prstTxWarp prst="textNoShape">
              <a:avLst/>
            </a:prstTxWarp>
            <a:noAutofit/>
          </a:bodyPr>
          <a:lstStyle/>
          <a:p>
            <a:pPr algn="ctr" defTabSz="895350">
              <a:buClr>
                <a:schemeClr val="tx2"/>
              </a:buClr>
            </a:pPr>
            <a:r>
              <a:rPr lang="en-US" sz="1000" dirty="0">
                <a:solidFill>
                  <a:schemeClr val="bg1"/>
                </a:solidFill>
                <a:latin typeface="+mn-lt"/>
                <a:ea typeface="Arial"/>
                <a:cs typeface="Arial"/>
              </a:rPr>
              <a:t>Regional Head, West Africa</a:t>
            </a:r>
          </a:p>
        </p:txBody>
      </p:sp>
      <p:sp>
        <p:nvSpPr>
          <p:cNvPr id="8" name="Rectangle 7"/>
          <p:cNvSpPr/>
          <p:nvPr/>
        </p:nvSpPr>
        <p:spPr>
          <a:xfrm>
            <a:off x="143020" y="1611455"/>
            <a:ext cx="5161513" cy="5002891"/>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0" name="Rectangle 9"/>
          <p:cNvSpPr/>
          <p:nvPr/>
        </p:nvSpPr>
        <p:spPr>
          <a:xfrm>
            <a:off x="1428587" y="1353317"/>
            <a:ext cx="1371600" cy="685800"/>
          </a:xfrm>
          <a:prstGeom prst="rect">
            <a:avLst/>
          </a:prstGeom>
          <a:solidFill>
            <a:srgbClr val="00B0F0"/>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lvl="0" algn="ctr" defTabSz="444500">
              <a:spcBef>
                <a:spcPct val="0"/>
              </a:spcBef>
            </a:pPr>
            <a:r>
              <a:rPr lang="en-US" sz="1000" kern="1200" dirty="0">
                <a:solidFill>
                  <a:schemeClr val="bg1"/>
                </a:solidFill>
              </a:rPr>
              <a:t>Country Manager</a:t>
            </a:r>
          </a:p>
        </p:txBody>
      </p:sp>
      <p:sp>
        <p:nvSpPr>
          <p:cNvPr id="15" name="Rectangle 14"/>
          <p:cNvSpPr/>
          <p:nvPr/>
        </p:nvSpPr>
        <p:spPr>
          <a:xfrm>
            <a:off x="220283" y="3331674"/>
            <a:ext cx="1371600" cy="457200"/>
          </a:xfrm>
          <a:prstGeom prst="rect">
            <a:avLst/>
          </a:prstGeom>
          <a:solidFill>
            <a:schemeClr val="accent6"/>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algn="ctr"/>
            <a:r>
              <a:rPr lang="en-US" sz="1000" dirty="0"/>
              <a:t>M &amp; E Officer</a:t>
            </a:r>
          </a:p>
        </p:txBody>
      </p:sp>
      <p:sp>
        <p:nvSpPr>
          <p:cNvPr id="16" name="Rectangle 15"/>
          <p:cNvSpPr/>
          <p:nvPr/>
        </p:nvSpPr>
        <p:spPr>
          <a:xfrm>
            <a:off x="220283" y="2760339"/>
            <a:ext cx="1371600" cy="457200"/>
          </a:xfrm>
          <a:prstGeom prst="rect">
            <a:avLst/>
          </a:prstGeom>
          <a:solidFill>
            <a:srgbClr val="00B0F0"/>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algn="ctr"/>
            <a:r>
              <a:rPr lang="en-US" sz="1000" b="1" dirty="0">
                <a:solidFill>
                  <a:schemeClr val="bg1"/>
                </a:solidFill>
              </a:rPr>
              <a:t>Grants Officer-</a:t>
            </a:r>
          </a:p>
        </p:txBody>
      </p:sp>
      <p:sp>
        <p:nvSpPr>
          <p:cNvPr id="17" name="Rectangle 16"/>
          <p:cNvSpPr/>
          <p:nvPr/>
        </p:nvSpPr>
        <p:spPr>
          <a:xfrm>
            <a:off x="220283" y="3936875"/>
            <a:ext cx="1371600" cy="457200"/>
          </a:xfrm>
          <a:prstGeom prst="rect">
            <a:avLst/>
          </a:prstGeom>
          <a:solidFill>
            <a:schemeClr val="accent6"/>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algn="ctr"/>
            <a:r>
              <a:rPr lang="en-US" sz="1000" b="1" dirty="0">
                <a:solidFill>
                  <a:schemeClr val="bg1"/>
                </a:solidFill>
              </a:rPr>
              <a:t>Finance Administrator:</a:t>
            </a:r>
          </a:p>
        </p:txBody>
      </p:sp>
      <p:sp>
        <p:nvSpPr>
          <p:cNvPr id="22" name="Rectangle 21"/>
          <p:cNvSpPr/>
          <p:nvPr/>
        </p:nvSpPr>
        <p:spPr>
          <a:xfrm>
            <a:off x="2646249" y="3282666"/>
            <a:ext cx="1371600" cy="457200"/>
          </a:xfrm>
          <a:prstGeom prst="rect">
            <a:avLst/>
          </a:prstGeom>
          <a:solidFill>
            <a:srgbClr val="00B0F0"/>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algn="ctr"/>
            <a:r>
              <a:rPr lang="en-US" sz="1000" dirty="0"/>
              <a:t>Associate Program Officer, </a:t>
            </a:r>
          </a:p>
        </p:txBody>
      </p:sp>
      <p:sp>
        <p:nvSpPr>
          <p:cNvPr id="37" name="TextBox 36"/>
          <p:cNvSpPr txBox="1">
            <a:spLocks/>
          </p:cNvSpPr>
          <p:nvPr>
            <p:custDataLst>
              <p:tags r:id="rId4"/>
            </p:custDataLst>
          </p:nvPr>
        </p:nvSpPr>
        <p:spPr>
          <a:xfrm>
            <a:off x="5397757" y="2048126"/>
            <a:ext cx="1371600" cy="457200"/>
          </a:xfrm>
          <a:prstGeom prst="rect">
            <a:avLst/>
          </a:prstGeom>
          <a:solidFill>
            <a:schemeClr val="accent3">
              <a:lumMod val="50000"/>
            </a:schemeClr>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lnSpc>
                <a:spcPct val="90000"/>
              </a:lnSpc>
              <a:buNone/>
            </a:pPr>
            <a:r>
              <a:rPr lang="en-GB" sz="1000" dirty="0">
                <a:solidFill>
                  <a:schemeClr val="bg1"/>
                </a:solidFill>
                <a:cs typeface="Times New Roman" panose="02020603050405020304" pitchFamily="18" charset="0"/>
              </a:rPr>
              <a:t>Head of Input Distribution &amp; Agro-dealer development</a:t>
            </a:r>
            <a:endParaRPr lang="en-US" sz="1000" b="1" dirty="0">
              <a:solidFill>
                <a:schemeClr val="bg1"/>
              </a:solidFill>
              <a:cs typeface="Times New Roman" panose="02020603050405020304" pitchFamily="18" charset="0"/>
            </a:endParaRPr>
          </a:p>
        </p:txBody>
      </p:sp>
      <p:sp>
        <p:nvSpPr>
          <p:cNvPr id="38" name="Rectangle 37"/>
          <p:cNvSpPr/>
          <p:nvPr/>
        </p:nvSpPr>
        <p:spPr>
          <a:xfrm>
            <a:off x="2636892" y="2760339"/>
            <a:ext cx="1371600" cy="457200"/>
          </a:xfrm>
          <a:prstGeom prst="rect">
            <a:avLst/>
          </a:prstGeom>
          <a:solidFill>
            <a:srgbClr val="00B0F0"/>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algn="ctr"/>
            <a:r>
              <a:rPr lang="en-US" sz="1000" b="1" dirty="0">
                <a:solidFill>
                  <a:schemeClr val="bg1"/>
                </a:solidFill>
              </a:rPr>
              <a:t>Associate Program Officer</a:t>
            </a:r>
          </a:p>
        </p:txBody>
      </p:sp>
      <p:sp>
        <p:nvSpPr>
          <p:cNvPr id="44" name="Down Arrow Callout 43"/>
          <p:cNvSpPr/>
          <p:nvPr/>
        </p:nvSpPr>
        <p:spPr>
          <a:xfrm>
            <a:off x="5477204" y="1016361"/>
            <a:ext cx="1371600" cy="817800"/>
          </a:xfrm>
          <a:prstGeom prst="downArrowCallout">
            <a:avLst/>
          </a:prstGeom>
          <a:solidFill>
            <a:schemeClr val="accent3">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West Africa-based Technical Support</a:t>
            </a:r>
          </a:p>
        </p:txBody>
      </p:sp>
      <p:sp>
        <p:nvSpPr>
          <p:cNvPr id="45" name="TextBox 44"/>
          <p:cNvSpPr txBox="1">
            <a:spLocks/>
          </p:cNvSpPr>
          <p:nvPr>
            <p:custDataLst>
              <p:tags r:id="rId5"/>
            </p:custDataLst>
          </p:nvPr>
        </p:nvSpPr>
        <p:spPr>
          <a:xfrm>
            <a:off x="5405199" y="2758054"/>
            <a:ext cx="1371600" cy="457200"/>
          </a:xfrm>
          <a:prstGeom prst="rect">
            <a:avLst/>
          </a:prstGeom>
          <a:solidFill>
            <a:schemeClr val="accent3">
              <a:lumMod val="50000"/>
            </a:schemeClr>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lnSpc>
                <a:spcPct val="90000"/>
              </a:lnSpc>
              <a:buNone/>
            </a:pPr>
            <a:r>
              <a:rPr lang="en-US" sz="1000" dirty="0">
                <a:solidFill>
                  <a:schemeClr val="bg1"/>
                </a:solidFill>
                <a:cs typeface="Times New Roman" panose="02020603050405020304" pitchFamily="18" charset="0"/>
              </a:rPr>
              <a:t>Program Officer, Soil Fertilizer &amp; Fertilizer Systems</a:t>
            </a:r>
            <a:r>
              <a:rPr lang="en-US" sz="1000" b="1" dirty="0">
                <a:solidFill>
                  <a:schemeClr val="bg1"/>
                </a:solidFill>
                <a:cs typeface="Times New Roman" panose="02020603050405020304" pitchFamily="18" charset="0"/>
              </a:rPr>
              <a:t>, </a:t>
            </a:r>
          </a:p>
        </p:txBody>
      </p:sp>
      <p:sp>
        <p:nvSpPr>
          <p:cNvPr id="46" name="TextBox 45"/>
          <p:cNvSpPr txBox="1">
            <a:spLocks/>
          </p:cNvSpPr>
          <p:nvPr>
            <p:custDataLst>
              <p:tags r:id="rId6"/>
            </p:custDataLst>
          </p:nvPr>
        </p:nvSpPr>
        <p:spPr>
          <a:xfrm>
            <a:off x="5411425" y="3467982"/>
            <a:ext cx="1371600" cy="457200"/>
          </a:xfrm>
          <a:prstGeom prst="rect">
            <a:avLst/>
          </a:prstGeom>
          <a:solidFill>
            <a:schemeClr val="accent3">
              <a:lumMod val="50000"/>
            </a:schemeClr>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lnSpc>
                <a:spcPct val="90000"/>
              </a:lnSpc>
              <a:buNone/>
            </a:pPr>
            <a:r>
              <a:rPr lang="en-US" sz="1000" dirty="0">
                <a:solidFill>
                  <a:schemeClr val="bg1"/>
                </a:solidFill>
                <a:cs typeface="Times New Roman" panose="02020603050405020304" pitchFamily="18" charset="0"/>
              </a:rPr>
              <a:t>Regional Program</a:t>
            </a:r>
            <a:r>
              <a:rPr lang="en-US" sz="1000" b="1" dirty="0">
                <a:solidFill>
                  <a:schemeClr val="bg1"/>
                </a:solidFill>
                <a:cs typeface="Times New Roman" panose="02020603050405020304" pitchFamily="18" charset="0"/>
              </a:rPr>
              <a:t> </a:t>
            </a:r>
            <a:r>
              <a:rPr lang="en-US" sz="1000" dirty="0">
                <a:solidFill>
                  <a:schemeClr val="bg1"/>
                </a:solidFill>
                <a:cs typeface="Times New Roman" panose="02020603050405020304" pitchFamily="18" charset="0"/>
              </a:rPr>
              <a:t>Officer, Markets</a:t>
            </a:r>
            <a:r>
              <a:rPr lang="en-US" sz="1000" b="1" dirty="0">
                <a:solidFill>
                  <a:schemeClr val="bg1"/>
                </a:solidFill>
                <a:cs typeface="Times New Roman" panose="02020603050405020304" pitchFamily="18" charset="0"/>
              </a:rPr>
              <a:t>, </a:t>
            </a:r>
          </a:p>
        </p:txBody>
      </p:sp>
      <p:cxnSp>
        <p:nvCxnSpPr>
          <p:cNvPr id="47" name="Straight Connector 46"/>
          <p:cNvCxnSpPr/>
          <p:nvPr/>
        </p:nvCxnSpPr>
        <p:spPr>
          <a:xfrm>
            <a:off x="6058468" y="1228368"/>
            <a:ext cx="1371600" cy="457200"/>
          </a:xfrm>
          <a:prstGeom prst="line">
            <a:avLst/>
          </a:prstGeom>
          <a:ln>
            <a:noFill/>
          </a:ln>
        </p:spPr>
        <p:style>
          <a:lnRef idx="1">
            <a:schemeClr val="accent1"/>
          </a:lnRef>
          <a:fillRef idx="0">
            <a:schemeClr val="accent1"/>
          </a:fillRef>
          <a:effectRef idx="0">
            <a:schemeClr val="accent1"/>
          </a:effectRef>
          <a:fontRef idx="minor">
            <a:schemeClr val="tx1"/>
          </a:fontRef>
        </p:style>
      </p:cxnSp>
      <p:sp>
        <p:nvSpPr>
          <p:cNvPr id="49" name="TextBox 48"/>
          <p:cNvSpPr txBox="1">
            <a:spLocks/>
          </p:cNvSpPr>
          <p:nvPr>
            <p:custDataLst>
              <p:tags r:id="rId7"/>
            </p:custDataLst>
          </p:nvPr>
        </p:nvSpPr>
        <p:spPr>
          <a:xfrm>
            <a:off x="5444557" y="4177910"/>
            <a:ext cx="1371600" cy="457200"/>
          </a:xfrm>
          <a:prstGeom prst="rect">
            <a:avLst/>
          </a:prstGeom>
          <a:solidFill>
            <a:schemeClr val="accent3">
              <a:lumMod val="50000"/>
            </a:schemeClr>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indent="0" defTabSz="895350">
              <a:buClr>
                <a:schemeClr val="tx2"/>
              </a:buClr>
              <a:defRPr sz="1100"/>
            </a:lvl1pPr>
            <a:lvl2pPr marL="1587" lvl="1" indent="0" defTabSz="895350">
              <a:lnSpc>
                <a:spcPct val="90000"/>
              </a:lnSpc>
              <a:buClr>
                <a:schemeClr val="tx2"/>
              </a:buClr>
              <a:buSzPct val="125000"/>
              <a:buFont typeface="Arial" charset="0"/>
              <a:buNone/>
              <a:defRPr sz="1000">
                <a:solidFill>
                  <a:schemeClr val="bg1"/>
                </a:solidFill>
                <a:latin typeface="+mj-lt"/>
                <a:cs typeface="Times New Roman" panose="02020603050405020304" pitchFamily="18" charset="0"/>
              </a:defRPr>
            </a:lvl2pPr>
            <a:lvl3pPr marL="457200" indent="-261938" defTabSz="895350">
              <a:buClr>
                <a:schemeClr val="tx2"/>
              </a:buClr>
              <a:buSzPct val="120000"/>
              <a:buFont typeface="Arial" charset="0"/>
              <a:buChar char="–"/>
            </a:lvl3pPr>
            <a:lvl4pPr marL="614363" indent="-155575" defTabSz="895350">
              <a:buClr>
                <a:schemeClr val="tx2"/>
              </a:buClr>
              <a:buSzPct val="120000"/>
              <a:buFont typeface="Arial" charset="0"/>
              <a:buChar char="▫"/>
            </a:lvl4pPr>
            <a:lvl5pPr marL="746125" indent="-130175" defTabSz="895350">
              <a:buClr>
                <a:schemeClr val="tx2"/>
              </a:buClr>
              <a:buSzPct val="89000"/>
              <a:buFont typeface="Arial" charset="0"/>
              <a:buChar char="-"/>
            </a:lvl5pPr>
            <a:lvl6pPr marL="749808" indent="-130175" defTabSz="895350" fontAlgn="base">
              <a:spcBef>
                <a:spcPct val="0"/>
              </a:spcBef>
              <a:spcAft>
                <a:spcPct val="0"/>
              </a:spcAft>
              <a:buClr>
                <a:schemeClr val="tx2"/>
              </a:buClr>
              <a:buSzPct val="89000"/>
              <a:buFont typeface="Arial" charset="0"/>
              <a:buChar char="-"/>
            </a:lvl6pPr>
            <a:lvl7pPr marL="749808" indent="-130175" defTabSz="895350" fontAlgn="base">
              <a:spcBef>
                <a:spcPct val="0"/>
              </a:spcBef>
              <a:spcAft>
                <a:spcPct val="0"/>
              </a:spcAft>
              <a:buClr>
                <a:schemeClr val="tx2"/>
              </a:buClr>
              <a:buSzPct val="89000"/>
              <a:buFont typeface="Arial" charset="0"/>
              <a:buChar char="-"/>
            </a:lvl7pPr>
            <a:lvl8pPr marL="749808" indent="-130175" defTabSz="895350" fontAlgn="base">
              <a:spcBef>
                <a:spcPct val="0"/>
              </a:spcBef>
              <a:spcAft>
                <a:spcPct val="0"/>
              </a:spcAft>
              <a:buClr>
                <a:schemeClr val="tx2"/>
              </a:buClr>
              <a:buSzPct val="89000"/>
              <a:buFont typeface="Arial" charset="0"/>
              <a:buChar char="-"/>
            </a:lvl8pPr>
            <a:lvl9pPr marL="749808" indent="-130175" defTabSz="895350" fontAlgn="base">
              <a:spcBef>
                <a:spcPct val="0"/>
              </a:spcBef>
              <a:spcAft>
                <a:spcPct val="0"/>
              </a:spcAft>
              <a:buClr>
                <a:schemeClr val="tx2"/>
              </a:buClr>
              <a:buSzPct val="89000"/>
              <a:buFont typeface="Arial" charset="0"/>
              <a:buChar char="-"/>
            </a:lvl9pPr>
          </a:lstStyle>
          <a:p>
            <a:pPr lvl="1" algn="ctr"/>
            <a:r>
              <a:rPr lang="en-US" dirty="0">
                <a:latin typeface="+mn-lt"/>
              </a:rPr>
              <a:t>Program Officer, Regional Food Trade</a:t>
            </a:r>
          </a:p>
        </p:txBody>
      </p:sp>
      <p:sp>
        <p:nvSpPr>
          <p:cNvPr id="56" name="TextBox 55"/>
          <p:cNvSpPr txBox="1">
            <a:spLocks/>
          </p:cNvSpPr>
          <p:nvPr>
            <p:custDataLst>
              <p:tags r:id="rId8"/>
            </p:custDataLst>
          </p:nvPr>
        </p:nvSpPr>
        <p:spPr>
          <a:xfrm>
            <a:off x="5468941" y="4887837"/>
            <a:ext cx="1371600" cy="457200"/>
          </a:xfrm>
          <a:prstGeom prst="rect">
            <a:avLst/>
          </a:prstGeom>
          <a:solidFill>
            <a:schemeClr val="accent3">
              <a:lumMod val="50000"/>
            </a:schemeClr>
          </a:solidFill>
          <a:ln>
            <a:noFill/>
          </a:ln>
          <a:effectLst/>
        </p:spPr>
        <p:txBody>
          <a:bodyPr vert="horz" wrap="square" lIns="45720" tIns="45720" rIns="45720" bIns="45720" numCol="1" anchor="ctr" anchorCtr="0" compatLnSpc="1">
            <a:prstTxWarp prst="textNoShape">
              <a:avLst/>
            </a:prstTxWarp>
            <a:noAutofit/>
          </a:bodyPr>
          <a:lstStyle>
            <a:defPPr marR="0" lvl="0" algn="l" rtl="0">
              <a:lnSpc>
                <a:spcPct val="100000"/>
              </a:lnSpc>
              <a:spcBef>
                <a:spcPts val="0"/>
              </a:spcBef>
              <a:spcAft>
                <a:spcPts val="0"/>
              </a:spcAft>
            </a:defPPr>
            <a:lvl1pPr indent="0" defTabSz="895350">
              <a:buClr>
                <a:schemeClr val="tx2"/>
              </a:buClr>
              <a:defRPr sz="1100"/>
            </a:lvl1pPr>
            <a:lvl2pPr marL="1587" indent="0" algn="ctr" defTabSz="895350">
              <a:lnSpc>
                <a:spcPct val="90000"/>
              </a:lnSpc>
              <a:buClr>
                <a:schemeClr val="tx2"/>
              </a:buClr>
              <a:buSzPct val="125000"/>
              <a:buFont typeface="Arial" charset="0"/>
              <a:buNone/>
              <a:defRPr sz="1000">
                <a:solidFill>
                  <a:schemeClr val="bg1"/>
                </a:solidFill>
                <a:latin typeface="+mn-lt"/>
                <a:cs typeface="Times New Roman" panose="02020603050405020304" pitchFamily="18" charset="0"/>
              </a:defRPr>
            </a:lvl2pPr>
            <a:lvl3pPr marL="457200" indent="-261938" defTabSz="895350">
              <a:buClr>
                <a:schemeClr val="tx2"/>
              </a:buClr>
              <a:buSzPct val="120000"/>
              <a:buFont typeface="Arial" charset="0"/>
              <a:buChar char="–"/>
            </a:lvl3pPr>
            <a:lvl4pPr marL="614363" indent="-155575" defTabSz="895350">
              <a:buClr>
                <a:schemeClr val="tx2"/>
              </a:buClr>
              <a:buSzPct val="120000"/>
              <a:buFont typeface="Arial" charset="0"/>
              <a:buChar char="▫"/>
            </a:lvl4pPr>
            <a:lvl5pPr marL="746125" indent="-130175" defTabSz="895350">
              <a:buClr>
                <a:schemeClr val="tx2"/>
              </a:buClr>
              <a:buSzPct val="89000"/>
              <a:buFont typeface="Arial" charset="0"/>
              <a:buChar char="-"/>
            </a:lvl5pPr>
            <a:lvl6pPr marL="749808" indent="-130175" defTabSz="895350" fontAlgn="base">
              <a:spcBef>
                <a:spcPct val="0"/>
              </a:spcBef>
              <a:spcAft>
                <a:spcPct val="0"/>
              </a:spcAft>
              <a:buClr>
                <a:schemeClr val="tx2"/>
              </a:buClr>
              <a:buSzPct val="89000"/>
              <a:buFont typeface="Arial" charset="0"/>
              <a:buChar char="-"/>
            </a:lvl6pPr>
            <a:lvl7pPr marL="749808" indent="-130175" defTabSz="895350" fontAlgn="base">
              <a:spcBef>
                <a:spcPct val="0"/>
              </a:spcBef>
              <a:spcAft>
                <a:spcPct val="0"/>
              </a:spcAft>
              <a:buClr>
                <a:schemeClr val="tx2"/>
              </a:buClr>
              <a:buSzPct val="89000"/>
              <a:buFont typeface="Arial" charset="0"/>
              <a:buChar char="-"/>
            </a:lvl7pPr>
            <a:lvl8pPr marL="749808" indent="-130175" defTabSz="895350" fontAlgn="base">
              <a:spcBef>
                <a:spcPct val="0"/>
              </a:spcBef>
              <a:spcAft>
                <a:spcPct val="0"/>
              </a:spcAft>
              <a:buClr>
                <a:schemeClr val="tx2"/>
              </a:buClr>
              <a:buSzPct val="89000"/>
              <a:buFont typeface="Arial" charset="0"/>
              <a:buChar char="-"/>
            </a:lvl8pPr>
            <a:lvl9pPr marL="749808" indent="-130175" defTabSz="895350" fontAlgn="base">
              <a:spcBef>
                <a:spcPct val="0"/>
              </a:spcBef>
              <a:spcAft>
                <a:spcPct val="0"/>
              </a:spcAft>
              <a:buClr>
                <a:schemeClr val="tx2"/>
              </a:buClr>
              <a:buSzPct val="89000"/>
              <a:buFont typeface="Arial" charset="0"/>
              <a:buChar char="-"/>
            </a:lvl9pPr>
          </a:lstStyle>
          <a:p>
            <a:pPr lvl="1"/>
            <a:r>
              <a:rPr lang="en-US" dirty="0"/>
              <a:t>Program Officer, Partnerships</a:t>
            </a:r>
          </a:p>
        </p:txBody>
      </p:sp>
      <p:sp>
        <p:nvSpPr>
          <p:cNvPr id="57" name="TextBox 56"/>
          <p:cNvSpPr txBox="1">
            <a:spLocks/>
          </p:cNvSpPr>
          <p:nvPr>
            <p:custDataLst>
              <p:tags r:id="rId9"/>
            </p:custDataLst>
          </p:nvPr>
        </p:nvSpPr>
        <p:spPr>
          <a:xfrm>
            <a:off x="7019699" y="2024585"/>
            <a:ext cx="1371600" cy="320040"/>
          </a:xfrm>
          <a:prstGeom prst="rect">
            <a:avLst/>
          </a:prstGeom>
          <a:solidFill>
            <a:srgbClr val="FFC000"/>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587" lvl="1" indent="0" defTabSz="895350" eaLnBrk="1" hangingPunct="1">
              <a:buClr>
                <a:schemeClr val="tx2"/>
              </a:buClr>
              <a:buSzPct val="125000"/>
              <a:buFont typeface="Arial" charset="0"/>
              <a:buNone/>
              <a:defRPr sz="850">
                <a:latin typeface="Times New Roman" panose="02020603050405020304" pitchFamily="18" charset="0"/>
                <a:cs typeface="Times New Roman" panose="02020603050405020304" pitchFamily="18" charset="0"/>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1" algn="ctr"/>
            <a:r>
              <a:rPr lang="en-GB" sz="900" dirty="0">
                <a:latin typeface="+mn-lt"/>
              </a:rPr>
              <a:t>PIATA Chief of Party </a:t>
            </a:r>
          </a:p>
        </p:txBody>
      </p:sp>
      <p:sp>
        <p:nvSpPr>
          <p:cNvPr id="58" name="TextBox 57"/>
          <p:cNvSpPr txBox="1">
            <a:spLocks/>
          </p:cNvSpPr>
          <p:nvPr>
            <p:custDataLst>
              <p:tags r:id="rId10"/>
            </p:custDataLst>
          </p:nvPr>
        </p:nvSpPr>
        <p:spPr>
          <a:xfrm>
            <a:off x="7019699" y="3477461"/>
            <a:ext cx="1371600" cy="320040"/>
          </a:xfrm>
          <a:prstGeom prst="rect">
            <a:avLst/>
          </a:prstGeom>
          <a:solidFill>
            <a:srgbClr val="FFC000"/>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lnSpc>
                <a:spcPct val="90000"/>
              </a:lnSpc>
              <a:buNone/>
            </a:pPr>
            <a:r>
              <a:rPr lang="en-GB" sz="900" dirty="0">
                <a:cs typeface="Times New Roman" panose="02020603050405020304" pitchFamily="18" charset="0"/>
              </a:rPr>
              <a:t>Head of Seed Research &amp; Systems Development</a:t>
            </a:r>
            <a:endParaRPr lang="en-ZA" sz="900" b="1" dirty="0">
              <a:solidFill>
                <a:srgbClr val="FF0000"/>
              </a:solidFill>
              <a:cs typeface="Times New Roman" panose="02020603050405020304" pitchFamily="18" charset="0"/>
            </a:endParaRPr>
          </a:p>
        </p:txBody>
      </p:sp>
      <p:sp>
        <p:nvSpPr>
          <p:cNvPr id="59" name="TextBox 58"/>
          <p:cNvSpPr txBox="1">
            <a:spLocks/>
          </p:cNvSpPr>
          <p:nvPr>
            <p:custDataLst>
              <p:tags r:id="rId11"/>
            </p:custDataLst>
          </p:nvPr>
        </p:nvSpPr>
        <p:spPr>
          <a:xfrm>
            <a:off x="7019699" y="3114242"/>
            <a:ext cx="1371600" cy="320040"/>
          </a:xfrm>
          <a:prstGeom prst="rect">
            <a:avLst/>
          </a:prstGeom>
          <a:solidFill>
            <a:srgbClr val="FFC000"/>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buNone/>
            </a:pPr>
            <a:r>
              <a:rPr lang="en-US" sz="900" dirty="0">
                <a:cs typeface="Times New Roman" panose="02020603050405020304" pitchFamily="18" charset="0"/>
              </a:rPr>
              <a:t>Head of Policy and Advocacy</a:t>
            </a:r>
          </a:p>
        </p:txBody>
      </p:sp>
      <p:sp>
        <p:nvSpPr>
          <p:cNvPr id="60" name="TextBox 59"/>
          <p:cNvSpPr txBox="1">
            <a:spLocks/>
          </p:cNvSpPr>
          <p:nvPr>
            <p:custDataLst>
              <p:tags r:id="rId12"/>
            </p:custDataLst>
          </p:nvPr>
        </p:nvSpPr>
        <p:spPr>
          <a:xfrm>
            <a:off x="7019699" y="3840680"/>
            <a:ext cx="1371600" cy="320040"/>
          </a:xfrm>
          <a:prstGeom prst="rect">
            <a:avLst/>
          </a:prstGeom>
          <a:solidFill>
            <a:srgbClr val="FFC000"/>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buNone/>
            </a:pPr>
            <a:r>
              <a:rPr lang="en-GB" sz="900" dirty="0">
                <a:cs typeface="Times New Roman" panose="02020603050405020304" pitchFamily="18" charset="0"/>
              </a:rPr>
              <a:t>Head of Inclusive Finance </a:t>
            </a:r>
          </a:p>
        </p:txBody>
      </p:sp>
      <p:sp>
        <p:nvSpPr>
          <p:cNvPr id="61" name="TextBox 60"/>
          <p:cNvSpPr txBox="1">
            <a:spLocks/>
          </p:cNvSpPr>
          <p:nvPr>
            <p:custDataLst>
              <p:tags r:id="rId13"/>
            </p:custDataLst>
          </p:nvPr>
        </p:nvSpPr>
        <p:spPr>
          <a:xfrm>
            <a:off x="7019699" y="4930337"/>
            <a:ext cx="1371600" cy="320040"/>
          </a:xfrm>
          <a:prstGeom prst="rect">
            <a:avLst/>
          </a:prstGeom>
          <a:solidFill>
            <a:srgbClr val="FFC000"/>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buNone/>
            </a:pPr>
            <a:endParaRPr lang="en-US" sz="900" dirty="0">
              <a:cs typeface="Times New Roman" panose="02020603050405020304" pitchFamily="18" charset="0"/>
            </a:endParaRPr>
          </a:p>
          <a:p>
            <a:pPr marL="1587" lvl="1" indent="0" algn="ctr">
              <a:buNone/>
            </a:pPr>
            <a:r>
              <a:rPr lang="en-US" sz="900" dirty="0">
                <a:cs typeface="Times New Roman" panose="02020603050405020304" pitchFamily="18" charset="0"/>
              </a:rPr>
              <a:t>Head of Gender</a:t>
            </a:r>
          </a:p>
          <a:p>
            <a:pPr marL="1587" lvl="1" indent="0" algn="ctr">
              <a:buNone/>
            </a:pPr>
            <a:endParaRPr lang="en-US" sz="900" dirty="0">
              <a:cs typeface="Times New Roman" panose="02020603050405020304" pitchFamily="18" charset="0"/>
            </a:endParaRPr>
          </a:p>
        </p:txBody>
      </p:sp>
      <p:sp>
        <p:nvSpPr>
          <p:cNvPr id="62" name="TextBox 61"/>
          <p:cNvSpPr txBox="1">
            <a:spLocks/>
          </p:cNvSpPr>
          <p:nvPr>
            <p:custDataLst>
              <p:tags r:id="rId14"/>
            </p:custDataLst>
          </p:nvPr>
        </p:nvSpPr>
        <p:spPr>
          <a:xfrm>
            <a:off x="7019699" y="2751023"/>
            <a:ext cx="1371600" cy="320040"/>
          </a:xfrm>
          <a:prstGeom prst="rect">
            <a:avLst/>
          </a:prstGeom>
          <a:solidFill>
            <a:srgbClr val="FFC000"/>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587" lvl="1" indent="0" defTabSz="895350" eaLnBrk="1" hangingPunct="1">
              <a:buClr>
                <a:schemeClr val="tx2"/>
              </a:buClr>
              <a:buSzPct val="125000"/>
              <a:buFont typeface="Arial" charset="0"/>
              <a:buNone/>
              <a:defRPr sz="850">
                <a:latin typeface="Times New Roman" panose="02020603050405020304" pitchFamily="18" charset="0"/>
                <a:cs typeface="Times New Roman" panose="02020603050405020304" pitchFamily="18" charset="0"/>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1" algn="ctr"/>
            <a:r>
              <a:rPr lang="en-GB" sz="900" dirty="0">
                <a:latin typeface="+mn-lt"/>
              </a:rPr>
              <a:t>Head of Country Support</a:t>
            </a:r>
          </a:p>
        </p:txBody>
      </p:sp>
      <p:sp>
        <p:nvSpPr>
          <p:cNvPr id="63" name="TextBox 62"/>
          <p:cNvSpPr txBox="1">
            <a:spLocks/>
          </p:cNvSpPr>
          <p:nvPr>
            <p:custDataLst>
              <p:tags r:id="rId15"/>
            </p:custDataLst>
          </p:nvPr>
        </p:nvSpPr>
        <p:spPr>
          <a:xfrm>
            <a:off x="8454041" y="2030512"/>
            <a:ext cx="1371600" cy="372840"/>
          </a:xfrm>
          <a:prstGeom prst="rect">
            <a:avLst/>
          </a:prstGeom>
          <a:solidFill>
            <a:srgbClr val="FFC000"/>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buNone/>
            </a:pPr>
            <a:r>
              <a:rPr lang="en-US" sz="1000" dirty="0">
                <a:cs typeface="Times New Roman" panose="02020603050405020304" pitchFamily="18" charset="0"/>
              </a:rPr>
              <a:t>Head of Grants Management</a:t>
            </a:r>
          </a:p>
        </p:txBody>
      </p:sp>
      <p:sp>
        <p:nvSpPr>
          <p:cNvPr id="64" name="TextBox 63"/>
          <p:cNvSpPr txBox="1">
            <a:spLocks/>
          </p:cNvSpPr>
          <p:nvPr>
            <p:custDataLst>
              <p:tags r:id="rId16"/>
            </p:custDataLst>
          </p:nvPr>
        </p:nvSpPr>
        <p:spPr>
          <a:xfrm>
            <a:off x="7019699" y="4203899"/>
            <a:ext cx="1371600" cy="320040"/>
          </a:xfrm>
          <a:prstGeom prst="rect">
            <a:avLst/>
          </a:prstGeom>
          <a:solidFill>
            <a:srgbClr val="FFC000"/>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lnSpc>
                <a:spcPct val="90000"/>
              </a:lnSpc>
              <a:buNone/>
            </a:pPr>
            <a:r>
              <a:rPr lang="en-GB" sz="900" dirty="0">
                <a:cs typeface="Times New Roman" panose="02020603050405020304" pitchFamily="18" charset="0"/>
              </a:rPr>
              <a:t>Head of Soil Fertility &amp; Fertilizer Systems </a:t>
            </a:r>
          </a:p>
        </p:txBody>
      </p:sp>
      <p:sp>
        <p:nvSpPr>
          <p:cNvPr id="65" name="TextBox 64"/>
          <p:cNvSpPr txBox="1">
            <a:spLocks/>
          </p:cNvSpPr>
          <p:nvPr>
            <p:custDataLst>
              <p:tags r:id="rId17"/>
            </p:custDataLst>
          </p:nvPr>
        </p:nvSpPr>
        <p:spPr>
          <a:xfrm>
            <a:off x="7019699" y="4567118"/>
            <a:ext cx="1371600" cy="320040"/>
          </a:xfrm>
          <a:prstGeom prst="rect">
            <a:avLst/>
          </a:prstGeom>
          <a:solidFill>
            <a:srgbClr val="FFC000"/>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lnSpc>
                <a:spcPct val="90000"/>
              </a:lnSpc>
              <a:buNone/>
            </a:pPr>
            <a:r>
              <a:rPr lang="en-GB" sz="900" dirty="0">
                <a:cs typeface="Times New Roman" panose="02020603050405020304" pitchFamily="18" charset="0"/>
              </a:rPr>
              <a:t>Head of Extension &amp; Capacity Building</a:t>
            </a:r>
          </a:p>
        </p:txBody>
      </p:sp>
      <p:sp>
        <p:nvSpPr>
          <p:cNvPr id="66" name="TextBox 65"/>
          <p:cNvSpPr txBox="1">
            <a:spLocks/>
          </p:cNvSpPr>
          <p:nvPr>
            <p:custDataLst>
              <p:tags r:id="rId18"/>
            </p:custDataLst>
          </p:nvPr>
        </p:nvSpPr>
        <p:spPr>
          <a:xfrm>
            <a:off x="7019699" y="6383208"/>
            <a:ext cx="1371600" cy="320040"/>
          </a:xfrm>
          <a:prstGeom prst="rect">
            <a:avLst/>
          </a:prstGeom>
          <a:solidFill>
            <a:srgbClr val="FFC000"/>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buNone/>
            </a:pPr>
            <a:r>
              <a:rPr lang="en-US" sz="900" dirty="0">
                <a:cs typeface="Times New Roman" panose="02020603050405020304" pitchFamily="18" charset="0"/>
              </a:rPr>
              <a:t>Compliance Officer</a:t>
            </a:r>
          </a:p>
        </p:txBody>
      </p:sp>
      <p:sp>
        <p:nvSpPr>
          <p:cNvPr id="67" name="TextBox 66"/>
          <p:cNvSpPr txBox="1">
            <a:spLocks/>
          </p:cNvSpPr>
          <p:nvPr>
            <p:custDataLst>
              <p:tags r:id="rId19"/>
            </p:custDataLst>
          </p:nvPr>
        </p:nvSpPr>
        <p:spPr>
          <a:xfrm>
            <a:off x="8442705" y="2827420"/>
            <a:ext cx="1371600" cy="372840"/>
          </a:xfrm>
          <a:prstGeom prst="rect">
            <a:avLst/>
          </a:prstGeom>
          <a:solidFill>
            <a:srgbClr val="FFC000"/>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buNone/>
            </a:pPr>
            <a:r>
              <a:rPr lang="en-US" sz="1000" dirty="0">
                <a:cs typeface="Times New Roman" panose="02020603050405020304" pitchFamily="18" charset="0"/>
              </a:rPr>
              <a:t>Head of Procurement</a:t>
            </a:r>
          </a:p>
        </p:txBody>
      </p:sp>
      <p:sp>
        <p:nvSpPr>
          <p:cNvPr id="68" name="TextBox 67"/>
          <p:cNvSpPr txBox="1">
            <a:spLocks/>
          </p:cNvSpPr>
          <p:nvPr>
            <p:custDataLst>
              <p:tags r:id="rId20"/>
            </p:custDataLst>
          </p:nvPr>
        </p:nvSpPr>
        <p:spPr>
          <a:xfrm>
            <a:off x="7019699" y="5656775"/>
            <a:ext cx="1371600" cy="320040"/>
          </a:xfrm>
          <a:prstGeom prst="rect">
            <a:avLst/>
          </a:prstGeom>
          <a:solidFill>
            <a:srgbClr val="FFC000"/>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buNone/>
            </a:pPr>
            <a:r>
              <a:rPr lang="en-US" sz="900" dirty="0">
                <a:cs typeface="Times New Roman" panose="02020603050405020304" pitchFamily="18" charset="0"/>
              </a:rPr>
              <a:t>Head of M&amp;E and Knowledge Management </a:t>
            </a:r>
            <a:endParaRPr lang="en-US" sz="900" b="1" dirty="0">
              <a:solidFill>
                <a:srgbClr val="FF0000"/>
              </a:solidFill>
              <a:cs typeface="Times New Roman" panose="02020603050405020304" pitchFamily="18" charset="0"/>
            </a:endParaRPr>
          </a:p>
        </p:txBody>
      </p:sp>
      <p:sp>
        <p:nvSpPr>
          <p:cNvPr id="69" name="TextBox 68"/>
          <p:cNvSpPr txBox="1">
            <a:spLocks/>
          </p:cNvSpPr>
          <p:nvPr>
            <p:custDataLst>
              <p:tags r:id="rId21"/>
            </p:custDataLst>
          </p:nvPr>
        </p:nvSpPr>
        <p:spPr>
          <a:xfrm>
            <a:off x="8454041" y="3225874"/>
            <a:ext cx="1371600" cy="372840"/>
          </a:xfrm>
          <a:prstGeom prst="rect">
            <a:avLst/>
          </a:prstGeom>
          <a:solidFill>
            <a:srgbClr val="FFC000"/>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587" lvl="1" indent="0" defTabSz="895350" eaLnBrk="1" hangingPunct="1">
              <a:lnSpc>
                <a:spcPct val="89000"/>
              </a:lnSpc>
              <a:buClr>
                <a:schemeClr val="tx2"/>
              </a:buClr>
              <a:buSzPct val="125000"/>
              <a:buFont typeface="Arial" charset="0"/>
              <a:buNone/>
              <a:defRPr sz="800">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1" algn="ctr">
              <a:lnSpc>
                <a:spcPct val="100000"/>
              </a:lnSpc>
            </a:pPr>
            <a:r>
              <a:rPr lang="en-US" sz="1000" dirty="0">
                <a:cs typeface="Times New Roman" panose="02020603050405020304" pitchFamily="18" charset="0"/>
              </a:rPr>
              <a:t>Head of Communications</a:t>
            </a:r>
          </a:p>
        </p:txBody>
      </p:sp>
      <p:sp>
        <p:nvSpPr>
          <p:cNvPr id="70" name="TextBox 69"/>
          <p:cNvSpPr txBox="1">
            <a:spLocks/>
          </p:cNvSpPr>
          <p:nvPr>
            <p:custDataLst>
              <p:tags r:id="rId22"/>
            </p:custDataLst>
          </p:nvPr>
        </p:nvSpPr>
        <p:spPr>
          <a:xfrm>
            <a:off x="8454041" y="2428966"/>
            <a:ext cx="1371600" cy="372840"/>
          </a:xfrm>
          <a:prstGeom prst="rect">
            <a:avLst/>
          </a:prstGeom>
          <a:solidFill>
            <a:srgbClr val="FFC000"/>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buNone/>
            </a:pPr>
            <a:r>
              <a:rPr lang="en-US" sz="1000" dirty="0">
                <a:cs typeface="Times New Roman" panose="02020603050405020304" pitchFamily="18" charset="0"/>
              </a:rPr>
              <a:t>Chief Finance Officer</a:t>
            </a:r>
          </a:p>
        </p:txBody>
      </p:sp>
      <p:sp>
        <p:nvSpPr>
          <p:cNvPr id="71" name="TextBox 70"/>
          <p:cNvSpPr txBox="1">
            <a:spLocks/>
          </p:cNvSpPr>
          <p:nvPr>
            <p:custDataLst>
              <p:tags r:id="rId23"/>
            </p:custDataLst>
          </p:nvPr>
        </p:nvSpPr>
        <p:spPr>
          <a:xfrm>
            <a:off x="7203474" y="2387804"/>
            <a:ext cx="1187825" cy="320040"/>
          </a:xfrm>
          <a:prstGeom prst="rect">
            <a:avLst/>
          </a:prstGeom>
          <a:solidFill>
            <a:srgbClr val="FFC000"/>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587" lvl="1" indent="0" defTabSz="895350" eaLnBrk="1" hangingPunct="1">
              <a:buClr>
                <a:schemeClr val="tx2"/>
              </a:buClr>
              <a:buSzPct val="125000"/>
              <a:buFont typeface="Arial" charset="0"/>
              <a:buNone/>
              <a:defRPr sz="850">
                <a:latin typeface="Times New Roman" panose="02020603050405020304" pitchFamily="18" charset="0"/>
                <a:cs typeface="Times New Roman" panose="02020603050405020304" pitchFamily="18" charset="0"/>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1" algn="ctr"/>
            <a:r>
              <a:rPr lang="en-GB" sz="900" dirty="0">
                <a:latin typeface="+mn-lt"/>
              </a:rPr>
              <a:t>PIATA Deputy Chief of Party</a:t>
            </a:r>
            <a:endParaRPr lang="en-US" sz="900" b="1" dirty="0">
              <a:latin typeface="+mn-lt"/>
            </a:endParaRPr>
          </a:p>
        </p:txBody>
      </p:sp>
      <p:cxnSp>
        <p:nvCxnSpPr>
          <p:cNvPr id="72" name="Straight Connector 71"/>
          <p:cNvCxnSpPr/>
          <p:nvPr/>
        </p:nvCxnSpPr>
        <p:spPr>
          <a:xfrm>
            <a:off x="7633397" y="1955771"/>
            <a:ext cx="1371600" cy="365760"/>
          </a:xfrm>
          <a:prstGeom prst="line">
            <a:avLst/>
          </a:prstGeom>
          <a:ln>
            <a:noFill/>
          </a:ln>
        </p:spPr>
        <p:style>
          <a:lnRef idx="1">
            <a:schemeClr val="accent1"/>
          </a:lnRef>
          <a:fillRef idx="0">
            <a:schemeClr val="accent1"/>
          </a:fillRef>
          <a:effectRef idx="0">
            <a:schemeClr val="accent1"/>
          </a:effectRef>
          <a:fontRef idx="minor">
            <a:schemeClr val="tx1"/>
          </a:fontRef>
        </p:style>
      </p:cxnSp>
      <p:sp>
        <p:nvSpPr>
          <p:cNvPr id="73" name="Down Arrow Callout 72"/>
          <p:cNvSpPr/>
          <p:nvPr/>
        </p:nvSpPr>
        <p:spPr>
          <a:xfrm>
            <a:off x="6930102" y="996073"/>
            <a:ext cx="1371600" cy="860405"/>
          </a:xfrm>
          <a:prstGeom prst="downArrowCallou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HQ- based Technical Support</a:t>
            </a:r>
          </a:p>
        </p:txBody>
      </p:sp>
      <p:sp>
        <p:nvSpPr>
          <p:cNvPr id="74" name="Down Arrow Callout 73"/>
          <p:cNvSpPr/>
          <p:nvPr/>
        </p:nvSpPr>
        <p:spPr>
          <a:xfrm>
            <a:off x="8454041" y="996073"/>
            <a:ext cx="1371600" cy="838088"/>
          </a:xfrm>
          <a:prstGeom prst="downArrowCallou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HQ Administrative</a:t>
            </a:r>
          </a:p>
        </p:txBody>
      </p:sp>
      <p:sp>
        <p:nvSpPr>
          <p:cNvPr id="75" name="TextBox 74"/>
          <p:cNvSpPr txBox="1">
            <a:spLocks/>
          </p:cNvSpPr>
          <p:nvPr>
            <p:custDataLst>
              <p:tags r:id="rId24"/>
            </p:custDataLst>
          </p:nvPr>
        </p:nvSpPr>
        <p:spPr>
          <a:xfrm>
            <a:off x="8511864" y="4896607"/>
            <a:ext cx="1179576" cy="205971"/>
          </a:xfrm>
          <a:prstGeom prst="rect">
            <a:avLst/>
          </a:prstGeom>
          <a:solidFill>
            <a:schemeClr val="accent3">
              <a:lumMod val="60000"/>
              <a:lumOff val="40000"/>
            </a:schemeClr>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buNone/>
            </a:pPr>
            <a:r>
              <a:rPr lang="en-US" sz="1000" b="1" dirty="0">
                <a:cs typeface="Times New Roman" panose="02020603050405020304" pitchFamily="18" charset="0"/>
              </a:rPr>
              <a:t>Key</a:t>
            </a:r>
          </a:p>
        </p:txBody>
      </p:sp>
      <p:sp>
        <p:nvSpPr>
          <p:cNvPr id="76" name="TextBox 75"/>
          <p:cNvSpPr txBox="1">
            <a:spLocks/>
          </p:cNvSpPr>
          <p:nvPr>
            <p:custDataLst>
              <p:tags r:id="rId25"/>
            </p:custDataLst>
          </p:nvPr>
        </p:nvSpPr>
        <p:spPr>
          <a:xfrm>
            <a:off x="8511865" y="5694593"/>
            <a:ext cx="1179576" cy="265940"/>
          </a:xfrm>
          <a:prstGeom prst="rect">
            <a:avLst/>
          </a:prstGeom>
          <a:solidFill>
            <a:srgbClr val="FFC000"/>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buNone/>
            </a:pPr>
            <a:r>
              <a:rPr lang="en-US" sz="900" dirty="0">
                <a:cs typeface="Times New Roman" panose="02020603050405020304" pitchFamily="18" charset="0"/>
              </a:rPr>
              <a:t>Based in Nairobi</a:t>
            </a:r>
            <a:endParaRPr lang="en-US" sz="900" b="1" dirty="0">
              <a:cs typeface="Times New Roman" panose="02020603050405020304" pitchFamily="18" charset="0"/>
            </a:endParaRPr>
          </a:p>
        </p:txBody>
      </p:sp>
      <p:sp>
        <p:nvSpPr>
          <p:cNvPr id="77" name="TextBox 76"/>
          <p:cNvSpPr txBox="1">
            <a:spLocks/>
          </p:cNvSpPr>
          <p:nvPr>
            <p:custDataLst>
              <p:tags r:id="rId26"/>
            </p:custDataLst>
          </p:nvPr>
        </p:nvSpPr>
        <p:spPr>
          <a:xfrm>
            <a:off x="8511865" y="5261733"/>
            <a:ext cx="1179576" cy="365760"/>
          </a:xfrm>
          <a:prstGeom prst="rect">
            <a:avLst/>
          </a:prstGeom>
          <a:solidFill>
            <a:schemeClr val="accent3">
              <a:lumMod val="50000"/>
            </a:schemeClr>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buNone/>
            </a:pPr>
            <a:r>
              <a:rPr lang="en-US" sz="900" dirty="0">
                <a:solidFill>
                  <a:schemeClr val="bg1"/>
                </a:solidFill>
                <a:cs typeface="Times New Roman" panose="02020603050405020304" pitchFamily="18" charset="0"/>
              </a:rPr>
              <a:t>Based in country and Hired</a:t>
            </a:r>
            <a:endParaRPr lang="en-US" sz="900" b="1" dirty="0">
              <a:solidFill>
                <a:schemeClr val="bg1"/>
              </a:solidFill>
              <a:cs typeface="Times New Roman" panose="02020603050405020304" pitchFamily="18" charset="0"/>
            </a:endParaRPr>
          </a:p>
        </p:txBody>
      </p:sp>
      <p:sp>
        <p:nvSpPr>
          <p:cNvPr id="78" name="TextBox 77"/>
          <p:cNvSpPr txBox="1">
            <a:spLocks/>
          </p:cNvSpPr>
          <p:nvPr>
            <p:custDataLst>
              <p:tags r:id="rId27"/>
            </p:custDataLst>
          </p:nvPr>
        </p:nvSpPr>
        <p:spPr>
          <a:xfrm>
            <a:off x="8511865" y="6014565"/>
            <a:ext cx="1179576" cy="284635"/>
          </a:xfrm>
          <a:prstGeom prst="rect">
            <a:avLst/>
          </a:prstGeom>
          <a:solidFill>
            <a:srgbClr val="00B0F0"/>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buNone/>
            </a:pPr>
            <a:r>
              <a:rPr lang="en-US" sz="900" dirty="0">
                <a:solidFill>
                  <a:schemeClr val="bg1"/>
                </a:solidFill>
                <a:cs typeface="Times New Roman" panose="02020603050405020304" pitchFamily="18" charset="0"/>
              </a:rPr>
              <a:t>Based in country</a:t>
            </a:r>
            <a:endParaRPr lang="en-US" sz="900" b="1" dirty="0">
              <a:solidFill>
                <a:schemeClr val="bg1"/>
              </a:solidFill>
              <a:cs typeface="Times New Roman" panose="02020603050405020304" pitchFamily="18" charset="0"/>
            </a:endParaRPr>
          </a:p>
        </p:txBody>
      </p:sp>
      <p:sp>
        <p:nvSpPr>
          <p:cNvPr id="79" name="TextBox 78"/>
          <p:cNvSpPr txBox="1">
            <a:spLocks/>
          </p:cNvSpPr>
          <p:nvPr>
            <p:custDataLst>
              <p:tags r:id="rId28"/>
            </p:custDataLst>
          </p:nvPr>
        </p:nvSpPr>
        <p:spPr>
          <a:xfrm>
            <a:off x="7019699" y="6019994"/>
            <a:ext cx="1371600" cy="320040"/>
          </a:xfrm>
          <a:prstGeom prst="rect">
            <a:avLst/>
          </a:prstGeom>
          <a:solidFill>
            <a:srgbClr val="FFC000"/>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buNone/>
            </a:pPr>
            <a:r>
              <a:rPr lang="en-US" sz="900" dirty="0">
                <a:cs typeface="Times New Roman" panose="02020603050405020304" pitchFamily="18" charset="0"/>
              </a:rPr>
              <a:t>Head of Strategy and Analytics</a:t>
            </a:r>
            <a:endParaRPr lang="en-US" sz="900" b="1" dirty="0">
              <a:solidFill>
                <a:srgbClr val="FF0000"/>
              </a:solidFill>
              <a:cs typeface="Times New Roman" panose="02020603050405020304" pitchFamily="18" charset="0"/>
            </a:endParaRPr>
          </a:p>
        </p:txBody>
      </p:sp>
      <p:cxnSp>
        <p:nvCxnSpPr>
          <p:cNvPr id="90" name="Straight Connector 89"/>
          <p:cNvCxnSpPr>
            <a:stCxn id="16" idx="3"/>
            <a:endCxn id="38" idx="1"/>
          </p:cNvCxnSpPr>
          <p:nvPr/>
        </p:nvCxnSpPr>
        <p:spPr>
          <a:xfrm>
            <a:off x="1591883" y="2988939"/>
            <a:ext cx="1045009"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a:stCxn id="15" idx="3"/>
          </p:cNvCxnSpPr>
          <p:nvPr/>
        </p:nvCxnSpPr>
        <p:spPr>
          <a:xfrm flipV="1">
            <a:off x="1591883" y="3556001"/>
            <a:ext cx="1038428" cy="4273"/>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0" name="Elbow Connector 119"/>
          <p:cNvCxnSpPr>
            <a:stCxn id="71" idx="1"/>
            <a:endCxn id="57" idx="1"/>
          </p:cNvCxnSpPr>
          <p:nvPr/>
        </p:nvCxnSpPr>
        <p:spPr>
          <a:xfrm rot="10800000">
            <a:off x="7019700" y="2184606"/>
            <a:ext cx="183775" cy="363219"/>
          </a:xfrm>
          <a:prstGeom prst="bentConnector3">
            <a:avLst>
              <a:gd name="adj1" fmla="val 224391"/>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1" name="TextBox 120"/>
          <p:cNvSpPr txBox="1">
            <a:spLocks/>
          </p:cNvSpPr>
          <p:nvPr>
            <p:custDataLst>
              <p:tags r:id="rId29"/>
            </p:custDataLst>
          </p:nvPr>
        </p:nvSpPr>
        <p:spPr>
          <a:xfrm>
            <a:off x="7019699" y="5293556"/>
            <a:ext cx="1371600" cy="320040"/>
          </a:xfrm>
          <a:prstGeom prst="rect">
            <a:avLst/>
          </a:prstGeom>
          <a:solidFill>
            <a:srgbClr val="FFC000"/>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buNone/>
            </a:pPr>
            <a:endParaRPr lang="en-US" sz="900" dirty="0">
              <a:cs typeface="Times New Roman" panose="02020603050405020304" pitchFamily="18" charset="0"/>
            </a:endParaRPr>
          </a:p>
          <a:p>
            <a:pPr marL="1587" lvl="1" indent="0" algn="ctr">
              <a:buNone/>
            </a:pPr>
            <a:r>
              <a:rPr lang="en-US" sz="900" dirty="0">
                <a:cs typeface="Times New Roman" panose="02020603050405020304" pitchFamily="18" charset="0"/>
              </a:rPr>
              <a:t>Head of Partnerships</a:t>
            </a:r>
          </a:p>
          <a:p>
            <a:pPr marL="1587" lvl="1" indent="0" algn="ctr">
              <a:buNone/>
            </a:pPr>
            <a:endParaRPr lang="en-US" sz="900" dirty="0">
              <a:cs typeface="Times New Roman" panose="02020603050405020304" pitchFamily="18" charset="0"/>
            </a:endParaRPr>
          </a:p>
        </p:txBody>
      </p:sp>
      <p:sp>
        <p:nvSpPr>
          <p:cNvPr id="122" name="TextBox 121"/>
          <p:cNvSpPr txBox="1">
            <a:spLocks/>
          </p:cNvSpPr>
          <p:nvPr>
            <p:custDataLst>
              <p:tags r:id="rId30"/>
            </p:custDataLst>
          </p:nvPr>
        </p:nvSpPr>
        <p:spPr>
          <a:xfrm>
            <a:off x="8454041" y="3624328"/>
            <a:ext cx="1371600" cy="372840"/>
          </a:xfrm>
          <a:prstGeom prst="rect">
            <a:avLst/>
          </a:prstGeom>
          <a:solidFill>
            <a:srgbClr val="FFC000"/>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587" lvl="1" indent="0" defTabSz="895350" eaLnBrk="1" hangingPunct="1">
              <a:lnSpc>
                <a:spcPct val="89000"/>
              </a:lnSpc>
              <a:buClr>
                <a:schemeClr val="tx2"/>
              </a:buClr>
              <a:buSzPct val="125000"/>
              <a:buFont typeface="Arial" charset="0"/>
              <a:buNone/>
              <a:defRPr sz="800">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1" algn="ctr">
              <a:lnSpc>
                <a:spcPct val="100000"/>
              </a:lnSpc>
            </a:pPr>
            <a:r>
              <a:rPr lang="en-US" sz="1000" dirty="0">
                <a:cs typeface="Times New Roman" panose="02020603050405020304" pitchFamily="18" charset="0"/>
              </a:rPr>
              <a:t>Human Resources Director</a:t>
            </a:r>
          </a:p>
        </p:txBody>
      </p:sp>
      <p:sp>
        <p:nvSpPr>
          <p:cNvPr id="123" name="TextBox 122"/>
          <p:cNvSpPr txBox="1">
            <a:spLocks/>
          </p:cNvSpPr>
          <p:nvPr>
            <p:custDataLst>
              <p:tags r:id="rId31"/>
            </p:custDataLst>
          </p:nvPr>
        </p:nvSpPr>
        <p:spPr>
          <a:xfrm>
            <a:off x="8454041" y="4022782"/>
            <a:ext cx="1371600" cy="372840"/>
          </a:xfrm>
          <a:prstGeom prst="rect">
            <a:avLst/>
          </a:prstGeom>
          <a:solidFill>
            <a:srgbClr val="FFC000"/>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587" lvl="1" indent="0" defTabSz="895350" eaLnBrk="1" hangingPunct="1">
              <a:lnSpc>
                <a:spcPct val="89000"/>
              </a:lnSpc>
              <a:buClr>
                <a:schemeClr val="tx2"/>
              </a:buClr>
              <a:buSzPct val="125000"/>
              <a:buFont typeface="Arial" charset="0"/>
              <a:buNone/>
              <a:defRPr sz="800">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1" algn="ctr">
              <a:lnSpc>
                <a:spcPct val="100000"/>
              </a:lnSpc>
            </a:pPr>
            <a:r>
              <a:rPr lang="en-US" sz="1000" dirty="0">
                <a:cs typeface="Times New Roman" panose="02020603050405020304" pitchFamily="18" charset="0"/>
              </a:rPr>
              <a:t>Head of Development Cooperation</a:t>
            </a:r>
          </a:p>
        </p:txBody>
      </p:sp>
      <p:sp>
        <p:nvSpPr>
          <p:cNvPr id="124" name="TextBox 123"/>
          <p:cNvSpPr txBox="1">
            <a:spLocks/>
          </p:cNvSpPr>
          <p:nvPr>
            <p:custDataLst>
              <p:tags r:id="rId32"/>
            </p:custDataLst>
          </p:nvPr>
        </p:nvSpPr>
        <p:spPr>
          <a:xfrm>
            <a:off x="8454041" y="4421235"/>
            <a:ext cx="1371600" cy="372840"/>
          </a:xfrm>
          <a:prstGeom prst="rect">
            <a:avLst/>
          </a:prstGeom>
          <a:solidFill>
            <a:srgbClr val="FFC000"/>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587" lvl="1" indent="0" defTabSz="895350" eaLnBrk="1" hangingPunct="1">
              <a:lnSpc>
                <a:spcPct val="89000"/>
              </a:lnSpc>
              <a:buClr>
                <a:schemeClr val="tx2"/>
              </a:buClr>
              <a:buSzPct val="125000"/>
              <a:buFont typeface="Arial" charset="0"/>
              <a:buNone/>
              <a:defRPr sz="800">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1" algn="ctr">
              <a:lnSpc>
                <a:spcPct val="100000"/>
              </a:lnSpc>
            </a:pPr>
            <a:r>
              <a:rPr lang="en-US" sz="1000" dirty="0">
                <a:cs typeface="Times New Roman" panose="02020603050405020304" pitchFamily="18" charset="0"/>
              </a:rPr>
              <a:t>General Counsel</a:t>
            </a:r>
          </a:p>
        </p:txBody>
      </p:sp>
      <p:cxnSp>
        <p:nvCxnSpPr>
          <p:cNvPr id="126" name="Elbow Connector 125"/>
          <p:cNvCxnSpPr>
            <a:stCxn id="10" idx="0"/>
            <a:endCxn id="7" idx="1"/>
          </p:cNvCxnSpPr>
          <p:nvPr/>
        </p:nvCxnSpPr>
        <p:spPr>
          <a:xfrm rot="5400000" flipH="1" flipV="1">
            <a:off x="2568472" y="677056"/>
            <a:ext cx="222176" cy="1130346"/>
          </a:xfrm>
          <a:prstGeom prst="bentConnector2">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80" name="Rectangle 79"/>
          <p:cNvSpPr/>
          <p:nvPr/>
        </p:nvSpPr>
        <p:spPr>
          <a:xfrm>
            <a:off x="2641600" y="3886623"/>
            <a:ext cx="1370604" cy="457200"/>
          </a:xfrm>
          <a:prstGeom prst="rect">
            <a:avLst/>
          </a:prstGeom>
          <a:solidFill>
            <a:srgbClr val="00B0F0"/>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algn="ctr"/>
            <a:r>
              <a:rPr lang="en-US" sz="1000" dirty="0"/>
              <a:t>Program Coordinator</a:t>
            </a:r>
          </a:p>
        </p:txBody>
      </p:sp>
      <p:cxnSp>
        <p:nvCxnSpPr>
          <p:cNvPr id="81" name="Straight Connector 80"/>
          <p:cNvCxnSpPr/>
          <p:nvPr/>
        </p:nvCxnSpPr>
        <p:spPr>
          <a:xfrm flipV="1">
            <a:off x="1563661" y="4080934"/>
            <a:ext cx="1038428" cy="4273"/>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a:stCxn id="10" idx="2"/>
          </p:cNvCxnSpPr>
          <p:nvPr/>
        </p:nvCxnSpPr>
        <p:spPr>
          <a:xfrm flipH="1">
            <a:off x="2099733" y="2039117"/>
            <a:ext cx="14654" cy="2047461"/>
          </a:xfrm>
          <a:prstGeom prst="line">
            <a:avLst/>
          </a:prstGeom>
        </p:spPr>
        <p:style>
          <a:lnRef idx="1">
            <a:schemeClr val="dk1"/>
          </a:lnRef>
          <a:fillRef idx="0">
            <a:schemeClr val="dk1"/>
          </a:fillRef>
          <a:effectRef idx="0">
            <a:schemeClr val="dk1"/>
          </a:effectRef>
          <a:fontRef idx="minor">
            <a:schemeClr val="tx1"/>
          </a:fontRef>
        </p:style>
      </p:cxnSp>
      <p:sp>
        <p:nvSpPr>
          <p:cNvPr id="83" name="TextBox 82"/>
          <p:cNvSpPr txBox="1">
            <a:spLocks/>
          </p:cNvSpPr>
          <p:nvPr>
            <p:custDataLst>
              <p:tags r:id="rId33"/>
            </p:custDataLst>
          </p:nvPr>
        </p:nvSpPr>
        <p:spPr>
          <a:xfrm>
            <a:off x="8528798" y="6370165"/>
            <a:ext cx="1179576" cy="284635"/>
          </a:xfrm>
          <a:prstGeom prst="rect">
            <a:avLst/>
          </a:prstGeom>
          <a:solidFill>
            <a:schemeClr val="accent6"/>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buNone/>
            </a:pPr>
            <a:r>
              <a:rPr lang="en-US" sz="900" dirty="0">
                <a:solidFill>
                  <a:schemeClr val="bg1"/>
                </a:solidFill>
                <a:cs typeface="Times New Roman" panose="02020603050405020304" pitchFamily="18" charset="0"/>
              </a:rPr>
              <a:t>Shared Resource</a:t>
            </a:r>
          </a:p>
          <a:p>
            <a:pPr marL="1587" lvl="1" indent="0" algn="ctr">
              <a:buNone/>
            </a:pPr>
            <a:r>
              <a:rPr lang="en-US" sz="900" b="1" dirty="0">
                <a:solidFill>
                  <a:schemeClr val="bg1"/>
                </a:solidFill>
                <a:cs typeface="Times New Roman" panose="02020603050405020304" pitchFamily="18" charset="0"/>
              </a:rPr>
              <a:t>Based in Burkina</a:t>
            </a:r>
          </a:p>
        </p:txBody>
      </p:sp>
    </p:spTree>
    <p:extLst>
      <p:ext uri="{BB962C8B-B14F-4D97-AF65-F5344CB8AC3E}">
        <p14:creationId xmlns:p14="http://schemas.microsoft.com/office/powerpoint/2010/main" val="300260716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541"/>
        <p:cNvGrpSpPr/>
        <p:nvPr/>
      </p:nvGrpSpPr>
      <p:grpSpPr>
        <a:xfrm>
          <a:off x="0" y="0"/>
          <a:ext cx="0" cy="0"/>
          <a:chOff x="0" y="0"/>
          <a:chExt cx="0" cy="0"/>
        </a:xfrm>
      </p:grpSpPr>
      <p:pic>
        <p:nvPicPr>
          <p:cNvPr id="542" name="Google Shape;542;p62"/>
          <p:cNvPicPr preferRelativeResize="0"/>
          <p:nvPr/>
        </p:nvPicPr>
        <p:blipFill rotWithShape="1">
          <a:blip r:embed="rId3">
            <a:alphaModFix/>
          </a:blip>
          <a:srcRect/>
          <a:stretch/>
        </p:blipFill>
        <p:spPr>
          <a:xfrm>
            <a:off x="1588" y="1588"/>
            <a:ext cx="1588" cy="1588"/>
          </a:xfrm>
          <a:prstGeom prst="rect">
            <a:avLst/>
          </a:prstGeom>
          <a:noFill/>
          <a:ln>
            <a:noFill/>
          </a:ln>
        </p:spPr>
      </p:pic>
      <p:sp>
        <p:nvSpPr>
          <p:cNvPr id="543" name="Google Shape;543;p62"/>
          <p:cNvSpPr txBox="1">
            <a:spLocks noGrp="1"/>
          </p:cNvSpPr>
          <p:nvPr>
            <p:ph type="title"/>
          </p:nvPr>
        </p:nvSpPr>
        <p:spPr>
          <a:xfrm>
            <a:off x="577850" y="2514600"/>
            <a:ext cx="8915400" cy="1143000"/>
          </a:xfrm>
          <a:prstGeom prst="rect">
            <a:avLst/>
          </a:prstGeom>
          <a:noFill/>
          <a:ln>
            <a:noFill/>
          </a:ln>
        </p:spPr>
        <p:txBody>
          <a:bodyPr spcFirstLastPara="1" wrap="square" lIns="91425" tIns="45700" rIns="91425" bIns="45700" anchor="t" anchorCtr="0">
            <a:noAutofit/>
          </a:bodyPr>
          <a:lstStyle/>
          <a:p>
            <a:pPr marL="0" marR="0" lvl="0" indent="0" algn="ctr" rtl="0">
              <a:lnSpc>
                <a:spcPct val="90000"/>
              </a:lnSpc>
              <a:spcBef>
                <a:spcPts val="0"/>
              </a:spcBef>
              <a:spcAft>
                <a:spcPts val="0"/>
              </a:spcAft>
              <a:buClr>
                <a:srgbClr val="385623"/>
              </a:buClr>
              <a:buSzPts val="4400"/>
              <a:buFont typeface="Arial"/>
              <a:buNone/>
            </a:pPr>
            <a:r>
              <a:rPr lang="en-US" dirty="0"/>
              <a:t>Annexes</a:t>
            </a:r>
            <a:endParaRPr dirty="0"/>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541"/>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56119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692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42" name="Google Shape;542;p62"/>
          <p:cNvPicPr preferRelativeResize="0"/>
          <p:nvPr/>
        </p:nvPicPr>
        <p:blipFill rotWithShape="1">
          <a:blip r:embed="rId7">
            <a:alphaModFix/>
          </a:blip>
          <a:srcRect/>
          <a:stretch/>
        </p:blipFill>
        <p:spPr>
          <a:xfrm>
            <a:off x="1588" y="1588"/>
            <a:ext cx="1588" cy="1588"/>
          </a:xfrm>
          <a:prstGeom prst="rect">
            <a:avLst/>
          </a:prstGeom>
          <a:noFill/>
          <a:ln>
            <a:noFill/>
          </a:ln>
        </p:spPr>
      </p:pic>
      <p:sp>
        <p:nvSpPr>
          <p:cNvPr id="543" name="Google Shape;543;p62"/>
          <p:cNvSpPr txBox="1">
            <a:spLocks noGrp="1"/>
          </p:cNvSpPr>
          <p:nvPr>
            <p:ph type="title"/>
          </p:nvPr>
        </p:nvSpPr>
        <p:spPr>
          <a:xfrm>
            <a:off x="577850" y="2514600"/>
            <a:ext cx="8915400" cy="1143000"/>
          </a:xfrm>
          <a:prstGeom prst="rect">
            <a:avLst/>
          </a:prstGeom>
          <a:noFill/>
          <a:ln>
            <a:noFill/>
          </a:ln>
        </p:spPr>
        <p:txBody>
          <a:bodyPr spcFirstLastPara="1" wrap="square" lIns="91425" tIns="45700" rIns="91425" bIns="45700" anchor="t" anchorCtr="0">
            <a:noAutofit/>
          </a:bodyPr>
          <a:lstStyle/>
          <a:p>
            <a:pPr marL="0" marR="0" lvl="0" indent="0" algn="ctr" rtl="0">
              <a:lnSpc>
                <a:spcPct val="90000"/>
              </a:lnSpc>
              <a:spcBef>
                <a:spcPts val="0"/>
              </a:spcBef>
              <a:spcAft>
                <a:spcPts val="0"/>
              </a:spcAft>
              <a:buClr>
                <a:srgbClr val="385623"/>
              </a:buClr>
              <a:buSzPts val="4400"/>
              <a:buFont typeface="Arial"/>
              <a:buNone/>
            </a:pPr>
            <a:r>
              <a:rPr lang="en-US" dirty="0">
                <a:solidFill>
                  <a:schemeClr val="bg1"/>
                </a:solidFill>
              </a:rPr>
              <a:t>AGRA Institutional Results Framework and theory of change</a:t>
            </a:r>
            <a:endParaRPr dirty="0">
              <a:solidFill>
                <a:schemeClr val="bg1"/>
              </a:solidFill>
            </a:endParaRPr>
          </a:p>
        </p:txBody>
      </p:sp>
    </p:spTree>
    <p:extLst>
      <p:ext uri="{BB962C8B-B14F-4D97-AF65-F5344CB8AC3E}">
        <p14:creationId xmlns:p14="http://schemas.microsoft.com/office/powerpoint/2010/main" val="402117028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000645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8974"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031" b="1"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304801" y="103413"/>
            <a:ext cx="7356332" cy="505120"/>
          </a:xfrm>
        </p:spPr>
        <p:txBody>
          <a:bodyPr/>
          <a:lstStyle/>
          <a:p>
            <a:r>
              <a:rPr lang="en-US" dirty="0"/>
              <a:t>AGRA Strategy Results Framework </a:t>
            </a:r>
          </a:p>
        </p:txBody>
      </p:sp>
      <p:graphicFrame>
        <p:nvGraphicFramePr>
          <p:cNvPr id="5" name="Table 4"/>
          <p:cNvGraphicFramePr>
            <a:graphicFrameLocks noGrp="1"/>
          </p:cNvGraphicFramePr>
          <p:nvPr>
            <p:extLst>
              <p:ext uri="{D42A27DB-BD31-4B8C-83A1-F6EECF244321}">
                <p14:modId xmlns:p14="http://schemas.microsoft.com/office/powerpoint/2010/main" val="1295717251"/>
              </p:ext>
            </p:extLst>
          </p:nvPr>
        </p:nvGraphicFramePr>
        <p:xfrm>
          <a:off x="2668832" y="1069649"/>
          <a:ext cx="4366846" cy="190500"/>
        </p:xfrm>
        <a:graphic>
          <a:graphicData uri="http://schemas.openxmlformats.org/drawingml/2006/table">
            <a:tbl>
              <a:tblPr firstRow="1" firstCol="1" bandRow="1"/>
              <a:tblGrid>
                <a:gridCol w="2271451">
                  <a:extLst>
                    <a:ext uri="{9D8B030D-6E8A-4147-A177-3AD203B41FA5}">
                      <a16:colId xmlns="" xmlns:a16="http://schemas.microsoft.com/office/drawing/2014/main" val="20000"/>
                    </a:ext>
                  </a:extLst>
                </a:gridCol>
                <a:gridCol w="2095395">
                  <a:extLst>
                    <a:ext uri="{9D8B030D-6E8A-4147-A177-3AD203B41FA5}">
                      <a16:colId xmlns="" xmlns:a16="http://schemas.microsoft.com/office/drawing/2014/main" val="20001"/>
                    </a:ext>
                  </a:extLst>
                </a:gridCol>
              </a:tblGrid>
              <a:tr h="190500">
                <a:tc>
                  <a:txBody>
                    <a:bodyPr/>
                    <a:lstStyle>
                      <a:lvl1pPr marL="0" algn="l" defTabSz="932863" rtl="0" eaLnBrk="1" latinLnBrk="0" hangingPunct="1">
                        <a:defRPr sz="1800" kern="1200">
                          <a:solidFill>
                            <a:schemeClr val="tx1"/>
                          </a:solidFill>
                          <a:latin typeface="Calibri"/>
                        </a:defRPr>
                      </a:lvl1pPr>
                      <a:lvl2pPr marL="466431" algn="l" defTabSz="932863" rtl="0" eaLnBrk="1" latinLnBrk="0" hangingPunct="1">
                        <a:defRPr sz="1800" kern="1200">
                          <a:solidFill>
                            <a:schemeClr val="tx1"/>
                          </a:solidFill>
                          <a:latin typeface="Calibri"/>
                        </a:defRPr>
                      </a:lvl2pPr>
                      <a:lvl3pPr marL="932863" algn="l" defTabSz="932863" rtl="0" eaLnBrk="1" latinLnBrk="0" hangingPunct="1">
                        <a:defRPr sz="1800" kern="1200">
                          <a:solidFill>
                            <a:schemeClr val="tx1"/>
                          </a:solidFill>
                          <a:latin typeface="Calibri"/>
                        </a:defRPr>
                      </a:lvl3pPr>
                      <a:lvl4pPr marL="1399295" algn="l" defTabSz="932863" rtl="0" eaLnBrk="1" latinLnBrk="0" hangingPunct="1">
                        <a:defRPr sz="1800" kern="1200">
                          <a:solidFill>
                            <a:schemeClr val="tx1"/>
                          </a:solidFill>
                          <a:latin typeface="Calibri"/>
                        </a:defRPr>
                      </a:lvl4pPr>
                      <a:lvl5pPr marL="1865728" algn="l" defTabSz="932863" rtl="0" eaLnBrk="1" latinLnBrk="0" hangingPunct="1">
                        <a:defRPr sz="1800" kern="1200">
                          <a:solidFill>
                            <a:schemeClr val="tx1"/>
                          </a:solidFill>
                          <a:latin typeface="Calibri"/>
                        </a:defRPr>
                      </a:lvl5pPr>
                      <a:lvl6pPr marL="2332159" algn="l" defTabSz="932863" rtl="0" eaLnBrk="1" latinLnBrk="0" hangingPunct="1">
                        <a:defRPr sz="1800" kern="1200">
                          <a:solidFill>
                            <a:schemeClr val="tx1"/>
                          </a:solidFill>
                          <a:latin typeface="Calibri"/>
                        </a:defRPr>
                      </a:lvl6pPr>
                      <a:lvl7pPr marL="2798590" algn="l" defTabSz="932863" rtl="0" eaLnBrk="1" latinLnBrk="0" hangingPunct="1">
                        <a:defRPr sz="1800" kern="1200">
                          <a:solidFill>
                            <a:schemeClr val="tx1"/>
                          </a:solidFill>
                          <a:latin typeface="Calibri"/>
                        </a:defRPr>
                      </a:lvl7pPr>
                      <a:lvl8pPr marL="3265022" algn="l" defTabSz="932863" rtl="0" eaLnBrk="1" latinLnBrk="0" hangingPunct="1">
                        <a:defRPr sz="1800" kern="1200">
                          <a:solidFill>
                            <a:schemeClr val="tx1"/>
                          </a:solidFill>
                          <a:latin typeface="Calibri"/>
                        </a:defRPr>
                      </a:lvl8pPr>
                      <a:lvl9pPr marL="3731453" algn="l" defTabSz="932863" rtl="0" eaLnBrk="1" latinLnBrk="0" hangingPunct="1">
                        <a:defRPr sz="1800" kern="1200">
                          <a:solidFill>
                            <a:schemeClr val="tx1"/>
                          </a:solidFill>
                          <a:latin typeface="Calibri"/>
                        </a:defRPr>
                      </a:lvl9pPr>
                    </a:lstStyle>
                    <a:p>
                      <a:pPr marL="0" marR="0">
                        <a:lnSpc>
                          <a:spcPct val="115000"/>
                        </a:lnSpc>
                        <a:spcBef>
                          <a:spcPts val="0"/>
                        </a:spcBef>
                        <a:spcAft>
                          <a:spcPts val="0"/>
                        </a:spcAft>
                      </a:pPr>
                      <a:r>
                        <a:rPr lang="en-US" sz="1000" b="1" dirty="0">
                          <a:effectLst/>
                          <a:latin typeface="Calibri"/>
                          <a:ea typeface="Calibri"/>
                          <a:cs typeface="Times New Roman"/>
                        </a:rPr>
                        <a:t>CAADP Framework</a:t>
                      </a:r>
                      <a:endParaRPr lang="en-US" sz="1000" dirty="0">
                        <a:effectLst/>
                        <a:latin typeface="Calibri"/>
                        <a:ea typeface="Calibri"/>
                        <a:cs typeface="Times New Roman"/>
                      </a:endParaRPr>
                    </a:p>
                  </a:txBody>
                  <a:tcPr marL="63302" marR="63302" marT="0" marB="0">
                    <a:lnL w="19050" cap="flat" cmpd="sng" algn="ctr">
                      <a:solidFill>
                        <a:srgbClr val="A6A6A6"/>
                      </a:solidFill>
                      <a:prstDash val="dot"/>
                      <a:round/>
                      <a:headEnd type="none" w="med" len="med"/>
                      <a:tailEnd type="none" w="med" len="med"/>
                    </a:lnL>
                    <a:lnR>
                      <a:noFill/>
                    </a:lnR>
                    <a:lnT w="19050" cap="flat" cmpd="sng" algn="ctr">
                      <a:solidFill>
                        <a:srgbClr val="A6A6A6"/>
                      </a:solidFill>
                      <a:prstDash val="dot"/>
                      <a:round/>
                      <a:headEnd type="none" w="med" len="med"/>
                      <a:tailEnd type="none" w="med" len="med"/>
                    </a:lnT>
                    <a:lnB w="19050" cap="flat" cmpd="sng" algn="ctr">
                      <a:solidFill>
                        <a:srgbClr val="A6A6A6"/>
                      </a:solidFill>
                      <a:prstDash val="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32863" rtl="0" eaLnBrk="1" latinLnBrk="0" hangingPunct="1">
                        <a:defRPr sz="1800" kern="1200">
                          <a:solidFill>
                            <a:schemeClr val="tx1"/>
                          </a:solidFill>
                          <a:latin typeface="Calibri"/>
                        </a:defRPr>
                      </a:lvl1pPr>
                      <a:lvl2pPr marL="466431" algn="l" defTabSz="932863" rtl="0" eaLnBrk="1" latinLnBrk="0" hangingPunct="1">
                        <a:defRPr sz="1800" kern="1200">
                          <a:solidFill>
                            <a:schemeClr val="tx1"/>
                          </a:solidFill>
                          <a:latin typeface="Calibri"/>
                        </a:defRPr>
                      </a:lvl2pPr>
                      <a:lvl3pPr marL="932863" algn="l" defTabSz="932863" rtl="0" eaLnBrk="1" latinLnBrk="0" hangingPunct="1">
                        <a:defRPr sz="1800" kern="1200">
                          <a:solidFill>
                            <a:schemeClr val="tx1"/>
                          </a:solidFill>
                          <a:latin typeface="Calibri"/>
                        </a:defRPr>
                      </a:lvl3pPr>
                      <a:lvl4pPr marL="1399295" algn="l" defTabSz="932863" rtl="0" eaLnBrk="1" latinLnBrk="0" hangingPunct="1">
                        <a:defRPr sz="1800" kern="1200">
                          <a:solidFill>
                            <a:schemeClr val="tx1"/>
                          </a:solidFill>
                          <a:latin typeface="Calibri"/>
                        </a:defRPr>
                      </a:lvl4pPr>
                      <a:lvl5pPr marL="1865728" algn="l" defTabSz="932863" rtl="0" eaLnBrk="1" latinLnBrk="0" hangingPunct="1">
                        <a:defRPr sz="1800" kern="1200">
                          <a:solidFill>
                            <a:schemeClr val="tx1"/>
                          </a:solidFill>
                          <a:latin typeface="Calibri"/>
                        </a:defRPr>
                      </a:lvl5pPr>
                      <a:lvl6pPr marL="2332159" algn="l" defTabSz="932863" rtl="0" eaLnBrk="1" latinLnBrk="0" hangingPunct="1">
                        <a:defRPr sz="1800" kern="1200">
                          <a:solidFill>
                            <a:schemeClr val="tx1"/>
                          </a:solidFill>
                          <a:latin typeface="Calibri"/>
                        </a:defRPr>
                      </a:lvl6pPr>
                      <a:lvl7pPr marL="2798590" algn="l" defTabSz="932863" rtl="0" eaLnBrk="1" latinLnBrk="0" hangingPunct="1">
                        <a:defRPr sz="1800" kern="1200">
                          <a:solidFill>
                            <a:schemeClr val="tx1"/>
                          </a:solidFill>
                          <a:latin typeface="Calibri"/>
                        </a:defRPr>
                      </a:lvl7pPr>
                      <a:lvl8pPr marL="3265022" algn="l" defTabSz="932863" rtl="0" eaLnBrk="1" latinLnBrk="0" hangingPunct="1">
                        <a:defRPr sz="1800" kern="1200">
                          <a:solidFill>
                            <a:schemeClr val="tx1"/>
                          </a:solidFill>
                          <a:latin typeface="Calibri"/>
                        </a:defRPr>
                      </a:lvl8pPr>
                      <a:lvl9pPr marL="3731453" algn="l" defTabSz="932863" rtl="0" eaLnBrk="1" latinLnBrk="0" hangingPunct="1">
                        <a:defRPr sz="1800" kern="1200">
                          <a:solidFill>
                            <a:schemeClr val="tx1"/>
                          </a:solidFill>
                          <a:latin typeface="Calibri"/>
                        </a:defRPr>
                      </a:lvl9pPr>
                    </a:lstStyle>
                    <a:p>
                      <a:pPr marL="0" marR="0" algn="ctr">
                        <a:lnSpc>
                          <a:spcPct val="115000"/>
                        </a:lnSpc>
                        <a:spcBef>
                          <a:spcPts val="0"/>
                        </a:spcBef>
                        <a:spcAft>
                          <a:spcPts val="0"/>
                        </a:spcAft>
                      </a:pPr>
                      <a:r>
                        <a:rPr lang="en-US" sz="1000" b="1" dirty="0">
                          <a:effectLst/>
                          <a:latin typeface="Calibri"/>
                          <a:ea typeface="Calibri"/>
                          <a:cs typeface="Times New Roman"/>
                        </a:rPr>
                        <a:t>Sustainable Development Goals</a:t>
                      </a:r>
                      <a:endParaRPr lang="en-US" sz="1000" dirty="0">
                        <a:effectLst/>
                        <a:latin typeface="Calibri"/>
                        <a:ea typeface="Calibri"/>
                        <a:cs typeface="Times New Roman"/>
                      </a:endParaRPr>
                    </a:p>
                  </a:txBody>
                  <a:tcPr marL="63302" marR="63302" marT="0" marB="0">
                    <a:lnL>
                      <a:noFill/>
                    </a:lnL>
                    <a:lnR w="19050" cap="flat" cmpd="sng" algn="ctr">
                      <a:solidFill>
                        <a:srgbClr val="A6A6A6"/>
                      </a:solidFill>
                      <a:prstDash val="dot"/>
                      <a:round/>
                      <a:headEnd type="none" w="med" len="med"/>
                      <a:tailEnd type="none" w="med" len="med"/>
                    </a:lnR>
                    <a:lnT w="19050" cap="flat" cmpd="sng" algn="ctr">
                      <a:solidFill>
                        <a:srgbClr val="A6A6A6"/>
                      </a:solidFill>
                      <a:prstDash val="dot"/>
                      <a:round/>
                      <a:headEnd type="none" w="med" len="med"/>
                      <a:tailEnd type="none" w="med" len="med"/>
                    </a:lnT>
                    <a:lnB w="19050" cap="flat" cmpd="sng" algn="ctr">
                      <a:solidFill>
                        <a:srgbClr val="A6A6A6"/>
                      </a:solidFill>
                      <a:prstDash val="dot"/>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 xmlns:a16="http://schemas.microsoft.com/office/drawing/2014/main" val="10000"/>
                  </a:ext>
                </a:extLst>
              </a:tr>
            </a:tbl>
          </a:graphicData>
        </a:graphic>
      </p:graphicFrame>
      <p:sp>
        <p:nvSpPr>
          <p:cNvPr id="6" name="Striped Right Arrow 5"/>
          <p:cNvSpPr/>
          <p:nvPr/>
        </p:nvSpPr>
        <p:spPr>
          <a:xfrm rot="16200000">
            <a:off x="4987992" y="-2094868"/>
            <a:ext cx="99647" cy="7835446"/>
          </a:xfrm>
          <a:prstGeom prst="stripedRightArrow">
            <a:avLst/>
          </a:prstGeom>
          <a:solidFill>
            <a:srgbClr val="BBBBBF">
              <a:lumMod val="75000"/>
            </a:srgbClr>
          </a:solidFill>
          <a:ln w="9525" cap="flat" cmpd="sng" algn="ctr">
            <a:noFill/>
            <a:prstDash val="soli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lstStyle/>
          <a:p>
            <a:pPr defTabSz="843984">
              <a:defRPr/>
            </a:pPr>
            <a:endParaRPr lang="en-US" sz="1662" kern="0" dirty="0">
              <a:solidFill>
                <a:prstClr val="black"/>
              </a:solidFill>
              <a:latin typeface="Calibri"/>
            </a:endParaRPr>
          </a:p>
        </p:txBody>
      </p:sp>
      <p:sp>
        <p:nvSpPr>
          <p:cNvPr id="7" name="Rectangle 6"/>
          <p:cNvSpPr/>
          <p:nvPr/>
        </p:nvSpPr>
        <p:spPr>
          <a:xfrm>
            <a:off x="1519970" y="1396431"/>
            <a:ext cx="6986954" cy="301869"/>
          </a:xfrm>
          <a:prstGeom prst="rect">
            <a:avLst/>
          </a:prstGeom>
          <a:solidFill>
            <a:srgbClr val="FFFFFF"/>
          </a:solidFill>
          <a:ln w="25400" cap="flat" cmpd="sng" algn="ctr">
            <a:solidFill>
              <a:srgbClr val="BBBBBF">
                <a:lumMod val="75000"/>
              </a:srgbClr>
            </a:solidFill>
            <a:prstDash val="solid"/>
          </a:ln>
          <a:effectLst/>
        </p:spPr>
        <p:txBody>
          <a:bodyPr anchor="ctr"/>
          <a:lstStyle/>
          <a:p>
            <a:pPr algn="ctr" defTabSz="843984">
              <a:lnSpc>
                <a:spcPct val="115000"/>
              </a:lnSpc>
              <a:defRPr/>
            </a:pPr>
            <a:r>
              <a:rPr lang="en-US" sz="923" b="1" kern="0" dirty="0">
                <a:solidFill>
                  <a:sysClr val="windowText" lastClr="000000"/>
                </a:solidFill>
                <a:latin typeface="Calibri"/>
                <a:ea typeface="Calibri"/>
                <a:cs typeface="Times New Roman"/>
              </a:rPr>
              <a:t>Goal: Catalyze and Sustain an Inclusive Agricultural Transformation in Africa to increase incomes and improve food security </a:t>
            </a:r>
            <a:endParaRPr lang="en-US" sz="1015" kern="0" dirty="0">
              <a:solidFill>
                <a:sysClr val="windowText" lastClr="000000"/>
              </a:solidFill>
              <a:latin typeface="Calibri"/>
              <a:ea typeface="Calibri"/>
              <a:cs typeface="Times New Roman"/>
            </a:endParaRPr>
          </a:p>
        </p:txBody>
      </p:sp>
      <p:sp>
        <p:nvSpPr>
          <p:cNvPr id="8" name="Rectangle 7"/>
          <p:cNvSpPr/>
          <p:nvPr/>
        </p:nvSpPr>
        <p:spPr>
          <a:xfrm>
            <a:off x="3074744" y="1800877"/>
            <a:ext cx="1843454" cy="1044894"/>
          </a:xfrm>
          <a:prstGeom prst="rect">
            <a:avLst/>
          </a:prstGeom>
          <a:solidFill>
            <a:srgbClr val="FFFFFF"/>
          </a:solidFill>
          <a:ln w="19050" cap="flat" cmpd="sng" algn="ctr">
            <a:solidFill>
              <a:srgbClr val="0C6A4B"/>
            </a:solidFill>
            <a:prstDash val="solid"/>
          </a:ln>
          <a:effectLst/>
        </p:spPr>
        <p:txBody>
          <a:bodyPr anchor="ctr"/>
          <a:lstStyle/>
          <a:p>
            <a:pPr algn="ctr" defTabSz="843984">
              <a:lnSpc>
                <a:spcPct val="115000"/>
              </a:lnSpc>
              <a:defRPr/>
            </a:pPr>
            <a:r>
              <a:rPr lang="en-US" sz="923" b="1" kern="0" dirty="0">
                <a:solidFill>
                  <a:sysClr val="windowText" lastClr="000000"/>
                </a:solidFill>
                <a:latin typeface="Calibri"/>
                <a:ea typeface="Calibri"/>
                <a:cs typeface="Times New Roman"/>
              </a:rPr>
              <a:t>Objective 2:</a:t>
            </a:r>
            <a:endParaRPr lang="en-US" sz="923" kern="0" dirty="0">
              <a:solidFill>
                <a:sysClr val="windowText" lastClr="000000"/>
              </a:solidFill>
              <a:latin typeface="Calibri"/>
              <a:ea typeface="Calibri"/>
              <a:cs typeface="Times New Roman"/>
            </a:endParaRPr>
          </a:p>
          <a:p>
            <a:pPr algn="ctr" defTabSz="843984">
              <a:lnSpc>
                <a:spcPct val="115000"/>
              </a:lnSpc>
              <a:defRPr/>
            </a:pPr>
            <a:r>
              <a:rPr lang="en-US" sz="923" b="1" kern="0" dirty="0">
                <a:solidFill>
                  <a:sysClr val="windowText" lastClr="000000"/>
                </a:solidFill>
                <a:latin typeface="Calibri"/>
                <a:ea typeface="Calibri"/>
                <a:cs typeface="Times New Roman"/>
              </a:rPr>
              <a:t>Strengthened and expanded access to output markets</a:t>
            </a:r>
            <a:endParaRPr lang="en-US" sz="923" kern="0" dirty="0">
              <a:solidFill>
                <a:sysClr val="windowText" lastClr="000000"/>
              </a:solidFill>
              <a:latin typeface="Calibri"/>
              <a:ea typeface="Calibri"/>
              <a:cs typeface="Times New Roman"/>
            </a:endParaRPr>
          </a:p>
        </p:txBody>
      </p:sp>
      <p:sp>
        <p:nvSpPr>
          <p:cNvPr id="9" name="Rectangle 8"/>
          <p:cNvSpPr/>
          <p:nvPr/>
        </p:nvSpPr>
        <p:spPr>
          <a:xfrm>
            <a:off x="5020775" y="1800877"/>
            <a:ext cx="1992923" cy="1044894"/>
          </a:xfrm>
          <a:prstGeom prst="rect">
            <a:avLst/>
          </a:prstGeom>
          <a:solidFill>
            <a:srgbClr val="FFFFFF"/>
          </a:solidFill>
          <a:ln w="19050" cap="flat" cmpd="sng" algn="ctr">
            <a:solidFill>
              <a:srgbClr val="00B0F0"/>
            </a:solidFill>
            <a:prstDash val="solid"/>
          </a:ln>
          <a:effectLst/>
        </p:spPr>
        <p:txBody>
          <a:bodyPr anchor="ctr"/>
          <a:lstStyle/>
          <a:p>
            <a:pPr algn="ctr" defTabSz="843984">
              <a:lnSpc>
                <a:spcPct val="115000"/>
              </a:lnSpc>
              <a:defRPr/>
            </a:pPr>
            <a:r>
              <a:rPr lang="en-US" sz="923" b="1" kern="0" dirty="0">
                <a:solidFill>
                  <a:sysClr val="windowText" lastClr="000000"/>
                </a:solidFill>
                <a:latin typeface="Calibri"/>
                <a:ea typeface="Calibri"/>
                <a:cs typeface="Times New Roman"/>
              </a:rPr>
              <a:t>Objective 3:</a:t>
            </a:r>
            <a:endParaRPr lang="en-US" sz="923" kern="0" dirty="0">
              <a:solidFill>
                <a:sysClr val="windowText" lastClr="000000"/>
              </a:solidFill>
              <a:latin typeface="Calibri"/>
              <a:ea typeface="Calibri"/>
              <a:cs typeface="Times New Roman"/>
            </a:endParaRPr>
          </a:p>
          <a:p>
            <a:pPr algn="ctr" defTabSz="843984">
              <a:lnSpc>
                <a:spcPct val="115000"/>
              </a:lnSpc>
              <a:defRPr/>
            </a:pPr>
            <a:r>
              <a:rPr lang="en-US" sz="923" b="1" kern="0" dirty="0">
                <a:solidFill>
                  <a:sysClr val="windowText" lastClr="000000"/>
                </a:solidFill>
                <a:latin typeface="Calibri"/>
                <a:ea typeface="Calibri"/>
                <a:cs typeface="Times New Roman"/>
              </a:rPr>
              <a:t>Increased capacity of small holder farming households and agricultural systems to better prepare for and adapt to shocks and stresses</a:t>
            </a:r>
            <a:endParaRPr lang="en-US" sz="923" kern="0" dirty="0">
              <a:solidFill>
                <a:sysClr val="windowText" lastClr="000000"/>
              </a:solidFill>
              <a:latin typeface="Calibri"/>
              <a:ea typeface="Calibri"/>
              <a:cs typeface="Times New Roman"/>
            </a:endParaRPr>
          </a:p>
        </p:txBody>
      </p:sp>
      <p:sp>
        <p:nvSpPr>
          <p:cNvPr id="10" name="Rectangle 9"/>
          <p:cNvSpPr/>
          <p:nvPr/>
        </p:nvSpPr>
        <p:spPr>
          <a:xfrm>
            <a:off x="7122136" y="1800877"/>
            <a:ext cx="1790700" cy="1044894"/>
          </a:xfrm>
          <a:prstGeom prst="rect">
            <a:avLst/>
          </a:prstGeom>
          <a:solidFill>
            <a:srgbClr val="FFFFFF"/>
          </a:solidFill>
          <a:ln w="19050" cap="flat" cmpd="sng" algn="ctr">
            <a:solidFill>
              <a:srgbClr val="88B6A7"/>
            </a:solidFill>
            <a:prstDash val="solid"/>
          </a:ln>
          <a:effectLst/>
        </p:spPr>
        <p:txBody>
          <a:bodyPr anchor="ctr"/>
          <a:lstStyle/>
          <a:p>
            <a:pPr algn="ctr" defTabSz="843984">
              <a:lnSpc>
                <a:spcPct val="115000"/>
              </a:lnSpc>
              <a:defRPr/>
            </a:pPr>
            <a:r>
              <a:rPr lang="en-US" sz="923" b="1" kern="0" dirty="0">
                <a:solidFill>
                  <a:sysClr val="windowText" lastClr="000000"/>
                </a:solidFill>
                <a:latin typeface="Calibri"/>
                <a:ea typeface="Calibri"/>
                <a:cs typeface="Times New Roman"/>
              </a:rPr>
              <a:t>Objective 4:</a:t>
            </a:r>
            <a:endParaRPr lang="en-US" sz="923" kern="0" dirty="0">
              <a:solidFill>
                <a:sysClr val="windowText" lastClr="000000"/>
              </a:solidFill>
              <a:latin typeface="Calibri"/>
              <a:ea typeface="Calibri"/>
              <a:cs typeface="Times New Roman"/>
            </a:endParaRPr>
          </a:p>
          <a:p>
            <a:pPr algn="ctr" defTabSz="843984">
              <a:lnSpc>
                <a:spcPct val="115000"/>
              </a:lnSpc>
              <a:defRPr/>
            </a:pPr>
            <a:r>
              <a:rPr lang="en-US" sz="923" b="1" kern="0" dirty="0">
                <a:solidFill>
                  <a:sysClr val="windowText" lastClr="000000"/>
                </a:solidFill>
                <a:latin typeface="Calibri"/>
                <a:ea typeface="Calibri"/>
                <a:cs typeface="Times New Roman"/>
              </a:rPr>
              <a:t>Strengthened continental, regional and government multi-sectoral coordination, and mutual accountability in the agricultural sector</a:t>
            </a:r>
            <a:endParaRPr lang="en-US" sz="923" kern="0" dirty="0">
              <a:solidFill>
                <a:sysClr val="windowText" lastClr="000000"/>
              </a:solidFill>
              <a:latin typeface="Calibri"/>
              <a:ea typeface="Calibri"/>
              <a:cs typeface="Times New Roman"/>
            </a:endParaRPr>
          </a:p>
        </p:txBody>
      </p:sp>
      <p:sp>
        <p:nvSpPr>
          <p:cNvPr id="11" name="Rectangle 10"/>
          <p:cNvSpPr/>
          <p:nvPr/>
        </p:nvSpPr>
        <p:spPr>
          <a:xfrm>
            <a:off x="1210775" y="1801643"/>
            <a:ext cx="1735015" cy="1042662"/>
          </a:xfrm>
          <a:prstGeom prst="rect">
            <a:avLst/>
          </a:prstGeom>
          <a:solidFill>
            <a:srgbClr val="FFFFFF"/>
          </a:solidFill>
          <a:ln w="19050" cap="flat" cmpd="sng" algn="ctr">
            <a:solidFill>
              <a:srgbClr val="3A669C"/>
            </a:solidFill>
            <a:prstDash val="solid"/>
          </a:ln>
          <a:effectLst/>
        </p:spPr>
        <p:txBody>
          <a:bodyPr anchor="ctr"/>
          <a:lstStyle/>
          <a:p>
            <a:pPr algn="ctr" defTabSz="843984">
              <a:lnSpc>
                <a:spcPct val="115000"/>
              </a:lnSpc>
              <a:defRPr/>
            </a:pPr>
            <a:r>
              <a:rPr lang="en-US" sz="923" b="1" kern="0" dirty="0">
                <a:solidFill>
                  <a:sysClr val="windowText" lastClr="000000"/>
                </a:solidFill>
                <a:latin typeface="Calibri"/>
                <a:ea typeface="Calibri"/>
                <a:cs typeface="Times New Roman"/>
              </a:rPr>
              <a:t>Objective 1: </a:t>
            </a:r>
            <a:endParaRPr lang="en-US" sz="923" kern="0" dirty="0">
              <a:solidFill>
                <a:sysClr val="windowText" lastClr="000000"/>
              </a:solidFill>
              <a:latin typeface="Calibri"/>
              <a:ea typeface="Calibri"/>
              <a:cs typeface="Times New Roman"/>
            </a:endParaRPr>
          </a:p>
          <a:p>
            <a:pPr algn="ctr" defTabSz="843984">
              <a:lnSpc>
                <a:spcPct val="115000"/>
              </a:lnSpc>
              <a:defRPr/>
            </a:pPr>
            <a:r>
              <a:rPr lang="en-US" sz="923" b="1" kern="0" dirty="0">
                <a:solidFill>
                  <a:sysClr val="windowText" lastClr="000000"/>
                </a:solidFill>
                <a:latin typeface="Calibri"/>
                <a:ea typeface="Calibri"/>
                <a:cs typeface="Times New Roman"/>
              </a:rPr>
              <a:t>Increased staple crop productivity for smallholder farmers</a:t>
            </a:r>
            <a:endParaRPr lang="en-US" sz="923" kern="0" dirty="0">
              <a:solidFill>
                <a:sysClr val="windowText" lastClr="000000"/>
              </a:solidFill>
              <a:latin typeface="Calibri"/>
              <a:ea typeface="Calibri"/>
              <a:cs typeface="Times New Roman"/>
            </a:endParaRPr>
          </a:p>
        </p:txBody>
      </p:sp>
      <p:sp>
        <p:nvSpPr>
          <p:cNvPr id="12" name="Rectangle 11"/>
          <p:cNvSpPr/>
          <p:nvPr/>
        </p:nvSpPr>
        <p:spPr>
          <a:xfrm>
            <a:off x="2078281" y="3091955"/>
            <a:ext cx="785446" cy="1885717"/>
          </a:xfrm>
          <a:prstGeom prst="rect">
            <a:avLst/>
          </a:prstGeom>
          <a:solidFill>
            <a:srgbClr val="FFFFFF"/>
          </a:solidFill>
          <a:ln w="19050" cap="flat" cmpd="sng" algn="ctr">
            <a:solidFill>
              <a:srgbClr val="3A669C"/>
            </a:solidFill>
            <a:prstDash val="solid"/>
          </a:ln>
          <a:effectLst/>
        </p:spPr>
        <p:txBody>
          <a:bodyPr anchor="ctr"/>
          <a:lstStyle/>
          <a:p>
            <a:pPr algn="ctr" defTabSz="843984">
              <a:lnSpc>
                <a:spcPct val="115000"/>
              </a:lnSpc>
              <a:defRPr/>
            </a:pPr>
            <a:r>
              <a:rPr lang="en-US" sz="923" b="1" kern="0" dirty="0">
                <a:solidFill>
                  <a:sysClr val="windowText" lastClr="000000"/>
                </a:solidFill>
                <a:latin typeface="Calibri"/>
                <a:ea typeface="Calibri"/>
                <a:cs typeface="Times New Roman"/>
              </a:rPr>
              <a:t>Outcome 2: Increased adoption of Agriculture productivity enhancing technologies</a:t>
            </a:r>
            <a:endParaRPr lang="en-US" sz="923" kern="0" dirty="0">
              <a:solidFill>
                <a:sysClr val="windowText" lastClr="000000"/>
              </a:solidFill>
              <a:latin typeface="Calibri"/>
              <a:ea typeface="Calibri"/>
              <a:cs typeface="Times New Roman"/>
            </a:endParaRPr>
          </a:p>
        </p:txBody>
      </p:sp>
      <p:sp>
        <p:nvSpPr>
          <p:cNvPr id="13" name="Rectangle 12"/>
          <p:cNvSpPr/>
          <p:nvPr/>
        </p:nvSpPr>
        <p:spPr>
          <a:xfrm>
            <a:off x="8159629" y="3084630"/>
            <a:ext cx="823546" cy="1931047"/>
          </a:xfrm>
          <a:prstGeom prst="rect">
            <a:avLst/>
          </a:prstGeom>
          <a:solidFill>
            <a:srgbClr val="FFFFFF"/>
          </a:solidFill>
          <a:ln w="19050" cap="flat" cmpd="sng" algn="ctr">
            <a:solidFill>
              <a:srgbClr val="88B6A7"/>
            </a:solidFill>
            <a:prstDash val="solid"/>
          </a:ln>
          <a:effectLst/>
        </p:spPr>
        <p:txBody>
          <a:bodyPr anchor="ctr"/>
          <a:lstStyle/>
          <a:p>
            <a:pPr algn="ctr" defTabSz="843984">
              <a:lnSpc>
                <a:spcPct val="115000"/>
              </a:lnSpc>
              <a:defRPr/>
            </a:pPr>
            <a:r>
              <a:rPr lang="en-US" sz="923" b="1" kern="0" dirty="0">
                <a:solidFill>
                  <a:prstClr val="black"/>
                </a:solidFill>
                <a:latin typeface="Calibri"/>
                <a:ea typeface="Calibri"/>
                <a:cs typeface="Times New Roman"/>
              </a:rPr>
              <a:t>Outcome 8: Strengthened national and regional level agriculture sector system functioning</a:t>
            </a:r>
            <a:endParaRPr lang="en-US" sz="923" kern="0" dirty="0">
              <a:solidFill>
                <a:prstClr val="black"/>
              </a:solidFill>
              <a:latin typeface="Calibri"/>
              <a:ea typeface="Calibri"/>
              <a:cs typeface="Times New Roman"/>
            </a:endParaRPr>
          </a:p>
        </p:txBody>
      </p:sp>
      <p:sp>
        <p:nvSpPr>
          <p:cNvPr id="14" name="Rectangle 18"/>
          <p:cNvSpPr>
            <a:spLocks noChangeArrowheads="1"/>
          </p:cNvSpPr>
          <p:nvPr/>
        </p:nvSpPr>
        <p:spPr bwMode="auto">
          <a:xfrm>
            <a:off x="6017235" y="3100747"/>
            <a:ext cx="996462" cy="1885717"/>
          </a:xfrm>
          <a:prstGeom prst="rect">
            <a:avLst/>
          </a:prstGeom>
          <a:solidFill>
            <a:srgbClr val="FFFFFF"/>
          </a:solidFill>
          <a:ln w="12700" algn="ctr">
            <a:solidFill>
              <a:srgbClr val="FFC000"/>
            </a:solidFill>
            <a:prstDash val="sysDot"/>
            <a:miter lim="800000"/>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defTabSz="843984">
              <a:lnSpc>
                <a:spcPct val="115000"/>
              </a:lnSpc>
              <a:spcBef>
                <a:spcPct val="0"/>
              </a:spcBef>
              <a:buNone/>
              <a:defRPr/>
            </a:pPr>
            <a:r>
              <a:rPr lang="en-US" altLang="en-US" sz="923" b="1" kern="0" dirty="0">
                <a:solidFill>
                  <a:srgbClr val="000000"/>
                </a:solidFill>
                <a:ea typeface="Calibri" panose="020F0502020204030204" pitchFamily="34" charset="0"/>
                <a:cs typeface="Times New Roman" panose="02020603050405020304" pitchFamily="18" charset="0"/>
              </a:rPr>
              <a:t>Outcome 6: Strengthened and expanded business development, financial and risk management services in agriculture value chain</a:t>
            </a:r>
            <a:endParaRPr lang="en-US" altLang="en-US" sz="923" kern="0" dirty="0">
              <a:solidFill>
                <a:srgbClr val="000000"/>
              </a:solidFill>
              <a:ea typeface="Calibri" panose="020F0502020204030204" pitchFamily="34" charset="0"/>
              <a:cs typeface="Times New Roman" panose="02020603050405020304" pitchFamily="18" charset="0"/>
            </a:endParaRPr>
          </a:p>
        </p:txBody>
      </p:sp>
      <p:sp>
        <p:nvSpPr>
          <p:cNvPr id="15" name="Rectangle 14"/>
          <p:cNvSpPr/>
          <p:nvPr/>
        </p:nvSpPr>
        <p:spPr>
          <a:xfrm>
            <a:off x="4918198" y="3100747"/>
            <a:ext cx="1005254" cy="1885717"/>
          </a:xfrm>
          <a:prstGeom prst="rect">
            <a:avLst/>
          </a:prstGeom>
          <a:solidFill>
            <a:srgbClr val="FFFFFF"/>
          </a:solidFill>
          <a:ln w="19050" cap="flat" cmpd="sng" algn="ctr">
            <a:solidFill>
              <a:srgbClr val="0C6A4B"/>
            </a:solidFill>
            <a:prstDash val="solid"/>
          </a:ln>
          <a:effectLst/>
        </p:spPr>
        <p:txBody>
          <a:bodyPr anchor="ctr"/>
          <a:lstStyle/>
          <a:p>
            <a:pPr algn="ctr" defTabSz="843984">
              <a:lnSpc>
                <a:spcPct val="115000"/>
              </a:lnSpc>
              <a:defRPr/>
            </a:pPr>
            <a:r>
              <a:rPr lang="en-US" sz="923" b="1" kern="0" dirty="0">
                <a:solidFill>
                  <a:prstClr val="black"/>
                </a:solidFill>
                <a:latin typeface="Calibri"/>
                <a:ea typeface="Calibri"/>
                <a:cs typeface="Times New Roman"/>
              </a:rPr>
              <a:t>Outcome 5: </a:t>
            </a:r>
          </a:p>
          <a:p>
            <a:pPr algn="ctr" defTabSz="843984">
              <a:lnSpc>
                <a:spcPct val="115000"/>
              </a:lnSpc>
              <a:defRPr/>
            </a:pPr>
            <a:r>
              <a:rPr lang="en-US" sz="923" b="1" kern="0" dirty="0">
                <a:solidFill>
                  <a:prstClr val="black"/>
                </a:solidFill>
                <a:latin typeface="Calibri"/>
                <a:ea typeface="Calibri"/>
                <a:cs typeface="Times New Roman"/>
              </a:rPr>
              <a:t>Increased use of structured markets</a:t>
            </a:r>
            <a:endParaRPr lang="en-US" sz="923" kern="0" dirty="0">
              <a:solidFill>
                <a:prstClr val="black"/>
              </a:solidFill>
              <a:latin typeface="Calibri"/>
              <a:ea typeface="Calibri"/>
              <a:cs typeface="Times New Roman"/>
            </a:endParaRPr>
          </a:p>
        </p:txBody>
      </p:sp>
      <p:sp>
        <p:nvSpPr>
          <p:cNvPr id="16" name="Rectangle 24"/>
          <p:cNvSpPr>
            <a:spLocks noChangeArrowheads="1"/>
          </p:cNvSpPr>
          <p:nvPr/>
        </p:nvSpPr>
        <p:spPr bwMode="auto">
          <a:xfrm>
            <a:off x="2945789" y="3100748"/>
            <a:ext cx="867508" cy="1852474"/>
          </a:xfrm>
          <a:prstGeom prst="rect">
            <a:avLst/>
          </a:prstGeom>
          <a:solidFill>
            <a:srgbClr val="FFFFFF"/>
          </a:solidFill>
          <a:ln w="12700" algn="ctr">
            <a:solidFill>
              <a:srgbClr val="FFC000"/>
            </a:solidFill>
            <a:prstDash val="sysDot"/>
            <a:miter lim="800000"/>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defTabSz="843984">
              <a:lnSpc>
                <a:spcPct val="115000"/>
              </a:lnSpc>
              <a:spcBef>
                <a:spcPct val="0"/>
              </a:spcBef>
              <a:buNone/>
              <a:defRPr/>
            </a:pPr>
            <a:r>
              <a:rPr lang="en-US" altLang="en-US" sz="923" b="1" kern="0" dirty="0">
                <a:solidFill>
                  <a:srgbClr val="000000"/>
                </a:solidFill>
                <a:ea typeface="Calibri" panose="020F0502020204030204" pitchFamily="34" charset="0"/>
                <a:cs typeface="Times New Roman" panose="02020603050405020304" pitchFamily="18" charset="0"/>
              </a:rPr>
              <a:t>Outcome 3: Reduced post-harvest losses</a:t>
            </a:r>
            <a:endParaRPr lang="en-US" altLang="en-US" sz="923" kern="0" dirty="0">
              <a:solidFill>
                <a:srgbClr val="000000"/>
              </a:solidFill>
              <a:ea typeface="Calibri" panose="020F0502020204030204" pitchFamily="34" charset="0"/>
              <a:cs typeface="Times New Roman" panose="02020603050405020304" pitchFamily="18" charset="0"/>
            </a:endParaRPr>
          </a:p>
        </p:txBody>
      </p:sp>
      <p:sp>
        <p:nvSpPr>
          <p:cNvPr id="17" name="Rectangle 16"/>
          <p:cNvSpPr/>
          <p:nvPr/>
        </p:nvSpPr>
        <p:spPr>
          <a:xfrm>
            <a:off x="1125782" y="3091957"/>
            <a:ext cx="851389" cy="1867585"/>
          </a:xfrm>
          <a:prstGeom prst="rect">
            <a:avLst/>
          </a:prstGeom>
          <a:solidFill>
            <a:srgbClr val="FFFFFF"/>
          </a:solidFill>
          <a:ln w="19050" cap="flat" cmpd="sng" algn="ctr">
            <a:solidFill>
              <a:srgbClr val="3A669C"/>
            </a:solidFill>
            <a:prstDash val="solid"/>
          </a:ln>
          <a:effectLst/>
        </p:spPr>
        <p:txBody>
          <a:bodyPr anchor="ctr"/>
          <a:lstStyle/>
          <a:p>
            <a:pPr algn="ctr" defTabSz="843984">
              <a:lnSpc>
                <a:spcPct val="115000"/>
              </a:lnSpc>
              <a:defRPr/>
            </a:pPr>
            <a:r>
              <a:rPr lang="en-US" sz="923" b="1" kern="0" dirty="0">
                <a:solidFill>
                  <a:prstClr val="black"/>
                </a:solidFill>
                <a:latin typeface="Calibri"/>
                <a:ea typeface="Calibri"/>
                <a:cs typeface="Times New Roman"/>
              </a:rPr>
              <a:t>Outcome 1: Strengthened agricultural input systems, technology development and supply chain</a:t>
            </a:r>
            <a:endParaRPr lang="en-US" sz="923" kern="0" dirty="0">
              <a:solidFill>
                <a:prstClr val="black"/>
              </a:solidFill>
              <a:latin typeface="Calibri"/>
              <a:ea typeface="Calibri"/>
              <a:cs typeface="Times New Roman"/>
            </a:endParaRPr>
          </a:p>
        </p:txBody>
      </p:sp>
      <p:sp>
        <p:nvSpPr>
          <p:cNvPr id="18" name="Rectangle 28"/>
          <p:cNvSpPr>
            <a:spLocks noChangeArrowheads="1"/>
          </p:cNvSpPr>
          <p:nvPr/>
        </p:nvSpPr>
        <p:spPr bwMode="auto">
          <a:xfrm>
            <a:off x="3907081" y="3091955"/>
            <a:ext cx="945174" cy="1885717"/>
          </a:xfrm>
          <a:prstGeom prst="rect">
            <a:avLst/>
          </a:prstGeom>
          <a:solidFill>
            <a:srgbClr val="FFFFFF"/>
          </a:solidFill>
          <a:ln w="12700" algn="ctr">
            <a:solidFill>
              <a:srgbClr val="FFC000"/>
            </a:solidFill>
            <a:prstDash val="sysDot"/>
            <a:miter lim="800000"/>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defTabSz="843984">
              <a:lnSpc>
                <a:spcPct val="115000"/>
              </a:lnSpc>
              <a:spcBef>
                <a:spcPct val="0"/>
              </a:spcBef>
              <a:buNone/>
              <a:defRPr/>
            </a:pPr>
            <a:r>
              <a:rPr lang="en-US" altLang="en-US" sz="923" b="1" kern="0" dirty="0">
                <a:solidFill>
                  <a:srgbClr val="000000"/>
                </a:solidFill>
                <a:ea typeface="Calibri" panose="020F0502020204030204" pitchFamily="34" charset="0"/>
                <a:cs typeface="Times New Roman" panose="02020603050405020304" pitchFamily="18" charset="0"/>
              </a:rPr>
              <a:t>Outcome 4: </a:t>
            </a:r>
          </a:p>
          <a:p>
            <a:pPr algn="ctr" defTabSz="843984">
              <a:lnSpc>
                <a:spcPct val="115000"/>
              </a:lnSpc>
              <a:spcBef>
                <a:spcPct val="0"/>
              </a:spcBef>
              <a:buNone/>
              <a:defRPr/>
            </a:pPr>
            <a:r>
              <a:rPr lang="en-US" altLang="en-US" sz="923" b="1" kern="0" dirty="0">
                <a:solidFill>
                  <a:srgbClr val="000000"/>
                </a:solidFill>
                <a:ea typeface="Calibri" panose="020F0502020204030204" pitchFamily="34" charset="0"/>
                <a:cs typeface="Times New Roman" panose="02020603050405020304" pitchFamily="18" charset="0"/>
              </a:rPr>
              <a:t>Increased agricultural employment and entrepreneurship</a:t>
            </a:r>
            <a:endParaRPr lang="en-US" altLang="en-US" sz="923" kern="0" dirty="0">
              <a:solidFill>
                <a:srgbClr val="000000"/>
              </a:solidFill>
              <a:ea typeface="Calibri" panose="020F0502020204030204" pitchFamily="34" charset="0"/>
              <a:cs typeface="Times New Roman" panose="02020603050405020304" pitchFamily="18" charset="0"/>
            </a:endParaRPr>
          </a:p>
        </p:txBody>
      </p:sp>
      <p:sp>
        <p:nvSpPr>
          <p:cNvPr id="19" name="Rectangle 18"/>
          <p:cNvSpPr/>
          <p:nvPr/>
        </p:nvSpPr>
        <p:spPr>
          <a:xfrm>
            <a:off x="1119920" y="5068869"/>
            <a:ext cx="1547446" cy="1172504"/>
          </a:xfrm>
          <a:prstGeom prst="rect">
            <a:avLst/>
          </a:prstGeom>
          <a:solidFill>
            <a:srgbClr val="FFFFFF"/>
          </a:solidFill>
          <a:ln w="12700" cap="flat" cmpd="sng" algn="ctr">
            <a:solidFill>
              <a:sysClr val="window" lastClr="FFFFFF">
                <a:lumMod val="75000"/>
              </a:sysClr>
            </a:solidFill>
            <a:prstDash val="solid"/>
          </a:ln>
          <a:effectLst/>
        </p:spPr>
        <p:txBody>
          <a:bodyPr anchor="ctr"/>
          <a:lstStyle/>
          <a:p>
            <a:pPr algn="ctr" defTabSz="843984">
              <a:lnSpc>
                <a:spcPct val="115000"/>
              </a:lnSpc>
              <a:defRPr/>
            </a:pPr>
            <a:r>
              <a:rPr lang="en-US" sz="1108" b="1" kern="0" dirty="0">
                <a:solidFill>
                  <a:sysClr val="windowText" lastClr="000000"/>
                </a:solidFill>
                <a:latin typeface="Calibri"/>
                <a:ea typeface="Calibri"/>
                <a:cs typeface="Times New Roman"/>
              </a:rPr>
              <a:t>9. Strengthened regional and national agricultural enabling policy environment</a:t>
            </a:r>
            <a:endParaRPr lang="en-US" sz="1108" kern="0" dirty="0">
              <a:solidFill>
                <a:sysClr val="windowText" lastClr="000000"/>
              </a:solidFill>
              <a:latin typeface="Calibri"/>
              <a:ea typeface="Calibri"/>
              <a:cs typeface="Times New Roman"/>
            </a:endParaRPr>
          </a:p>
        </p:txBody>
      </p:sp>
      <p:sp>
        <p:nvSpPr>
          <p:cNvPr id="20" name="Rectangle 19"/>
          <p:cNvSpPr/>
          <p:nvPr/>
        </p:nvSpPr>
        <p:spPr>
          <a:xfrm>
            <a:off x="2667366" y="5068869"/>
            <a:ext cx="1547446" cy="1172504"/>
          </a:xfrm>
          <a:prstGeom prst="rect">
            <a:avLst/>
          </a:prstGeom>
          <a:solidFill>
            <a:srgbClr val="FFFFFF"/>
          </a:solidFill>
          <a:ln w="12700" cap="flat" cmpd="sng" algn="ctr">
            <a:solidFill>
              <a:sysClr val="window" lastClr="FFFFFF">
                <a:lumMod val="75000"/>
              </a:sysClr>
            </a:solidFill>
            <a:prstDash val="solid"/>
          </a:ln>
          <a:effectLst/>
        </p:spPr>
        <p:txBody>
          <a:bodyPr anchor="ctr"/>
          <a:lstStyle/>
          <a:p>
            <a:pPr algn="ctr" defTabSz="843984">
              <a:lnSpc>
                <a:spcPct val="115000"/>
              </a:lnSpc>
              <a:defRPr/>
            </a:pPr>
            <a:r>
              <a:rPr lang="en-US" sz="1108" b="1" kern="0" dirty="0">
                <a:solidFill>
                  <a:sysClr val="windowText" lastClr="000000"/>
                </a:solidFill>
                <a:latin typeface="Calibri"/>
                <a:ea typeface="Calibri"/>
                <a:cs typeface="Times New Roman"/>
              </a:rPr>
              <a:t>10. Increased women empowerment and livelihoods in agriculture</a:t>
            </a:r>
            <a:endParaRPr lang="en-US" sz="1108" kern="0" dirty="0">
              <a:solidFill>
                <a:sysClr val="windowText" lastClr="000000"/>
              </a:solidFill>
              <a:latin typeface="Calibri"/>
              <a:ea typeface="Calibri"/>
              <a:cs typeface="Times New Roman"/>
            </a:endParaRPr>
          </a:p>
        </p:txBody>
      </p:sp>
      <p:sp>
        <p:nvSpPr>
          <p:cNvPr id="21" name="Rectangle 20"/>
          <p:cNvSpPr/>
          <p:nvPr/>
        </p:nvSpPr>
        <p:spPr>
          <a:xfrm>
            <a:off x="4214815" y="5068869"/>
            <a:ext cx="1545981" cy="1172504"/>
          </a:xfrm>
          <a:prstGeom prst="rect">
            <a:avLst/>
          </a:prstGeom>
          <a:solidFill>
            <a:srgbClr val="FFFFFF"/>
          </a:solidFill>
          <a:ln w="12700" cap="flat" cmpd="sng" algn="ctr">
            <a:solidFill>
              <a:sysClr val="window" lastClr="FFFFFF">
                <a:lumMod val="75000"/>
              </a:sysClr>
            </a:solidFill>
            <a:prstDash val="solid"/>
          </a:ln>
          <a:effectLst/>
        </p:spPr>
        <p:txBody>
          <a:bodyPr anchor="ctr"/>
          <a:lstStyle/>
          <a:p>
            <a:pPr algn="ctr" defTabSz="843984">
              <a:lnSpc>
                <a:spcPct val="115000"/>
              </a:lnSpc>
              <a:defRPr/>
            </a:pPr>
            <a:r>
              <a:rPr lang="en-US" sz="1108" b="1" kern="0" dirty="0">
                <a:solidFill>
                  <a:sysClr val="windowText" lastClr="000000"/>
                </a:solidFill>
                <a:latin typeface="Calibri"/>
                <a:ea typeface="Calibri"/>
                <a:cs typeface="Times New Roman"/>
              </a:rPr>
              <a:t>11. Increased youth empowerment and livelihoods in agriculture</a:t>
            </a:r>
            <a:endParaRPr lang="en-US" sz="1108" kern="0" dirty="0">
              <a:solidFill>
                <a:sysClr val="windowText" lastClr="000000"/>
              </a:solidFill>
              <a:latin typeface="Calibri"/>
              <a:ea typeface="Calibri"/>
              <a:cs typeface="Times New Roman"/>
            </a:endParaRPr>
          </a:p>
        </p:txBody>
      </p:sp>
      <p:sp>
        <p:nvSpPr>
          <p:cNvPr id="22" name="Rectangle 21"/>
          <p:cNvSpPr/>
          <p:nvPr/>
        </p:nvSpPr>
        <p:spPr>
          <a:xfrm>
            <a:off x="5760793" y="5068869"/>
            <a:ext cx="1575288" cy="1172504"/>
          </a:xfrm>
          <a:prstGeom prst="rect">
            <a:avLst/>
          </a:prstGeom>
          <a:solidFill>
            <a:srgbClr val="FFFFFF"/>
          </a:solidFill>
          <a:ln w="12700" cap="flat" cmpd="sng" algn="ctr">
            <a:solidFill>
              <a:sysClr val="window" lastClr="FFFFFF">
                <a:lumMod val="75000"/>
              </a:sysClr>
            </a:solidFill>
            <a:prstDash val="solid"/>
          </a:ln>
          <a:effectLst/>
        </p:spPr>
        <p:txBody>
          <a:bodyPr anchor="ctr"/>
          <a:lstStyle/>
          <a:p>
            <a:pPr algn="ctr" defTabSz="843984">
              <a:lnSpc>
                <a:spcPct val="115000"/>
              </a:lnSpc>
              <a:defRPr/>
            </a:pPr>
            <a:r>
              <a:rPr lang="en-US" sz="1108" b="1" kern="0" dirty="0">
                <a:solidFill>
                  <a:sysClr val="windowText" lastClr="000000"/>
                </a:solidFill>
                <a:latin typeface="Calibri"/>
                <a:ea typeface="Calibri"/>
                <a:cs typeface="Times New Roman"/>
              </a:rPr>
              <a:t>12. Strengthened capacity for farmers and other focus agricultural value chain actors</a:t>
            </a:r>
            <a:endParaRPr lang="en-US" sz="1108" kern="0" dirty="0">
              <a:solidFill>
                <a:sysClr val="windowText" lastClr="000000"/>
              </a:solidFill>
              <a:latin typeface="Calibri"/>
              <a:ea typeface="Calibri"/>
              <a:cs typeface="Times New Roman"/>
            </a:endParaRPr>
          </a:p>
        </p:txBody>
      </p:sp>
      <p:cxnSp>
        <p:nvCxnSpPr>
          <p:cNvPr id="23" name="Straight Connector 22"/>
          <p:cNvCxnSpPr/>
          <p:nvPr/>
        </p:nvCxnSpPr>
        <p:spPr>
          <a:xfrm>
            <a:off x="1519973" y="2945416"/>
            <a:ext cx="7060223" cy="4396"/>
          </a:xfrm>
          <a:prstGeom prst="line">
            <a:avLst/>
          </a:prstGeom>
          <a:noFill/>
          <a:ln w="25400" cap="flat" cmpd="sng" algn="ctr">
            <a:solidFill>
              <a:srgbClr val="BBBBBF">
                <a:lumMod val="75000"/>
              </a:srgbClr>
            </a:solidFill>
            <a:prstDash val="solid"/>
          </a:ln>
          <a:effectLst>
            <a:outerShdw blurRad="40000" dist="20000" dir="5400000" rotWithShape="0">
              <a:srgbClr val="000000">
                <a:alpha val="38000"/>
              </a:srgbClr>
            </a:outerShdw>
          </a:effectLst>
        </p:spPr>
      </p:cxnSp>
      <p:cxnSp>
        <p:nvCxnSpPr>
          <p:cNvPr id="24" name="Straight Connector 23"/>
          <p:cNvCxnSpPr/>
          <p:nvPr/>
        </p:nvCxnSpPr>
        <p:spPr>
          <a:xfrm>
            <a:off x="1531693" y="2946884"/>
            <a:ext cx="0" cy="271979"/>
          </a:xfrm>
          <a:prstGeom prst="line">
            <a:avLst/>
          </a:prstGeom>
          <a:noFill/>
          <a:ln w="25400" cap="flat" cmpd="sng" algn="ctr">
            <a:solidFill>
              <a:srgbClr val="BBBBBF">
                <a:lumMod val="75000"/>
              </a:srgbClr>
            </a:solidFill>
            <a:prstDash val="solid"/>
          </a:ln>
          <a:effectLst>
            <a:outerShdw blurRad="40000" dist="20000" dir="5400000" rotWithShape="0">
              <a:srgbClr val="000000">
                <a:alpha val="38000"/>
              </a:srgbClr>
            </a:outerShdw>
          </a:effectLst>
        </p:spPr>
      </p:cxnSp>
      <p:cxnSp>
        <p:nvCxnSpPr>
          <p:cNvPr id="25" name="Straight Connector 24"/>
          <p:cNvCxnSpPr/>
          <p:nvPr/>
        </p:nvCxnSpPr>
        <p:spPr>
          <a:xfrm>
            <a:off x="2465143" y="2961535"/>
            <a:ext cx="0" cy="256870"/>
          </a:xfrm>
          <a:prstGeom prst="line">
            <a:avLst/>
          </a:prstGeom>
          <a:noFill/>
          <a:ln w="25400" cap="flat" cmpd="sng" algn="ctr">
            <a:solidFill>
              <a:srgbClr val="BBBBBF">
                <a:lumMod val="75000"/>
              </a:srgbClr>
            </a:solidFill>
            <a:prstDash val="solid"/>
          </a:ln>
          <a:effectLst>
            <a:outerShdw blurRad="40000" dist="20000" dir="5400000" rotWithShape="0">
              <a:srgbClr val="000000">
                <a:alpha val="38000"/>
              </a:srgbClr>
            </a:outerShdw>
          </a:effectLst>
        </p:spPr>
      </p:cxnSp>
      <p:cxnSp>
        <p:nvCxnSpPr>
          <p:cNvPr id="26" name="Straight Connector 25"/>
          <p:cNvCxnSpPr>
            <a:endCxn id="16" idx="0"/>
          </p:cNvCxnSpPr>
          <p:nvPr/>
        </p:nvCxnSpPr>
        <p:spPr>
          <a:xfrm>
            <a:off x="3379543" y="2946881"/>
            <a:ext cx="0" cy="153866"/>
          </a:xfrm>
          <a:prstGeom prst="line">
            <a:avLst/>
          </a:prstGeom>
          <a:noFill/>
          <a:ln w="25400" cap="flat" cmpd="sng" algn="ctr">
            <a:solidFill>
              <a:srgbClr val="BBBBBF">
                <a:lumMod val="75000"/>
              </a:srgbClr>
            </a:solidFill>
            <a:prstDash val="solid"/>
          </a:ln>
          <a:effectLst>
            <a:outerShdw blurRad="40000" dist="20000" dir="5400000" rotWithShape="0">
              <a:srgbClr val="000000">
                <a:alpha val="38000"/>
              </a:srgbClr>
            </a:outerShdw>
          </a:effectLst>
        </p:spPr>
      </p:cxnSp>
      <p:cxnSp>
        <p:nvCxnSpPr>
          <p:cNvPr id="27" name="Straight Connector 26"/>
          <p:cNvCxnSpPr/>
          <p:nvPr/>
        </p:nvCxnSpPr>
        <p:spPr>
          <a:xfrm>
            <a:off x="4359886" y="2952745"/>
            <a:ext cx="0" cy="253847"/>
          </a:xfrm>
          <a:prstGeom prst="line">
            <a:avLst/>
          </a:prstGeom>
          <a:noFill/>
          <a:ln w="25400" cap="flat" cmpd="sng" algn="ctr">
            <a:solidFill>
              <a:srgbClr val="BBBBBF">
                <a:lumMod val="75000"/>
              </a:srgbClr>
            </a:solidFill>
            <a:prstDash val="solid"/>
          </a:ln>
          <a:effectLst>
            <a:outerShdw blurRad="40000" dist="20000" dir="5400000" rotWithShape="0">
              <a:srgbClr val="000000">
                <a:alpha val="38000"/>
              </a:srgbClr>
            </a:outerShdw>
          </a:effectLst>
        </p:spPr>
      </p:cxnSp>
      <p:cxnSp>
        <p:nvCxnSpPr>
          <p:cNvPr id="28" name="Straight Connector 27"/>
          <p:cNvCxnSpPr/>
          <p:nvPr/>
        </p:nvCxnSpPr>
        <p:spPr>
          <a:xfrm>
            <a:off x="7613039" y="2946883"/>
            <a:ext cx="0" cy="268957"/>
          </a:xfrm>
          <a:prstGeom prst="line">
            <a:avLst/>
          </a:prstGeom>
          <a:noFill/>
          <a:ln w="25400" cap="flat" cmpd="sng" algn="ctr">
            <a:solidFill>
              <a:srgbClr val="BBBBBF">
                <a:lumMod val="75000"/>
              </a:srgbClr>
            </a:solidFill>
            <a:prstDash val="solid"/>
          </a:ln>
          <a:effectLst>
            <a:outerShdw blurRad="40000" dist="20000" dir="5400000" rotWithShape="0">
              <a:srgbClr val="000000">
                <a:alpha val="38000"/>
              </a:srgbClr>
            </a:outerShdw>
          </a:effectLst>
        </p:spPr>
      </p:cxnSp>
      <p:cxnSp>
        <p:nvCxnSpPr>
          <p:cNvPr id="29" name="Straight Connector 28"/>
          <p:cNvCxnSpPr/>
          <p:nvPr/>
        </p:nvCxnSpPr>
        <p:spPr>
          <a:xfrm>
            <a:off x="5420824" y="2961537"/>
            <a:ext cx="0" cy="271979"/>
          </a:xfrm>
          <a:prstGeom prst="line">
            <a:avLst/>
          </a:prstGeom>
          <a:noFill/>
          <a:ln w="25400" cap="flat" cmpd="sng" algn="ctr">
            <a:solidFill>
              <a:srgbClr val="BBBBBF">
                <a:lumMod val="75000"/>
              </a:srgbClr>
            </a:solidFill>
            <a:prstDash val="solid"/>
          </a:ln>
          <a:effectLst>
            <a:outerShdw blurRad="40000" dist="20000" dir="5400000" rotWithShape="0">
              <a:srgbClr val="000000">
                <a:alpha val="38000"/>
              </a:srgbClr>
            </a:outerShdw>
          </a:effectLst>
        </p:spPr>
      </p:cxnSp>
      <p:cxnSp>
        <p:nvCxnSpPr>
          <p:cNvPr id="30" name="Straight Connector 29"/>
          <p:cNvCxnSpPr/>
          <p:nvPr/>
        </p:nvCxnSpPr>
        <p:spPr>
          <a:xfrm>
            <a:off x="6500812" y="2945419"/>
            <a:ext cx="0" cy="305219"/>
          </a:xfrm>
          <a:prstGeom prst="line">
            <a:avLst/>
          </a:prstGeom>
          <a:noFill/>
          <a:ln w="25400" cap="flat" cmpd="sng" algn="ctr">
            <a:solidFill>
              <a:srgbClr val="BBBBBF">
                <a:lumMod val="75000"/>
              </a:srgbClr>
            </a:solidFill>
            <a:prstDash val="solid"/>
          </a:ln>
          <a:effectLst>
            <a:outerShdw blurRad="40000" dist="20000" dir="5400000" rotWithShape="0">
              <a:srgbClr val="000000">
                <a:alpha val="38000"/>
              </a:srgbClr>
            </a:outerShdw>
          </a:effectLst>
        </p:spPr>
      </p:cxnSp>
      <p:cxnSp>
        <p:nvCxnSpPr>
          <p:cNvPr id="31" name="Straight Connector 30"/>
          <p:cNvCxnSpPr>
            <a:endCxn id="13" idx="0"/>
          </p:cNvCxnSpPr>
          <p:nvPr/>
        </p:nvCxnSpPr>
        <p:spPr>
          <a:xfrm>
            <a:off x="8571402" y="2945417"/>
            <a:ext cx="1" cy="139212"/>
          </a:xfrm>
          <a:prstGeom prst="line">
            <a:avLst/>
          </a:prstGeom>
          <a:noFill/>
          <a:ln w="25400" cap="flat" cmpd="sng" algn="ctr">
            <a:solidFill>
              <a:srgbClr val="BBBBBF">
                <a:lumMod val="75000"/>
              </a:srgbClr>
            </a:solidFill>
            <a:prstDash val="solid"/>
          </a:ln>
          <a:effectLst>
            <a:outerShdw blurRad="40000" dist="20000" dir="5400000" rotWithShape="0">
              <a:srgbClr val="000000">
                <a:alpha val="38000"/>
              </a:srgbClr>
            </a:outerShdw>
          </a:effectLst>
        </p:spPr>
      </p:cxnSp>
      <p:sp>
        <p:nvSpPr>
          <p:cNvPr id="32" name="Up Arrow 31"/>
          <p:cNvSpPr/>
          <p:nvPr/>
        </p:nvSpPr>
        <p:spPr>
          <a:xfrm>
            <a:off x="1993290" y="2851634"/>
            <a:ext cx="93785" cy="101111"/>
          </a:xfrm>
          <a:prstGeom prst="upArrow">
            <a:avLst/>
          </a:prstGeom>
          <a:solidFill>
            <a:sysClr val="window" lastClr="FFFFFF">
              <a:lumMod val="85000"/>
            </a:sysClr>
          </a:solidFill>
          <a:ln w="25400" cap="flat" cmpd="sng" algn="ctr">
            <a:solidFill>
              <a:srgbClr val="BBBBBF">
                <a:lumMod val="75000"/>
              </a:srgbClr>
            </a:solidFill>
            <a:prstDash val="solid"/>
          </a:ln>
          <a:effectLst/>
        </p:spPr>
        <p:txBody>
          <a:bodyPr anchor="ctr"/>
          <a:lstStyle/>
          <a:p>
            <a:pPr defTabSz="843984">
              <a:defRPr/>
            </a:pPr>
            <a:endParaRPr lang="en-US" sz="1662" kern="0" dirty="0">
              <a:solidFill>
                <a:sysClr val="window" lastClr="FFFFFF"/>
              </a:solidFill>
              <a:latin typeface="Calibri"/>
            </a:endParaRPr>
          </a:p>
        </p:txBody>
      </p:sp>
      <p:sp>
        <p:nvSpPr>
          <p:cNvPr id="33" name="Up Arrow 32"/>
          <p:cNvSpPr/>
          <p:nvPr/>
        </p:nvSpPr>
        <p:spPr>
          <a:xfrm>
            <a:off x="3907082" y="2848704"/>
            <a:ext cx="93785" cy="101111"/>
          </a:xfrm>
          <a:prstGeom prst="upArrow">
            <a:avLst/>
          </a:prstGeom>
          <a:solidFill>
            <a:sysClr val="window" lastClr="FFFFFF">
              <a:lumMod val="85000"/>
            </a:sysClr>
          </a:solidFill>
          <a:ln w="25400" cap="flat" cmpd="sng" algn="ctr">
            <a:solidFill>
              <a:srgbClr val="BBBBBF">
                <a:lumMod val="75000"/>
              </a:srgbClr>
            </a:solidFill>
            <a:prstDash val="solid"/>
          </a:ln>
          <a:effectLst/>
        </p:spPr>
        <p:txBody>
          <a:bodyPr anchor="ctr"/>
          <a:lstStyle/>
          <a:p>
            <a:pPr defTabSz="843984">
              <a:defRPr/>
            </a:pPr>
            <a:endParaRPr lang="en-US" sz="1662" kern="0" dirty="0">
              <a:solidFill>
                <a:sysClr val="windowText" lastClr="000000"/>
              </a:solidFill>
              <a:latin typeface="Calibri"/>
            </a:endParaRPr>
          </a:p>
        </p:txBody>
      </p:sp>
      <p:sp>
        <p:nvSpPr>
          <p:cNvPr id="34" name="Up Arrow 33"/>
          <p:cNvSpPr/>
          <p:nvPr/>
        </p:nvSpPr>
        <p:spPr>
          <a:xfrm>
            <a:off x="5923451" y="2845773"/>
            <a:ext cx="93785" cy="101111"/>
          </a:xfrm>
          <a:prstGeom prst="upArrow">
            <a:avLst/>
          </a:prstGeom>
          <a:solidFill>
            <a:sysClr val="window" lastClr="FFFFFF">
              <a:lumMod val="85000"/>
            </a:sysClr>
          </a:solidFill>
          <a:ln w="25400" cap="flat" cmpd="sng" algn="ctr">
            <a:solidFill>
              <a:srgbClr val="BBBBBF">
                <a:lumMod val="75000"/>
              </a:srgbClr>
            </a:solidFill>
            <a:prstDash val="solid"/>
          </a:ln>
          <a:effectLst/>
        </p:spPr>
        <p:txBody>
          <a:bodyPr anchor="ctr"/>
          <a:lstStyle/>
          <a:p>
            <a:pPr defTabSz="843984">
              <a:defRPr/>
            </a:pPr>
            <a:endParaRPr lang="en-US" sz="1662" kern="0" dirty="0">
              <a:solidFill>
                <a:sysClr val="windowText" lastClr="000000"/>
              </a:solidFill>
              <a:latin typeface="Calibri"/>
            </a:endParaRPr>
          </a:p>
        </p:txBody>
      </p:sp>
      <p:sp>
        <p:nvSpPr>
          <p:cNvPr id="35" name="Up Arrow 34"/>
          <p:cNvSpPr/>
          <p:nvPr/>
        </p:nvSpPr>
        <p:spPr>
          <a:xfrm>
            <a:off x="8103944" y="2853097"/>
            <a:ext cx="93785" cy="101112"/>
          </a:xfrm>
          <a:prstGeom prst="upArrow">
            <a:avLst/>
          </a:prstGeom>
          <a:solidFill>
            <a:sysClr val="window" lastClr="FFFFFF">
              <a:lumMod val="85000"/>
            </a:sysClr>
          </a:solidFill>
          <a:ln w="25400" cap="flat" cmpd="sng" algn="ctr">
            <a:solidFill>
              <a:srgbClr val="BBBBBF">
                <a:lumMod val="75000"/>
              </a:srgbClr>
            </a:solidFill>
            <a:prstDash val="solid"/>
          </a:ln>
          <a:effectLst/>
        </p:spPr>
        <p:txBody>
          <a:bodyPr anchor="ctr"/>
          <a:lstStyle/>
          <a:p>
            <a:pPr defTabSz="843984">
              <a:defRPr/>
            </a:pPr>
            <a:endParaRPr lang="en-US" sz="1662" kern="0" dirty="0">
              <a:solidFill>
                <a:sysClr val="windowText" lastClr="000000"/>
              </a:solidFill>
              <a:latin typeface="Calibri"/>
            </a:endParaRPr>
          </a:p>
        </p:txBody>
      </p:sp>
      <p:sp>
        <p:nvSpPr>
          <p:cNvPr id="36" name="Rectangle 35"/>
          <p:cNvSpPr/>
          <p:nvPr/>
        </p:nvSpPr>
        <p:spPr>
          <a:xfrm>
            <a:off x="738292" y="5015676"/>
            <a:ext cx="331806" cy="1266092"/>
          </a:xfrm>
          <a:prstGeom prst="rect">
            <a:avLst/>
          </a:prstGeom>
          <a:solidFill>
            <a:sysClr val="window" lastClr="FFFFFF"/>
          </a:solidFill>
          <a:ln w="9525" cap="flat" cmpd="sng" algn="ctr">
            <a:solidFill>
              <a:sysClr val="window" lastClr="FFFFFF">
                <a:lumMod val="75000"/>
              </a:sysClr>
            </a:solidFill>
            <a:prstDash val="sysDot"/>
          </a:ln>
          <a:effectLst/>
        </p:spPr>
        <p:txBody>
          <a:bodyPr vert="vert270" anchor="ctr"/>
          <a:lstStyle/>
          <a:p>
            <a:pPr algn="ctr" defTabSz="843984">
              <a:lnSpc>
                <a:spcPct val="115000"/>
              </a:lnSpc>
              <a:defRPr/>
            </a:pPr>
            <a:r>
              <a:rPr lang="en-US" sz="1108" b="1" dirty="0">
                <a:solidFill>
                  <a:srgbClr val="404040"/>
                </a:solidFill>
                <a:latin typeface="Calibri"/>
                <a:ea typeface="Calibri"/>
                <a:cs typeface="Times New Roman"/>
              </a:rPr>
              <a:t>Cross-cutting outcomes</a:t>
            </a:r>
            <a:endParaRPr lang="en-US" sz="1108" dirty="0">
              <a:solidFill>
                <a:prstClr val="black"/>
              </a:solidFill>
              <a:latin typeface="Calibri"/>
              <a:ea typeface="Calibri"/>
              <a:cs typeface="Times New Roman"/>
            </a:endParaRPr>
          </a:p>
        </p:txBody>
      </p:sp>
      <p:sp>
        <p:nvSpPr>
          <p:cNvPr id="37" name="Rectangle 36"/>
          <p:cNvSpPr/>
          <p:nvPr/>
        </p:nvSpPr>
        <p:spPr>
          <a:xfrm>
            <a:off x="738292" y="2945068"/>
            <a:ext cx="331806" cy="2172201"/>
          </a:xfrm>
          <a:prstGeom prst="rect">
            <a:avLst/>
          </a:prstGeom>
          <a:solidFill>
            <a:sysClr val="window" lastClr="FFFFFF"/>
          </a:solidFill>
          <a:ln w="9525" cap="flat" cmpd="sng" algn="ctr">
            <a:solidFill>
              <a:sysClr val="window" lastClr="FFFFFF">
                <a:lumMod val="75000"/>
              </a:sysClr>
            </a:solidFill>
            <a:prstDash val="sysDot"/>
          </a:ln>
          <a:effectLst/>
        </p:spPr>
        <p:txBody>
          <a:bodyPr vert="vert270" anchor="ctr"/>
          <a:lstStyle/>
          <a:p>
            <a:pPr algn="ctr" defTabSz="843984">
              <a:lnSpc>
                <a:spcPct val="115000"/>
              </a:lnSpc>
              <a:defRPr/>
            </a:pPr>
            <a:r>
              <a:rPr lang="en-US" sz="1015" b="1" dirty="0">
                <a:solidFill>
                  <a:srgbClr val="404040"/>
                </a:solidFill>
                <a:latin typeface="Calibri"/>
                <a:ea typeface="Calibri"/>
                <a:cs typeface="Times New Roman"/>
              </a:rPr>
              <a:t>Primary Outcomes</a:t>
            </a:r>
            <a:endParaRPr lang="en-US" sz="1015" dirty="0">
              <a:solidFill>
                <a:prstClr val="black"/>
              </a:solidFill>
              <a:latin typeface="Calibri"/>
              <a:ea typeface="Calibri"/>
              <a:cs typeface="Times New Roman"/>
            </a:endParaRPr>
          </a:p>
        </p:txBody>
      </p:sp>
      <p:sp>
        <p:nvSpPr>
          <p:cNvPr id="38" name="Rectangle 37"/>
          <p:cNvSpPr/>
          <p:nvPr/>
        </p:nvSpPr>
        <p:spPr>
          <a:xfrm>
            <a:off x="738292" y="2020761"/>
            <a:ext cx="331806" cy="924306"/>
          </a:xfrm>
          <a:prstGeom prst="rect">
            <a:avLst/>
          </a:prstGeom>
          <a:solidFill>
            <a:sysClr val="window" lastClr="FFFFFF"/>
          </a:solidFill>
          <a:ln w="9525" cap="flat" cmpd="sng" algn="ctr">
            <a:solidFill>
              <a:sysClr val="window" lastClr="FFFFFF">
                <a:lumMod val="75000"/>
              </a:sysClr>
            </a:solidFill>
            <a:prstDash val="sysDot"/>
          </a:ln>
          <a:effectLst/>
        </p:spPr>
        <p:txBody>
          <a:bodyPr vert="vert270" anchor="ctr"/>
          <a:lstStyle/>
          <a:p>
            <a:pPr algn="ctr" defTabSz="843984">
              <a:lnSpc>
                <a:spcPct val="115000"/>
              </a:lnSpc>
              <a:defRPr/>
            </a:pPr>
            <a:r>
              <a:rPr lang="en-US" sz="1108" b="1" dirty="0">
                <a:solidFill>
                  <a:srgbClr val="404040"/>
                </a:solidFill>
                <a:latin typeface="Calibri"/>
                <a:ea typeface="Calibri"/>
                <a:cs typeface="Times New Roman"/>
              </a:rPr>
              <a:t>Objectives </a:t>
            </a:r>
            <a:endParaRPr lang="en-US" sz="1108" dirty="0">
              <a:solidFill>
                <a:prstClr val="black"/>
              </a:solidFill>
              <a:latin typeface="Calibri"/>
              <a:ea typeface="Calibri"/>
              <a:cs typeface="Times New Roman"/>
            </a:endParaRPr>
          </a:p>
        </p:txBody>
      </p:sp>
      <p:cxnSp>
        <p:nvCxnSpPr>
          <p:cNvPr id="39" name="Straight Connector 38"/>
          <p:cNvCxnSpPr/>
          <p:nvPr/>
        </p:nvCxnSpPr>
        <p:spPr>
          <a:xfrm>
            <a:off x="3312135" y="1293854"/>
            <a:ext cx="0" cy="102577"/>
          </a:xfrm>
          <a:prstGeom prst="line">
            <a:avLst/>
          </a:prstGeom>
          <a:noFill/>
          <a:ln w="19050" cap="flat" cmpd="sng" algn="ctr">
            <a:solidFill>
              <a:srgbClr val="000000">
                <a:lumMod val="65000"/>
                <a:lumOff val="35000"/>
              </a:srgbClr>
            </a:solidFill>
            <a:prstDash val="sysDot"/>
          </a:ln>
          <a:effectLst/>
        </p:spPr>
      </p:cxnSp>
      <p:cxnSp>
        <p:nvCxnSpPr>
          <p:cNvPr id="40" name="Straight Connector 39"/>
          <p:cNvCxnSpPr/>
          <p:nvPr/>
        </p:nvCxnSpPr>
        <p:spPr>
          <a:xfrm>
            <a:off x="6184289" y="1293854"/>
            <a:ext cx="0" cy="102577"/>
          </a:xfrm>
          <a:prstGeom prst="line">
            <a:avLst/>
          </a:prstGeom>
          <a:noFill/>
          <a:ln w="19050" cap="flat" cmpd="sng" algn="ctr">
            <a:solidFill>
              <a:srgbClr val="000000">
                <a:lumMod val="65000"/>
                <a:lumOff val="35000"/>
              </a:srgbClr>
            </a:solidFill>
            <a:prstDash val="sysDot"/>
          </a:ln>
          <a:effectLst/>
        </p:spPr>
      </p:cxnSp>
      <p:sp>
        <p:nvSpPr>
          <p:cNvPr id="41" name="Rectangle 40"/>
          <p:cNvSpPr/>
          <p:nvPr/>
        </p:nvSpPr>
        <p:spPr>
          <a:xfrm>
            <a:off x="7122136" y="3091957"/>
            <a:ext cx="981808" cy="1903849"/>
          </a:xfrm>
          <a:prstGeom prst="rect">
            <a:avLst/>
          </a:prstGeom>
          <a:solidFill>
            <a:srgbClr val="FFFFFF"/>
          </a:solidFill>
          <a:ln w="19050" cap="flat" cmpd="sng" algn="ctr">
            <a:solidFill>
              <a:srgbClr val="00B0F0"/>
            </a:solidFill>
            <a:prstDash val="solid"/>
          </a:ln>
          <a:effectLst/>
        </p:spPr>
        <p:txBody>
          <a:bodyPr anchor="ctr"/>
          <a:lstStyle/>
          <a:p>
            <a:pPr algn="ctr" defTabSz="843984">
              <a:lnSpc>
                <a:spcPct val="115000"/>
              </a:lnSpc>
              <a:defRPr/>
            </a:pPr>
            <a:r>
              <a:rPr lang="en-US" sz="923" b="1" kern="0" dirty="0">
                <a:solidFill>
                  <a:prstClr val="black"/>
                </a:solidFill>
                <a:latin typeface="Calibri"/>
                <a:ea typeface="Calibri"/>
                <a:cs typeface="Times New Roman"/>
              </a:rPr>
              <a:t>Outcome 7: </a:t>
            </a:r>
          </a:p>
          <a:p>
            <a:pPr algn="ctr" defTabSz="843984">
              <a:lnSpc>
                <a:spcPct val="115000"/>
              </a:lnSpc>
              <a:defRPr/>
            </a:pPr>
            <a:r>
              <a:rPr lang="en-US" sz="923" b="1" kern="0" dirty="0">
                <a:solidFill>
                  <a:prstClr val="black"/>
                </a:solidFill>
                <a:latin typeface="Calibri"/>
                <a:ea typeface="Calibri"/>
                <a:cs typeface="Times New Roman"/>
              </a:rPr>
              <a:t>Reduced impact of agricultural volatility</a:t>
            </a:r>
            <a:endParaRPr lang="en-US" sz="923" kern="0" dirty="0">
              <a:solidFill>
                <a:prstClr val="black"/>
              </a:solidFill>
              <a:latin typeface="Calibri"/>
              <a:ea typeface="Calibri"/>
              <a:cs typeface="Times New Roman"/>
            </a:endParaRPr>
          </a:p>
        </p:txBody>
      </p:sp>
      <p:cxnSp>
        <p:nvCxnSpPr>
          <p:cNvPr id="42" name="Straight Connector 41"/>
          <p:cNvCxnSpPr>
            <a:stCxn id="16" idx="0"/>
          </p:cNvCxnSpPr>
          <p:nvPr/>
        </p:nvCxnSpPr>
        <p:spPr>
          <a:xfrm flipH="1">
            <a:off x="2945789" y="3100749"/>
            <a:ext cx="433754" cy="1"/>
          </a:xfrm>
          <a:prstGeom prst="line">
            <a:avLst/>
          </a:prstGeom>
          <a:noFill/>
          <a:ln w="19050" cap="flat" cmpd="sng" algn="ctr">
            <a:solidFill>
              <a:srgbClr val="92D050"/>
            </a:solidFill>
            <a:prstDash val="solid"/>
          </a:ln>
          <a:effectLst/>
        </p:spPr>
      </p:cxnSp>
      <p:cxnSp>
        <p:nvCxnSpPr>
          <p:cNvPr id="43" name="Straight Connector 42"/>
          <p:cNvCxnSpPr/>
          <p:nvPr/>
        </p:nvCxnSpPr>
        <p:spPr>
          <a:xfrm>
            <a:off x="2945789" y="3083165"/>
            <a:ext cx="0" cy="1867585"/>
          </a:xfrm>
          <a:prstGeom prst="line">
            <a:avLst/>
          </a:prstGeom>
          <a:noFill/>
          <a:ln w="19050" cap="flat" cmpd="sng" algn="ctr">
            <a:solidFill>
              <a:srgbClr val="92D050"/>
            </a:solidFill>
            <a:prstDash val="solid"/>
          </a:ln>
          <a:effectLst/>
        </p:spPr>
      </p:cxnSp>
      <p:cxnSp>
        <p:nvCxnSpPr>
          <p:cNvPr id="44" name="Straight Connector 43"/>
          <p:cNvCxnSpPr>
            <a:stCxn id="16" idx="0"/>
          </p:cNvCxnSpPr>
          <p:nvPr/>
        </p:nvCxnSpPr>
        <p:spPr>
          <a:xfrm>
            <a:off x="3379543" y="3100749"/>
            <a:ext cx="433754" cy="1"/>
          </a:xfrm>
          <a:prstGeom prst="line">
            <a:avLst/>
          </a:prstGeom>
          <a:noFill/>
          <a:ln w="19050" cap="flat" cmpd="sng" algn="ctr">
            <a:solidFill>
              <a:srgbClr val="7030A0"/>
            </a:solidFill>
            <a:prstDash val="solid"/>
          </a:ln>
          <a:effectLst/>
        </p:spPr>
      </p:cxnSp>
      <p:cxnSp>
        <p:nvCxnSpPr>
          <p:cNvPr id="45" name="Straight Connector 44"/>
          <p:cNvCxnSpPr/>
          <p:nvPr/>
        </p:nvCxnSpPr>
        <p:spPr>
          <a:xfrm>
            <a:off x="3813297" y="3091956"/>
            <a:ext cx="0" cy="1885717"/>
          </a:xfrm>
          <a:prstGeom prst="line">
            <a:avLst/>
          </a:prstGeom>
          <a:noFill/>
          <a:ln w="19050" cap="flat" cmpd="sng" algn="ctr">
            <a:solidFill>
              <a:srgbClr val="7030A0"/>
            </a:solidFill>
            <a:prstDash val="solid"/>
          </a:ln>
          <a:effectLst/>
        </p:spPr>
      </p:cxnSp>
      <p:cxnSp>
        <p:nvCxnSpPr>
          <p:cNvPr id="46" name="Straight Connector 45"/>
          <p:cNvCxnSpPr/>
          <p:nvPr/>
        </p:nvCxnSpPr>
        <p:spPr>
          <a:xfrm flipH="1" flipV="1">
            <a:off x="3907081" y="3090489"/>
            <a:ext cx="463062" cy="1466"/>
          </a:xfrm>
          <a:prstGeom prst="line">
            <a:avLst/>
          </a:prstGeom>
          <a:noFill/>
          <a:ln w="19050" cap="flat" cmpd="sng" algn="ctr">
            <a:solidFill>
              <a:srgbClr val="92D050"/>
            </a:solidFill>
            <a:prstDash val="solid"/>
          </a:ln>
          <a:effectLst/>
        </p:spPr>
      </p:cxnSp>
      <p:cxnSp>
        <p:nvCxnSpPr>
          <p:cNvPr id="47" name="Straight Connector 46"/>
          <p:cNvCxnSpPr/>
          <p:nvPr/>
        </p:nvCxnSpPr>
        <p:spPr>
          <a:xfrm>
            <a:off x="3902687" y="3074371"/>
            <a:ext cx="10561" cy="1885717"/>
          </a:xfrm>
          <a:prstGeom prst="line">
            <a:avLst/>
          </a:prstGeom>
          <a:noFill/>
          <a:ln w="19050" cap="flat" cmpd="sng" algn="ctr">
            <a:solidFill>
              <a:srgbClr val="92D050"/>
            </a:solidFill>
            <a:prstDash val="solid"/>
          </a:ln>
          <a:effectLst/>
        </p:spPr>
      </p:cxnSp>
      <p:cxnSp>
        <p:nvCxnSpPr>
          <p:cNvPr id="48" name="Straight Connector 47"/>
          <p:cNvCxnSpPr>
            <a:stCxn id="18" idx="0"/>
          </p:cNvCxnSpPr>
          <p:nvPr/>
        </p:nvCxnSpPr>
        <p:spPr>
          <a:xfrm flipV="1">
            <a:off x="4379668" y="3090490"/>
            <a:ext cx="472588" cy="1464"/>
          </a:xfrm>
          <a:prstGeom prst="line">
            <a:avLst/>
          </a:prstGeom>
          <a:noFill/>
          <a:ln w="19050" cap="flat" cmpd="sng" algn="ctr">
            <a:solidFill>
              <a:srgbClr val="7030A0"/>
            </a:solidFill>
            <a:prstDash val="solid"/>
          </a:ln>
          <a:effectLst/>
        </p:spPr>
      </p:cxnSp>
      <p:cxnSp>
        <p:nvCxnSpPr>
          <p:cNvPr id="49" name="Straight Connector 48"/>
          <p:cNvCxnSpPr/>
          <p:nvPr/>
        </p:nvCxnSpPr>
        <p:spPr>
          <a:xfrm>
            <a:off x="4852255" y="3090492"/>
            <a:ext cx="0" cy="1906871"/>
          </a:xfrm>
          <a:prstGeom prst="line">
            <a:avLst/>
          </a:prstGeom>
          <a:noFill/>
          <a:ln w="19050" cap="flat" cmpd="sng" algn="ctr">
            <a:solidFill>
              <a:srgbClr val="7030A0"/>
            </a:solidFill>
            <a:prstDash val="solid"/>
          </a:ln>
          <a:effectLst/>
        </p:spPr>
      </p:cxnSp>
      <p:cxnSp>
        <p:nvCxnSpPr>
          <p:cNvPr id="50" name="Straight Connector 49"/>
          <p:cNvCxnSpPr>
            <a:stCxn id="14" idx="0"/>
          </p:cNvCxnSpPr>
          <p:nvPr/>
        </p:nvCxnSpPr>
        <p:spPr>
          <a:xfrm flipH="1">
            <a:off x="6017236" y="3100748"/>
            <a:ext cx="498231" cy="1"/>
          </a:xfrm>
          <a:prstGeom prst="line">
            <a:avLst/>
          </a:prstGeom>
          <a:noFill/>
          <a:ln w="19050" cap="flat" cmpd="sng" algn="ctr">
            <a:solidFill>
              <a:srgbClr val="7030A0"/>
            </a:solidFill>
            <a:prstDash val="solid"/>
          </a:ln>
          <a:effectLst/>
        </p:spPr>
      </p:cxnSp>
      <p:cxnSp>
        <p:nvCxnSpPr>
          <p:cNvPr id="51" name="Straight Connector 50"/>
          <p:cNvCxnSpPr/>
          <p:nvPr/>
        </p:nvCxnSpPr>
        <p:spPr>
          <a:xfrm>
            <a:off x="6017235" y="3090490"/>
            <a:ext cx="0" cy="1888740"/>
          </a:xfrm>
          <a:prstGeom prst="line">
            <a:avLst/>
          </a:prstGeom>
          <a:noFill/>
          <a:ln w="19050" cap="flat" cmpd="sng" algn="ctr">
            <a:solidFill>
              <a:srgbClr val="7030A0"/>
            </a:solidFill>
            <a:prstDash val="solid"/>
          </a:ln>
          <a:effectLst/>
        </p:spPr>
      </p:cxnSp>
      <p:cxnSp>
        <p:nvCxnSpPr>
          <p:cNvPr id="52" name="Straight Connector 51"/>
          <p:cNvCxnSpPr>
            <a:stCxn id="14" idx="0"/>
          </p:cNvCxnSpPr>
          <p:nvPr/>
        </p:nvCxnSpPr>
        <p:spPr>
          <a:xfrm>
            <a:off x="6515467" y="3100748"/>
            <a:ext cx="498231" cy="1"/>
          </a:xfrm>
          <a:prstGeom prst="line">
            <a:avLst/>
          </a:prstGeom>
          <a:noFill/>
          <a:ln w="19050" cap="flat" cmpd="sng" algn="ctr">
            <a:solidFill>
              <a:srgbClr val="00B0F0"/>
            </a:solidFill>
            <a:prstDash val="solid"/>
          </a:ln>
          <a:effectLst/>
        </p:spPr>
      </p:cxnSp>
      <p:cxnSp>
        <p:nvCxnSpPr>
          <p:cNvPr id="53" name="Straight Connector 52"/>
          <p:cNvCxnSpPr/>
          <p:nvPr/>
        </p:nvCxnSpPr>
        <p:spPr>
          <a:xfrm>
            <a:off x="7013697" y="3100748"/>
            <a:ext cx="0" cy="1885717"/>
          </a:xfrm>
          <a:prstGeom prst="line">
            <a:avLst/>
          </a:prstGeom>
          <a:noFill/>
          <a:ln w="19050" cap="flat" cmpd="sng" algn="ctr">
            <a:solidFill>
              <a:srgbClr val="00B0F0"/>
            </a:solidFill>
            <a:prstDash val="solid"/>
          </a:ln>
          <a:effectLst/>
        </p:spPr>
      </p:cxnSp>
      <p:sp>
        <p:nvSpPr>
          <p:cNvPr id="54" name="Rectangle 53"/>
          <p:cNvSpPr/>
          <p:nvPr/>
        </p:nvSpPr>
        <p:spPr>
          <a:xfrm>
            <a:off x="7336081" y="5068869"/>
            <a:ext cx="1647092" cy="1172504"/>
          </a:xfrm>
          <a:prstGeom prst="rect">
            <a:avLst/>
          </a:prstGeom>
          <a:solidFill>
            <a:srgbClr val="FFFFFF"/>
          </a:solidFill>
          <a:ln w="12700" cap="flat" cmpd="sng" algn="ctr">
            <a:solidFill>
              <a:sysClr val="window" lastClr="FFFFFF">
                <a:lumMod val="75000"/>
              </a:sysClr>
            </a:solidFill>
            <a:prstDash val="solid"/>
          </a:ln>
          <a:effectLst/>
        </p:spPr>
        <p:txBody>
          <a:bodyPr anchor="ctr"/>
          <a:lstStyle/>
          <a:p>
            <a:pPr algn="ctr" defTabSz="843984">
              <a:lnSpc>
                <a:spcPct val="115000"/>
              </a:lnSpc>
              <a:defRPr/>
            </a:pPr>
            <a:r>
              <a:rPr lang="en-US" sz="1108" b="1" kern="0" dirty="0">
                <a:solidFill>
                  <a:sysClr val="windowText" lastClr="000000"/>
                </a:solidFill>
                <a:latin typeface="Calibri"/>
                <a:ea typeface="Calibri"/>
                <a:cs typeface="Times New Roman"/>
              </a:rPr>
              <a:t>13. </a:t>
            </a:r>
            <a:r>
              <a:rPr lang="en-US" sz="1108" b="1" kern="0" dirty="0">
                <a:solidFill>
                  <a:prstClr val="black"/>
                </a:solidFill>
                <a:latin typeface="Calibri"/>
                <a:ea typeface="Calibri"/>
                <a:cs typeface="Times New Roman"/>
              </a:rPr>
              <a:t>Strengthened Public and Private Partnerships in agriculture</a:t>
            </a:r>
            <a:endParaRPr lang="en-US" sz="1108" kern="0" dirty="0">
              <a:solidFill>
                <a:prstClr val="black"/>
              </a:solidFill>
              <a:latin typeface="Calibri"/>
              <a:ea typeface="Calibri"/>
              <a:cs typeface="Times New Roman"/>
            </a:endParaRPr>
          </a:p>
        </p:txBody>
      </p:sp>
    </p:spTree>
    <p:extLst>
      <p:ext uri="{BB962C8B-B14F-4D97-AF65-F5344CB8AC3E}">
        <p14:creationId xmlns:p14="http://schemas.microsoft.com/office/powerpoint/2010/main" val="79233634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p:cNvGraphicFramePr>
            <a:graphicFrameLocks noChangeAspect="1"/>
          </p:cNvGraphicFramePr>
          <p:nvPr>
            <p:custDataLst>
              <p:tags r:id="rId2"/>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spid="_x0000_s169998" name="think-cell Slide" r:id="rId5" imgW="470" imgH="469" progId="TCLayout.ActiveDocument.1">
                  <p:embed/>
                </p:oleObj>
              </mc:Choice>
              <mc:Fallback>
                <p:oleObj name="think-cell Slide" r:id="rId5" imgW="470" imgH="469" progId="TCLayout.ActiveDocument.1">
                  <p:embed/>
                  <p:pic>
                    <p:nvPicPr>
                      <p:cNvPr id="42" name="Object 41" hidden="1"/>
                      <p:cNvPicPr/>
                      <p:nvPr/>
                    </p:nvPicPr>
                    <p:blipFill>
                      <a:blip r:embed="rId6"/>
                      <a:stretch>
                        <a:fillRect/>
                      </a:stretch>
                    </p:blipFill>
                    <p:spPr>
                      <a:xfrm>
                        <a:off x="929978" y="644228"/>
                        <a:ext cx="1290" cy="1290"/>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90000"/>
              </a:lnSpc>
              <a:spcBef>
                <a:spcPct val="0"/>
              </a:spcBef>
              <a:spcAft>
                <a:spcPct val="0"/>
              </a:spcAft>
              <a:buClr>
                <a:srgbClr val="000000"/>
              </a:buClr>
              <a:buSzTx/>
              <a:buFont typeface="Arial"/>
              <a:buNone/>
              <a:tabLst/>
              <a:defRPr/>
            </a:pPr>
            <a:endParaRPr kumimoji="0" lang="en-US" sz="2031"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 name="Rectangle 5"/>
          <p:cNvSpPr/>
          <p:nvPr/>
        </p:nvSpPr>
        <p:spPr>
          <a:xfrm>
            <a:off x="1279440" y="1710000"/>
            <a:ext cx="4118924" cy="1485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975" b="1" i="0" u="none" strike="noStrike" kern="0" cap="none" spc="0" normalizeH="0" baseline="0" noProof="0" dirty="0">
              <a:ln>
                <a:noFill/>
              </a:ln>
              <a:solidFill>
                <a:srgbClr val="70AD47">
                  <a:lumMod val="50000"/>
                </a:srgbClr>
              </a:solidFill>
              <a:effectLst/>
              <a:uLnTx/>
              <a:uFillTx/>
              <a:latin typeface="Arial" panose="020B0604020202020204" pitchFamily="34" charset="0"/>
              <a:ea typeface="+mn-ea"/>
              <a:cs typeface="Arial" panose="020B0604020202020204" pitchFamily="34" charset="0"/>
              <a:sym typeface="Arial"/>
            </a:endParaRPr>
          </a:p>
        </p:txBody>
      </p:sp>
      <p:grpSp>
        <p:nvGrpSpPr>
          <p:cNvPr id="7" name="Group 6"/>
          <p:cNvGrpSpPr/>
          <p:nvPr/>
        </p:nvGrpSpPr>
        <p:grpSpPr>
          <a:xfrm>
            <a:off x="1134175" y="2253287"/>
            <a:ext cx="6264886" cy="2883889"/>
            <a:chOff x="314424" y="2562513"/>
            <a:chExt cx="6185754" cy="2569379"/>
          </a:xfrm>
        </p:grpSpPr>
        <p:sp>
          <p:nvSpPr>
            <p:cNvPr id="8" name="Rectangle 7"/>
            <p:cNvSpPr/>
            <p:nvPr/>
          </p:nvSpPr>
          <p:spPr>
            <a:xfrm>
              <a:off x="314424" y="2562513"/>
              <a:ext cx="6185754" cy="2569379"/>
            </a:xfrm>
            <a:prstGeom prst="rect">
              <a:avLst/>
            </a:prstGeom>
            <a:solidFill>
              <a:schemeClr val="tx2">
                <a:lumMod val="40000"/>
                <a:lumOff val="6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53"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Outcomes </a:t>
              </a:r>
            </a:p>
          </p:txBody>
        </p:sp>
        <p:sp>
          <p:nvSpPr>
            <p:cNvPr id="9" name="Rectangle 8"/>
            <p:cNvSpPr/>
            <p:nvPr/>
          </p:nvSpPr>
          <p:spPr>
            <a:xfrm>
              <a:off x="379032" y="4179623"/>
              <a:ext cx="5856833" cy="782978"/>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731"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731"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Public Sector / governments have </a:t>
              </a:r>
            </a:p>
            <a:p>
              <a:pPr marL="139303" marR="0" lvl="0" indent="-139303"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73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Sector strategies defining priority areas for investment and policy reform</a:t>
              </a:r>
            </a:p>
            <a:p>
              <a:pPr marL="139303" marR="0" lvl="0" indent="-139303"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73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Mobilized public sector, development partners and non-state actors to invest in /implement priority programs  that drive agricultural transformation and facilitate regional trade</a:t>
              </a:r>
            </a:p>
            <a:p>
              <a:pPr marL="139303" marR="0" lvl="0" indent="-139303"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73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Better coordinated sector investment programs</a:t>
              </a:r>
            </a:p>
            <a:p>
              <a:pPr marL="139303" marR="0" lvl="0" indent="-139303"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73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Is championing the necessary policy reforms to drive agricultural transformation and facilitate  regional trade</a:t>
              </a:r>
            </a:p>
            <a:p>
              <a:pPr marL="139303" marR="0" lvl="0" indent="-139303"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73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Accountability systems that sustain commitment, encourage results focus and ensure delivery</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73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1" name="Rectangle 10"/>
            <p:cNvSpPr/>
            <p:nvPr/>
          </p:nvSpPr>
          <p:spPr>
            <a:xfrm>
              <a:off x="376676" y="2722661"/>
              <a:ext cx="2226428" cy="1357926"/>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731"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731"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731"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731"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The public sector </a:t>
              </a:r>
            </a:p>
            <a:p>
              <a:pPr marL="139303" marR="0" lvl="0" indent="-139303"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73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Increased public sector investments in agriculture</a:t>
              </a:r>
            </a:p>
            <a:p>
              <a:pPr marL="139303" marR="0" lvl="0" indent="-139303"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73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Public sector investments are generating priority and sufficient public goods that de-risk the sector</a:t>
              </a:r>
            </a:p>
            <a:p>
              <a:pPr marL="139303" marR="0" lvl="0" indent="-139303"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73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Appropriate policies providing incentives for private sector investments including public private partnerships in place and operational</a:t>
              </a:r>
            </a:p>
            <a:p>
              <a:pPr marL="139303" marR="0" lvl="0" indent="-139303"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73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Mutual accountability systems and platforms that are aligned to the continental scorecard in place and operational</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73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73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grpSp>
      <p:grpSp>
        <p:nvGrpSpPr>
          <p:cNvPr id="19" name="Group 18"/>
          <p:cNvGrpSpPr/>
          <p:nvPr/>
        </p:nvGrpSpPr>
        <p:grpSpPr>
          <a:xfrm>
            <a:off x="1134175" y="1292602"/>
            <a:ext cx="6240997" cy="912879"/>
            <a:chOff x="314813" y="1316708"/>
            <a:chExt cx="5113471" cy="838389"/>
          </a:xfrm>
        </p:grpSpPr>
        <p:sp>
          <p:nvSpPr>
            <p:cNvPr id="21" name="Rectangle 20"/>
            <p:cNvSpPr/>
            <p:nvPr/>
          </p:nvSpPr>
          <p:spPr>
            <a:xfrm>
              <a:off x="314813" y="1316708"/>
              <a:ext cx="5113471" cy="838389"/>
            </a:xfrm>
            <a:prstGeom prst="rect">
              <a:avLst/>
            </a:prstGeom>
            <a:solidFill>
              <a:schemeClr val="accent2">
                <a:lumMod val="20000"/>
                <a:lumOff val="8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65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65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65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65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65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65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975" b="0" i="0" u="none" strike="noStrike" kern="0" cap="none" spc="0" normalizeH="0" baseline="0" noProof="0" dirty="0">
                <a:ln>
                  <a:noFill/>
                </a:ln>
                <a:solidFill>
                  <a:srgbClr val="70AD47">
                    <a:lumMod val="50000"/>
                  </a:srgbClr>
                </a:solidFill>
                <a:effectLst/>
                <a:uLnTx/>
                <a:uFillTx/>
                <a:latin typeface="Arial" panose="020B0604020202020204" pitchFamily="34" charset="0"/>
                <a:ea typeface="+mn-ea"/>
                <a:cs typeface="Arial" panose="020B0604020202020204" pitchFamily="34" charset="0"/>
                <a:sym typeface="Arial"/>
              </a:endParaRPr>
            </a:p>
          </p:txBody>
        </p:sp>
        <p:sp>
          <p:nvSpPr>
            <p:cNvPr id="22" name="Rectangle 21"/>
            <p:cNvSpPr/>
            <p:nvPr/>
          </p:nvSpPr>
          <p:spPr>
            <a:xfrm>
              <a:off x="388756" y="1657221"/>
              <a:ext cx="1505486" cy="428100"/>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13"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Increased productivity </a:t>
              </a:r>
              <a:r>
                <a:rPr kumimoji="0" lang="en-US" sz="813" b="0" i="1"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more productive small holder farming units and SMEs )</a:t>
              </a:r>
            </a:p>
          </p:txBody>
        </p:sp>
        <p:sp>
          <p:nvSpPr>
            <p:cNvPr id="24" name="Rectangle 23"/>
            <p:cNvSpPr/>
            <p:nvPr/>
          </p:nvSpPr>
          <p:spPr>
            <a:xfrm>
              <a:off x="368426" y="1335250"/>
              <a:ext cx="4246825" cy="285689"/>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94"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Increased incomes and improved food security</a:t>
              </a:r>
            </a:p>
          </p:txBody>
        </p:sp>
      </p:grpSp>
      <p:sp>
        <p:nvSpPr>
          <p:cNvPr id="28" name="Rectangle 27"/>
          <p:cNvSpPr/>
          <p:nvPr/>
        </p:nvSpPr>
        <p:spPr>
          <a:xfrm>
            <a:off x="7636060" y="2461759"/>
            <a:ext cx="1694003" cy="2345818"/>
          </a:xfrm>
          <a:prstGeom prst="rect">
            <a:avLst/>
          </a:prstGeom>
          <a:ln>
            <a:solidFill>
              <a:schemeClr val="tx1"/>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813"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Partnership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813"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Work with partners at all levels to:</a:t>
            </a:r>
          </a:p>
          <a:p>
            <a:pPr marL="232172" marR="0" lvl="0" indent="-232172"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GB" sz="813"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Crowd in private capital in  support of small-holder agricultural development </a:t>
            </a:r>
          </a:p>
          <a:p>
            <a:pPr marL="232172" marR="0" lvl="0" indent="-232172"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GB" sz="813"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Derive synergies and reduce duplication of effort likelihood of transformation within </a:t>
            </a:r>
          </a:p>
          <a:p>
            <a:pPr marL="232172" marR="0" lvl="0" indent="-232172"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GB" sz="813"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Derive synergies in order to increase the reach of AGRA’s investments (impact at scale)</a:t>
            </a:r>
          </a:p>
        </p:txBody>
      </p:sp>
      <p:sp>
        <p:nvSpPr>
          <p:cNvPr id="34" name="Up Arrow 33"/>
          <p:cNvSpPr/>
          <p:nvPr/>
        </p:nvSpPr>
        <p:spPr>
          <a:xfrm>
            <a:off x="509033" y="1292602"/>
            <a:ext cx="207040" cy="4611392"/>
          </a:xfrm>
          <a:prstGeom prst="upArrow">
            <a:avLst/>
          </a:prstGeom>
          <a:solidFill>
            <a:schemeClr val="tx1">
              <a:lumMod val="65000"/>
              <a:lumOff val="3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138" b="0" i="0" u="none" strike="noStrike" kern="0" cap="none" spc="0" normalizeH="0" baseline="0" noProof="0" dirty="0">
              <a:ln>
                <a:noFill/>
              </a:ln>
              <a:solidFill>
                <a:srgbClr val="70AD47">
                  <a:lumMod val="50000"/>
                </a:srgbClr>
              </a:solidFill>
              <a:effectLst/>
              <a:uLnTx/>
              <a:uFillTx/>
              <a:latin typeface="Arial" panose="020B0604020202020204" pitchFamily="34" charset="0"/>
              <a:ea typeface="+mn-ea"/>
              <a:cs typeface="Arial" panose="020B0604020202020204" pitchFamily="34" charset="0"/>
              <a:sym typeface="Arial"/>
            </a:endParaRPr>
          </a:p>
        </p:txBody>
      </p:sp>
      <p:grpSp>
        <p:nvGrpSpPr>
          <p:cNvPr id="36" name="Group 35"/>
          <p:cNvGrpSpPr/>
          <p:nvPr/>
        </p:nvGrpSpPr>
        <p:grpSpPr>
          <a:xfrm>
            <a:off x="670062" y="1143686"/>
            <a:ext cx="410331" cy="4919723"/>
            <a:chOff x="9026706" y="127976"/>
            <a:chExt cx="458874" cy="6055043"/>
          </a:xfrm>
        </p:grpSpPr>
        <p:sp>
          <p:nvSpPr>
            <p:cNvPr id="37" name="TextBox 36"/>
            <p:cNvSpPr txBox="1"/>
            <p:nvPr/>
          </p:nvSpPr>
          <p:spPr>
            <a:xfrm rot="16200000" flipH="1">
              <a:off x="8451695" y="5274676"/>
              <a:ext cx="1545639" cy="27104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13"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What AGRA </a:t>
              </a:r>
              <a:r>
                <a:rPr kumimoji="0" lang="en-US" sz="975"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does</a:t>
              </a:r>
            </a:p>
          </p:txBody>
        </p:sp>
        <p:sp>
          <p:nvSpPr>
            <p:cNvPr id="38" name="TextBox 37"/>
            <p:cNvSpPr txBox="1"/>
            <p:nvPr/>
          </p:nvSpPr>
          <p:spPr>
            <a:xfrm rot="16200000" flipH="1">
              <a:off x="8471278" y="683404"/>
              <a:ext cx="1493908" cy="38305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13"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AGRA’s Strategic Goals</a:t>
              </a:r>
            </a:p>
          </p:txBody>
        </p:sp>
        <p:sp>
          <p:nvSpPr>
            <p:cNvPr id="39" name="TextBox 38"/>
            <p:cNvSpPr txBox="1"/>
            <p:nvPr/>
          </p:nvSpPr>
          <p:spPr>
            <a:xfrm rot="16200000" flipH="1">
              <a:off x="7751602" y="2844567"/>
              <a:ext cx="3084903" cy="38305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13"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So that the target population, institution or resource change </a:t>
              </a:r>
            </a:p>
          </p:txBody>
        </p:sp>
      </p:grpSp>
      <p:sp>
        <p:nvSpPr>
          <p:cNvPr id="40" name="Rectangle 39"/>
          <p:cNvSpPr/>
          <p:nvPr/>
        </p:nvSpPr>
        <p:spPr>
          <a:xfrm>
            <a:off x="1202851" y="5039682"/>
            <a:ext cx="6172321" cy="864312"/>
          </a:xfrm>
          <a:prstGeom prst="rect">
            <a:avLst/>
          </a:prstGeom>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813"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Investment areas </a:t>
            </a:r>
          </a:p>
          <a:p>
            <a:pPr marL="232172" marR="0" lvl="0" indent="-232172"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813"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Develop appropriate sector strategies and investment plans for agricultural transformation</a:t>
            </a:r>
          </a:p>
          <a:p>
            <a:pPr marL="232172" marR="0" lvl="0" indent="-232172"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813"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Formulate appropriate policies that catalyze and sustain agricultural transformation and promote regional trade</a:t>
            </a:r>
          </a:p>
          <a:p>
            <a:pPr marL="232172" marR="0" lvl="0" indent="-232172"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813"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Implement sector plans and policies in order to  generate sufficient public goods that de-risk the sector, attract   private capital   investment and facilitate regional trade </a:t>
            </a:r>
          </a:p>
          <a:p>
            <a:pPr marL="139303" marR="0" lvl="0" indent="-139303"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813"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50" name="Rectangle 49">
            <a:extLst>
              <a:ext uri="{FF2B5EF4-FFF2-40B4-BE49-F238E27FC236}">
                <a16:creationId xmlns="" xmlns:a16="http://schemas.microsoft.com/office/drawing/2014/main" id="{DF0A37FE-9961-7446-A9D2-C6C2F70CDB9E}"/>
              </a:ext>
            </a:extLst>
          </p:cNvPr>
          <p:cNvSpPr/>
          <p:nvPr/>
        </p:nvSpPr>
        <p:spPr>
          <a:xfrm>
            <a:off x="5512512" y="1663370"/>
            <a:ext cx="1418683" cy="430921"/>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13"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Increased resilience (more adaptive and  resilient households  to shocks)</a:t>
            </a:r>
          </a:p>
        </p:txBody>
      </p:sp>
      <p:sp>
        <p:nvSpPr>
          <p:cNvPr id="27" name="Rectangle 26">
            <a:extLst>
              <a:ext uri="{FF2B5EF4-FFF2-40B4-BE49-F238E27FC236}">
                <a16:creationId xmlns="" xmlns:a16="http://schemas.microsoft.com/office/drawing/2014/main" id="{A3D5872F-A552-8D4A-8F87-345FFF590BB9}"/>
              </a:ext>
            </a:extLst>
          </p:cNvPr>
          <p:cNvSpPr/>
          <p:nvPr/>
        </p:nvSpPr>
        <p:spPr>
          <a:xfrm>
            <a:off x="3539489" y="2433038"/>
            <a:ext cx="1801232" cy="1542786"/>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731" b="1" i="0" u="none" strike="noStrike" kern="0" cap="none" spc="0" normalizeH="0" baseline="0" noProof="0" dirty="0">
              <a:ln>
                <a:noFill/>
              </a:ln>
              <a:solidFill>
                <a:srgbClr val="000000"/>
              </a:solidFill>
              <a:effectLst/>
              <a:uLnTx/>
              <a:uFillTx/>
              <a:latin typeface="Franklin Gothic Medium" panose="020B0603020102020204" pitchFamily="34" charset="0"/>
              <a:ea typeface="+mn-ea"/>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731"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Non-state actors</a:t>
            </a:r>
          </a:p>
          <a:p>
            <a:pPr marL="139303" marR="0" lvl="0" indent="-139303"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73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Increased private sector investment along the value chain (input production and delivery, farm  production, distribution, processing  and retail)</a:t>
            </a:r>
          </a:p>
          <a:p>
            <a:pPr marL="139303" marR="0" lvl="0" indent="-139303"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73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Increased private sector participation in cross-border and domestic trade </a:t>
            </a:r>
          </a:p>
          <a:p>
            <a:pPr marL="139303" marR="0" lvl="0" indent="-139303"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73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Non-state actors actively engaged in the accountability processe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731" b="0" i="0" u="none" strike="noStrike" kern="0" cap="none" spc="0" normalizeH="0" baseline="0" noProof="0" dirty="0">
              <a:ln>
                <a:noFill/>
              </a:ln>
              <a:solidFill>
                <a:srgbClr val="000000"/>
              </a:solidFill>
              <a:effectLst/>
              <a:uLnTx/>
              <a:uFillTx/>
              <a:latin typeface="Franklin Gothic Medium" panose="020B0603020102020204" pitchFamily="34" charset="0"/>
              <a:ea typeface="+mn-ea"/>
              <a:cs typeface="Arial" panose="020B0604020202020204" pitchFamily="34" charset="0"/>
              <a:sym typeface="Arial"/>
            </a:endParaRPr>
          </a:p>
        </p:txBody>
      </p:sp>
      <p:sp>
        <p:nvSpPr>
          <p:cNvPr id="30" name="Rectangle 29">
            <a:extLst>
              <a:ext uri="{FF2B5EF4-FFF2-40B4-BE49-F238E27FC236}">
                <a16:creationId xmlns="" xmlns:a16="http://schemas.microsoft.com/office/drawing/2014/main" id="{1D452AD5-4EF1-BA43-8931-4EE0B7926A9A}"/>
              </a:ext>
            </a:extLst>
          </p:cNvPr>
          <p:cNvSpPr/>
          <p:nvPr/>
        </p:nvSpPr>
        <p:spPr>
          <a:xfrm>
            <a:off x="5398364" y="2410007"/>
            <a:ext cx="1733002" cy="1565816"/>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731" b="1" i="0" u="none" strike="noStrike" kern="0" cap="none" spc="0" normalizeH="0" baseline="0" noProof="0" dirty="0">
              <a:ln>
                <a:noFill/>
              </a:ln>
              <a:solidFill>
                <a:srgbClr val="000000"/>
              </a:solidFill>
              <a:effectLst/>
              <a:uLnTx/>
              <a:uFillTx/>
              <a:latin typeface="Franklin Gothic Medium" panose="020B0603020102020204" pitchFamily="34" charset="0"/>
              <a:ea typeface="+mn-ea"/>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731" b="1" i="0" u="none" strike="noStrike" kern="0" cap="none" spc="0" normalizeH="0" baseline="0" noProof="0" dirty="0">
              <a:ln>
                <a:noFill/>
              </a:ln>
              <a:solidFill>
                <a:srgbClr val="000000"/>
              </a:solidFill>
              <a:effectLst/>
              <a:uLnTx/>
              <a:uFillTx/>
              <a:latin typeface="Franklin Gothic Medium" panose="020B0603020102020204" pitchFamily="34" charset="0"/>
              <a:ea typeface="+mn-ea"/>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731"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Functioning systems</a:t>
            </a:r>
          </a:p>
          <a:p>
            <a:pPr marL="139303" marR="0" lvl="0" indent="-139303"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73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Increased private sector investment along the value chain (input production and delivery, farm  production, distribution, processing  and retail)</a:t>
            </a:r>
          </a:p>
          <a:p>
            <a:pPr marL="139303" marR="0" lvl="0" indent="-139303"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73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Appropriate regulatory framework for the agricultural sector in place and operational</a:t>
            </a:r>
          </a:p>
          <a:p>
            <a:pPr marL="139303" marR="0" lvl="0" indent="-139303"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73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Reduction and elimination of barriers to domestic and regional trade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731" b="0" i="0" u="none" strike="noStrike" kern="0" cap="none" spc="0" normalizeH="0" baseline="0" noProof="0" dirty="0">
                <a:ln>
                  <a:noFill/>
                </a:ln>
                <a:solidFill>
                  <a:srgbClr val="000000"/>
                </a:solidFill>
                <a:effectLst/>
                <a:uLnTx/>
                <a:uFillTx/>
                <a:latin typeface="Franklin Gothic Medium" panose="020B0603020102020204" pitchFamily="34" charset="0"/>
                <a:ea typeface="+mn-ea"/>
                <a:cs typeface="Arial" panose="020B0604020202020204" pitchFamily="34" charset="0"/>
                <a:sym typeface="Arial"/>
              </a:rPr>
              <a:t>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731" b="0" i="0" u="none" strike="noStrike" kern="0" cap="none" spc="0" normalizeH="0" baseline="0" noProof="0" dirty="0">
              <a:ln>
                <a:noFill/>
              </a:ln>
              <a:solidFill>
                <a:srgbClr val="000000"/>
              </a:solidFill>
              <a:effectLst/>
              <a:uLnTx/>
              <a:uFillTx/>
              <a:latin typeface="Franklin Gothic Medium" panose="020B0603020102020204" pitchFamily="34" charset="0"/>
              <a:ea typeface="+mn-ea"/>
              <a:cs typeface="Arial" panose="020B0604020202020204" pitchFamily="34" charset="0"/>
              <a:sym typeface="Arial"/>
            </a:endParaRPr>
          </a:p>
        </p:txBody>
      </p:sp>
      <p:sp>
        <p:nvSpPr>
          <p:cNvPr id="31" name="Rectangle 30">
            <a:extLst>
              <a:ext uri="{FF2B5EF4-FFF2-40B4-BE49-F238E27FC236}">
                <a16:creationId xmlns="" xmlns:a16="http://schemas.microsoft.com/office/drawing/2014/main" id="{779CB063-1254-244C-8F4B-A7CC5C1362DC}"/>
              </a:ext>
            </a:extLst>
          </p:cNvPr>
          <p:cNvSpPr/>
          <p:nvPr/>
        </p:nvSpPr>
        <p:spPr>
          <a:xfrm>
            <a:off x="3414755" y="1671670"/>
            <a:ext cx="2029198" cy="457836"/>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13"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Increased regional trade </a:t>
            </a:r>
            <a:r>
              <a:rPr kumimoji="0" lang="en-US" sz="813" b="0" i="1"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intra-Africa trade) in agricultural commodities and inputs</a:t>
            </a:r>
          </a:p>
        </p:txBody>
      </p:sp>
      <p:sp>
        <p:nvSpPr>
          <p:cNvPr id="32" name="Isosceles Triangle 32">
            <a:extLst>
              <a:ext uri="{FF2B5EF4-FFF2-40B4-BE49-F238E27FC236}">
                <a16:creationId xmlns="" xmlns:a16="http://schemas.microsoft.com/office/drawing/2014/main" id="{3515A01F-68F0-EB46-92DF-90FAD1177975}"/>
              </a:ext>
            </a:extLst>
          </p:cNvPr>
          <p:cNvSpPr/>
          <p:nvPr/>
        </p:nvSpPr>
        <p:spPr>
          <a:xfrm rot="16200000">
            <a:off x="6333755" y="3626015"/>
            <a:ext cx="2413173" cy="84660"/>
          </a:xfrm>
          <a:prstGeom prst="triangle">
            <a:avLst/>
          </a:prstGeom>
          <a:solidFill>
            <a:schemeClr val="bg2">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138" b="0" i="0" u="none" strike="noStrike" kern="0" cap="none" spc="0" normalizeH="0" baseline="0" noProof="0" dirty="0">
              <a:ln>
                <a:noFill/>
              </a:ln>
              <a:solidFill>
                <a:srgbClr val="70AD47">
                  <a:lumMod val="50000"/>
                </a:srgbClr>
              </a:solidFill>
              <a:effectLst/>
              <a:uLnTx/>
              <a:uFillTx/>
              <a:latin typeface="Arial" panose="020B0604020202020204" pitchFamily="34" charset="0"/>
              <a:ea typeface="+mn-ea"/>
              <a:cs typeface="Arial" panose="020B0604020202020204" pitchFamily="34" charset="0"/>
              <a:sym typeface="Arial"/>
            </a:endParaRPr>
          </a:p>
        </p:txBody>
      </p:sp>
      <p:sp>
        <p:nvSpPr>
          <p:cNvPr id="2" name="Title 1"/>
          <p:cNvSpPr>
            <a:spLocks noGrp="1"/>
          </p:cNvSpPr>
          <p:nvPr>
            <p:ph type="title"/>
          </p:nvPr>
        </p:nvSpPr>
        <p:spPr/>
        <p:txBody>
          <a:bodyPr/>
          <a:lstStyle/>
          <a:p>
            <a:r>
              <a:rPr lang="en-US" dirty="0"/>
              <a:t>Policy and State Capability Theory of Change</a:t>
            </a:r>
          </a:p>
        </p:txBody>
      </p:sp>
    </p:spTree>
    <p:extLst>
      <p:ext uri="{BB962C8B-B14F-4D97-AF65-F5344CB8AC3E}">
        <p14:creationId xmlns:p14="http://schemas.microsoft.com/office/powerpoint/2010/main" val="102496481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p:cNvGraphicFramePr>
            <a:graphicFrameLocks noChangeAspect="1"/>
          </p:cNvGraphicFramePr>
          <p:nvPr>
            <p:custDataLst>
              <p:tags r:id="rId2"/>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spid="_x0000_s171022" name="think-cell Slide" r:id="rId5" imgW="470" imgH="469" progId="TCLayout.ActiveDocument.1">
                  <p:embed/>
                </p:oleObj>
              </mc:Choice>
              <mc:Fallback>
                <p:oleObj name="think-cell Slide" r:id="rId5" imgW="470" imgH="469" progId="TCLayout.ActiveDocument.1">
                  <p:embed/>
                  <p:pic>
                    <p:nvPicPr>
                      <p:cNvPr id="42" name="Object 41" hidden="1"/>
                      <p:cNvPicPr/>
                      <p:nvPr/>
                    </p:nvPicPr>
                    <p:blipFill>
                      <a:blip r:embed="rId6"/>
                      <a:stretch>
                        <a:fillRect/>
                      </a:stretch>
                    </p:blipFill>
                    <p:spPr>
                      <a:xfrm>
                        <a:off x="929978" y="644228"/>
                        <a:ext cx="1290" cy="1290"/>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90000"/>
              </a:lnSpc>
              <a:spcBef>
                <a:spcPct val="0"/>
              </a:spcBef>
              <a:spcAft>
                <a:spcPct val="0"/>
              </a:spcAft>
              <a:buClr>
                <a:srgbClr val="000000"/>
              </a:buClr>
              <a:buSzTx/>
              <a:buFont typeface="Arial"/>
              <a:buNone/>
              <a:tabLst/>
              <a:defRPr/>
            </a:pPr>
            <a:endParaRPr kumimoji="0" lang="en-US" sz="2031"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 name="Rectangle 5"/>
          <p:cNvSpPr/>
          <p:nvPr/>
        </p:nvSpPr>
        <p:spPr>
          <a:xfrm>
            <a:off x="1279440" y="1710000"/>
            <a:ext cx="4118924" cy="1485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975" b="1" i="0" u="none" strike="noStrike" kern="0" cap="none" spc="0" normalizeH="0" baseline="0" noProof="0" dirty="0">
              <a:ln>
                <a:noFill/>
              </a:ln>
              <a:solidFill>
                <a:srgbClr val="70AD47">
                  <a:lumMod val="50000"/>
                </a:srgbClr>
              </a:solidFill>
              <a:effectLst/>
              <a:uLnTx/>
              <a:uFillTx/>
              <a:latin typeface="Arial" panose="020B0604020202020204" pitchFamily="34" charset="0"/>
              <a:ea typeface="+mn-ea"/>
              <a:cs typeface="Arial" panose="020B0604020202020204" pitchFamily="34" charset="0"/>
              <a:sym typeface="Arial"/>
            </a:endParaRPr>
          </a:p>
        </p:txBody>
      </p:sp>
      <p:grpSp>
        <p:nvGrpSpPr>
          <p:cNvPr id="7" name="Group 6"/>
          <p:cNvGrpSpPr/>
          <p:nvPr/>
        </p:nvGrpSpPr>
        <p:grpSpPr>
          <a:xfrm>
            <a:off x="1142369" y="2232732"/>
            <a:ext cx="5105719" cy="1788338"/>
            <a:chOff x="314812" y="2552146"/>
            <a:chExt cx="5680818" cy="2201031"/>
          </a:xfrm>
        </p:grpSpPr>
        <p:sp>
          <p:nvSpPr>
            <p:cNvPr id="8" name="Rectangle 7"/>
            <p:cNvSpPr/>
            <p:nvPr/>
          </p:nvSpPr>
          <p:spPr>
            <a:xfrm>
              <a:off x="314812" y="2552146"/>
              <a:ext cx="5680818" cy="2201031"/>
            </a:xfrm>
            <a:prstGeom prst="rect">
              <a:avLst/>
            </a:prstGeom>
            <a:solidFill>
              <a:schemeClr val="tx2">
                <a:lumMod val="40000"/>
                <a:lumOff val="6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53"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Outcomes </a:t>
              </a:r>
            </a:p>
          </p:txBody>
        </p:sp>
        <p:sp>
          <p:nvSpPr>
            <p:cNvPr id="9" name="Rectangle 8"/>
            <p:cNvSpPr/>
            <p:nvPr/>
          </p:nvSpPr>
          <p:spPr>
            <a:xfrm>
              <a:off x="364928" y="2788667"/>
              <a:ext cx="2444852" cy="1223532"/>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731"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731"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Farmers using</a:t>
              </a:r>
            </a:p>
            <a:p>
              <a:pPr marL="139303" marR="0" lvl="0" indent="-139303"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73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 Improved production,  management  technologies and practices </a:t>
              </a:r>
            </a:p>
            <a:p>
              <a:pPr marL="139303" marR="0" lvl="0" indent="-139303"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73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Agricultural credit and financial services </a:t>
              </a:r>
            </a:p>
            <a:p>
              <a:pPr marL="139303" marR="0" lvl="0" indent="-139303"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73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Improved post harvest management technologies and practices</a:t>
              </a:r>
            </a:p>
            <a:p>
              <a:pPr marL="139303" marR="0" lvl="0" indent="-139303"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73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Early warning weather and market intelligence information</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73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1" name="Rectangle 10"/>
            <p:cNvSpPr/>
            <p:nvPr/>
          </p:nvSpPr>
          <p:spPr>
            <a:xfrm>
              <a:off x="3003467" y="2800072"/>
              <a:ext cx="2798476" cy="1212128"/>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731"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731"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Non-state actors</a:t>
              </a:r>
            </a:p>
            <a:p>
              <a:pPr marL="139303" marR="0" lvl="0" indent="-139303"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73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Large, MSMEs  producing and  delivering inputs, extension, services to farmers in response to demand from farmers</a:t>
              </a:r>
            </a:p>
            <a:p>
              <a:pPr marL="139303" marR="0" lvl="0" indent="-139303"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73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  Bank and non-bank institutions providing financial and credit services to MSMEs and farmers </a:t>
              </a:r>
            </a:p>
            <a:p>
              <a:pPr marL="139303" marR="0" lvl="0" indent="-139303"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73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Large, MSMEs providing off-taking,  warehousing and processing services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73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7" name="Rectangle 16"/>
            <p:cNvSpPr/>
            <p:nvPr/>
          </p:nvSpPr>
          <p:spPr>
            <a:xfrm>
              <a:off x="364927" y="4129032"/>
              <a:ext cx="5571713" cy="519168"/>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13"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Farmers and other value chain actors have improved access to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13"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Inputs (fertilizer, seeds); Extension services (knowledge and information); Credit and financial services, stable and remunerative markets, early warning and market intelligence information</a:t>
              </a:r>
            </a:p>
          </p:txBody>
        </p:sp>
      </p:grpSp>
      <p:grpSp>
        <p:nvGrpSpPr>
          <p:cNvPr id="19" name="Group 18"/>
          <p:cNvGrpSpPr/>
          <p:nvPr/>
        </p:nvGrpSpPr>
        <p:grpSpPr>
          <a:xfrm>
            <a:off x="1169841" y="1292602"/>
            <a:ext cx="5038538" cy="912879"/>
            <a:chOff x="314813" y="1316708"/>
            <a:chExt cx="5113471" cy="838389"/>
          </a:xfrm>
        </p:grpSpPr>
        <p:sp>
          <p:nvSpPr>
            <p:cNvPr id="21" name="Rectangle 20"/>
            <p:cNvSpPr/>
            <p:nvPr/>
          </p:nvSpPr>
          <p:spPr>
            <a:xfrm>
              <a:off x="314813" y="1316708"/>
              <a:ext cx="5113471" cy="838389"/>
            </a:xfrm>
            <a:prstGeom prst="rect">
              <a:avLst/>
            </a:prstGeom>
            <a:solidFill>
              <a:schemeClr val="accent2">
                <a:lumMod val="20000"/>
                <a:lumOff val="8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65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65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65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65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65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65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975" b="0" i="0" u="none" strike="noStrike" kern="0" cap="none" spc="0" normalizeH="0" baseline="0" noProof="0" dirty="0">
                <a:ln>
                  <a:noFill/>
                </a:ln>
                <a:solidFill>
                  <a:srgbClr val="70AD47">
                    <a:lumMod val="50000"/>
                  </a:srgbClr>
                </a:solidFill>
                <a:effectLst/>
                <a:uLnTx/>
                <a:uFillTx/>
                <a:latin typeface="Arial" panose="020B0604020202020204" pitchFamily="34" charset="0"/>
                <a:ea typeface="+mn-ea"/>
                <a:cs typeface="Arial" panose="020B0604020202020204" pitchFamily="34" charset="0"/>
                <a:sym typeface="Arial"/>
              </a:endParaRPr>
            </a:p>
          </p:txBody>
        </p:sp>
        <p:sp>
          <p:nvSpPr>
            <p:cNvPr id="22" name="Rectangle 21"/>
            <p:cNvSpPr/>
            <p:nvPr/>
          </p:nvSpPr>
          <p:spPr>
            <a:xfrm>
              <a:off x="1230201" y="1664844"/>
              <a:ext cx="1565862" cy="428100"/>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13"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Increased productivity </a:t>
              </a:r>
              <a:r>
                <a:rPr kumimoji="0" lang="en-US" sz="813" b="0" i="1"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More productive small holder farming units and SMEs)</a:t>
              </a:r>
            </a:p>
          </p:txBody>
        </p:sp>
        <p:sp>
          <p:nvSpPr>
            <p:cNvPr id="24" name="Rectangle 23"/>
            <p:cNvSpPr/>
            <p:nvPr/>
          </p:nvSpPr>
          <p:spPr>
            <a:xfrm>
              <a:off x="981671" y="1327177"/>
              <a:ext cx="4085069" cy="285689"/>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94"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Increased incomes and improved food security</a:t>
              </a:r>
            </a:p>
          </p:txBody>
        </p:sp>
      </p:grpSp>
      <p:grpSp>
        <p:nvGrpSpPr>
          <p:cNvPr id="26" name="Group 25"/>
          <p:cNvGrpSpPr/>
          <p:nvPr/>
        </p:nvGrpSpPr>
        <p:grpSpPr>
          <a:xfrm>
            <a:off x="6495613" y="2232731"/>
            <a:ext cx="2835543" cy="3598993"/>
            <a:chOff x="5493255" y="1537542"/>
            <a:chExt cx="3574546" cy="2389931"/>
          </a:xfrm>
        </p:grpSpPr>
        <p:sp>
          <p:nvSpPr>
            <p:cNvPr id="28" name="Rectangle 27"/>
            <p:cNvSpPr/>
            <p:nvPr/>
          </p:nvSpPr>
          <p:spPr>
            <a:xfrm>
              <a:off x="5493256" y="2788134"/>
              <a:ext cx="3566662" cy="1139339"/>
            </a:xfrm>
            <a:prstGeom prst="rect">
              <a:avLst/>
            </a:prstGeom>
            <a:ln>
              <a:solidFill>
                <a:schemeClr val="tx1"/>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75"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Partnership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894"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Work with partners at all levels to:</a:t>
              </a:r>
            </a:p>
            <a:p>
              <a:pPr marL="232172" marR="0" lvl="0" indent="-232172"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GB" sz="894"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Crowd in private capital in  support of small-holder agricultural development </a:t>
              </a:r>
            </a:p>
            <a:p>
              <a:pPr marL="232172" marR="0" lvl="0" indent="-232172"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GB" sz="894"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Derive synergies and reduce duplication of effort likelihood of transformation within </a:t>
              </a:r>
            </a:p>
            <a:p>
              <a:pPr marL="232172" marR="0" lvl="0" indent="-232172"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GB" sz="894"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Derive synergies in order to increase the reach of AGRA’s investments (impact at scale)</a:t>
              </a:r>
            </a:p>
          </p:txBody>
        </p:sp>
        <p:sp>
          <p:nvSpPr>
            <p:cNvPr id="29" name="Rectangle 28"/>
            <p:cNvSpPr/>
            <p:nvPr/>
          </p:nvSpPr>
          <p:spPr>
            <a:xfrm>
              <a:off x="5493255" y="1537542"/>
              <a:ext cx="3574546" cy="1187554"/>
            </a:xfrm>
            <a:prstGeom prst="rect">
              <a:avLst/>
            </a:prstGeom>
            <a:ln>
              <a:solidFill>
                <a:schemeClr val="tx1"/>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75"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State capacity and policy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94"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Develop state capability to:</a:t>
              </a:r>
            </a:p>
            <a:p>
              <a:pPr marL="232172" marR="0" lvl="0" indent="-232172"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894"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Develop appropriate sector strategies and investment plans for agricultural transformation</a:t>
              </a:r>
            </a:p>
            <a:p>
              <a:pPr marL="232172" marR="0" lvl="0" indent="-232172"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894"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Formulate appropriate policies that catalyze and sustain agricultural transformation and promote regional trade</a:t>
              </a:r>
            </a:p>
            <a:p>
              <a:pPr marL="232172" marR="0" lvl="0" indent="-232172"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894"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Implement sector plans and policies in order to  generate sufficient public goods that de-risk the sector, attract   private capital   investment and facilitate regional trade </a:t>
              </a:r>
            </a:p>
          </p:txBody>
        </p:sp>
      </p:grpSp>
      <p:sp>
        <p:nvSpPr>
          <p:cNvPr id="33" name="Isosceles Triangle 32"/>
          <p:cNvSpPr/>
          <p:nvPr/>
        </p:nvSpPr>
        <p:spPr>
          <a:xfrm rot="16200000">
            <a:off x="4513784" y="3900403"/>
            <a:ext cx="3670981" cy="145784"/>
          </a:xfrm>
          <a:prstGeom prst="triangle">
            <a:avLst/>
          </a:prstGeom>
          <a:solidFill>
            <a:schemeClr val="bg2">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138" b="0" i="0" u="none" strike="noStrike" kern="0" cap="none" spc="0" normalizeH="0" baseline="0" noProof="0" dirty="0">
              <a:ln>
                <a:noFill/>
              </a:ln>
              <a:solidFill>
                <a:srgbClr val="70AD47">
                  <a:lumMod val="50000"/>
                </a:srgbClr>
              </a:solidFill>
              <a:effectLst/>
              <a:uLnTx/>
              <a:uFillTx/>
              <a:latin typeface="Arial" panose="020B0604020202020204" pitchFamily="34" charset="0"/>
              <a:ea typeface="+mn-ea"/>
              <a:cs typeface="Arial" panose="020B0604020202020204" pitchFamily="34" charset="0"/>
              <a:sym typeface="Arial"/>
            </a:endParaRPr>
          </a:p>
        </p:txBody>
      </p:sp>
      <p:sp>
        <p:nvSpPr>
          <p:cNvPr id="34" name="Up Arrow 33"/>
          <p:cNvSpPr/>
          <p:nvPr/>
        </p:nvSpPr>
        <p:spPr>
          <a:xfrm>
            <a:off x="509033" y="1292602"/>
            <a:ext cx="207040" cy="4611392"/>
          </a:xfrm>
          <a:prstGeom prst="upArrow">
            <a:avLst/>
          </a:prstGeom>
          <a:solidFill>
            <a:schemeClr val="tx1">
              <a:lumMod val="65000"/>
              <a:lumOff val="3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138" b="0" i="0" u="none" strike="noStrike" kern="0" cap="none" spc="0" normalizeH="0" baseline="0" noProof="0" dirty="0">
              <a:ln>
                <a:noFill/>
              </a:ln>
              <a:solidFill>
                <a:srgbClr val="70AD47">
                  <a:lumMod val="50000"/>
                </a:srgbClr>
              </a:solidFill>
              <a:effectLst/>
              <a:uLnTx/>
              <a:uFillTx/>
              <a:latin typeface="Arial" panose="020B0604020202020204" pitchFamily="34" charset="0"/>
              <a:ea typeface="+mn-ea"/>
              <a:cs typeface="Arial" panose="020B0604020202020204" pitchFamily="34" charset="0"/>
              <a:sym typeface="Arial"/>
            </a:endParaRPr>
          </a:p>
        </p:txBody>
      </p:sp>
      <p:grpSp>
        <p:nvGrpSpPr>
          <p:cNvPr id="36" name="Group 35"/>
          <p:cNvGrpSpPr/>
          <p:nvPr/>
        </p:nvGrpSpPr>
        <p:grpSpPr>
          <a:xfrm>
            <a:off x="670051" y="1143687"/>
            <a:ext cx="472880" cy="4291807"/>
            <a:chOff x="9026706" y="127976"/>
            <a:chExt cx="528823" cy="5282224"/>
          </a:xfrm>
        </p:grpSpPr>
        <p:sp>
          <p:nvSpPr>
            <p:cNvPr id="37" name="TextBox 36"/>
            <p:cNvSpPr txBox="1"/>
            <p:nvPr/>
          </p:nvSpPr>
          <p:spPr>
            <a:xfrm rot="16200000" flipH="1">
              <a:off x="8504357" y="4501857"/>
              <a:ext cx="1545639" cy="27104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13"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What AGRA </a:t>
              </a:r>
              <a:r>
                <a:rPr kumimoji="0" lang="en-US" sz="975"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does</a:t>
              </a:r>
            </a:p>
          </p:txBody>
        </p:sp>
        <p:sp>
          <p:nvSpPr>
            <p:cNvPr id="38" name="TextBox 37"/>
            <p:cNvSpPr txBox="1"/>
            <p:nvPr/>
          </p:nvSpPr>
          <p:spPr>
            <a:xfrm rot="16200000" flipH="1">
              <a:off x="8471278" y="683404"/>
              <a:ext cx="1493908" cy="38305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13"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AGRA’s Strategic Goals</a:t>
              </a:r>
            </a:p>
          </p:txBody>
        </p:sp>
        <p:sp>
          <p:nvSpPr>
            <p:cNvPr id="39" name="TextBox 38"/>
            <p:cNvSpPr txBox="1"/>
            <p:nvPr/>
          </p:nvSpPr>
          <p:spPr>
            <a:xfrm rot="16200000" flipH="1">
              <a:off x="8296678" y="2410522"/>
              <a:ext cx="1994751" cy="5229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13"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So that the target population, institution or resource change </a:t>
              </a:r>
            </a:p>
          </p:txBody>
        </p:sp>
      </p:grpSp>
      <p:sp>
        <p:nvSpPr>
          <p:cNvPr id="40" name="Rectangle 39"/>
          <p:cNvSpPr/>
          <p:nvPr/>
        </p:nvSpPr>
        <p:spPr>
          <a:xfrm>
            <a:off x="1157052" y="4115997"/>
            <a:ext cx="5038018" cy="1819851"/>
          </a:xfrm>
          <a:prstGeom prst="rect">
            <a:avLst/>
          </a:prstGeom>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813"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Investment areas </a:t>
            </a:r>
          </a:p>
          <a:p>
            <a:pPr marL="139303" marR="0" lvl="0" indent="-139303"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975"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Strengthening agricultural input systems, technology development and supply chain</a:t>
            </a:r>
          </a:p>
          <a:p>
            <a:pPr marL="139303" marR="0" lvl="0" indent="-139303"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975"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Developing and strengthening extension and advisory  services </a:t>
            </a:r>
          </a:p>
          <a:p>
            <a:pPr marL="139303" marR="0" lvl="0" indent="-139303"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975"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Developing and strengthening early warning weather and market information systems</a:t>
            </a:r>
          </a:p>
          <a:p>
            <a:pPr marL="139303" marR="0" lvl="0" indent="-139303"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975"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Developing and strengthening  responsive agricultural finance and credit systems </a:t>
            </a:r>
          </a:p>
          <a:p>
            <a:pPr marL="139303" marR="0" lvl="0" indent="-139303"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975"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Developing and strengthening stable reliable and remunerative output markets</a:t>
            </a:r>
            <a:endParaRPr kumimoji="0" lang="en-US" sz="813"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50" name="Rectangle 49">
            <a:extLst>
              <a:ext uri="{FF2B5EF4-FFF2-40B4-BE49-F238E27FC236}">
                <a16:creationId xmlns="" xmlns:a16="http://schemas.microsoft.com/office/drawing/2014/main" id="{DF0A37FE-9961-7446-A9D2-C6C2F70CDB9E}"/>
              </a:ext>
            </a:extLst>
          </p:cNvPr>
          <p:cNvSpPr/>
          <p:nvPr/>
        </p:nvSpPr>
        <p:spPr>
          <a:xfrm>
            <a:off x="3909622" y="1656518"/>
            <a:ext cx="1654725" cy="452961"/>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13"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Increased resilience (more adaptive and  resilient households  to shocks)</a:t>
            </a:r>
          </a:p>
        </p:txBody>
      </p:sp>
      <p:sp>
        <p:nvSpPr>
          <p:cNvPr id="2" name="Title 1"/>
          <p:cNvSpPr>
            <a:spLocks noGrp="1"/>
          </p:cNvSpPr>
          <p:nvPr>
            <p:ph type="title"/>
          </p:nvPr>
        </p:nvSpPr>
        <p:spPr/>
        <p:txBody>
          <a:bodyPr/>
          <a:lstStyle/>
          <a:p>
            <a:r>
              <a:rPr lang="en-US" dirty="0"/>
              <a:t>Farmer and Systems development Theory of Change</a:t>
            </a:r>
          </a:p>
        </p:txBody>
      </p:sp>
    </p:spTree>
    <p:extLst>
      <p:ext uri="{BB962C8B-B14F-4D97-AF65-F5344CB8AC3E}">
        <p14:creationId xmlns:p14="http://schemas.microsoft.com/office/powerpoint/2010/main" val="240668567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p:cNvGraphicFramePr>
            <a:graphicFrameLocks noChangeAspect="1"/>
          </p:cNvGraphicFramePr>
          <p:nvPr>
            <p:custDataLst>
              <p:tags r:id="rId2"/>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spid="_x0000_s172046" name="think-cell Slide" r:id="rId5" imgW="470" imgH="469" progId="TCLayout.ActiveDocument.1">
                  <p:embed/>
                </p:oleObj>
              </mc:Choice>
              <mc:Fallback>
                <p:oleObj name="think-cell Slide" r:id="rId5" imgW="470" imgH="469" progId="TCLayout.ActiveDocument.1">
                  <p:embed/>
                  <p:pic>
                    <p:nvPicPr>
                      <p:cNvPr id="42" name="Object 41" hidden="1"/>
                      <p:cNvPicPr/>
                      <p:nvPr/>
                    </p:nvPicPr>
                    <p:blipFill>
                      <a:blip r:embed="rId6"/>
                      <a:stretch>
                        <a:fillRect/>
                      </a:stretch>
                    </p:blipFill>
                    <p:spPr>
                      <a:xfrm>
                        <a:off x="929978" y="644228"/>
                        <a:ext cx="1290" cy="1290"/>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90000"/>
              </a:lnSpc>
              <a:spcBef>
                <a:spcPct val="0"/>
              </a:spcBef>
              <a:spcAft>
                <a:spcPct val="0"/>
              </a:spcAft>
              <a:buClr>
                <a:srgbClr val="000000"/>
              </a:buClr>
              <a:buSzTx/>
              <a:buFont typeface="Arial"/>
              <a:buNone/>
              <a:tabLst/>
              <a:defRPr/>
            </a:pPr>
            <a:endParaRPr kumimoji="0" lang="en-US" sz="2031"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 name="Rectangle 5"/>
          <p:cNvSpPr/>
          <p:nvPr/>
        </p:nvSpPr>
        <p:spPr>
          <a:xfrm>
            <a:off x="1279440" y="1710000"/>
            <a:ext cx="4118924" cy="1485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975" b="1" i="0" u="none" strike="noStrike" kern="0" cap="none" spc="0" normalizeH="0" baseline="0" noProof="0" dirty="0">
              <a:ln>
                <a:noFill/>
              </a:ln>
              <a:solidFill>
                <a:srgbClr val="70AD47">
                  <a:lumMod val="50000"/>
                </a:srgbClr>
              </a:solidFill>
              <a:effectLst/>
              <a:uLnTx/>
              <a:uFillTx/>
              <a:latin typeface="Arial" panose="020B0604020202020204" pitchFamily="34" charset="0"/>
              <a:ea typeface="+mn-ea"/>
              <a:cs typeface="Arial" panose="020B0604020202020204" pitchFamily="34" charset="0"/>
              <a:sym typeface="Arial"/>
            </a:endParaRPr>
          </a:p>
        </p:txBody>
      </p:sp>
      <p:grpSp>
        <p:nvGrpSpPr>
          <p:cNvPr id="7" name="Group 6"/>
          <p:cNvGrpSpPr/>
          <p:nvPr/>
        </p:nvGrpSpPr>
        <p:grpSpPr>
          <a:xfrm>
            <a:off x="1142368" y="2189504"/>
            <a:ext cx="5818534" cy="2429528"/>
            <a:chOff x="314812" y="2552146"/>
            <a:chExt cx="5680818" cy="2201031"/>
          </a:xfrm>
        </p:grpSpPr>
        <p:sp>
          <p:nvSpPr>
            <p:cNvPr id="8" name="Rectangle 7"/>
            <p:cNvSpPr/>
            <p:nvPr/>
          </p:nvSpPr>
          <p:spPr>
            <a:xfrm>
              <a:off x="314812" y="2552146"/>
              <a:ext cx="5680818" cy="2201031"/>
            </a:xfrm>
            <a:prstGeom prst="rect">
              <a:avLst/>
            </a:prstGeom>
            <a:solidFill>
              <a:schemeClr val="tx2">
                <a:lumMod val="40000"/>
                <a:lumOff val="6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53"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Outcomes </a:t>
              </a:r>
            </a:p>
          </p:txBody>
        </p:sp>
        <p:sp>
          <p:nvSpPr>
            <p:cNvPr id="9" name="Rectangle 8"/>
            <p:cNvSpPr/>
            <p:nvPr/>
          </p:nvSpPr>
          <p:spPr>
            <a:xfrm>
              <a:off x="387518" y="2725761"/>
              <a:ext cx="2628874" cy="905139"/>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731"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731"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Partnerships for implementation</a:t>
              </a:r>
            </a:p>
            <a:p>
              <a:pPr marL="139303" marR="0" lvl="0" indent="-139303"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73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Increased reach of AGRA systems grants</a:t>
              </a:r>
            </a:p>
            <a:p>
              <a:pPr marL="139303" marR="0" lvl="0" indent="-139303"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73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Reduced /elimination of duplication of efforts and wastage </a:t>
              </a:r>
            </a:p>
            <a:p>
              <a:pPr marL="139303" marR="0" lvl="0" indent="-139303"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73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Faster progress towards and achievement of intended outcomes and impacts</a:t>
              </a:r>
            </a:p>
            <a:p>
              <a:pPr marL="139303" marR="0" lvl="0" indent="-139303"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73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Increased likelihood of achieving the desired outcomes and impacts</a:t>
              </a:r>
            </a:p>
          </p:txBody>
        </p:sp>
        <p:sp>
          <p:nvSpPr>
            <p:cNvPr id="11" name="Rectangle 10"/>
            <p:cNvSpPr/>
            <p:nvPr/>
          </p:nvSpPr>
          <p:spPr>
            <a:xfrm>
              <a:off x="3248575" y="2731463"/>
              <a:ext cx="2514872" cy="893734"/>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731"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Partnerships  for scaling up </a:t>
              </a:r>
            </a:p>
            <a:p>
              <a:pPr marL="139303" marR="0" lvl="0" indent="-139303"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73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Increased public private partnerships</a:t>
              </a:r>
            </a:p>
            <a:p>
              <a:pPr marL="139303" marR="0" lvl="0" indent="-139303"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73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Increased access to technologies knowledge and information </a:t>
              </a:r>
            </a:p>
            <a:p>
              <a:pPr marL="139303" marR="0" lvl="0" indent="-139303"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73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Increased private sector investments at scale</a:t>
              </a:r>
            </a:p>
            <a:p>
              <a:pPr marL="139303" marR="0" lvl="0" indent="-139303"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73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Increased transboundary trade</a:t>
              </a:r>
            </a:p>
          </p:txBody>
        </p:sp>
        <p:sp>
          <p:nvSpPr>
            <p:cNvPr id="17" name="Rectangle 16"/>
            <p:cNvSpPr/>
            <p:nvPr/>
          </p:nvSpPr>
          <p:spPr>
            <a:xfrm>
              <a:off x="357641" y="3686580"/>
              <a:ext cx="5571713" cy="834182"/>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13"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Partnerships have then following catalytic effect</a:t>
              </a:r>
            </a:p>
            <a:p>
              <a:pPr marL="139303" marR="0" lvl="0" indent="-139303"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813"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Systems grants consortia addressing priority bottlenecks in specific geographies</a:t>
              </a:r>
            </a:p>
            <a:p>
              <a:pPr marL="139303" marR="0" lvl="0" indent="-139303"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813"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Partnerships for policy advocacy influencing policy formulation and implementation</a:t>
              </a:r>
            </a:p>
            <a:p>
              <a:pPr marL="139303" marR="0" lvl="0" indent="-139303"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813"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Development partners investment programs and projects are aligned to derive synergies and avoid duplication</a:t>
              </a:r>
            </a:p>
            <a:p>
              <a:pPr marL="139303" marR="0" lvl="0" indent="-139303"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813"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Mutual accountability platforms and processes are defined by partnership objectives</a:t>
              </a:r>
            </a:p>
            <a:p>
              <a:pPr marL="139303" marR="0" lvl="0" indent="-139303"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813"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AGRF serving as the premier partnership platform for shaping agricultural development agenda in Africa </a:t>
              </a:r>
            </a:p>
          </p:txBody>
        </p:sp>
      </p:grpSp>
      <p:grpSp>
        <p:nvGrpSpPr>
          <p:cNvPr id="19" name="Group 18"/>
          <p:cNvGrpSpPr/>
          <p:nvPr/>
        </p:nvGrpSpPr>
        <p:grpSpPr>
          <a:xfrm>
            <a:off x="1186234" y="1211443"/>
            <a:ext cx="5799255" cy="916603"/>
            <a:chOff x="314813" y="1407191"/>
            <a:chExt cx="5113471" cy="817408"/>
          </a:xfrm>
        </p:grpSpPr>
        <p:sp>
          <p:nvSpPr>
            <p:cNvPr id="21" name="Rectangle 20"/>
            <p:cNvSpPr/>
            <p:nvPr/>
          </p:nvSpPr>
          <p:spPr>
            <a:xfrm>
              <a:off x="314813" y="1407191"/>
              <a:ext cx="5113471" cy="817408"/>
            </a:xfrm>
            <a:prstGeom prst="rect">
              <a:avLst/>
            </a:prstGeom>
            <a:solidFill>
              <a:schemeClr val="accent2">
                <a:lumMod val="20000"/>
                <a:lumOff val="8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65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65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65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65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65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65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975" b="0" i="0" u="none" strike="noStrike" kern="0" cap="none" spc="0" normalizeH="0" baseline="0" noProof="0" dirty="0">
                <a:ln>
                  <a:noFill/>
                </a:ln>
                <a:solidFill>
                  <a:srgbClr val="70AD47">
                    <a:lumMod val="50000"/>
                  </a:srgbClr>
                </a:solidFill>
                <a:effectLst/>
                <a:uLnTx/>
                <a:uFillTx/>
                <a:latin typeface="Arial" panose="020B0604020202020204" pitchFamily="34" charset="0"/>
                <a:ea typeface="+mn-ea"/>
                <a:cs typeface="Arial" panose="020B0604020202020204" pitchFamily="34" charset="0"/>
                <a:sym typeface="Arial"/>
              </a:endParaRPr>
            </a:p>
          </p:txBody>
        </p:sp>
        <p:sp>
          <p:nvSpPr>
            <p:cNvPr id="22" name="Rectangle 21"/>
            <p:cNvSpPr/>
            <p:nvPr/>
          </p:nvSpPr>
          <p:spPr>
            <a:xfrm>
              <a:off x="1054209" y="1765856"/>
              <a:ext cx="1565862" cy="428100"/>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13"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Increased productivity </a:t>
              </a:r>
              <a:r>
                <a:rPr kumimoji="0" lang="en-US" sz="813" b="0" i="1"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More productive small holder farming units and SMEs)</a:t>
              </a:r>
            </a:p>
          </p:txBody>
        </p:sp>
        <p:sp>
          <p:nvSpPr>
            <p:cNvPr id="24" name="Rectangle 23"/>
            <p:cNvSpPr/>
            <p:nvPr/>
          </p:nvSpPr>
          <p:spPr>
            <a:xfrm>
              <a:off x="1054209" y="1435373"/>
              <a:ext cx="4085069" cy="285689"/>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94"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 Increased incomes and improved food security</a:t>
              </a:r>
            </a:p>
          </p:txBody>
        </p:sp>
      </p:grpSp>
      <p:sp>
        <p:nvSpPr>
          <p:cNvPr id="29" name="Rectangle 28"/>
          <p:cNvSpPr/>
          <p:nvPr/>
        </p:nvSpPr>
        <p:spPr>
          <a:xfrm>
            <a:off x="7163738" y="2381143"/>
            <a:ext cx="2067856" cy="2218696"/>
          </a:xfrm>
          <a:prstGeom prst="rect">
            <a:avLst/>
          </a:prstGeom>
          <a:ln>
            <a:solidFill>
              <a:schemeClr val="tx1"/>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75"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State capacity and policy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94"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Develop state capability to:</a:t>
            </a:r>
          </a:p>
          <a:p>
            <a:pPr marL="232172" marR="0" lvl="0" indent="-232172"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894"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Develop appropriate sector strategies and investment plans for agricultural transformation</a:t>
            </a:r>
          </a:p>
          <a:p>
            <a:pPr marL="232172" marR="0" lvl="0" indent="-232172"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894"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Formulate appropriate policies that catalyze and sustain agricultural transformation and promote regional trade</a:t>
            </a:r>
          </a:p>
          <a:p>
            <a:pPr marL="232172" marR="0" lvl="0" indent="-232172"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894"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Implement sector plans and policies in order to  generate sufficient public goods that de-risk the sector, attract   private capital   investment and facilitate regional trade </a:t>
            </a:r>
          </a:p>
        </p:txBody>
      </p:sp>
      <p:sp>
        <p:nvSpPr>
          <p:cNvPr id="33" name="Isosceles Triangle 32"/>
          <p:cNvSpPr/>
          <p:nvPr/>
        </p:nvSpPr>
        <p:spPr>
          <a:xfrm rot="16200000">
            <a:off x="5930776" y="3460067"/>
            <a:ext cx="2261545" cy="56384"/>
          </a:xfrm>
          <a:prstGeom prst="triangle">
            <a:avLst/>
          </a:prstGeom>
          <a:solidFill>
            <a:schemeClr val="bg2">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138" b="0" i="0" u="none" strike="noStrike" kern="0" cap="none" spc="0" normalizeH="0" baseline="0" noProof="0" dirty="0">
              <a:ln>
                <a:noFill/>
              </a:ln>
              <a:solidFill>
                <a:srgbClr val="70AD47">
                  <a:lumMod val="50000"/>
                </a:srgbClr>
              </a:solidFill>
              <a:effectLst/>
              <a:uLnTx/>
              <a:uFillTx/>
              <a:latin typeface="Arial" panose="020B0604020202020204" pitchFamily="34" charset="0"/>
              <a:ea typeface="+mn-ea"/>
              <a:cs typeface="Arial" panose="020B0604020202020204" pitchFamily="34" charset="0"/>
              <a:sym typeface="Arial"/>
            </a:endParaRPr>
          </a:p>
        </p:txBody>
      </p:sp>
      <p:sp>
        <p:nvSpPr>
          <p:cNvPr id="34" name="Up Arrow 33"/>
          <p:cNvSpPr/>
          <p:nvPr/>
        </p:nvSpPr>
        <p:spPr>
          <a:xfrm>
            <a:off x="509033" y="1292602"/>
            <a:ext cx="207040" cy="4611392"/>
          </a:xfrm>
          <a:prstGeom prst="upArrow">
            <a:avLst/>
          </a:prstGeom>
          <a:solidFill>
            <a:schemeClr val="bg2">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138" b="0" i="0" u="none" strike="noStrike" kern="0" cap="none" spc="0" normalizeH="0" baseline="0" noProof="0" dirty="0">
              <a:ln>
                <a:noFill/>
              </a:ln>
              <a:solidFill>
                <a:srgbClr val="70AD47">
                  <a:lumMod val="50000"/>
                </a:srgbClr>
              </a:solidFill>
              <a:effectLst/>
              <a:uLnTx/>
              <a:uFillTx/>
              <a:latin typeface="Arial" panose="020B0604020202020204" pitchFamily="34" charset="0"/>
              <a:ea typeface="+mn-ea"/>
              <a:cs typeface="Arial" panose="020B0604020202020204" pitchFamily="34" charset="0"/>
              <a:sym typeface="Arial"/>
            </a:endParaRPr>
          </a:p>
        </p:txBody>
      </p:sp>
      <p:grpSp>
        <p:nvGrpSpPr>
          <p:cNvPr id="36" name="Group 35"/>
          <p:cNvGrpSpPr/>
          <p:nvPr/>
        </p:nvGrpSpPr>
        <p:grpSpPr>
          <a:xfrm>
            <a:off x="670041" y="1143687"/>
            <a:ext cx="410330" cy="4792163"/>
            <a:chOff x="9026707" y="127977"/>
            <a:chExt cx="458873" cy="5282224"/>
          </a:xfrm>
        </p:grpSpPr>
        <p:sp>
          <p:nvSpPr>
            <p:cNvPr id="37" name="TextBox 36"/>
            <p:cNvSpPr txBox="1"/>
            <p:nvPr/>
          </p:nvSpPr>
          <p:spPr>
            <a:xfrm rot="16200000" flipH="1">
              <a:off x="8504357" y="4501857"/>
              <a:ext cx="1545640" cy="27104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13"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What AGRA </a:t>
              </a:r>
              <a:r>
                <a:rPr kumimoji="0" lang="en-US" sz="975"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does</a:t>
              </a:r>
            </a:p>
          </p:txBody>
        </p:sp>
        <p:sp>
          <p:nvSpPr>
            <p:cNvPr id="38" name="TextBox 37"/>
            <p:cNvSpPr txBox="1"/>
            <p:nvPr/>
          </p:nvSpPr>
          <p:spPr>
            <a:xfrm rot="16200000" flipH="1">
              <a:off x="8685471" y="469213"/>
              <a:ext cx="1065523" cy="38305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13"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AGRA’s Strategic Goals</a:t>
              </a:r>
            </a:p>
          </p:txBody>
        </p:sp>
        <p:sp>
          <p:nvSpPr>
            <p:cNvPr id="39" name="TextBox 38"/>
            <p:cNvSpPr txBox="1"/>
            <p:nvPr/>
          </p:nvSpPr>
          <p:spPr>
            <a:xfrm rot="16200000" flipH="1">
              <a:off x="8152004" y="2625146"/>
              <a:ext cx="2284099" cy="38305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13"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So that the target population, institution or resource change </a:t>
              </a:r>
            </a:p>
          </p:txBody>
        </p:sp>
      </p:grpSp>
      <p:sp>
        <p:nvSpPr>
          <p:cNvPr id="40" name="Rectangle 39"/>
          <p:cNvSpPr/>
          <p:nvPr/>
        </p:nvSpPr>
        <p:spPr>
          <a:xfrm>
            <a:off x="1157052" y="4773736"/>
            <a:ext cx="5038018" cy="1162112"/>
          </a:xfrm>
          <a:prstGeom prst="rect">
            <a:avLst/>
          </a:prstGeom>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813"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Investment areas</a:t>
            </a:r>
          </a:p>
          <a:p>
            <a:pPr marL="139303" marR="0" lvl="0" indent="-139303" algn="l" defTabSz="914400" rtl="0" eaLnBrk="1" fontAlgn="auto" latinLnBrk="0" hangingPunct="1">
              <a:lnSpc>
                <a:spcPts val="975"/>
              </a:lnSpc>
              <a:spcBef>
                <a:spcPts val="0"/>
              </a:spcBef>
              <a:spcAft>
                <a:spcPts val="244"/>
              </a:spcAft>
              <a:buClr>
                <a:srgbClr val="000000"/>
              </a:buClr>
              <a:buSzTx/>
              <a:buFont typeface="Arial" panose="020B0604020202020204" pitchFamily="34" charset="0"/>
              <a:buChar char="•"/>
              <a:tabLst/>
              <a:defRPr/>
            </a:pPr>
            <a:r>
              <a:rPr kumimoji="0" lang="en-US" sz="813"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Mobilizing inclusive investments in Agriculture</a:t>
            </a:r>
          </a:p>
          <a:p>
            <a:pPr marL="139303" marR="0" lvl="0" indent="-139303" algn="l" defTabSz="914400" rtl="0" eaLnBrk="1" fontAlgn="auto" latinLnBrk="0" hangingPunct="1">
              <a:lnSpc>
                <a:spcPts val="975"/>
              </a:lnSpc>
              <a:spcBef>
                <a:spcPts val="0"/>
              </a:spcBef>
              <a:spcAft>
                <a:spcPts val="244"/>
              </a:spcAft>
              <a:buClr>
                <a:srgbClr val="000000"/>
              </a:buClr>
              <a:buSzTx/>
              <a:buFont typeface="Arial" panose="020B0604020202020204" pitchFamily="34" charset="0"/>
              <a:buChar char="•"/>
              <a:tabLst/>
              <a:defRPr/>
            </a:pPr>
            <a:r>
              <a:rPr kumimoji="0" lang="en-US" sz="813"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Creating a private-sector led leadership agenda</a:t>
            </a:r>
          </a:p>
          <a:p>
            <a:pPr marL="139303" marR="0" lvl="0" indent="-139303" algn="l" defTabSz="914400" rtl="0" eaLnBrk="1" fontAlgn="auto" latinLnBrk="0" hangingPunct="1">
              <a:lnSpc>
                <a:spcPts val="975"/>
              </a:lnSpc>
              <a:spcBef>
                <a:spcPts val="0"/>
              </a:spcBef>
              <a:spcAft>
                <a:spcPts val="244"/>
              </a:spcAft>
              <a:buClr>
                <a:srgbClr val="000000"/>
              </a:buClr>
              <a:buSzTx/>
              <a:buFont typeface="Arial" panose="020B0604020202020204" pitchFamily="34" charset="0"/>
              <a:buChar char="•"/>
              <a:tabLst/>
              <a:defRPr/>
            </a:pPr>
            <a:r>
              <a:rPr kumimoji="0" lang="en-US" sz="813"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Build partnerships with leading private sector champions to leverage entire ecosystem and build partnerships around knowledge and intelligence sharing</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813"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 </a:t>
            </a:r>
          </a:p>
        </p:txBody>
      </p:sp>
      <p:sp>
        <p:nvSpPr>
          <p:cNvPr id="50" name="Rectangle 49">
            <a:extLst>
              <a:ext uri="{FF2B5EF4-FFF2-40B4-BE49-F238E27FC236}">
                <a16:creationId xmlns="" xmlns:a16="http://schemas.microsoft.com/office/drawing/2014/main" id="{DF0A37FE-9961-7446-A9D2-C6C2F70CDB9E}"/>
              </a:ext>
            </a:extLst>
          </p:cNvPr>
          <p:cNvSpPr/>
          <p:nvPr/>
        </p:nvSpPr>
        <p:spPr>
          <a:xfrm>
            <a:off x="4488992" y="1632454"/>
            <a:ext cx="1654725" cy="452961"/>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13"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Increased resilience (more adaptive and  resilient households  to shocks)</a:t>
            </a:r>
          </a:p>
        </p:txBody>
      </p:sp>
      <p:sp>
        <p:nvSpPr>
          <p:cNvPr id="2" name="Title 1"/>
          <p:cNvSpPr>
            <a:spLocks noGrp="1"/>
          </p:cNvSpPr>
          <p:nvPr>
            <p:ph type="title"/>
          </p:nvPr>
        </p:nvSpPr>
        <p:spPr/>
        <p:txBody>
          <a:bodyPr/>
          <a:lstStyle/>
          <a:p>
            <a:r>
              <a:rPr lang="en-US" dirty="0"/>
              <a:t>Partnerships development Theory of Change</a:t>
            </a:r>
          </a:p>
        </p:txBody>
      </p:sp>
    </p:spTree>
    <p:extLst>
      <p:ext uri="{BB962C8B-B14F-4D97-AF65-F5344CB8AC3E}">
        <p14:creationId xmlns:p14="http://schemas.microsoft.com/office/powerpoint/2010/main" val="195218921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70647" y="2514600"/>
            <a:ext cx="9022603" cy="1116106"/>
          </a:xfrm>
        </p:spPr>
        <p:txBody>
          <a:bodyPr/>
          <a:lstStyle/>
          <a:p>
            <a:pPr algn="ctr"/>
            <a:r>
              <a:rPr lang="en-GB" sz="3200" dirty="0">
                <a:solidFill>
                  <a:schemeClr val="bg1"/>
                </a:solidFill>
              </a:rPr>
              <a:t>Donor Funding of Rural Sector </a:t>
            </a:r>
            <a:br>
              <a:rPr lang="en-GB" sz="3200" dirty="0">
                <a:solidFill>
                  <a:schemeClr val="bg1"/>
                </a:solidFill>
              </a:rPr>
            </a:br>
            <a:r>
              <a:rPr lang="en-GB" sz="3200" dirty="0">
                <a:solidFill>
                  <a:schemeClr val="bg1"/>
                </a:solidFill>
              </a:rPr>
              <a:t>Development in Mali </a:t>
            </a:r>
          </a:p>
        </p:txBody>
      </p:sp>
    </p:spTree>
    <p:extLst>
      <p:ext uri="{BB962C8B-B14F-4D97-AF65-F5344CB8AC3E}">
        <p14:creationId xmlns:p14="http://schemas.microsoft.com/office/powerpoint/2010/main" val="41747229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ecutive </a:t>
            </a:r>
            <a:r>
              <a:rPr lang="en-US" dirty="0" smtClean="0"/>
              <a:t>Summary </a:t>
            </a:r>
            <a:r>
              <a:rPr lang="en-US" sz="700" dirty="0" smtClean="0"/>
              <a:t>(2 of 2)</a:t>
            </a:r>
            <a:r>
              <a:rPr lang="en-US" sz="2400" dirty="0" smtClean="0"/>
              <a:t> </a:t>
            </a:r>
            <a:endParaRPr lang="en-US" sz="2400" dirty="0"/>
          </a:p>
        </p:txBody>
      </p:sp>
      <p:sp>
        <p:nvSpPr>
          <p:cNvPr id="4" name="Rectangle 3"/>
          <p:cNvSpPr/>
          <p:nvPr/>
        </p:nvSpPr>
        <p:spPr>
          <a:xfrm>
            <a:off x="370059" y="908533"/>
            <a:ext cx="9258035" cy="5609228"/>
          </a:xfrm>
          <a:prstGeom prst="rect">
            <a:avLst/>
          </a:prstGeom>
        </p:spPr>
        <p:txBody>
          <a:bodyPr wrap="square">
            <a:spAutoFit/>
          </a:bodyPr>
          <a:lstStyle/>
          <a:p>
            <a:pPr lvl="1" algn="just"/>
            <a:r>
              <a:rPr lang="en-US" sz="1200" dirty="0">
                <a:solidFill>
                  <a:schemeClr val="tx1"/>
                </a:solidFill>
                <a:latin typeface="Arial" panose="020B0604020202020204" pitchFamily="34" charset="0"/>
                <a:cs typeface="Arial" panose="020B0604020202020204" pitchFamily="34" charset="0"/>
              </a:rPr>
              <a:t>AGRA has partnered with the Government of Mali to support its </a:t>
            </a:r>
            <a:r>
              <a:rPr lang="en-US" sz="1200" i="1" dirty="0">
                <a:solidFill>
                  <a:schemeClr val="tx1"/>
                </a:solidFill>
                <a:latin typeface="Arial" panose="020B0604020202020204" pitchFamily="34" charset="0"/>
                <a:cs typeface="Arial" panose="020B0604020202020204" pitchFamily="34" charset="0"/>
              </a:rPr>
              <a:t>agropole</a:t>
            </a:r>
            <a:r>
              <a:rPr lang="en-US" sz="1200" dirty="0">
                <a:solidFill>
                  <a:schemeClr val="tx1"/>
                </a:solidFill>
                <a:latin typeface="Arial" panose="020B0604020202020204" pitchFamily="34" charset="0"/>
                <a:cs typeface="Arial" panose="020B0604020202020204" pitchFamily="34" charset="0"/>
              </a:rPr>
              <a:t> strategy by driving sector coordination for better performance, co-developing a new agricultural investment plan, and addressing market access and production issues that constrain sector performance.  In addition, AGRA has also engaged the government to address weak market linkages by reforming the input subsidy program and provide much-needed evidence to support policy making.  Additional investments are to:</a:t>
            </a:r>
          </a:p>
          <a:p>
            <a:pPr marL="171450" lvl="5" indent="-171450" algn="just">
              <a:buFont typeface="Wingdings" panose="05000000000000000000" pitchFamily="2" charset="2"/>
              <a:buChar char="§"/>
            </a:pPr>
            <a:r>
              <a:rPr lang="en-US" sz="1200" dirty="0">
                <a:solidFill>
                  <a:schemeClr val="tx1"/>
                </a:solidFill>
                <a:latin typeface="Arial" panose="020B0604020202020204" pitchFamily="34" charset="0"/>
                <a:cs typeface="Arial" panose="020B0604020202020204" pitchFamily="34" charset="0"/>
              </a:rPr>
              <a:t>Address weak market linkages that prevent farmers and commodity handlers from capitalizing on the growing feed industry in Koulikoro</a:t>
            </a:r>
          </a:p>
          <a:p>
            <a:pPr marL="171450" lvl="5" indent="-171450" algn="just">
              <a:buFont typeface="Wingdings" panose="05000000000000000000" pitchFamily="2" charset="2"/>
              <a:buChar char="§"/>
            </a:pPr>
            <a:r>
              <a:rPr lang="en-US" sz="1200" dirty="0">
                <a:solidFill>
                  <a:schemeClr val="tx1"/>
                </a:solidFill>
                <a:latin typeface="Arial" panose="020B0604020202020204" pitchFamily="34" charset="0"/>
                <a:cs typeface="Arial" panose="020B0604020202020204" pitchFamily="34" charset="0"/>
              </a:rPr>
              <a:t>Improve limited processing capacity constraining structured market development in Sikasso</a:t>
            </a:r>
          </a:p>
          <a:p>
            <a:pPr marL="171450" lvl="5" indent="-171450" algn="just">
              <a:buFont typeface="Wingdings" panose="05000000000000000000" pitchFamily="2" charset="2"/>
              <a:buChar char="§"/>
            </a:pPr>
            <a:r>
              <a:rPr lang="en-US" sz="1200" dirty="0">
                <a:solidFill>
                  <a:schemeClr val="tx1"/>
                </a:solidFill>
                <a:latin typeface="Arial" panose="020B0604020202020204" pitchFamily="34" charset="0"/>
                <a:cs typeface="Arial" panose="020B0604020202020204" pitchFamily="34" charset="0"/>
              </a:rPr>
              <a:t>Improve yield gaps in food security crops due to limited access to improved inputs in Segou</a:t>
            </a:r>
          </a:p>
          <a:p>
            <a:pPr algn="just"/>
            <a:endParaRPr lang="en-US" sz="1200" dirty="0">
              <a:solidFill>
                <a:schemeClr val="tx1"/>
              </a:solidFill>
              <a:latin typeface="Arial" panose="020B0604020202020204" pitchFamily="34" charset="0"/>
              <a:cs typeface="Arial" panose="020B0604020202020204" pitchFamily="34" charset="0"/>
            </a:endParaRPr>
          </a:p>
          <a:p>
            <a:pPr algn="just"/>
            <a:r>
              <a:rPr lang="en-US" sz="1200" dirty="0">
                <a:solidFill>
                  <a:schemeClr val="tx1"/>
                </a:solidFill>
                <a:latin typeface="Arial" panose="020B0604020202020204" pitchFamily="34" charset="0"/>
                <a:cs typeface="Arial" panose="020B0604020202020204" pitchFamily="34" charset="0"/>
              </a:rPr>
              <a:t>By executing this strategy, AGRA expects to improve the food security and increase incomes for at least 720,000 smallholder households directly and a further 700,000 indirectly while targeting four key crops: cowpea, maize, millet and sorghum in three priority regions namely: Koulikoro, Segou and Sikasso which cover ~80% of small holder farmers in Mali.  In addition, these areas have better infrastructure and a more organized landscape of agricultural stakeholders.  Implementation of the strategy begun in Q4 of 2017 and to date AGRA has invested ~$7.5Million in its different bodies of work as below: </a:t>
            </a:r>
          </a:p>
          <a:p>
            <a:pPr algn="just"/>
            <a:endParaRPr lang="en-US" sz="1200" dirty="0">
              <a:solidFill>
                <a:schemeClr val="tx1"/>
              </a:solidFill>
              <a:latin typeface="Arial" panose="020B0604020202020204" pitchFamily="34" charset="0"/>
              <a:cs typeface="Arial" panose="020B0604020202020204" pitchFamily="34" charset="0"/>
            </a:endParaRPr>
          </a:p>
          <a:p>
            <a:pPr marL="171450" indent="-171450" algn="just">
              <a:buFont typeface="Wingdings" panose="05000000000000000000" pitchFamily="2" charset="2"/>
              <a:buChar char="§"/>
            </a:pPr>
            <a:r>
              <a:rPr lang="en-US" sz="1200" dirty="0">
                <a:solidFill>
                  <a:schemeClr val="tx1"/>
                </a:solidFill>
                <a:latin typeface="Arial" panose="020B0604020202020204" pitchFamily="34" charset="0"/>
                <a:cs typeface="Arial" panose="020B0604020202020204" pitchFamily="34" charset="0"/>
              </a:rPr>
              <a:t>In policy and state capability, AGRA supported Government with $698,000 to improve the input subsidy program (ISP), to develop a flagship program, to strengthen coordination and M&amp;E capacities as well as to support domestication of Regional seed and fertilizer regulation.</a:t>
            </a:r>
          </a:p>
          <a:p>
            <a:pPr marL="171450" indent="-171450" algn="just">
              <a:buFont typeface="Wingdings" panose="05000000000000000000" pitchFamily="2" charset="2"/>
              <a:buChar char="§"/>
            </a:pPr>
            <a:r>
              <a:rPr lang="en-US" sz="1200" dirty="0">
                <a:solidFill>
                  <a:schemeClr val="tx1"/>
                </a:solidFill>
                <a:latin typeface="Arial" panose="020B0604020202020204" pitchFamily="34" charset="0"/>
                <a:cs typeface="Arial" panose="020B0604020202020204" pitchFamily="34" charset="0"/>
              </a:rPr>
              <a:t>In farmer and systems development: AGRA set up 3 consortia to drive integrated delivery in the three target regions seeking to build maize, sorghum, Millet and Cowpea value chains from a systems development perspective. </a:t>
            </a:r>
          </a:p>
          <a:p>
            <a:pPr marL="171450" indent="-171450" algn="just">
              <a:buFont typeface="Wingdings" panose="05000000000000000000" pitchFamily="2" charset="2"/>
              <a:buChar char="§"/>
            </a:pPr>
            <a:r>
              <a:rPr lang="en-US" sz="1200" dirty="0">
                <a:solidFill>
                  <a:schemeClr val="tx1"/>
                </a:solidFill>
                <a:latin typeface="Arial" panose="020B0604020202020204" pitchFamily="34" charset="0"/>
                <a:cs typeface="Arial" panose="020B0604020202020204" pitchFamily="34" charset="0"/>
              </a:rPr>
              <a:t>AGRA’s private sector partners included seed companies, agro-dealers, fertilizer blenders, offtakes, processors, financial institutions and business development service providers</a:t>
            </a:r>
          </a:p>
          <a:p>
            <a:pPr algn="just"/>
            <a:endParaRPr lang="en-US" sz="1200" dirty="0">
              <a:solidFill>
                <a:schemeClr val="tx1"/>
              </a:solidFill>
              <a:latin typeface="Arial" panose="020B0604020202020204" pitchFamily="34" charset="0"/>
              <a:cs typeface="Arial" panose="020B0604020202020204" pitchFamily="34" charset="0"/>
            </a:endParaRPr>
          </a:p>
          <a:p>
            <a:pPr algn="just"/>
            <a:r>
              <a:rPr lang="en-US" sz="1200" dirty="0">
                <a:solidFill>
                  <a:schemeClr val="tx1"/>
                </a:solidFill>
                <a:latin typeface="Arial" panose="020B0604020202020204" pitchFamily="34" charset="0"/>
                <a:cs typeface="Arial" panose="020B0604020202020204" pitchFamily="34" charset="0"/>
              </a:rPr>
              <a:t>The strategy well aligned with the government’s priorities and contributes to the need for a strong sector with effective coordination and implementation capabilities, and strengthening delivery systems for improved productivity and marketing of produce. The strategy emphasizes gender inclusive transformation to drive equitable access to inputs, finance, agriculture education and resilience.</a:t>
            </a:r>
          </a:p>
          <a:p>
            <a:pPr algn="just"/>
            <a:endParaRPr lang="en-US" sz="1150" dirty="0">
              <a:solidFill>
                <a:schemeClr val="tx1"/>
              </a:solidFill>
            </a:endParaRPr>
          </a:p>
          <a:p>
            <a:pPr algn="just"/>
            <a:endParaRPr lang="en-US" sz="1150" dirty="0">
              <a:solidFill>
                <a:schemeClr val="tx1"/>
              </a:solidFill>
            </a:endParaRPr>
          </a:p>
          <a:p>
            <a:pPr algn="just"/>
            <a:endParaRPr lang="en-US" sz="1150" dirty="0">
              <a:solidFill>
                <a:schemeClr val="tx1"/>
              </a:solidFill>
            </a:endParaRPr>
          </a:p>
        </p:txBody>
      </p:sp>
    </p:spTree>
    <p:extLst>
      <p:ext uri="{BB962C8B-B14F-4D97-AF65-F5344CB8AC3E}">
        <p14:creationId xmlns:p14="http://schemas.microsoft.com/office/powerpoint/2010/main" val="238780508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084E42B2-3FD4-4710-B5EA-E2583D24226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094" name="think-cell Slide" r:id="rId5" imgW="530" imgH="531" progId="TCLayout.ActiveDocument.1">
                  <p:embed/>
                </p:oleObj>
              </mc:Choice>
              <mc:Fallback>
                <p:oleObj name="think-cell Slide" r:id="rId5" imgW="530" imgH="531" progId="TCLayout.ActiveDocument.1">
                  <p:embed/>
                  <p:pic>
                    <p:nvPicPr>
                      <p:cNvPr id="6" name="Object 5" hidden="1">
                        <a:extLst>
                          <a:ext uri="{FF2B5EF4-FFF2-40B4-BE49-F238E27FC236}">
                            <a16:creationId xmlns="" xmlns:a16="http://schemas.microsoft.com/office/drawing/2014/main" id="{084E42B2-3FD4-4710-B5EA-E2583D24226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 xmlns:a16="http://schemas.microsoft.com/office/drawing/2014/main" id="{521C24CC-2C30-48D0-A7DD-063F1202EB8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defRPr/>
            </a:pPr>
            <a:endParaRPr lang="en-GB" sz="1600" b="1" dirty="0">
              <a:solidFill>
                <a:srgbClr val="FFFFFF"/>
              </a:solidFill>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 xmlns:a16="http://schemas.microsoft.com/office/drawing/2014/main" id="{CA504DF2-6589-45AA-8072-A0BDE7BB9D7F}"/>
              </a:ext>
            </a:extLst>
          </p:cNvPr>
          <p:cNvSpPr>
            <a:spLocks noGrp="1"/>
          </p:cNvSpPr>
          <p:nvPr>
            <p:ph type="title"/>
          </p:nvPr>
        </p:nvSpPr>
        <p:spPr>
          <a:xfrm>
            <a:off x="450741" y="60166"/>
            <a:ext cx="7245459" cy="392419"/>
          </a:xfrm>
        </p:spPr>
        <p:txBody>
          <a:bodyPr/>
          <a:lstStyle/>
          <a:p>
            <a:pPr algn="ctr"/>
            <a:r>
              <a:rPr lang="en-GB" sz="1600" dirty="0">
                <a:latin typeface="+mj-lt"/>
                <a:cs typeface="Calibri" panose="020F0502020204030204" pitchFamily="34" charset="0"/>
              </a:rPr>
              <a:t>DONORS’ FUNDING OF RURAL SECTORIAL DEVELOPMENT IN MALI</a:t>
            </a:r>
          </a:p>
        </p:txBody>
      </p:sp>
      <p:graphicFrame>
        <p:nvGraphicFramePr>
          <p:cNvPr id="9" name="Graphique 3">
            <a:extLst>
              <a:ext uri="{FF2B5EF4-FFF2-40B4-BE49-F238E27FC236}">
                <a16:creationId xmlns="" xmlns:a16="http://schemas.microsoft.com/office/drawing/2014/main" id="{BAE22473-1390-4D9B-B28A-687D94061D19}"/>
              </a:ext>
            </a:extLst>
          </p:cNvPr>
          <p:cNvGraphicFramePr>
            <a:graphicFrameLocks/>
          </p:cNvGraphicFramePr>
          <p:nvPr/>
        </p:nvGraphicFramePr>
        <p:xfrm>
          <a:off x="268941" y="1102659"/>
          <a:ext cx="9063318" cy="5298141"/>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2964935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200" dirty="0">
                <a:solidFill>
                  <a:schemeClr val="bg1"/>
                </a:solidFill>
              </a:rPr>
              <a:t>Mali Cropping Seasons </a:t>
            </a:r>
          </a:p>
        </p:txBody>
      </p:sp>
    </p:spTree>
    <p:extLst>
      <p:ext uri="{BB962C8B-B14F-4D97-AF65-F5344CB8AC3E}">
        <p14:creationId xmlns:p14="http://schemas.microsoft.com/office/powerpoint/2010/main" val="428064917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142" name="think-cell Slide" r:id="rId5" imgW="470" imgH="469" progId="TCLayout.ActiveDocument.1">
                  <p:embed/>
                </p:oleObj>
              </mc:Choice>
              <mc:Fallback>
                <p:oleObj name="think-cell Slide" r:id="rId5" imgW="470" imgH="469"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200" b="1" dirty="0">
              <a:solidFill>
                <a:srgbClr val="FFFFFF"/>
              </a:solidFill>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Cropping Seasons </a:t>
            </a:r>
          </a:p>
        </p:txBody>
      </p:sp>
      <p:pic>
        <p:nvPicPr>
          <p:cNvPr id="3" name="Picture 2"/>
          <p:cNvPicPr>
            <a:picLocks noChangeAspect="1"/>
          </p:cNvPicPr>
          <p:nvPr/>
        </p:nvPicPr>
        <p:blipFill>
          <a:blip r:embed="rId7"/>
          <a:stretch>
            <a:fillRect/>
          </a:stretch>
        </p:blipFill>
        <p:spPr>
          <a:xfrm>
            <a:off x="450714" y="932471"/>
            <a:ext cx="9004572" cy="4993057"/>
          </a:xfrm>
          <a:prstGeom prst="rect">
            <a:avLst/>
          </a:prstGeom>
        </p:spPr>
      </p:pic>
      <p:pic>
        <p:nvPicPr>
          <p:cNvPr id="178487" name="Picture 1" descr="Image result for crop calendar for Koulikoro"/>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69862" y="1739137"/>
            <a:ext cx="9367837" cy="4059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4096439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gn="ctr"/>
            <a:r>
              <a:rPr lang="en-US" sz="3200" dirty="0">
                <a:solidFill>
                  <a:schemeClr val="bg1"/>
                </a:solidFill>
              </a:rPr>
              <a:t>Acronyms</a:t>
            </a:r>
          </a:p>
        </p:txBody>
      </p:sp>
    </p:spTree>
    <p:extLst>
      <p:ext uri="{BB962C8B-B14F-4D97-AF65-F5344CB8AC3E}">
        <p14:creationId xmlns:p14="http://schemas.microsoft.com/office/powerpoint/2010/main" val="106259640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173"/>
        <p:cNvGrpSpPr/>
        <p:nvPr/>
      </p:nvGrpSpPr>
      <p:grpSpPr>
        <a:xfrm>
          <a:off x="0" y="0"/>
          <a:ext cx="0" cy="0"/>
          <a:chOff x="0" y="0"/>
          <a:chExt cx="0" cy="0"/>
        </a:xfrm>
      </p:grpSpPr>
      <p:pic>
        <p:nvPicPr>
          <p:cNvPr id="174" name="Google Shape;174;p27"/>
          <p:cNvPicPr preferRelativeResize="0"/>
          <p:nvPr/>
        </p:nvPicPr>
        <p:blipFill rotWithShape="1">
          <a:blip r:embed="rId3">
            <a:alphaModFix/>
          </a:blip>
          <a:srcRect/>
          <a:stretch/>
        </p:blipFill>
        <p:spPr>
          <a:xfrm>
            <a:off x="1588" y="1588"/>
            <a:ext cx="1588" cy="1588"/>
          </a:xfrm>
          <a:prstGeom prst="rect">
            <a:avLst/>
          </a:prstGeom>
          <a:noFill/>
          <a:ln>
            <a:noFill/>
          </a:ln>
        </p:spPr>
      </p:pic>
      <p:sp>
        <p:nvSpPr>
          <p:cNvPr id="175" name="Google Shape;175;p27"/>
          <p:cNvSpPr txBox="1">
            <a:spLocks noGrp="1"/>
          </p:cNvSpPr>
          <p:nvPr>
            <p:ph type="title"/>
          </p:nvPr>
        </p:nvSpPr>
        <p:spPr>
          <a:xfrm>
            <a:off x="498595" y="174812"/>
            <a:ext cx="7245459" cy="539427"/>
          </a:xfrm>
          <a:prstGeom prst="rect">
            <a:avLst/>
          </a:prstGeom>
          <a:noFill/>
          <a:ln>
            <a:noFill/>
          </a:ln>
        </p:spPr>
        <p:txBody>
          <a:bodyPr spcFirstLastPara="1" wrap="square" lIns="0" tIns="0" rIns="0" bIns="0" anchor="b" anchorCtr="0">
            <a:noAutofit/>
          </a:bodyPr>
          <a:lstStyle/>
          <a:p>
            <a:pPr marL="0" marR="0" lvl="0" indent="0" algn="l" rtl="0">
              <a:lnSpc>
                <a:spcPct val="90000"/>
              </a:lnSpc>
              <a:spcBef>
                <a:spcPts val="0"/>
              </a:spcBef>
              <a:spcAft>
                <a:spcPts val="0"/>
              </a:spcAft>
              <a:buClr>
                <a:schemeClr val="dk1"/>
              </a:buClr>
              <a:buSzPts val="2200"/>
              <a:buFont typeface="Arial"/>
              <a:buNone/>
            </a:pPr>
            <a:r>
              <a:rPr lang="en-US" sz="1800" b="1" i="0" u="none" strike="noStrike" cap="none" dirty="0">
                <a:solidFill>
                  <a:schemeClr val="dk1"/>
                </a:solidFill>
                <a:latin typeface="Arial"/>
                <a:ea typeface="Arial"/>
                <a:cs typeface="Arial"/>
                <a:sym typeface="Arial"/>
              </a:rPr>
              <a:t>Acronyms</a:t>
            </a:r>
            <a:endParaRPr sz="1800" b="1" i="0" u="none" strike="noStrike" cap="none" dirty="0">
              <a:solidFill>
                <a:schemeClr val="dk1"/>
              </a:solidFill>
              <a:latin typeface="Arial"/>
              <a:ea typeface="Arial"/>
              <a:cs typeface="Arial"/>
              <a:sym typeface="Arial"/>
            </a:endParaRPr>
          </a:p>
        </p:txBody>
      </p:sp>
      <p:graphicFrame>
        <p:nvGraphicFramePr>
          <p:cNvPr id="7" name="Table 6"/>
          <p:cNvGraphicFramePr>
            <a:graphicFrameLocks noGrp="1"/>
          </p:cNvGraphicFramePr>
          <p:nvPr>
            <p:extLst>
              <p:ext uri="{D42A27DB-BD31-4B8C-83A1-F6EECF244321}">
                <p14:modId xmlns:p14="http://schemas.microsoft.com/office/powerpoint/2010/main" val="2563212790"/>
              </p:ext>
            </p:extLst>
          </p:nvPr>
        </p:nvGraphicFramePr>
        <p:xfrm>
          <a:off x="134998" y="942838"/>
          <a:ext cx="4826967" cy="3607671"/>
        </p:xfrm>
        <a:graphic>
          <a:graphicData uri="http://schemas.openxmlformats.org/drawingml/2006/table">
            <a:tbl>
              <a:tblPr bandRow="1">
                <a:tableStyleId>{5C22544A-7EE6-4342-B048-85BDC9FD1C3A}</a:tableStyleId>
              </a:tblPr>
              <a:tblGrid>
                <a:gridCol w="753951">
                  <a:extLst>
                    <a:ext uri="{9D8B030D-6E8A-4147-A177-3AD203B41FA5}">
                      <a16:colId xmlns="" xmlns:a16="http://schemas.microsoft.com/office/drawing/2014/main" val="20000"/>
                    </a:ext>
                  </a:extLst>
                </a:gridCol>
                <a:gridCol w="4073016">
                  <a:extLst>
                    <a:ext uri="{9D8B030D-6E8A-4147-A177-3AD203B41FA5}">
                      <a16:colId xmlns="" xmlns:a16="http://schemas.microsoft.com/office/drawing/2014/main" val="20001"/>
                    </a:ext>
                  </a:extLst>
                </a:gridCol>
              </a:tblGrid>
              <a:tr h="254871">
                <a:tc>
                  <a:txBody>
                    <a:bodyPr/>
                    <a:lstStyle/>
                    <a:p>
                      <a:pPr algn="l" rtl="0" fontAlgn="ctr"/>
                      <a:r>
                        <a:rPr lang="en-US" sz="1100" b="1" u="none" strike="noStrike" dirty="0">
                          <a:solidFill>
                            <a:schemeClr val="tx1"/>
                          </a:solidFill>
                          <a:effectLst/>
                          <a:latin typeface="+mj-lt"/>
                          <a:cs typeface="Calibri" panose="020F0502020204030204" pitchFamily="34" charset="0"/>
                        </a:rPr>
                        <a:t>AfDB</a:t>
                      </a:r>
                      <a:endParaRPr lang="en-US" sz="1100" b="1" i="0" u="none" strike="noStrike" dirty="0">
                        <a:solidFill>
                          <a:schemeClr val="tx1"/>
                        </a:solidFill>
                        <a:effectLst/>
                        <a:latin typeface="+mj-lt"/>
                        <a:cs typeface="Calibri" panose="020F0502020204030204" pitchFamily="34" charset="0"/>
                      </a:endParaRPr>
                    </a:p>
                  </a:txBody>
                  <a:tcPr marL="45720" marR="45720" marT="0" marB="0" anchor="ctr"/>
                </a:tc>
                <a:tc>
                  <a:txBody>
                    <a:bodyPr/>
                    <a:lstStyle/>
                    <a:p>
                      <a:pPr algn="l" rtl="0" fontAlgn="ctr"/>
                      <a:r>
                        <a:rPr lang="en-US" sz="1100" u="none" strike="noStrike" dirty="0">
                          <a:solidFill>
                            <a:schemeClr val="tx1"/>
                          </a:solidFill>
                          <a:effectLst/>
                          <a:latin typeface="+mj-lt"/>
                          <a:cs typeface="Calibri" panose="020F0502020204030204" pitchFamily="34" charset="0"/>
                        </a:rPr>
                        <a:t>African Development Bank</a:t>
                      </a:r>
                      <a:endParaRPr lang="en-US" sz="1100" b="0" i="0" u="none" strike="noStrike" dirty="0">
                        <a:solidFill>
                          <a:schemeClr val="tx1"/>
                        </a:solidFill>
                        <a:effectLst/>
                        <a:latin typeface="+mj-lt"/>
                        <a:cs typeface="Calibri" panose="020F0502020204030204" pitchFamily="34" charset="0"/>
                      </a:endParaRPr>
                    </a:p>
                  </a:txBody>
                  <a:tcPr marL="45720" marR="45720" marT="0" marB="0" anchor="ctr"/>
                </a:tc>
                <a:extLst>
                  <a:ext uri="{0D108BD9-81ED-4DB2-BD59-A6C34878D82A}">
                    <a16:rowId xmlns="" xmlns:a16="http://schemas.microsoft.com/office/drawing/2014/main" val="10000"/>
                  </a:ext>
                </a:extLst>
              </a:tr>
              <a:tr h="182880">
                <a:tc>
                  <a:txBody>
                    <a:bodyPr/>
                    <a:lstStyle/>
                    <a:p>
                      <a:pPr algn="l" rtl="0" fontAlgn="ctr"/>
                      <a:r>
                        <a:rPr lang="en-US" sz="1100" b="1" u="none" strike="noStrike" dirty="0">
                          <a:solidFill>
                            <a:schemeClr val="tx1"/>
                          </a:solidFill>
                          <a:effectLst/>
                          <a:latin typeface="+mj-lt"/>
                          <a:cs typeface="Calibri" panose="020F0502020204030204" pitchFamily="34" charset="0"/>
                        </a:rPr>
                        <a:t>AGRA</a:t>
                      </a:r>
                      <a:endParaRPr lang="en-US" sz="1100" b="1" i="0" u="none" strike="noStrike" dirty="0">
                        <a:solidFill>
                          <a:schemeClr val="tx1"/>
                        </a:solidFill>
                        <a:effectLst/>
                        <a:latin typeface="+mj-lt"/>
                        <a:cs typeface="Calibri" panose="020F0502020204030204" pitchFamily="34" charset="0"/>
                      </a:endParaRPr>
                    </a:p>
                  </a:txBody>
                  <a:tcPr marL="45720" marR="45720" marT="0" marB="0" anchor="ctr"/>
                </a:tc>
                <a:tc>
                  <a:txBody>
                    <a:bodyPr/>
                    <a:lstStyle/>
                    <a:p>
                      <a:pPr algn="l" rtl="0" fontAlgn="ctr"/>
                      <a:r>
                        <a:rPr lang="en-US" sz="1100" u="none" strike="noStrike" dirty="0">
                          <a:solidFill>
                            <a:schemeClr val="tx1"/>
                          </a:solidFill>
                          <a:effectLst/>
                          <a:latin typeface="+mj-lt"/>
                          <a:cs typeface="Calibri" panose="020F0502020204030204" pitchFamily="34" charset="0"/>
                        </a:rPr>
                        <a:t>Alliance for a Green Revolution in Africa</a:t>
                      </a:r>
                      <a:endParaRPr lang="en-US" sz="1100" b="0" i="0" u="none" strike="noStrike" dirty="0">
                        <a:solidFill>
                          <a:schemeClr val="tx1"/>
                        </a:solidFill>
                        <a:effectLst/>
                        <a:latin typeface="+mj-lt"/>
                        <a:cs typeface="Calibri" panose="020F0502020204030204" pitchFamily="34" charset="0"/>
                      </a:endParaRPr>
                    </a:p>
                  </a:txBody>
                  <a:tcPr marL="45720" marR="45720" marT="0" marB="0" anchor="ctr"/>
                </a:tc>
                <a:extLst>
                  <a:ext uri="{0D108BD9-81ED-4DB2-BD59-A6C34878D82A}">
                    <a16:rowId xmlns="" xmlns:a16="http://schemas.microsoft.com/office/drawing/2014/main" val="10001"/>
                  </a:ext>
                </a:extLst>
              </a:tr>
              <a:tr h="182880">
                <a:tc>
                  <a:txBody>
                    <a:bodyPr/>
                    <a:lstStyle/>
                    <a:p>
                      <a:pPr algn="l" rtl="0" fontAlgn="ctr"/>
                      <a:r>
                        <a:rPr lang="en-US" sz="1100" b="1" u="none" strike="noStrike" dirty="0">
                          <a:solidFill>
                            <a:schemeClr val="tx1"/>
                          </a:solidFill>
                          <a:effectLst/>
                          <a:latin typeface="+mj-lt"/>
                          <a:cs typeface="Calibri" panose="020F0502020204030204" pitchFamily="34" charset="0"/>
                        </a:rPr>
                        <a:t>APCAM</a:t>
                      </a:r>
                      <a:endParaRPr lang="en-US" sz="1100" b="1" i="0" u="none" strike="noStrike" dirty="0">
                        <a:solidFill>
                          <a:schemeClr val="tx1"/>
                        </a:solidFill>
                        <a:effectLst/>
                        <a:latin typeface="+mj-lt"/>
                        <a:cs typeface="Calibri" panose="020F0502020204030204" pitchFamily="34" charset="0"/>
                      </a:endParaRPr>
                    </a:p>
                  </a:txBody>
                  <a:tcPr marL="45720" marR="45720" marT="0" marB="0" anchor="ctr"/>
                </a:tc>
                <a:tc>
                  <a:txBody>
                    <a:bodyPr/>
                    <a:lstStyle/>
                    <a:p>
                      <a:pPr algn="l" rtl="0" fontAlgn="ctr"/>
                      <a:r>
                        <a:rPr lang="fr-FR" sz="1100" u="none" strike="noStrike" dirty="0">
                          <a:solidFill>
                            <a:schemeClr val="tx1"/>
                          </a:solidFill>
                          <a:effectLst/>
                          <a:latin typeface="+mj-lt"/>
                          <a:cs typeface="Calibri" panose="020F0502020204030204" pitchFamily="34" charset="0"/>
                        </a:rPr>
                        <a:t>Assemblée Permanente des Chambres d'Agriculture du Mali</a:t>
                      </a:r>
                      <a:endParaRPr lang="fr-FR" sz="1100" b="0" i="0" u="none" strike="noStrike" dirty="0">
                        <a:solidFill>
                          <a:schemeClr val="tx1"/>
                        </a:solidFill>
                        <a:effectLst/>
                        <a:latin typeface="+mj-lt"/>
                        <a:cs typeface="Calibri" panose="020F0502020204030204" pitchFamily="34" charset="0"/>
                      </a:endParaRPr>
                    </a:p>
                  </a:txBody>
                  <a:tcPr marL="45720" marR="45720" marT="0" marB="0" anchor="ctr"/>
                </a:tc>
                <a:extLst>
                  <a:ext uri="{0D108BD9-81ED-4DB2-BD59-A6C34878D82A}">
                    <a16:rowId xmlns="" xmlns:a16="http://schemas.microsoft.com/office/drawing/2014/main" val="10002"/>
                  </a:ext>
                </a:extLst>
              </a:tr>
              <a:tr h="182880">
                <a:tc>
                  <a:txBody>
                    <a:bodyPr/>
                    <a:lstStyle/>
                    <a:p>
                      <a:pPr algn="l" rtl="0" fontAlgn="ctr"/>
                      <a:r>
                        <a:rPr lang="en-US" sz="1100" b="1" u="none" strike="noStrike" dirty="0">
                          <a:solidFill>
                            <a:schemeClr val="tx1"/>
                          </a:solidFill>
                          <a:effectLst/>
                          <a:latin typeface="+mj-lt"/>
                          <a:cs typeface="Calibri" panose="020F0502020204030204" pitchFamily="34" charset="0"/>
                        </a:rPr>
                        <a:t>ASDP</a:t>
                      </a:r>
                      <a:endParaRPr lang="en-US" sz="1100" b="1" i="0" u="none" strike="noStrike" dirty="0">
                        <a:solidFill>
                          <a:schemeClr val="tx1"/>
                        </a:solidFill>
                        <a:effectLst/>
                        <a:latin typeface="+mj-lt"/>
                        <a:cs typeface="Calibri" panose="020F0502020204030204" pitchFamily="34" charset="0"/>
                      </a:endParaRPr>
                    </a:p>
                  </a:txBody>
                  <a:tcPr marL="45720" marR="45720" marT="0" marB="0" anchor="ctr"/>
                </a:tc>
                <a:tc>
                  <a:txBody>
                    <a:bodyPr/>
                    <a:lstStyle/>
                    <a:p>
                      <a:pPr algn="l" rtl="0" fontAlgn="ctr"/>
                      <a:r>
                        <a:rPr lang="en-US" sz="1100" u="none" strike="noStrike" dirty="0">
                          <a:solidFill>
                            <a:schemeClr val="tx1"/>
                          </a:solidFill>
                          <a:effectLst/>
                          <a:latin typeface="+mj-lt"/>
                          <a:cs typeface="Calibri" panose="020F0502020204030204" pitchFamily="34" charset="0"/>
                        </a:rPr>
                        <a:t>Agriculture Sector Development Plan</a:t>
                      </a:r>
                      <a:endParaRPr lang="en-US" sz="1100" b="0" i="0" u="none" strike="noStrike" dirty="0">
                        <a:solidFill>
                          <a:schemeClr val="tx1"/>
                        </a:solidFill>
                        <a:effectLst/>
                        <a:latin typeface="+mj-lt"/>
                        <a:cs typeface="Calibri" panose="020F0502020204030204" pitchFamily="34" charset="0"/>
                      </a:endParaRPr>
                    </a:p>
                  </a:txBody>
                  <a:tcPr marL="45720" marR="45720" marT="0" marB="0" anchor="ctr"/>
                </a:tc>
                <a:extLst>
                  <a:ext uri="{0D108BD9-81ED-4DB2-BD59-A6C34878D82A}">
                    <a16:rowId xmlns="" xmlns:a16="http://schemas.microsoft.com/office/drawing/2014/main" val="10003"/>
                  </a:ext>
                </a:extLst>
              </a:tr>
              <a:tr h="182880">
                <a:tc>
                  <a:txBody>
                    <a:bodyPr/>
                    <a:lstStyle/>
                    <a:p>
                      <a:pPr algn="l" rtl="0" fontAlgn="ctr"/>
                      <a:r>
                        <a:rPr lang="en-US" sz="1100" b="1" u="none" strike="noStrike" dirty="0">
                          <a:solidFill>
                            <a:schemeClr val="tx1"/>
                          </a:solidFill>
                          <a:effectLst/>
                          <a:latin typeface="+mj-lt"/>
                          <a:cs typeface="Calibri" panose="020F0502020204030204" pitchFamily="34" charset="0"/>
                        </a:rPr>
                        <a:t>ASWG</a:t>
                      </a:r>
                      <a:endParaRPr lang="en-US" sz="1100" b="1" i="0" u="none" strike="noStrike" dirty="0">
                        <a:solidFill>
                          <a:schemeClr val="tx1"/>
                        </a:solidFill>
                        <a:effectLst/>
                        <a:latin typeface="+mj-lt"/>
                        <a:cs typeface="Calibri" panose="020F0502020204030204" pitchFamily="34" charset="0"/>
                      </a:endParaRPr>
                    </a:p>
                  </a:txBody>
                  <a:tcPr marL="45720" marR="45720" marT="0" marB="0" anchor="ctr"/>
                </a:tc>
                <a:tc>
                  <a:txBody>
                    <a:bodyPr/>
                    <a:lstStyle/>
                    <a:p>
                      <a:pPr algn="l" rtl="0" fontAlgn="ctr"/>
                      <a:r>
                        <a:rPr lang="en-US" sz="1100" u="none" strike="noStrike" dirty="0">
                          <a:solidFill>
                            <a:schemeClr val="tx1"/>
                          </a:solidFill>
                          <a:effectLst/>
                          <a:latin typeface="+mj-lt"/>
                          <a:cs typeface="Calibri" panose="020F0502020204030204" pitchFamily="34" charset="0"/>
                        </a:rPr>
                        <a:t>Agriculture Sector Working Group</a:t>
                      </a:r>
                      <a:endParaRPr lang="en-US" sz="1100" b="0" i="0" u="none" strike="noStrike" dirty="0">
                        <a:solidFill>
                          <a:schemeClr val="tx1"/>
                        </a:solidFill>
                        <a:effectLst/>
                        <a:latin typeface="+mj-lt"/>
                        <a:cs typeface="Calibri" panose="020F0502020204030204" pitchFamily="34" charset="0"/>
                      </a:endParaRPr>
                    </a:p>
                  </a:txBody>
                  <a:tcPr marL="45720" marR="45720" marT="0" marB="0" anchor="ctr"/>
                </a:tc>
                <a:extLst>
                  <a:ext uri="{0D108BD9-81ED-4DB2-BD59-A6C34878D82A}">
                    <a16:rowId xmlns="" xmlns:a16="http://schemas.microsoft.com/office/drawing/2014/main" val="10004"/>
                  </a:ext>
                </a:extLst>
              </a:tr>
              <a:tr h="182880">
                <a:tc>
                  <a:txBody>
                    <a:bodyPr/>
                    <a:lstStyle/>
                    <a:p>
                      <a:pPr algn="l" rtl="0" fontAlgn="ctr"/>
                      <a:r>
                        <a:rPr lang="en-US" sz="1100" b="1" u="none" strike="noStrike" dirty="0">
                          <a:solidFill>
                            <a:schemeClr val="tx1"/>
                          </a:solidFill>
                          <a:effectLst/>
                          <a:latin typeface="+mj-lt"/>
                          <a:cs typeface="Calibri" panose="020F0502020204030204" pitchFamily="34" charset="0"/>
                        </a:rPr>
                        <a:t>AEZ</a:t>
                      </a:r>
                      <a:endParaRPr lang="en-US" sz="1100" b="1" i="0" u="none" strike="noStrike" dirty="0">
                        <a:solidFill>
                          <a:schemeClr val="tx1"/>
                        </a:solidFill>
                        <a:effectLst/>
                        <a:latin typeface="+mj-lt"/>
                        <a:cs typeface="Calibri" panose="020F0502020204030204" pitchFamily="34" charset="0"/>
                      </a:endParaRPr>
                    </a:p>
                  </a:txBody>
                  <a:tcPr marL="45720" marR="45720" marT="0" marB="0" anchor="ctr"/>
                </a:tc>
                <a:tc>
                  <a:txBody>
                    <a:bodyPr/>
                    <a:lstStyle/>
                    <a:p>
                      <a:pPr algn="l" rtl="0" fontAlgn="ctr"/>
                      <a:r>
                        <a:rPr lang="en-US" sz="1100" u="none" strike="noStrike" dirty="0">
                          <a:solidFill>
                            <a:schemeClr val="tx1"/>
                          </a:solidFill>
                          <a:effectLst/>
                          <a:latin typeface="+mj-lt"/>
                          <a:cs typeface="Calibri" panose="020F0502020204030204" pitchFamily="34" charset="0"/>
                        </a:rPr>
                        <a:t>Agro-economic zones</a:t>
                      </a:r>
                      <a:endParaRPr lang="en-US" sz="1100" b="0" i="0" u="none" strike="noStrike" dirty="0">
                        <a:solidFill>
                          <a:schemeClr val="tx1"/>
                        </a:solidFill>
                        <a:effectLst/>
                        <a:latin typeface="+mj-lt"/>
                        <a:cs typeface="Calibri" panose="020F0502020204030204" pitchFamily="34" charset="0"/>
                      </a:endParaRPr>
                    </a:p>
                  </a:txBody>
                  <a:tcPr marL="45720" marR="45720" marT="0" marB="0" anchor="ctr"/>
                </a:tc>
                <a:extLst>
                  <a:ext uri="{0D108BD9-81ED-4DB2-BD59-A6C34878D82A}">
                    <a16:rowId xmlns="" xmlns:a16="http://schemas.microsoft.com/office/drawing/2014/main" val="10005"/>
                  </a:ext>
                </a:extLst>
              </a:tr>
              <a:tr h="182880">
                <a:tc>
                  <a:txBody>
                    <a:bodyPr/>
                    <a:lstStyle/>
                    <a:p>
                      <a:pPr algn="l" rtl="0" fontAlgn="ctr"/>
                      <a:r>
                        <a:rPr lang="en-US" sz="1100" b="1" u="none" strike="noStrike" dirty="0">
                          <a:solidFill>
                            <a:schemeClr val="tx1"/>
                          </a:solidFill>
                          <a:effectLst/>
                          <a:latin typeface="+mj-lt"/>
                          <a:cs typeface="Calibri" panose="020F0502020204030204" pitchFamily="34" charset="0"/>
                        </a:rPr>
                        <a:t>CAADP</a:t>
                      </a:r>
                      <a:endParaRPr lang="en-US" sz="1100" b="1" i="0" u="none" strike="noStrike" dirty="0">
                        <a:solidFill>
                          <a:schemeClr val="tx1"/>
                        </a:solidFill>
                        <a:effectLst/>
                        <a:latin typeface="+mj-lt"/>
                        <a:cs typeface="Calibri" panose="020F0502020204030204" pitchFamily="34" charset="0"/>
                      </a:endParaRPr>
                    </a:p>
                  </a:txBody>
                  <a:tcPr marL="45720" marR="45720" marT="0" marB="0" anchor="ctr"/>
                </a:tc>
                <a:tc>
                  <a:txBody>
                    <a:bodyPr/>
                    <a:lstStyle/>
                    <a:p>
                      <a:pPr algn="l" rtl="0" fontAlgn="ctr"/>
                      <a:r>
                        <a:rPr lang="en-US" sz="1100" u="none" strike="noStrike" dirty="0">
                          <a:solidFill>
                            <a:schemeClr val="tx1"/>
                          </a:solidFill>
                          <a:effectLst/>
                          <a:latin typeface="+mj-lt"/>
                          <a:cs typeface="Calibri" panose="020F0502020204030204" pitchFamily="34" charset="0"/>
                        </a:rPr>
                        <a:t>Comprehensive Africa Agriculture Development Program</a:t>
                      </a:r>
                      <a:endParaRPr lang="en-US" sz="1100" b="0" i="0" u="none" strike="noStrike" dirty="0">
                        <a:solidFill>
                          <a:schemeClr val="tx1"/>
                        </a:solidFill>
                        <a:effectLst/>
                        <a:latin typeface="+mj-lt"/>
                        <a:cs typeface="Calibri" panose="020F0502020204030204" pitchFamily="34" charset="0"/>
                      </a:endParaRPr>
                    </a:p>
                  </a:txBody>
                  <a:tcPr marL="45720" marR="45720" marT="0" marB="0" anchor="ctr"/>
                </a:tc>
                <a:extLst>
                  <a:ext uri="{0D108BD9-81ED-4DB2-BD59-A6C34878D82A}">
                    <a16:rowId xmlns="" xmlns:a16="http://schemas.microsoft.com/office/drawing/2014/main" val="10006"/>
                  </a:ext>
                </a:extLst>
              </a:tr>
              <a:tr h="182880">
                <a:tc>
                  <a:txBody>
                    <a:bodyPr/>
                    <a:lstStyle/>
                    <a:p>
                      <a:pPr algn="l" rtl="0" fontAlgn="ctr"/>
                      <a:r>
                        <a:rPr lang="en-US" sz="1100" b="1" u="none" strike="noStrike" dirty="0">
                          <a:solidFill>
                            <a:schemeClr val="tx1"/>
                          </a:solidFill>
                          <a:effectLst/>
                          <a:latin typeface="+mj-lt"/>
                          <a:cs typeface="Calibri" panose="020F0502020204030204" pitchFamily="34" charset="0"/>
                        </a:rPr>
                        <a:t>CPS/SDR</a:t>
                      </a:r>
                      <a:endParaRPr lang="en-US" sz="1100" b="1" i="0" u="none" strike="noStrike" dirty="0">
                        <a:solidFill>
                          <a:schemeClr val="tx1"/>
                        </a:solidFill>
                        <a:effectLst/>
                        <a:latin typeface="+mj-lt"/>
                        <a:cs typeface="Calibri" panose="020F0502020204030204" pitchFamily="34" charset="0"/>
                      </a:endParaRPr>
                    </a:p>
                  </a:txBody>
                  <a:tcPr marL="45720" marR="45720" marT="0" marB="0" anchor="ctr"/>
                </a:tc>
                <a:tc>
                  <a:txBody>
                    <a:bodyPr/>
                    <a:lstStyle/>
                    <a:p>
                      <a:pPr algn="l" rtl="0" fontAlgn="ctr"/>
                      <a:r>
                        <a:rPr lang="fr-FR" sz="1100" u="none" strike="noStrike" dirty="0">
                          <a:solidFill>
                            <a:schemeClr val="tx1"/>
                          </a:solidFill>
                          <a:effectLst/>
                          <a:latin typeface="+mj-lt"/>
                          <a:cs typeface="Calibri" panose="020F0502020204030204" pitchFamily="34" charset="0"/>
                        </a:rPr>
                        <a:t>Cellule de Planification et de Statistiques du Secteur du Développement Rural</a:t>
                      </a:r>
                      <a:endParaRPr lang="fr-FR" sz="1100" b="0" i="0" u="none" strike="noStrike" dirty="0">
                        <a:solidFill>
                          <a:schemeClr val="tx1"/>
                        </a:solidFill>
                        <a:effectLst/>
                        <a:latin typeface="+mj-lt"/>
                        <a:cs typeface="Calibri" panose="020F0502020204030204" pitchFamily="34" charset="0"/>
                      </a:endParaRPr>
                    </a:p>
                  </a:txBody>
                  <a:tcPr marL="45720" marR="45720" marT="0" marB="0" anchor="ctr"/>
                </a:tc>
                <a:extLst>
                  <a:ext uri="{0D108BD9-81ED-4DB2-BD59-A6C34878D82A}">
                    <a16:rowId xmlns="" xmlns:a16="http://schemas.microsoft.com/office/drawing/2014/main" val="10007"/>
                  </a:ext>
                </a:extLst>
              </a:tr>
              <a:tr h="182880">
                <a:tc>
                  <a:txBody>
                    <a:bodyPr/>
                    <a:lstStyle/>
                    <a:p>
                      <a:pPr algn="l" rtl="0" fontAlgn="ctr"/>
                      <a:r>
                        <a:rPr lang="en-US" sz="1100" b="1" i="0" u="none" strike="noStrike" dirty="0">
                          <a:solidFill>
                            <a:schemeClr val="tx1"/>
                          </a:solidFill>
                          <a:effectLst/>
                          <a:latin typeface="+mj-lt"/>
                          <a:cs typeface="Calibri" panose="020F0502020204030204" pitchFamily="34" charset="0"/>
                        </a:rPr>
                        <a:t>CREDD</a:t>
                      </a:r>
                    </a:p>
                  </a:txBody>
                  <a:tcPr marL="45720" marR="45720" marT="0" marB="0" anchor="ctr"/>
                </a:tc>
                <a:tc>
                  <a:txBody>
                    <a:bodyPr/>
                    <a:lstStyle/>
                    <a:p>
                      <a:pPr algn="l" rtl="0" fontAlgn="ctr"/>
                      <a:r>
                        <a:rPr lang="fr-FR" sz="1100" b="0" i="0" u="none" strike="noStrike" dirty="0">
                          <a:solidFill>
                            <a:schemeClr val="tx1"/>
                          </a:solidFill>
                          <a:effectLst/>
                          <a:latin typeface="+mj-lt"/>
                          <a:cs typeface="Calibri" panose="020F0502020204030204" pitchFamily="34" charset="0"/>
                        </a:rPr>
                        <a:t>Cadre Stratégique de Relance Economique</a:t>
                      </a:r>
                      <a:r>
                        <a:rPr lang="fr-FR" sz="1100" b="0" i="0" u="none" strike="noStrike" baseline="0" dirty="0">
                          <a:solidFill>
                            <a:schemeClr val="tx1"/>
                          </a:solidFill>
                          <a:effectLst/>
                          <a:latin typeface="+mj-lt"/>
                          <a:cs typeface="Calibri" panose="020F0502020204030204" pitchFamily="34" charset="0"/>
                        </a:rPr>
                        <a:t> et de Développement Durable</a:t>
                      </a:r>
                      <a:endParaRPr lang="fr-FR" sz="1100" b="0" i="0" u="none" strike="noStrike" dirty="0">
                        <a:solidFill>
                          <a:schemeClr val="tx1"/>
                        </a:solidFill>
                        <a:effectLst/>
                        <a:latin typeface="+mj-lt"/>
                        <a:cs typeface="Calibri" panose="020F0502020204030204" pitchFamily="34" charset="0"/>
                      </a:endParaRPr>
                    </a:p>
                  </a:txBody>
                  <a:tcPr marL="45720" marR="45720" marT="0" marB="0" anchor="ctr"/>
                </a:tc>
                <a:extLst>
                  <a:ext uri="{0D108BD9-81ED-4DB2-BD59-A6C34878D82A}">
                    <a16:rowId xmlns="" xmlns:a16="http://schemas.microsoft.com/office/drawing/2014/main" val="1309622403"/>
                  </a:ext>
                </a:extLst>
              </a:tr>
              <a:tr h="182880">
                <a:tc>
                  <a:txBody>
                    <a:bodyPr/>
                    <a:lstStyle/>
                    <a:p>
                      <a:pPr algn="l" rtl="0" fontAlgn="ctr"/>
                      <a:r>
                        <a:rPr lang="en-US" sz="1100" b="1" u="none" strike="noStrike" dirty="0">
                          <a:solidFill>
                            <a:schemeClr val="tx1"/>
                          </a:solidFill>
                          <a:effectLst/>
                          <a:latin typeface="+mj-lt"/>
                          <a:cs typeface="Calibri" panose="020F0502020204030204" pitchFamily="34" charset="0"/>
                        </a:rPr>
                        <a:t>CSA</a:t>
                      </a:r>
                      <a:endParaRPr lang="en-US" sz="1100" b="1" i="0" u="none" strike="noStrike" dirty="0">
                        <a:solidFill>
                          <a:schemeClr val="tx1"/>
                        </a:solidFill>
                        <a:effectLst/>
                        <a:latin typeface="+mj-lt"/>
                        <a:cs typeface="Calibri" panose="020F0502020204030204" pitchFamily="34" charset="0"/>
                      </a:endParaRPr>
                    </a:p>
                  </a:txBody>
                  <a:tcPr marL="45720" marR="45720" marT="0" marB="0" anchor="ctr"/>
                </a:tc>
                <a:tc>
                  <a:txBody>
                    <a:bodyPr/>
                    <a:lstStyle/>
                    <a:p>
                      <a:pPr algn="l" rtl="0" fontAlgn="ctr"/>
                      <a:r>
                        <a:rPr lang="fr-FR" sz="1100" u="none" strike="noStrike" dirty="0">
                          <a:solidFill>
                            <a:schemeClr val="tx1"/>
                          </a:solidFill>
                          <a:effectLst/>
                          <a:latin typeface="+mj-lt"/>
                          <a:cs typeface="Calibri" panose="020F0502020204030204" pitchFamily="34" charset="0"/>
                        </a:rPr>
                        <a:t>Commissariat a la Sécurité Alimentaire</a:t>
                      </a:r>
                      <a:endParaRPr lang="fr-FR" sz="1100" b="0" i="0" u="none" strike="noStrike" dirty="0">
                        <a:solidFill>
                          <a:schemeClr val="tx1"/>
                        </a:solidFill>
                        <a:effectLst/>
                        <a:latin typeface="+mj-lt"/>
                        <a:cs typeface="Calibri" panose="020F0502020204030204" pitchFamily="34" charset="0"/>
                      </a:endParaRPr>
                    </a:p>
                  </a:txBody>
                  <a:tcPr marL="45720" marR="45720" marT="0" marB="0" anchor="ctr"/>
                </a:tc>
                <a:extLst>
                  <a:ext uri="{0D108BD9-81ED-4DB2-BD59-A6C34878D82A}">
                    <a16:rowId xmlns="" xmlns:a16="http://schemas.microsoft.com/office/drawing/2014/main" val="10008"/>
                  </a:ext>
                </a:extLst>
              </a:tr>
              <a:tr h="182880">
                <a:tc>
                  <a:txBody>
                    <a:bodyPr/>
                    <a:lstStyle/>
                    <a:p>
                      <a:pPr algn="l" rtl="0" fontAlgn="ctr"/>
                      <a:r>
                        <a:rPr lang="en-US" sz="1100" b="1" u="none" strike="noStrike" dirty="0">
                          <a:solidFill>
                            <a:schemeClr val="tx1"/>
                          </a:solidFill>
                          <a:effectLst/>
                          <a:latin typeface="+mj-lt"/>
                          <a:cs typeface="Calibri" panose="020F0502020204030204" pitchFamily="34" charset="0"/>
                        </a:rPr>
                        <a:t>CSCRP</a:t>
                      </a:r>
                      <a:endParaRPr lang="en-US" sz="1100" b="1" i="0" u="none" strike="noStrike" dirty="0">
                        <a:solidFill>
                          <a:schemeClr val="tx1"/>
                        </a:solidFill>
                        <a:effectLst/>
                        <a:latin typeface="+mj-lt"/>
                        <a:cs typeface="Calibri" panose="020F0502020204030204" pitchFamily="34" charset="0"/>
                      </a:endParaRPr>
                    </a:p>
                  </a:txBody>
                  <a:tcPr marL="45720" marR="45720" marT="0" marB="0" anchor="ctr"/>
                </a:tc>
                <a:tc>
                  <a:txBody>
                    <a:bodyPr/>
                    <a:lstStyle/>
                    <a:p>
                      <a:pPr algn="l" rtl="0" fontAlgn="ctr"/>
                      <a:r>
                        <a:rPr lang="fr-FR" sz="1100" u="none" strike="noStrike" dirty="0">
                          <a:solidFill>
                            <a:schemeClr val="tx1"/>
                          </a:solidFill>
                          <a:effectLst/>
                          <a:latin typeface="+mj-lt"/>
                          <a:cs typeface="Calibri" panose="020F0502020204030204" pitchFamily="34" charset="0"/>
                        </a:rPr>
                        <a:t>Cadre stratégique pour la Croissance et la réduction de la pauvreté </a:t>
                      </a:r>
                      <a:endParaRPr lang="fr-FR" sz="1100" b="0" i="0" u="none" strike="noStrike" dirty="0">
                        <a:solidFill>
                          <a:schemeClr val="tx1"/>
                        </a:solidFill>
                        <a:effectLst/>
                        <a:latin typeface="+mj-lt"/>
                        <a:cs typeface="Calibri" panose="020F0502020204030204" pitchFamily="34" charset="0"/>
                      </a:endParaRPr>
                    </a:p>
                  </a:txBody>
                  <a:tcPr marL="45720" marR="45720" marT="0" marB="0" anchor="ctr"/>
                </a:tc>
                <a:extLst>
                  <a:ext uri="{0D108BD9-81ED-4DB2-BD59-A6C34878D82A}">
                    <a16:rowId xmlns="" xmlns:a16="http://schemas.microsoft.com/office/drawing/2014/main" val="10009"/>
                  </a:ext>
                </a:extLst>
              </a:tr>
              <a:tr h="182880">
                <a:tc>
                  <a:txBody>
                    <a:bodyPr/>
                    <a:lstStyle/>
                    <a:p>
                      <a:pPr algn="l" rtl="0" fontAlgn="ctr"/>
                      <a:r>
                        <a:rPr lang="en-US" sz="1100" b="1" i="0" u="none" strike="noStrike" dirty="0">
                          <a:solidFill>
                            <a:schemeClr val="tx1"/>
                          </a:solidFill>
                          <a:effectLst/>
                          <a:latin typeface="+mj-lt"/>
                          <a:cs typeface="Calibri" panose="020F0502020204030204" pitchFamily="34" charset="0"/>
                        </a:rPr>
                        <a:t>DNA</a:t>
                      </a:r>
                    </a:p>
                  </a:txBody>
                  <a:tcPr marL="45720" marR="45720" marT="0" marB="0" anchor="ctr"/>
                </a:tc>
                <a:tc>
                  <a:txBody>
                    <a:bodyPr/>
                    <a:lstStyle/>
                    <a:p>
                      <a:pPr algn="l" rtl="0" fontAlgn="ctr"/>
                      <a:r>
                        <a:rPr lang="en-US" sz="1100" b="0" i="0" u="none" strike="noStrike" dirty="0">
                          <a:solidFill>
                            <a:schemeClr val="tx1"/>
                          </a:solidFill>
                          <a:effectLst/>
                          <a:latin typeface="+mj-lt"/>
                          <a:cs typeface="Calibri" panose="020F0502020204030204" pitchFamily="34" charset="0"/>
                        </a:rPr>
                        <a:t>Direction Nationale d’Agriculture</a:t>
                      </a:r>
                      <a:r>
                        <a:rPr lang="en-US" sz="1100" b="0" i="0" u="none" strike="noStrike" baseline="0" dirty="0">
                          <a:solidFill>
                            <a:schemeClr val="tx1"/>
                          </a:solidFill>
                          <a:effectLst/>
                          <a:latin typeface="+mj-lt"/>
                          <a:cs typeface="Calibri" panose="020F0502020204030204" pitchFamily="34" charset="0"/>
                        </a:rPr>
                        <a:t> (National Department for Agricultural Development)</a:t>
                      </a:r>
                      <a:endParaRPr lang="en-US" sz="1100" b="0" i="0" u="none" strike="noStrike" dirty="0">
                        <a:solidFill>
                          <a:schemeClr val="tx1"/>
                        </a:solidFill>
                        <a:effectLst/>
                        <a:latin typeface="+mj-lt"/>
                        <a:cs typeface="Calibri" panose="020F0502020204030204" pitchFamily="34" charset="0"/>
                      </a:endParaRPr>
                    </a:p>
                  </a:txBody>
                  <a:tcPr marL="45720" marR="45720" marT="0" marB="0" anchor="ctr"/>
                </a:tc>
                <a:extLst>
                  <a:ext uri="{0D108BD9-81ED-4DB2-BD59-A6C34878D82A}">
                    <a16:rowId xmlns="" xmlns:a16="http://schemas.microsoft.com/office/drawing/2014/main" val="10010"/>
                  </a:ext>
                </a:extLst>
              </a:tr>
              <a:tr h="182880">
                <a:tc>
                  <a:txBody>
                    <a:bodyPr/>
                    <a:lstStyle/>
                    <a:p>
                      <a:pPr algn="l" rtl="0" fontAlgn="ctr"/>
                      <a:r>
                        <a:rPr lang="en-US" sz="1100" b="1" u="none" strike="noStrike" dirty="0">
                          <a:solidFill>
                            <a:schemeClr val="tx1"/>
                          </a:solidFill>
                          <a:effectLst/>
                          <a:latin typeface="+mj-lt"/>
                          <a:cs typeface="Calibri" panose="020F0502020204030204" pitchFamily="34" charset="0"/>
                        </a:rPr>
                        <a:t>FAO</a:t>
                      </a:r>
                      <a:endParaRPr lang="en-US" sz="1100" b="1" i="0" u="none" strike="noStrike" dirty="0">
                        <a:solidFill>
                          <a:schemeClr val="tx1"/>
                        </a:solidFill>
                        <a:effectLst/>
                        <a:latin typeface="+mj-lt"/>
                        <a:cs typeface="Calibri" panose="020F0502020204030204" pitchFamily="34" charset="0"/>
                      </a:endParaRPr>
                    </a:p>
                  </a:txBody>
                  <a:tcPr marL="45720" marR="45720" marT="0" marB="0" anchor="ctr"/>
                </a:tc>
                <a:tc>
                  <a:txBody>
                    <a:bodyPr/>
                    <a:lstStyle/>
                    <a:p>
                      <a:pPr algn="l" rtl="0" fontAlgn="ctr"/>
                      <a:r>
                        <a:rPr lang="en-US" sz="1100" u="none" strike="noStrike" dirty="0">
                          <a:solidFill>
                            <a:schemeClr val="tx1"/>
                          </a:solidFill>
                          <a:effectLst/>
                          <a:latin typeface="+mj-lt"/>
                          <a:cs typeface="Calibri" panose="020F0502020204030204" pitchFamily="34" charset="0"/>
                        </a:rPr>
                        <a:t>Food and Agricultural Organization of the United Nations</a:t>
                      </a:r>
                      <a:endParaRPr lang="en-US" sz="1100" b="0" i="0" u="none" strike="noStrike" dirty="0">
                        <a:solidFill>
                          <a:schemeClr val="tx1"/>
                        </a:solidFill>
                        <a:effectLst/>
                        <a:latin typeface="+mj-lt"/>
                        <a:cs typeface="Calibri" panose="020F0502020204030204" pitchFamily="34" charset="0"/>
                      </a:endParaRPr>
                    </a:p>
                  </a:txBody>
                  <a:tcPr marL="45720" marR="45720" marT="0" marB="0" anchor="ctr"/>
                </a:tc>
                <a:extLst>
                  <a:ext uri="{0D108BD9-81ED-4DB2-BD59-A6C34878D82A}">
                    <a16:rowId xmlns="" xmlns:a16="http://schemas.microsoft.com/office/drawing/2014/main" val="10011"/>
                  </a:ext>
                </a:extLst>
              </a:tr>
              <a:tr h="182880">
                <a:tc>
                  <a:txBody>
                    <a:bodyPr/>
                    <a:lstStyle/>
                    <a:p>
                      <a:pPr algn="l" rtl="0" fontAlgn="ctr"/>
                      <a:r>
                        <a:rPr lang="en-US" sz="1100" b="1" u="none" strike="noStrike" dirty="0">
                          <a:solidFill>
                            <a:schemeClr val="tx1"/>
                          </a:solidFill>
                          <a:effectLst/>
                          <a:latin typeface="+mj-lt"/>
                          <a:cs typeface="Calibri" panose="020F0502020204030204" pitchFamily="34" charset="0"/>
                        </a:rPr>
                        <a:t>FDI</a:t>
                      </a:r>
                      <a:endParaRPr lang="en-US" sz="1100" b="1" i="0" u="none" strike="noStrike" dirty="0">
                        <a:solidFill>
                          <a:schemeClr val="tx1"/>
                        </a:solidFill>
                        <a:effectLst/>
                        <a:latin typeface="+mj-lt"/>
                        <a:cs typeface="Calibri" panose="020F0502020204030204" pitchFamily="34" charset="0"/>
                      </a:endParaRPr>
                    </a:p>
                  </a:txBody>
                  <a:tcPr marL="45720" marR="45720" marT="0" marB="0" anchor="ctr"/>
                </a:tc>
                <a:tc>
                  <a:txBody>
                    <a:bodyPr/>
                    <a:lstStyle/>
                    <a:p>
                      <a:pPr algn="l" rtl="0" fontAlgn="ctr"/>
                      <a:r>
                        <a:rPr lang="en-US" sz="1100" u="none" strike="noStrike" dirty="0">
                          <a:solidFill>
                            <a:schemeClr val="tx1"/>
                          </a:solidFill>
                          <a:effectLst/>
                          <a:latin typeface="+mj-lt"/>
                          <a:cs typeface="Calibri" panose="020F0502020204030204" pitchFamily="34" charset="0"/>
                        </a:rPr>
                        <a:t>Foreign Direct Investment</a:t>
                      </a:r>
                      <a:endParaRPr lang="en-US" sz="1100" b="0" i="0" u="none" strike="noStrike" dirty="0">
                        <a:solidFill>
                          <a:schemeClr val="tx1"/>
                        </a:solidFill>
                        <a:effectLst/>
                        <a:latin typeface="+mj-lt"/>
                        <a:cs typeface="Calibri" panose="020F0502020204030204" pitchFamily="34" charset="0"/>
                      </a:endParaRPr>
                    </a:p>
                  </a:txBody>
                  <a:tcPr marL="45720" marR="45720" marT="0" marB="0" anchor="ctr"/>
                </a:tc>
                <a:extLst>
                  <a:ext uri="{0D108BD9-81ED-4DB2-BD59-A6C34878D82A}">
                    <a16:rowId xmlns="" xmlns:a16="http://schemas.microsoft.com/office/drawing/2014/main" val="10012"/>
                  </a:ext>
                </a:extLst>
              </a:tr>
              <a:tr h="182880">
                <a:tc>
                  <a:txBody>
                    <a:bodyPr/>
                    <a:lstStyle/>
                    <a:p>
                      <a:pPr algn="l" rtl="0" fontAlgn="ctr"/>
                      <a:r>
                        <a:rPr lang="en-US" sz="1100" b="1" i="0" u="none" strike="noStrike" dirty="0">
                          <a:solidFill>
                            <a:schemeClr val="tx1"/>
                          </a:solidFill>
                          <a:effectLst/>
                          <a:latin typeface="+mj-lt"/>
                          <a:cs typeface="Calibri" panose="020F0502020204030204" pitchFamily="34" charset="0"/>
                        </a:rPr>
                        <a:t>GMM</a:t>
                      </a:r>
                    </a:p>
                  </a:txBody>
                  <a:tcPr marL="45720" marR="45720" marT="0" marB="0" anchor="ctr"/>
                </a:tc>
                <a:tc>
                  <a:txBody>
                    <a:bodyPr/>
                    <a:lstStyle/>
                    <a:p>
                      <a:pPr algn="l" rtl="0" fontAlgn="ctr"/>
                      <a:r>
                        <a:rPr lang="en-US" sz="1100" b="0" i="0" u="none" strike="noStrike" dirty="0">
                          <a:solidFill>
                            <a:schemeClr val="tx1"/>
                          </a:solidFill>
                          <a:effectLst/>
                          <a:latin typeface="+mj-lt"/>
                          <a:cs typeface="Calibri" panose="020F0502020204030204" pitchFamily="34" charset="0"/>
                        </a:rPr>
                        <a:t>Grands Moulins du Mali</a:t>
                      </a:r>
                    </a:p>
                  </a:txBody>
                  <a:tcPr marL="45720" marR="45720" marT="0" marB="0" anchor="ctr"/>
                </a:tc>
                <a:extLst>
                  <a:ext uri="{0D108BD9-81ED-4DB2-BD59-A6C34878D82A}">
                    <a16:rowId xmlns="" xmlns:a16="http://schemas.microsoft.com/office/drawing/2014/main" val="1095355301"/>
                  </a:ext>
                </a:extLst>
              </a:tr>
              <a:tr h="182880">
                <a:tc>
                  <a:txBody>
                    <a:bodyPr/>
                    <a:lstStyle/>
                    <a:p>
                      <a:pPr algn="l" rtl="0" fontAlgn="ctr"/>
                      <a:r>
                        <a:rPr lang="en-US" sz="1100" b="1" u="none" strike="noStrike" dirty="0">
                          <a:solidFill>
                            <a:schemeClr val="tx1"/>
                          </a:solidFill>
                          <a:effectLst/>
                          <a:latin typeface="+mj-lt"/>
                          <a:cs typeface="Calibri" panose="020F0502020204030204" pitchFamily="34" charset="0"/>
                        </a:rPr>
                        <a:t>IFAD</a:t>
                      </a:r>
                      <a:endParaRPr lang="en-US" sz="1100" b="1" i="0" u="none" strike="noStrike" dirty="0">
                        <a:solidFill>
                          <a:schemeClr val="tx1"/>
                        </a:solidFill>
                        <a:effectLst/>
                        <a:latin typeface="+mj-lt"/>
                        <a:cs typeface="Calibri" panose="020F0502020204030204" pitchFamily="34" charset="0"/>
                      </a:endParaRPr>
                    </a:p>
                  </a:txBody>
                  <a:tcPr marL="45720" marR="45720" marT="0" marB="0" anchor="ctr"/>
                </a:tc>
                <a:tc>
                  <a:txBody>
                    <a:bodyPr/>
                    <a:lstStyle/>
                    <a:p>
                      <a:pPr algn="l" rtl="0" fontAlgn="ctr"/>
                      <a:r>
                        <a:rPr lang="en-US" sz="1100" u="none" strike="noStrike" dirty="0">
                          <a:solidFill>
                            <a:schemeClr val="tx1"/>
                          </a:solidFill>
                          <a:effectLst/>
                          <a:latin typeface="+mj-lt"/>
                          <a:cs typeface="Calibri" panose="020F0502020204030204" pitchFamily="34" charset="0"/>
                        </a:rPr>
                        <a:t>International Fund for Agricultural Development</a:t>
                      </a:r>
                      <a:endParaRPr lang="en-US" sz="1100" b="0" i="0" u="none" strike="noStrike" dirty="0">
                        <a:solidFill>
                          <a:schemeClr val="tx1"/>
                        </a:solidFill>
                        <a:effectLst/>
                        <a:latin typeface="+mj-lt"/>
                        <a:cs typeface="Calibri" panose="020F0502020204030204" pitchFamily="34" charset="0"/>
                      </a:endParaRPr>
                    </a:p>
                  </a:txBody>
                  <a:tcPr marL="45720" marR="45720" marT="0" marB="0" anchor="ctr"/>
                </a:tc>
                <a:extLst>
                  <a:ext uri="{0D108BD9-81ED-4DB2-BD59-A6C34878D82A}">
                    <a16:rowId xmlns="" xmlns:a16="http://schemas.microsoft.com/office/drawing/2014/main" val="10013"/>
                  </a:ext>
                </a:extLst>
              </a:tr>
            </a:tbl>
          </a:graphicData>
        </a:graphic>
      </p:graphicFrame>
      <p:graphicFrame>
        <p:nvGraphicFramePr>
          <p:cNvPr id="2" name="Table 1"/>
          <p:cNvGraphicFramePr>
            <a:graphicFrameLocks noGrp="1"/>
          </p:cNvGraphicFramePr>
          <p:nvPr>
            <p:extLst>
              <p:ext uri="{D42A27DB-BD31-4B8C-83A1-F6EECF244321}">
                <p14:modId xmlns:p14="http://schemas.microsoft.com/office/powerpoint/2010/main" val="3457256456"/>
              </p:ext>
            </p:extLst>
          </p:nvPr>
        </p:nvGraphicFramePr>
        <p:xfrm>
          <a:off x="5071582" y="942838"/>
          <a:ext cx="4556512" cy="3596640"/>
        </p:xfrm>
        <a:graphic>
          <a:graphicData uri="http://schemas.openxmlformats.org/drawingml/2006/table">
            <a:tbl>
              <a:tblPr bandRow="1">
                <a:tableStyleId>{5C22544A-7EE6-4342-B048-85BDC9FD1C3A}</a:tableStyleId>
              </a:tblPr>
              <a:tblGrid>
                <a:gridCol w="770703">
                  <a:extLst>
                    <a:ext uri="{9D8B030D-6E8A-4147-A177-3AD203B41FA5}">
                      <a16:colId xmlns="" xmlns:a16="http://schemas.microsoft.com/office/drawing/2014/main" val="20000"/>
                    </a:ext>
                  </a:extLst>
                </a:gridCol>
                <a:gridCol w="3785809">
                  <a:extLst>
                    <a:ext uri="{9D8B030D-6E8A-4147-A177-3AD203B41FA5}">
                      <a16:colId xmlns="" xmlns:a16="http://schemas.microsoft.com/office/drawing/2014/main" val="20001"/>
                    </a:ext>
                  </a:extLst>
                </a:gridCol>
              </a:tblGrid>
              <a:tr h="182880">
                <a:tc>
                  <a:txBody>
                    <a:bodyPr/>
                    <a:lstStyle/>
                    <a:p>
                      <a:pPr algn="l" rtl="0" fontAlgn="ctr"/>
                      <a:r>
                        <a:rPr lang="en-US" sz="1100" b="1" u="none" strike="noStrike" dirty="0">
                          <a:solidFill>
                            <a:schemeClr val="tx1"/>
                          </a:solidFill>
                          <a:effectLst/>
                          <a:latin typeface="Arial" panose="020B0604020202020204" pitchFamily="34" charset="0"/>
                          <a:cs typeface="Arial" panose="020B0604020202020204" pitchFamily="34" charset="0"/>
                        </a:rPr>
                        <a:t>IsDB</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tc>
                <a:tc>
                  <a:txBody>
                    <a:bodyPr/>
                    <a:lstStyle/>
                    <a:p>
                      <a:pPr algn="l" rtl="0" fontAlgn="ctr"/>
                      <a:r>
                        <a:rPr lang="en-US" sz="1100" u="none" strike="noStrike" dirty="0">
                          <a:solidFill>
                            <a:schemeClr val="tx1"/>
                          </a:solidFill>
                          <a:effectLst/>
                          <a:latin typeface="Arial" panose="020B0604020202020204" pitchFamily="34" charset="0"/>
                          <a:cs typeface="Arial" panose="020B0604020202020204" pitchFamily="34" charset="0"/>
                        </a:rPr>
                        <a:t>Islamic Development Bank</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tc>
                <a:extLst>
                  <a:ext uri="{0D108BD9-81ED-4DB2-BD59-A6C34878D82A}">
                    <a16:rowId xmlns="" xmlns:a16="http://schemas.microsoft.com/office/drawing/2014/main" val="10000"/>
                  </a:ext>
                </a:extLst>
              </a:tr>
              <a:tr h="182880">
                <a:tc>
                  <a:txBody>
                    <a:bodyPr/>
                    <a:lstStyle/>
                    <a:p>
                      <a:pPr algn="l" rtl="0" fontAlgn="ctr"/>
                      <a:r>
                        <a:rPr lang="en-US" sz="1100" b="1" i="0" u="none" strike="noStrike" dirty="0">
                          <a:solidFill>
                            <a:schemeClr val="tx1"/>
                          </a:solidFill>
                          <a:effectLst/>
                          <a:latin typeface="Arial" panose="020B0604020202020204" pitchFamily="34" charset="0"/>
                          <a:cs typeface="Arial" panose="020B0604020202020204" pitchFamily="34" charset="0"/>
                        </a:rPr>
                        <a:t>LABOSEM</a:t>
                      </a:r>
                    </a:p>
                  </a:txBody>
                  <a:tcPr marL="45720" marR="45720" marT="0" marB="0" anchor="ctr"/>
                </a:tc>
                <a:tc>
                  <a:txBody>
                    <a:bodyPr/>
                    <a:lstStyle/>
                    <a:p>
                      <a:pPr algn="l" rtl="0" fontAlgn="ctr"/>
                      <a:r>
                        <a:rPr lang="en-US" sz="1100" b="0" i="0" u="none" strike="noStrike" dirty="0">
                          <a:solidFill>
                            <a:schemeClr val="tx1"/>
                          </a:solidFill>
                          <a:effectLst/>
                          <a:latin typeface="Arial" panose="020B0604020202020204" pitchFamily="34" charset="0"/>
                          <a:cs typeface="Arial" panose="020B0604020202020204" pitchFamily="34" charset="0"/>
                        </a:rPr>
                        <a:t>Laboratoire des Semences</a:t>
                      </a:r>
                    </a:p>
                  </a:txBody>
                  <a:tcPr marL="45720" marR="45720" marT="0" marB="0" anchor="ctr"/>
                </a:tc>
                <a:extLst>
                  <a:ext uri="{0D108BD9-81ED-4DB2-BD59-A6C34878D82A}">
                    <a16:rowId xmlns="" xmlns:a16="http://schemas.microsoft.com/office/drawing/2014/main" val="10001"/>
                  </a:ext>
                </a:extLst>
              </a:tr>
              <a:tr h="182880">
                <a:tc>
                  <a:txBody>
                    <a:bodyPr/>
                    <a:lstStyle/>
                    <a:p>
                      <a:pPr algn="l" rtl="0" fontAlgn="ctr"/>
                      <a:r>
                        <a:rPr lang="en-US" sz="1100" b="1" i="0" u="none" strike="noStrike" dirty="0">
                          <a:solidFill>
                            <a:schemeClr val="tx1"/>
                          </a:solidFill>
                          <a:effectLst/>
                          <a:latin typeface="Arial" panose="020B0604020202020204" pitchFamily="34" charset="0"/>
                          <a:cs typeface="Arial" panose="020B0604020202020204" pitchFamily="34" charset="0"/>
                        </a:rPr>
                        <a:t>M3</a:t>
                      </a:r>
                    </a:p>
                  </a:txBody>
                  <a:tcPr marL="45720" marR="45720" marT="0" marB="0" anchor="ctr"/>
                </a:tc>
                <a:tc>
                  <a:txBody>
                    <a:bodyPr/>
                    <a:lstStyle/>
                    <a:p>
                      <a:pPr algn="l" rtl="0" fontAlgn="ctr"/>
                      <a:r>
                        <a:rPr lang="en-US" sz="1100" b="0" i="0" u="none" strike="noStrike" dirty="0">
                          <a:solidFill>
                            <a:schemeClr val="tx1"/>
                          </a:solidFill>
                          <a:effectLst/>
                          <a:latin typeface="Arial" panose="020B0604020202020204" pitchFamily="34" charset="0"/>
                          <a:cs typeface="Arial" panose="020B0604020202020204" pitchFamily="34" charset="0"/>
                        </a:rPr>
                        <a:t>Moulins Modernes du Mali</a:t>
                      </a:r>
                    </a:p>
                  </a:txBody>
                  <a:tcPr marL="45720" marR="45720" marT="0" marB="0" anchor="ctr"/>
                </a:tc>
                <a:extLst>
                  <a:ext uri="{0D108BD9-81ED-4DB2-BD59-A6C34878D82A}">
                    <a16:rowId xmlns="" xmlns:a16="http://schemas.microsoft.com/office/drawing/2014/main" val="10002"/>
                  </a:ext>
                </a:extLst>
              </a:tr>
              <a:tr h="182880">
                <a:tc>
                  <a:txBody>
                    <a:bodyPr/>
                    <a:lstStyle/>
                    <a:p>
                      <a:pPr algn="l" rtl="0" fontAlgn="ctr"/>
                      <a:r>
                        <a:rPr lang="en-US" sz="1100" b="1" i="0" u="none" strike="noStrike" dirty="0">
                          <a:solidFill>
                            <a:schemeClr val="tx1"/>
                          </a:solidFill>
                          <a:effectLst/>
                          <a:latin typeface="Arial" panose="020B0604020202020204" pitchFamily="34" charset="0"/>
                          <a:cs typeface="Arial" panose="020B0604020202020204" pitchFamily="34" charset="0"/>
                        </a:rPr>
                        <a:t>MoA</a:t>
                      </a:r>
                    </a:p>
                  </a:txBody>
                  <a:tcPr marL="45720" marR="45720" marT="0" marB="0" anchor="ctr"/>
                </a:tc>
                <a:tc>
                  <a:txBody>
                    <a:bodyPr/>
                    <a:lstStyle/>
                    <a:p>
                      <a:pPr algn="l" rtl="0" fontAlgn="ctr"/>
                      <a:r>
                        <a:rPr lang="en-US" sz="1100" b="0" i="0" u="none" strike="noStrike" dirty="0">
                          <a:solidFill>
                            <a:schemeClr val="tx1"/>
                          </a:solidFill>
                          <a:effectLst/>
                          <a:latin typeface="Arial" panose="020B0604020202020204" pitchFamily="34" charset="0"/>
                          <a:cs typeface="Arial" panose="020B0604020202020204" pitchFamily="34" charset="0"/>
                        </a:rPr>
                        <a:t>Ministry of Agriculture</a:t>
                      </a:r>
                    </a:p>
                  </a:txBody>
                  <a:tcPr marL="45720" marR="45720" marT="0" marB="0" anchor="ctr"/>
                </a:tc>
                <a:extLst>
                  <a:ext uri="{0D108BD9-81ED-4DB2-BD59-A6C34878D82A}">
                    <a16:rowId xmlns="" xmlns:a16="http://schemas.microsoft.com/office/drawing/2014/main" val="10003"/>
                  </a:ext>
                </a:extLst>
              </a:tr>
              <a:tr h="182880">
                <a:tc>
                  <a:txBody>
                    <a:bodyPr/>
                    <a:lstStyle/>
                    <a:p>
                      <a:pPr algn="l" rtl="0" fontAlgn="ctr"/>
                      <a:r>
                        <a:rPr lang="en-US" sz="1100" b="1" u="none" strike="noStrike" dirty="0">
                          <a:solidFill>
                            <a:schemeClr val="tx1"/>
                          </a:solidFill>
                          <a:effectLst/>
                          <a:latin typeface="Arial" panose="020B0604020202020204" pitchFamily="34" charset="0"/>
                          <a:cs typeface="Arial" panose="020B0604020202020204" pitchFamily="34" charset="0"/>
                        </a:rPr>
                        <a:t>NAIP</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tc>
                <a:tc>
                  <a:txBody>
                    <a:bodyPr/>
                    <a:lstStyle/>
                    <a:p>
                      <a:pPr algn="l" rtl="0" fontAlgn="ctr"/>
                      <a:r>
                        <a:rPr lang="en-US" sz="1100" u="none" strike="noStrike" dirty="0">
                          <a:solidFill>
                            <a:schemeClr val="tx1"/>
                          </a:solidFill>
                          <a:effectLst/>
                          <a:latin typeface="Arial" panose="020B0604020202020204" pitchFamily="34" charset="0"/>
                          <a:cs typeface="Arial" panose="020B0604020202020204" pitchFamily="34" charset="0"/>
                        </a:rPr>
                        <a:t>National Agriculture Investment Plan</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tc>
                <a:extLst>
                  <a:ext uri="{0D108BD9-81ED-4DB2-BD59-A6C34878D82A}">
                    <a16:rowId xmlns="" xmlns:a16="http://schemas.microsoft.com/office/drawing/2014/main" val="10004"/>
                  </a:ext>
                </a:extLst>
              </a:tr>
              <a:tr h="182880">
                <a:tc>
                  <a:txBody>
                    <a:bodyPr/>
                    <a:lstStyle/>
                    <a:p>
                      <a:pPr algn="l" rtl="0" fontAlgn="ctr"/>
                      <a:r>
                        <a:rPr lang="en-US" sz="1100" b="1" u="none" strike="noStrike" dirty="0">
                          <a:solidFill>
                            <a:schemeClr val="tx1"/>
                          </a:solidFill>
                          <a:effectLst/>
                          <a:latin typeface="Arial" panose="020B0604020202020204" pitchFamily="34" charset="0"/>
                          <a:cs typeface="Arial" panose="020B0604020202020204" pitchFamily="34" charset="0"/>
                        </a:rPr>
                        <a:t>NVA</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tc>
                <a:tc>
                  <a:txBody>
                    <a:bodyPr/>
                    <a:lstStyle/>
                    <a:p>
                      <a:pPr algn="l" rtl="0" fontAlgn="ctr"/>
                      <a:r>
                        <a:rPr lang="en-US" sz="1100" u="none" strike="noStrike" dirty="0">
                          <a:solidFill>
                            <a:schemeClr val="tx1"/>
                          </a:solidFill>
                          <a:effectLst/>
                          <a:latin typeface="Arial" panose="020B0604020202020204" pitchFamily="34" charset="0"/>
                          <a:cs typeface="Arial" panose="020B0604020202020204" pitchFamily="34" charset="0"/>
                        </a:rPr>
                        <a:t>Nouveaux Villages Agricoles</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tc>
                <a:extLst>
                  <a:ext uri="{0D108BD9-81ED-4DB2-BD59-A6C34878D82A}">
                    <a16:rowId xmlns="" xmlns:a16="http://schemas.microsoft.com/office/drawing/2014/main" val="10005"/>
                  </a:ext>
                </a:extLst>
              </a:tr>
              <a:tr h="182880">
                <a:tc>
                  <a:txBody>
                    <a:bodyPr/>
                    <a:lstStyle/>
                    <a:p>
                      <a:pPr algn="l" rtl="0" fontAlgn="ctr"/>
                      <a:r>
                        <a:rPr lang="en-US" sz="1100" b="1" u="none" strike="noStrike" dirty="0">
                          <a:solidFill>
                            <a:schemeClr val="tx1"/>
                          </a:solidFill>
                          <a:effectLst/>
                          <a:latin typeface="Arial" panose="020B0604020202020204" pitchFamily="34" charset="0"/>
                          <a:cs typeface="Arial" panose="020B0604020202020204" pitchFamily="34" charset="0"/>
                        </a:rPr>
                        <a:t>OPAM</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tc>
                <a:tc>
                  <a:txBody>
                    <a:bodyPr/>
                    <a:lstStyle/>
                    <a:p>
                      <a:pPr algn="l" rtl="0" fontAlgn="ctr"/>
                      <a:r>
                        <a:rPr lang="fr-FR" sz="1100" u="none" strike="noStrike" dirty="0">
                          <a:solidFill>
                            <a:schemeClr val="tx1"/>
                          </a:solidFill>
                          <a:effectLst/>
                          <a:latin typeface="Arial" panose="020B0604020202020204" pitchFamily="34" charset="0"/>
                          <a:cs typeface="Arial" panose="020B0604020202020204" pitchFamily="34" charset="0"/>
                        </a:rPr>
                        <a:t>Office des Produits Agricoles du Mali</a:t>
                      </a:r>
                      <a:endParaRPr lang="fr-FR"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tc>
                <a:extLst>
                  <a:ext uri="{0D108BD9-81ED-4DB2-BD59-A6C34878D82A}">
                    <a16:rowId xmlns="" xmlns:a16="http://schemas.microsoft.com/office/drawing/2014/main" val="10006"/>
                  </a:ext>
                </a:extLst>
              </a:tr>
              <a:tr h="182880">
                <a:tc>
                  <a:txBody>
                    <a:bodyPr/>
                    <a:lstStyle/>
                    <a:p>
                      <a:pPr algn="l" rtl="0" fontAlgn="ctr"/>
                      <a:r>
                        <a:rPr lang="en-US" sz="1100" b="1" i="0" u="none" strike="noStrike" dirty="0">
                          <a:solidFill>
                            <a:schemeClr val="tx1"/>
                          </a:solidFill>
                          <a:effectLst/>
                          <a:latin typeface="Arial" panose="020B0604020202020204" pitchFamily="34" charset="0"/>
                          <a:cs typeface="Arial" panose="020B0604020202020204" pitchFamily="34" charset="0"/>
                        </a:rPr>
                        <a:t>PATAM</a:t>
                      </a:r>
                    </a:p>
                  </a:txBody>
                  <a:tcPr marL="45720" marR="45720" marT="0" marB="0" anchor="ctr"/>
                </a:tc>
                <a:tc>
                  <a:txBody>
                    <a:bodyPr/>
                    <a:lstStyle/>
                    <a:p>
                      <a:pPr algn="l" rtl="0" fontAlgn="ctr"/>
                      <a:r>
                        <a:rPr lang="fr-FR" sz="1100" b="0" i="0" u="none" strike="noStrike" dirty="0">
                          <a:solidFill>
                            <a:schemeClr val="tx1"/>
                          </a:solidFill>
                          <a:effectLst/>
                          <a:latin typeface="Arial" panose="020B0604020202020204" pitchFamily="34" charset="0"/>
                          <a:cs typeface="Arial" panose="020B0604020202020204" pitchFamily="34" charset="0"/>
                        </a:rPr>
                        <a:t>Projet d’Appui a la Transformation de l’Agriculture au Mali</a:t>
                      </a:r>
                    </a:p>
                  </a:txBody>
                  <a:tcPr marL="45720" marR="45720" marT="0" marB="0" anchor="ctr"/>
                </a:tc>
                <a:extLst>
                  <a:ext uri="{0D108BD9-81ED-4DB2-BD59-A6C34878D82A}">
                    <a16:rowId xmlns="" xmlns:a16="http://schemas.microsoft.com/office/drawing/2014/main" val="10007"/>
                  </a:ext>
                </a:extLst>
              </a:tr>
              <a:tr h="182880">
                <a:tc>
                  <a:txBody>
                    <a:bodyPr/>
                    <a:lstStyle/>
                    <a:p>
                      <a:pPr algn="l" rtl="0" fontAlgn="ctr"/>
                      <a:r>
                        <a:rPr lang="en-US" sz="1100" b="1" u="none" strike="noStrike" dirty="0">
                          <a:solidFill>
                            <a:schemeClr val="tx1"/>
                          </a:solidFill>
                          <a:effectLst/>
                          <a:latin typeface="Arial" panose="020B0604020202020204" pitchFamily="34" charset="0"/>
                          <a:cs typeface="Arial" panose="020B0604020202020204" pitchFamily="34" charset="0"/>
                        </a:rPr>
                        <a:t>PCDA</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tc>
                <a:tc>
                  <a:txBody>
                    <a:bodyPr/>
                    <a:lstStyle/>
                    <a:p>
                      <a:pPr algn="l" rtl="0" fontAlgn="ctr"/>
                      <a:r>
                        <a:rPr lang="fr-FR" sz="1100" u="none" strike="noStrike" dirty="0">
                          <a:solidFill>
                            <a:schemeClr val="tx1"/>
                          </a:solidFill>
                          <a:effectLst/>
                          <a:latin typeface="Arial" panose="020B0604020202020204" pitchFamily="34" charset="0"/>
                          <a:cs typeface="Arial" panose="020B0604020202020204" pitchFamily="34" charset="0"/>
                        </a:rPr>
                        <a:t>Programme Compétitivité  et Diversification Agricole</a:t>
                      </a:r>
                      <a:endParaRPr lang="fr-FR"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tc>
                <a:extLst>
                  <a:ext uri="{0D108BD9-81ED-4DB2-BD59-A6C34878D82A}">
                    <a16:rowId xmlns="" xmlns:a16="http://schemas.microsoft.com/office/drawing/2014/main" val="10008"/>
                  </a:ext>
                </a:extLst>
              </a:tr>
              <a:tr h="182880">
                <a:tc>
                  <a:txBody>
                    <a:bodyPr/>
                    <a:lstStyle/>
                    <a:p>
                      <a:pPr algn="l" rtl="0" fontAlgn="ctr"/>
                      <a:r>
                        <a:rPr lang="en-US" sz="1100" b="1" u="none" strike="noStrike" dirty="0">
                          <a:solidFill>
                            <a:schemeClr val="tx1"/>
                          </a:solidFill>
                          <a:effectLst/>
                          <a:latin typeface="Arial" panose="020B0604020202020204" pitchFamily="34" charset="0"/>
                          <a:cs typeface="Arial" panose="020B0604020202020204" pitchFamily="34" charset="0"/>
                        </a:rPr>
                        <a:t>PDA</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tc>
                <a:tc>
                  <a:txBody>
                    <a:bodyPr/>
                    <a:lstStyle/>
                    <a:p>
                      <a:pPr algn="l" rtl="0" fontAlgn="ctr"/>
                      <a:r>
                        <a:rPr lang="en-US" sz="1100" u="none" strike="noStrike" dirty="0">
                          <a:solidFill>
                            <a:schemeClr val="tx1"/>
                          </a:solidFill>
                          <a:effectLst/>
                          <a:latin typeface="Arial" panose="020B0604020202020204" pitchFamily="34" charset="0"/>
                          <a:cs typeface="Arial" panose="020B0604020202020204" pitchFamily="34" charset="0"/>
                        </a:rPr>
                        <a:t>Politique de Developpement Agricole</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tc>
                <a:extLst>
                  <a:ext uri="{0D108BD9-81ED-4DB2-BD59-A6C34878D82A}">
                    <a16:rowId xmlns="" xmlns:a16="http://schemas.microsoft.com/office/drawing/2014/main" val="10009"/>
                  </a:ext>
                </a:extLst>
              </a:tr>
              <a:tr h="182880">
                <a:tc>
                  <a:txBody>
                    <a:bodyPr/>
                    <a:lstStyle/>
                    <a:p>
                      <a:pPr algn="l" rtl="0" fontAlgn="ctr"/>
                      <a:r>
                        <a:rPr lang="en-US" sz="1100" b="1" u="none" strike="noStrike" dirty="0">
                          <a:solidFill>
                            <a:schemeClr val="tx1"/>
                          </a:solidFill>
                          <a:effectLst/>
                          <a:latin typeface="Arial" panose="020B0604020202020204" pitchFamily="34" charset="0"/>
                          <a:cs typeface="Arial" panose="020B0604020202020204" pitchFamily="34" charset="0"/>
                        </a:rPr>
                        <a:t>PNISA</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tc>
                <a:tc>
                  <a:txBody>
                    <a:bodyPr/>
                    <a:lstStyle/>
                    <a:p>
                      <a:pPr algn="l" rtl="0" fontAlgn="ctr"/>
                      <a:r>
                        <a:rPr lang="fr-FR" sz="1100" u="none" strike="noStrike" dirty="0">
                          <a:solidFill>
                            <a:schemeClr val="tx1"/>
                          </a:solidFill>
                          <a:effectLst/>
                          <a:latin typeface="Arial" panose="020B0604020202020204" pitchFamily="34" charset="0"/>
                          <a:cs typeface="Arial" panose="020B0604020202020204" pitchFamily="34" charset="0"/>
                        </a:rPr>
                        <a:t>Programme National d’Investissement du Secteur Agricole</a:t>
                      </a:r>
                      <a:endParaRPr lang="fr-FR"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tc>
                <a:extLst>
                  <a:ext uri="{0D108BD9-81ED-4DB2-BD59-A6C34878D82A}">
                    <a16:rowId xmlns="" xmlns:a16="http://schemas.microsoft.com/office/drawing/2014/main" val="10010"/>
                  </a:ext>
                </a:extLst>
              </a:tr>
              <a:tr h="182880">
                <a:tc>
                  <a:txBody>
                    <a:bodyPr/>
                    <a:lstStyle/>
                    <a:p>
                      <a:pPr algn="l" rtl="0" fontAlgn="ctr"/>
                      <a:r>
                        <a:rPr lang="en-US" sz="1100" b="1" u="none" strike="noStrike" dirty="0">
                          <a:solidFill>
                            <a:schemeClr val="tx1"/>
                          </a:solidFill>
                          <a:effectLst/>
                          <a:latin typeface="Arial" panose="020B0604020202020204" pitchFamily="34" charset="0"/>
                          <a:cs typeface="Arial" panose="020B0604020202020204" pitchFamily="34" charset="0"/>
                        </a:rPr>
                        <a:t>PTF</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tc>
                <a:tc>
                  <a:txBody>
                    <a:bodyPr/>
                    <a:lstStyle/>
                    <a:p>
                      <a:pPr algn="l" rtl="0" fontAlgn="ctr"/>
                      <a:r>
                        <a:rPr lang="en-US" sz="1100" u="none" strike="noStrike" dirty="0">
                          <a:solidFill>
                            <a:schemeClr val="tx1"/>
                          </a:solidFill>
                          <a:effectLst/>
                          <a:latin typeface="Arial" panose="020B0604020202020204" pitchFamily="34" charset="0"/>
                          <a:cs typeface="Arial" panose="020B0604020202020204" pitchFamily="34" charset="0"/>
                        </a:rPr>
                        <a:t>Partenaires Techniques et Financiers</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tc>
                <a:extLst>
                  <a:ext uri="{0D108BD9-81ED-4DB2-BD59-A6C34878D82A}">
                    <a16:rowId xmlns="" xmlns:a16="http://schemas.microsoft.com/office/drawing/2014/main" val="10011"/>
                  </a:ext>
                </a:extLst>
              </a:tr>
              <a:tr h="182880">
                <a:tc>
                  <a:txBody>
                    <a:bodyPr/>
                    <a:lstStyle/>
                    <a:p>
                      <a:pPr algn="l" rtl="0" fontAlgn="ctr"/>
                      <a:r>
                        <a:rPr lang="en-US" sz="1100" b="1" u="none" strike="noStrike" dirty="0">
                          <a:solidFill>
                            <a:schemeClr val="tx1"/>
                          </a:solidFill>
                          <a:effectLst/>
                          <a:latin typeface="Arial" panose="020B0604020202020204" pitchFamily="34" charset="0"/>
                          <a:cs typeface="Arial" panose="020B0604020202020204" pitchFamily="34" charset="0"/>
                        </a:rPr>
                        <a:t>ReSSAKS</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tc>
                <a:tc>
                  <a:txBody>
                    <a:bodyPr/>
                    <a:lstStyle/>
                    <a:p>
                      <a:pPr algn="l" rtl="0" fontAlgn="ctr"/>
                      <a:r>
                        <a:rPr lang="en-US" sz="1100" u="none" strike="noStrike" dirty="0">
                          <a:solidFill>
                            <a:schemeClr val="tx1"/>
                          </a:solidFill>
                          <a:effectLst/>
                          <a:latin typeface="Arial" panose="020B0604020202020204" pitchFamily="34" charset="0"/>
                          <a:cs typeface="Arial" panose="020B0604020202020204" pitchFamily="34" charset="0"/>
                        </a:rPr>
                        <a:t>Regional Strategic Analysis and Knowledge Support System</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tc>
                <a:extLst>
                  <a:ext uri="{0D108BD9-81ED-4DB2-BD59-A6C34878D82A}">
                    <a16:rowId xmlns="" xmlns:a16="http://schemas.microsoft.com/office/drawing/2014/main" val="10012"/>
                  </a:ext>
                </a:extLst>
              </a:tr>
              <a:tr h="182880">
                <a:tc>
                  <a:txBody>
                    <a:bodyPr/>
                    <a:lstStyle/>
                    <a:p>
                      <a:pPr algn="l" rtl="0" fontAlgn="ctr"/>
                      <a:r>
                        <a:rPr lang="en-US" sz="1100" b="1" u="none" strike="noStrike" dirty="0">
                          <a:solidFill>
                            <a:schemeClr val="tx1"/>
                          </a:solidFill>
                          <a:effectLst/>
                          <a:latin typeface="Arial" panose="020B0604020202020204" pitchFamily="34" charset="0"/>
                          <a:cs typeface="Arial" panose="020B0604020202020204" pitchFamily="34" charset="0"/>
                        </a:rPr>
                        <a:t>SDDR</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tc>
                <a:tc>
                  <a:txBody>
                    <a:bodyPr/>
                    <a:lstStyle/>
                    <a:p>
                      <a:pPr algn="l" rtl="0" fontAlgn="ctr"/>
                      <a:r>
                        <a:rPr lang="fr-FR" sz="1100" u="none" strike="noStrike" dirty="0">
                          <a:solidFill>
                            <a:schemeClr val="tx1"/>
                          </a:solidFill>
                          <a:effectLst/>
                          <a:latin typeface="Arial" panose="020B0604020202020204" pitchFamily="34" charset="0"/>
                          <a:cs typeface="Arial" panose="020B0604020202020204" pitchFamily="34" charset="0"/>
                        </a:rPr>
                        <a:t>Schéma Directeur du Développement Rural</a:t>
                      </a:r>
                      <a:endParaRPr lang="fr-FR"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tc>
                <a:extLst>
                  <a:ext uri="{0D108BD9-81ED-4DB2-BD59-A6C34878D82A}">
                    <a16:rowId xmlns="" xmlns:a16="http://schemas.microsoft.com/office/drawing/2014/main" val="10013"/>
                  </a:ext>
                </a:extLst>
              </a:tr>
              <a:tr h="182880">
                <a:tc>
                  <a:txBody>
                    <a:bodyPr/>
                    <a:lstStyle/>
                    <a:p>
                      <a:pPr algn="l" rtl="0" fontAlgn="ctr"/>
                      <a:r>
                        <a:rPr lang="en-US" sz="1100" b="1" u="none" strike="noStrike" dirty="0">
                          <a:solidFill>
                            <a:schemeClr val="tx1"/>
                          </a:solidFill>
                          <a:effectLst/>
                          <a:latin typeface="Arial" panose="020B0604020202020204" pitchFamily="34" charset="0"/>
                          <a:cs typeface="Arial" panose="020B0604020202020204" pitchFamily="34" charset="0"/>
                        </a:rPr>
                        <a:t>UE</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tc>
                <a:tc>
                  <a:txBody>
                    <a:bodyPr/>
                    <a:lstStyle/>
                    <a:p>
                      <a:pPr algn="l" rtl="0" fontAlgn="ctr"/>
                      <a:r>
                        <a:rPr lang="en-US" sz="1100" u="none" strike="noStrike" dirty="0">
                          <a:solidFill>
                            <a:schemeClr val="tx1"/>
                          </a:solidFill>
                          <a:effectLst/>
                          <a:latin typeface="Arial" panose="020B0604020202020204" pitchFamily="34" charset="0"/>
                          <a:cs typeface="Arial" panose="020B0604020202020204" pitchFamily="34" charset="0"/>
                        </a:rPr>
                        <a:t>Union Europeenne</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tc>
                <a:extLst>
                  <a:ext uri="{0D108BD9-81ED-4DB2-BD59-A6C34878D82A}">
                    <a16:rowId xmlns="" xmlns:a16="http://schemas.microsoft.com/office/drawing/2014/main" val="10014"/>
                  </a:ext>
                </a:extLst>
              </a:tr>
              <a:tr h="182880">
                <a:tc>
                  <a:txBody>
                    <a:bodyPr/>
                    <a:lstStyle/>
                    <a:p>
                      <a:pPr algn="l" rtl="0" fontAlgn="ctr"/>
                      <a:r>
                        <a:rPr lang="en-US" sz="1100" b="1" u="none" strike="noStrike" dirty="0">
                          <a:solidFill>
                            <a:schemeClr val="tx1"/>
                          </a:solidFill>
                          <a:effectLst/>
                          <a:latin typeface="Arial" panose="020B0604020202020204" pitchFamily="34" charset="0"/>
                          <a:cs typeface="Arial" panose="020B0604020202020204" pitchFamily="34" charset="0"/>
                        </a:rPr>
                        <a:t>USAID</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tc>
                <a:tc>
                  <a:txBody>
                    <a:bodyPr/>
                    <a:lstStyle/>
                    <a:p>
                      <a:pPr algn="l" rtl="0" fontAlgn="ctr"/>
                      <a:r>
                        <a:rPr lang="en-US" sz="1100" u="none" strike="noStrike" dirty="0">
                          <a:solidFill>
                            <a:schemeClr val="tx1"/>
                          </a:solidFill>
                          <a:effectLst/>
                          <a:latin typeface="Arial" panose="020B0604020202020204" pitchFamily="34" charset="0"/>
                          <a:cs typeface="Arial" panose="020B0604020202020204" pitchFamily="34" charset="0"/>
                        </a:rPr>
                        <a:t>United States Agency for International Development</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tc>
                <a:extLst>
                  <a:ext uri="{0D108BD9-81ED-4DB2-BD59-A6C34878D82A}">
                    <a16:rowId xmlns="" xmlns:a16="http://schemas.microsoft.com/office/drawing/2014/main" val="10015"/>
                  </a:ext>
                </a:extLst>
              </a:tr>
              <a:tr h="182880">
                <a:tc>
                  <a:txBody>
                    <a:bodyPr/>
                    <a:lstStyle/>
                    <a:p>
                      <a:pPr algn="l" rtl="0" fontAlgn="ctr"/>
                      <a:r>
                        <a:rPr lang="en-US" sz="1100" b="1" i="0" u="none" strike="noStrike" dirty="0">
                          <a:solidFill>
                            <a:schemeClr val="tx1"/>
                          </a:solidFill>
                          <a:effectLst/>
                          <a:latin typeface="Arial" panose="020B0604020202020204" pitchFamily="34" charset="0"/>
                          <a:cs typeface="Arial" panose="020B0604020202020204" pitchFamily="34" charset="0"/>
                        </a:rPr>
                        <a:t>VBA</a:t>
                      </a:r>
                    </a:p>
                  </a:txBody>
                  <a:tcPr marL="45720" marR="45720" marT="0" marB="0" anchor="ctr"/>
                </a:tc>
                <a:tc>
                  <a:txBody>
                    <a:bodyPr/>
                    <a:lstStyle/>
                    <a:p>
                      <a:pPr algn="l" rtl="0" fontAlgn="ctr"/>
                      <a:r>
                        <a:rPr lang="en-US" sz="1100" b="0" i="0" u="none" strike="noStrike" dirty="0">
                          <a:solidFill>
                            <a:schemeClr val="tx1"/>
                          </a:solidFill>
                          <a:effectLst/>
                          <a:latin typeface="Arial" panose="020B0604020202020204" pitchFamily="34" charset="0"/>
                          <a:cs typeface="Arial" panose="020B0604020202020204" pitchFamily="34" charset="0"/>
                        </a:rPr>
                        <a:t>Village Based Advisor</a:t>
                      </a:r>
                    </a:p>
                  </a:txBody>
                  <a:tcPr marL="45720" marR="45720" marT="0" marB="0" anchor="ctr"/>
                </a:tc>
                <a:extLst>
                  <a:ext uri="{0D108BD9-81ED-4DB2-BD59-A6C34878D82A}">
                    <a16:rowId xmlns="" xmlns:a16="http://schemas.microsoft.com/office/drawing/2014/main" val="10016"/>
                  </a:ext>
                </a:extLst>
              </a:tr>
              <a:tr h="182880">
                <a:tc>
                  <a:txBody>
                    <a:bodyPr/>
                    <a:lstStyle/>
                    <a:p>
                      <a:pPr algn="l" rtl="0" fontAlgn="ctr"/>
                      <a:r>
                        <a:rPr lang="en-US" sz="1100" b="1" u="none" strike="noStrike" dirty="0">
                          <a:solidFill>
                            <a:schemeClr val="tx1"/>
                          </a:solidFill>
                          <a:effectLst/>
                          <a:latin typeface="Arial" panose="020B0604020202020204" pitchFamily="34" charset="0"/>
                          <a:cs typeface="Arial" panose="020B0604020202020204" pitchFamily="34" charset="0"/>
                        </a:rPr>
                        <a:t>WADB</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tc>
                <a:tc>
                  <a:txBody>
                    <a:bodyPr/>
                    <a:lstStyle/>
                    <a:p>
                      <a:pPr algn="l" rtl="0" fontAlgn="ctr"/>
                      <a:r>
                        <a:rPr lang="en-US" sz="1100" u="none" strike="noStrike" dirty="0">
                          <a:solidFill>
                            <a:schemeClr val="tx1"/>
                          </a:solidFill>
                          <a:effectLst/>
                          <a:latin typeface="Arial" panose="020B0604020202020204" pitchFamily="34" charset="0"/>
                          <a:cs typeface="Arial" panose="020B0604020202020204" pitchFamily="34" charset="0"/>
                        </a:rPr>
                        <a:t>West African Development Bank</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tc>
                <a:extLst>
                  <a:ext uri="{0D108BD9-81ED-4DB2-BD59-A6C34878D82A}">
                    <a16:rowId xmlns="" xmlns:a16="http://schemas.microsoft.com/office/drawing/2014/main" val="10017"/>
                  </a:ext>
                </a:extLst>
              </a:tr>
            </a:tbl>
          </a:graphicData>
        </a:graphic>
      </p:graphicFrame>
    </p:spTree>
    <p:extLst>
      <p:ext uri="{BB962C8B-B14F-4D97-AF65-F5344CB8AC3E}">
        <p14:creationId xmlns:p14="http://schemas.microsoft.com/office/powerpoint/2010/main" val="254806528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200" dirty="0">
                <a:solidFill>
                  <a:schemeClr val="bg1"/>
                </a:solidFill>
              </a:rPr>
              <a:t>References </a:t>
            </a:r>
          </a:p>
        </p:txBody>
      </p:sp>
    </p:spTree>
    <p:extLst>
      <p:ext uri="{BB962C8B-B14F-4D97-AF65-F5344CB8AC3E}">
        <p14:creationId xmlns:p14="http://schemas.microsoft.com/office/powerpoint/2010/main" val="222670267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ferences</a:t>
            </a:r>
          </a:p>
        </p:txBody>
      </p:sp>
      <p:sp>
        <p:nvSpPr>
          <p:cNvPr id="3" name="Text Placeholder 2"/>
          <p:cNvSpPr>
            <a:spLocks noGrp="1"/>
          </p:cNvSpPr>
          <p:nvPr>
            <p:ph type="body" idx="1"/>
          </p:nvPr>
        </p:nvSpPr>
        <p:spPr>
          <a:xfrm>
            <a:off x="309282" y="950144"/>
            <a:ext cx="9005453" cy="5181599"/>
          </a:xfrm>
        </p:spPr>
        <p:txBody>
          <a:bodyPr/>
          <a:lstStyle/>
          <a:p>
            <a:pPr>
              <a:lnSpc>
                <a:spcPct val="150000"/>
              </a:lnSpc>
              <a:spcBef>
                <a:spcPts val="0"/>
              </a:spcBef>
            </a:pPr>
            <a:r>
              <a:rPr lang="en-US" sz="1100" dirty="0">
                <a:latin typeface="+mn-lt"/>
                <a:cs typeface="Calibri" panose="020F0502020204030204" pitchFamily="34" charset="0"/>
              </a:rPr>
              <a:t>AGRA Strategy and Business Plan  2017- 2021 </a:t>
            </a:r>
          </a:p>
          <a:p>
            <a:pPr>
              <a:lnSpc>
                <a:spcPct val="150000"/>
              </a:lnSpc>
              <a:spcBef>
                <a:spcPts val="0"/>
              </a:spcBef>
            </a:pPr>
            <a:r>
              <a:rPr lang="en-US" sz="1100" dirty="0">
                <a:solidFill>
                  <a:schemeClr val="tx1"/>
                </a:solidFill>
                <a:latin typeface="+mn-lt"/>
                <a:cs typeface="Calibri" panose="020F0502020204030204" pitchFamily="34" charset="0"/>
              </a:rPr>
              <a:t>Biennial review Mali Action agenda, 2017</a:t>
            </a:r>
          </a:p>
          <a:p>
            <a:pPr>
              <a:lnSpc>
                <a:spcPct val="150000"/>
              </a:lnSpc>
              <a:spcBef>
                <a:spcPts val="0"/>
              </a:spcBef>
            </a:pPr>
            <a:r>
              <a:rPr lang="en-GB" sz="1100" dirty="0">
                <a:latin typeface="+mn-lt"/>
                <a:cs typeface="Calibri" panose="020F0502020204030204" pitchFamily="34" charset="0"/>
              </a:rPr>
              <a:t>Mali rural Development sectorial review 9th , 2019</a:t>
            </a:r>
          </a:p>
          <a:p>
            <a:pPr>
              <a:lnSpc>
                <a:spcPct val="150000"/>
              </a:lnSpc>
              <a:spcBef>
                <a:spcPts val="0"/>
              </a:spcBef>
            </a:pPr>
            <a:r>
              <a:rPr lang="en-US" sz="1100" dirty="0">
                <a:latin typeface="+mn-lt"/>
                <a:cs typeface="Calibri" panose="020F0502020204030204" pitchFamily="34" charset="0"/>
              </a:rPr>
              <a:t>Official Development Assistance (ODA) 2014, flows, Other Official Flows (OOFs) and Private Grant/Flows reported by donor countries, multinational organizations and private entities to OECD DAC Directorate for all purposes related to agriculture except forestry and general environment protection extrapolated over 5 years</a:t>
            </a:r>
          </a:p>
          <a:p>
            <a:pPr>
              <a:lnSpc>
                <a:spcPct val="150000"/>
              </a:lnSpc>
              <a:spcBef>
                <a:spcPts val="0"/>
              </a:spcBef>
            </a:pPr>
            <a:r>
              <a:rPr lang="en-US" sz="1100" dirty="0">
                <a:latin typeface="+mn-lt"/>
                <a:cs typeface="Calibri" panose="020F0502020204030204" pitchFamily="34" charset="0"/>
              </a:rPr>
              <a:t>ReSAKKS, 2014 data extrapolated over 5 years, </a:t>
            </a:r>
            <a:r>
              <a:rPr lang="en-US" sz="1100" dirty="0">
                <a:solidFill>
                  <a:srgbClr val="000000"/>
                </a:solidFill>
                <a:latin typeface="+mn-lt"/>
                <a:cs typeface="Calibri" panose="020F0502020204030204" pitchFamily="34" charset="0"/>
                <a:hlinkClick r:id="rId2"/>
              </a:rPr>
              <a:t>www.ressaks.org</a:t>
            </a:r>
            <a:endParaRPr lang="en-US" sz="1100" dirty="0">
              <a:latin typeface="+mn-lt"/>
              <a:cs typeface="Calibri" panose="020F0502020204030204" pitchFamily="34" charset="0"/>
            </a:endParaRPr>
          </a:p>
          <a:p>
            <a:pPr>
              <a:lnSpc>
                <a:spcPct val="150000"/>
              </a:lnSpc>
              <a:spcBef>
                <a:spcPts val="0"/>
              </a:spcBef>
            </a:pPr>
            <a:r>
              <a:rPr lang="en-US" sz="1100" dirty="0">
                <a:latin typeface="+mn-lt"/>
                <a:cs typeface="Calibri" panose="020F0502020204030204" pitchFamily="34" charset="0"/>
              </a:rPr>
              <a:t>UN FAOSTAT (with data originating from OECD DAC)</a:t>
            </a:r>
          </a:p>
          <a:p>
            <a:pPr>
              <a:lnSpc>
                <a:spcPct val="150000"/>
              </a:lnSpc>
              <a:spcBef>
                <a:spcPts val="0"/>
              </a:spcBef>
            </a:pPr>
            <a:r>
              <a:rPr lang="en-US" sz="1100" dirty="0">
                <a:solidFill>
                  <a:srgbClr val="000000"/>
                </a:solidFill>
                <a:latin typeface="+mn-lt"/>
                <a:cs typeface="Calibri" panose="020F0502020204030204" pitchFamily="34" charset="0"/>
              </a:rPr>
              <a:t>UN World Population Prospects, 2015 </a:t>
            </a:r>
            <a:endParaRPr lang="en-US" sz="1100" dirty="0">
              <a:latin typeface="+mn-lt"/>
              <a:cs typeface="Calibri" panose="020F0502020204030204" pitchFamily="34" charset="0"/>
            </a:endParaRPr>
          </a:p>
          <a:p>
            <a:pPr>
              <a:lnSpc>
                <a:spcPct val="150000"/>
              </a:lnSpc>
              <a:spcBef>
                <a:spcPts val="0"/>
              </a:spcBef>
            </a:pPr>
            <a:r>
              <a:rPr lang="en-US" sz="1100" dirty="0">
                <a:latin typeface="+mn-lt"/>
                <a:cs typeface="Calibri" panose="020F0502020204030204" pitchFamily="34" charset="0"/>
              </a:rPr>
              <a:t>World Bank </a:t>
            </a:r>
            <a:r>
              <a:rPr lang="en-US" sz="1100" dirty="0">
                <a:solidFill>
                  <a:srgbClr val="000000"/>
                </a:solidFill>
                <a:latin typeface="+mn-lt"/>
                <a:cs typeface="Calibri" panose="020F0502020204030204" pitchFamily="34" charset="0"/>
              </a:rPr>
              <a:t>June 2017 </a:t>
            </a:r>
            <a:r>
              <a:rPr lang="en-US" sz="1100" dirty="0">
                <a:latin typeface="+mn-lt"/>
                <a:cs typeface="Calibri" panose="020F0502020204030204" pitchFamily="34" charset="0"/>
              </a:rPr>
              <a:t>(accessed via ReSAKKS)</a:t>
            </a:r>
            <a:r>
              <a:rPr lang="en-US" sz="1100" dirty="0">
                <a:solidFill>
                  <a:srgbClr val="000000"/>
                </a:solidFill>
                <a:latin typeface="+mn-lt"/>
                <a:cs typeface="Calibri" panose="020F0502020204030204" pitchFamily="34" charset="0"/>
                <a:hlinkClick r:id="rId3"/>
              </a:rPr>
              <a:t> http://worldbank.org</a:t>
            </a:r>
            <a:endParaRPr lang="en-US" sz="1100" dirty="0">
              <a:latin typeface="+mn-lt"/>
              <a:cs typeface="Calibri" panose="020F0502020204030204" pitchFamily="34" charset="0"/>
            </a:endParaRPr>
          </a:p>
          <a:p>
            <a:endParaRPr lang="en-US" sz="1100" dirty="0"/>
          </a:p>
        </p:txBody>
      </p:sp>
    </p:spTree>
    <p:extLst>
      <p:ext uri="{BB962C8B-B14F-4D97-AF65-F5344CB8AC3E}">
        <p14:creationId xmlns:p14="http://schemas.microsoft.com/office/powerpoint/2010/main" val="3841006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46"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4400" dirty="0">
              <a:solidFill>
                <a:srgbClr val="FFFFFF"/>
              </a:solidFill>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sz="4000" dirty="0"/>
              <a:t>Mali Agriculture Context</a:t>
            </a:r>
          </a:p>
        </p:txBody>
      </p:sp>
    </p:spTree>
    <p:extLst>
      <p:ext uri="{BB962C8B-B14F-4D97-AF65-F5344CB8AC3E}">
        <p14:creationId xmlns:p14="http://schemas.microsoft.com/office/powerpoint/2010/main" val="7271591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50"/>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71" name="think-cell Slide" r:id="rId6" imgW="395" imgH="396" progId="TCLayout.ActiveDocument.1">
                  <p:embed/>
                </p:oleObj>
              </mc:Choice>
              <mc:Fallback>
                <p:oleObj name="think-cell Slide" r:id="rId6" imgW="395" imgH="396"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defRPr/>
            </a:pPr>
            <a:endParaRPr lang="en-US" sz="1000" dirty="0">
              <a:solidFill>
                <a:srgbClr val="FFFFFF"/>
              </a:solidFill>
              <a:sym typeface="+mn-lt"/>
            </a:endParaRPr>
          </a:p>
        </p:txBody>
      </p:sp>
      <p:pic>
        <p:nvPicPr>
          <p:cNvPr id="251" name="Google Shape;251;p38"/>
          <p:cNvPicPr preferRelativeResize="0"/>
          <p:nvPr/>
        </p:nvPicPr>
        <p:blipFill rotWithShape="1">
          <a:blip r:embed="rId8">
            <a:alphaModFix/>
          </a:blip>
          <a:srcRect/>
          <a:stretch/>
        </p:blipFill>
        <p:spPr>
          <a:xfrm>
            <a:off x="1588" y="1588"/>
            <a:ext cx="1588" cy="1588"/>
          </a:xfrm>
          <a:prstGeom prst="rect">
            <a:avLst/>
          </a:prstGeom>
          <a:noFill/>
          <a:ln>
            <a:noFill/>
          </a:ln>
        </p:spPr>
      </p:pic>
      <p:sp>
        <p:nvSpPr>
          <p:cNvPr id="252" name="Google Shape;252;p38"/>
          <p:cNvSpPr txBox="1">
            <a:spLocks noGrp="1"/>
          </p:cNvSpPr>
          <p:nvPr>
            <p:ph type="title"/>
          </p:nvPr>
        </p:nvSpPr>
        <p:spPr>
          <a:xfrm>
            <a:off x="392832" y="68046"/>
            <a:ext cx="7245459" cy="582389"/>
          </a:xfrm>
        </p:spPr>
        <p:txBody>
          <a:bodyPr/>
          <a:lstStyle/>
          <a:p>
            <a:pPr lvl="0"/>
            <a:r>
              <a:rPr lang="en-US" sz="1600" dirty="0">
                <a:sym typeface="Arial"/>
              </a:rPr>
              <a:t>Mali’s Agriculture </a:t>
            </a:r>
            <a:r>
              <a:rPr lang="en-US" sz="1600" dirty="0"/>
              <a:t>sector has had a slow but positive growth over the past 5 years and continues to contribute significantly to the overall economy</a:t>
            </a:r>
            <a:endParaRPr lang="en-US" sz="1600" dirty="0">
              <a:sym typeface="Arial"/>
            </a:endParaRPr>
          </a:p>
        </p:txBody>
      </p:sp>
      <p:grpSp>
        <p:nvGrpSpPr>
          <p:cNvPr id="27" name="Group 26"/>
          <p:cNvGrpSpPr/>
          <p:nvPr/>
        </p:nvGrpSpPr>
        <p:grpSpPr>
          <a:xfrm>
            <a:off x="197225" y="996304"/>
            <a:ext cx="5492376" cy="5572210"/>
            <a:chOff x="613568" y="1095132"/>
            <a:chExt cx="3145699" cy="1327886"/>
          </a:xfrm>
        </p:grpSpPr>
        <p:sp>
          <p:nvSpPr>
            <p:cNvPr id="28" name="Google Shape;253;p38"/>
            <p:cNvSpPr/>
            <p:nvPr/>
          </p:nvSpPr>
          <p:spPr>
            <a:xfrm>
              <a:off x="613568" y="1095132"/>
              <a:ext cx="3145699" cy="88790"/>
            </a:xfrm>
            <a:prstGeom prst="rect">
              <a:avLst/>
            </a:prstGeom>
            <a:solidFill>
              <a:srgbClr val="E1EFD8"/>
            </a:solidFill>
            <a:ln w="12700" cap="flat" cmpd="sng">
              <a:solidFill>
                <a:srgbClr val="7F7F7F"/>
              </a:solidFill>
              <a:prstDash val="solid"/>
              <a:miter lim="800000"/>
              <a:headEnd type="none" w="sm" len="sm"/>
              <a:tailEnd type="none" w="sm" len="sm"/>
            </a:ln>
          </p:spPr>
          <p:txBody>
            <a:bodyPr spcFirstLastPara="1" wrap="square" lIns="91425" tIns="45700" rIns="91425" bIns="45700" anchor="ctr" anchorCtr="0">
              <a:noAutofit/>
            </a:bodyPr>
            <a:lstStyle/>
            <a:p>
              <a:pPr>
                <a:defRPr/>
              </a:pPr>
              <a:r>
                <a:rPr lang="en-US" sz="1100" b="1" dirty="0"/>
                <a:t>1. Agriculture and the Economy</a:t>
              </a:r>
              <a:endParaRPr sz="1100" dirty="0"/>
            </a:p>
          </p:txBody>
        </p:sp>
        <p:sp>
          <p:nvSpPr>
            <p:cNvPr id="29" name="Google Shape;255;p38"/>
            <p:cNvSpPr/>
            <p:nvPr/>
          </p:nvSpPr>
          <p:spPr>
            <a:xfrm>
              <a:off x="613568" y="1214798"/>
              <a:ext cx="3145699" cy="1208220"/>
            </a:xfrm>
            <a:prstGeom prst="rect">
              <a:avLst/>
            </a:prstGeom>
            <a:noFill/>
            <a:ln w="12700" cap="flat" cmpd="sng">
              <a:solidFill>
                <a:srgbClr val="7F7F7F"/>
              </a:solidFill>
              <a:prstDash val="solid"/>
              <a:miter lim="800000"/>
              <a:headEnd type="none" w="sm" len="sm"/>
              <a:tailEnd type="none" w="sm" len="sm"/>
            </a:ln>
          </p:spPr>
          <p:txBody>
            <a:bodyPr spcFirstLastPara="1" wrap="square" lIns="91425" tIns="45700" rIns="91425" bIns="45700" anchor="t" anchorCtr="0">
              <a:noAutofit/>
            </a:bodyPr>
            <a:lstStyle/>
            <a:p>
              <a:pPr marL="171450" indent="-171450" algn="just">
                <a:buSzPts val="1050"/>
                <a:buFont typeface="Arial" panose="020B0604020202020204" pitchFamily="34" charset="0"/>
                <a:buChar char="•"/>
                <a:defRPr/>
              </a:pPr>
              <a:r>
                <a:rPr lang="en-ZA" sz="1050" dirty="0">
                  <a:cs typeface="Calibri" panose="020F0502020204030204" pitchFamily="34" charset="0"/>
                </a:rPr>
                <a:t>Mali’s GDP per capita, USD 842 is much lower than Sub-Saharan Africa’s (SSA) average with poverty headcount averaging 51% in the last 5 years;   </a:t>
              </a:r>
            </a:p>
            <a:p>
              <a:pPr marL="171450" indent="-171450" algn="just">
                <a:buSzPts val="1050"/>
                <a:buFont typeface="Arial" panose="020B0604020202020204" pitchFamily="34" charset="0"/>
                <a:buChar char="•"/>
                <a:defRPr/>
              </a:pPr>
              <a:r>
                <a:rPr lang="en-US" sz="1050" dirty="0">
                  <a:cs typeface="Calibri" panose="020F0502020204030204" pitchFamily="34" charset="0"/>
                </a:rPr>
                <a:t>The country experienced a slow-down in economic activity in 2015, with GDP increasing by an estimated 5.2% (compared with 5.8% in 2014) due to poor agricultural sector performance (growth of only 3.9%, down from 14.8% in 2014) and armed conflict. </a:t>
              </a:r>
            </a:p>
            <a:p>
              <a:pPr marL="171450" indent="-171450" algn="just">
                <a:buSzPts val="1050"/>
                <a:buFont typeface="Arial" panose="020B0604020202020204" pitchFamily="34" charset="0"/>
                <a:buChar char="•"/>
                <a:defRPr/>
              </a:pPr>
              <a:r>
                <a:rPr lang="en-US" sz="1050" dirty="0">
                  <a:cs typeface="Calibri" panose="020F0502020204030204" pitchFamily="34" charset="0"/>
                </a:rPr>
                <a:t>Agriculture accounts </a:t>
              </a:r>
              <a:r>
                <a:rPr lang="en-US" sz="1050" dirty="0" smtClean="0">
                  <a:cs typeface="Calibri" panose="020F0502020204030204" pitchFamily="34" charset="0"/>
                </a:rPr>
                <a:t>for up to ~40% </a:t>
              </a:r>
              <a:r>
                <a:rPr lang="en-US" sz="1050" dirty="0">
                  <a:cs typeface="Calibri" panose="020F0502020204030204" pitchFamily="34" charset="0"/>
                </a:rPr>
                <a:t>GDP and employs ~80% of the population with ~58% of the labor force in ag being male.</a:t>
              </a:r>
            </a:p>
            <a:p>
              <a:pPr marL="171450" indent="-171450" algn="just">
                <a:buSzPts val="1050"/>
                <a:buFont typeface="Arial" panose="020B0604020202020204" pitchFamily="34" charset="0"/>
                <a:buChar char="•"/>
                <a:defRPr/>
              </a:pPr>
              <a:r>
                <a:rPr lang="en-ZA" sz="1050" dirty="0" smtClean="0">
                  <a:cs typeface="Calibri" panose="020F0502020204030204" pitchFamily="34" charset="0"/>
                </a:rPr>
                <a:t>Mali’s total population is ~19M with ~58% residing in the rural areas (</a:t>
              </a:r>
              <a:r>
                <a:rPr lang="en-ZA" sz="1050" i="1" dirty="0" smtClean="0">
                  <a:cs typeface="Calibri" panose="020F0502020204030204" pitchFamily="34" charset="0"/>
                </a:rPr>
                <a:t>Figure II</a:t>
              </a:r>
              <a:r>
                <a:rPr lang="en-ZA" sz="1050" dirty="0" smtClean="0">
                  <a:cs typeface="Calibri" panose="020F0502020204030204" pitchFamily="34" charset="0"/>
                </a:rPr>
                <a:t>).</a:t>
              </a:r>
            </a:p>
            <a:p>
              <a:pPr marL="171450" indent="-171450" algn="just">
                <a:buSzPts val="1050"/>
                <a:buFont typeface="Arial" panose="020B0604020202020204" pitchFamily="34" charset="0"/>
                <a:buChar char="•"/>
                <a:defRPr/>
              </a:pPr>
              <a:r>
                <a:rPr lang="en-US" sz="1050" dirty="0" smtClean="0">
                  <a:cs typeface="Calibri" panose="020F0502020204030204" pitchFamily="34" charset="0"/>
                </a:rPr>
                <a:t>The most important export items are gold, cotton, and live animals, while imports consist largely of machinery, appliances, and transport equipment and food products. Mali's major trading partners are China and other Asian countries, neighboring countries, South Africa, and France.  </a:t>
              </a:r>
            </a:p>
            <a:p>
              <a:pPr marL="171450" indent="-171450" algn="just">
                <a:buSzPts val="1050"/>
                <a:buFont typeface="Arial" panose="020B0604020202020204" pitchFamily="34" charset="0"/>
                <a:buChar char="•"/>
                <a:defRPr/>
              </a:pPr>
              <a:r>
                <a:rPr lang="en-US" sz="1050" dirty="0" smtClean="0">
                  <a:cs typeface="Calibri" panose="020F0502020204030204" pitchFamily="34" charset="0"/>
                </a:rPr>
                <a:t>The main threats of the Mali agricultural sector include: </a:t>
              </a:r>
            </a:p>
            <a:p>
              <a:pPr marL="511175" lvl="7" indent="-171450" algn="just">
                <a:buSzPts val="1050"/>
                <a:buFont typeface="Courier New" panose="02070309020205020404" pitchFamily="49" charset="0"/>
                <a:buChar char="o"/>
                <a:defRPr/>
              </a:pPr>
              <a:r>
                <a:rPr lang="en-US" sz="1050" dirty="0" smtClean="0">
                  <a:cs typeface="Calibri" panose="020F0502020204030204" pitchFamily="34" charset="0"/>
                </a:rPr>
                <a:t>Reliance </a:t>
              </a:r>
              <a:r>
                <a:rPr lang="en-US" sz="1050" dirty="0">
                  <a:cs typeface="Calibri" panose="020F0502020204030204" pitchFamily="34" charset="0"/>
                </a:rPr>
                <a:t>on rain-fed agriculture;</a:t>
              </a:r>
            </a:p>
            <a:p>
              <a:pPr marL="511175" lvl="7" indent="-171450" algn="just">
                <a:buSzPts val="1050"/>
                <a:buFont typeface="Courier New" panose="02070309020205020404" pitchFamily="49" charset="0"/>
                <a:buChar char="o"/>
                <a:defRPr/>
              </a:pPr>
              <a:r>
                <a:rPr lang="en-US" sz="1050" dirty="0">
                  <a:cs typeface="Calibri" panose="020F0502020204030204" pitchFamily="34" charset="0"/>
                </a:rPr>
                <a:t>Emergence of the Fall Army Worm; </a:t>
              </a:r>
            </a:p>
            <a:p>
              <a:pPr marL="511175" lvl="7" indent="-171450" algn="just">
                <a:buSzPts val="1050"/>
                <a:buFont typeface="Courier New" panose="02070309020205020404" pitchFamily="49" charset="0"/>
                <a:buChar char="o"/>
                <a:defRPr/>
              </a:pPr>
              <a:r>
                <a:rPr lang="en-US" sz="1050" dirty="0">
                  <a:cs typeface="Calibri" panose="020F0502020204030204" pitchFamily="34" charset="0"/>
                </a:rPr>
                <a:t>Low mobilization of financial resources to the ag sector; </a:t>
              </a:r>
            </a:p>
            <a:p>
              <a:pPr marL="511175" lvl="7" indent="-171450" algn="just">
                <a:buSzPts val="1050"/>
                <a:buFont typeface="Courier New" panose="02070309020205020404" pitchFamily="49" charset="0"/>
                <a:buChar char="o"/>
                <a:defRPr/>
              </a:pPr>
              <a:r>
                <a:rPr lang="en-US" sz="1050" dirty="0">
                  <a:cs typeface="Calibri" panose="020F0502020204030204" pitchFamily="34" charset="0"/>
                </a:rPr>
                <a:t>Low level of processing of agricultural products;</a:t>
              </a:r>
            </a:p>
            <a:p>
              <a:pPr marL="511175" lvl="7" indent="-171450" algn="just">
                <a:buSzPts val="1050"/>
                <a:buFont typeface="Courier New" panose="02070309020205020404" pitchFamily="49" charset="0"/>
                <a:buChar char="o"/>
                <a:defRPr/>
              </a:pPr>
              <a:r>
                <a:rPr lang="en-US" sz="1050" dirty="0">
                  <a:cs typeface="Calibri" panose="020F0502020204030204" pitchFamily="34" charset="0"/>
                </a:rPr>
                <a:t>Poor management of inventory management and marketing of agricultural products; </a:t>
              </a:r>
              <a:r>
                <a:rPr lang="en-US" sz="1050" strike="sngStrike" dirty="0" smtClean="0">
                  <a:cs typeface="Calibri" panose="020F0502020204030204" pitchFamily="34" charset="0"/>
                </a:rPr>
                <a:t>5/ </a:t>
              </a:r>
            </a:p>
            <a:p>
              <a:pPr marL="511175" lvl="7" indent="-171450" algn="just">
                <a:buSzPts val="1050"/>
                <a:buFont typeface="Courier New" panose="02070309020205020404" pitchFamily="49" charset="0"/>
                <a:buChar char="o"/>
                <a:defRPr/>
              </a:pPr>
              <a:r>
                <a:rPr lang="en-US" sz="1050" dirty="0" smtClean="0">
                  <a:cs typeface="Calibri" panose="020F0502020204030204" pitchFamily="34" charset="0"/>
                </a:rPr>
                <a:t>insufficient </a:t>
              </a:r>
              <a:r>
                <a:rPr lang="en-US" sz="1050" dirty="0">
                  <a:cs typeface="Calibri" panose="020F0502020204030204" pitchFamily="34" charset="0"/>
                </a:rPr>
                <a:t>of human resource; </a:t>
              </a:r>
              <a:r>
                <a:rPr lang="en-US" sz="1050" strike="sngStrike" dirty="0">
                  <a:cs typeface="Calibri" panose="020F0502020204030204" pitchFamily="34" charset="0"/>
                </a:rPr>
                <a:t>6/</a:t>
              </a:r>
              <a:r>
                <a:rPr lang="en-US" sz="1050" dirty="0">
                  <a:cs typeface="Calibri" panose="020F0502020204030204" pitchFamily="34" charset="0"/>
                </a:rPr>
                <a:t> </a:t>
              </a:r>
              <a:endParaRPr lang="en-US" sz="1050" dirty="0" smtClean="0">
                <a:cs typeface="Calibri" panose="020F0502020204030204" pitchFamily="34" charset="0"/>
              </a:endParaRPr>
            </a:p>
            <a:p>
              <a:pPr marL="511175" lvl="7" indent="-171450" algn="just">
                <a:buSzPts val="1050"/>
                <a:buFont typeface="Courier New" panose="02070309020205020404" pitchFamily="49" charset="0"/>
                <a:buChar char="o"/>
                <a:defRPr/>
              </a:pPr>
              <a:r>
                <a:rPr lang="en-US" sz="1050" dirty="0" smtClean="0">
                  <a:cs typeface="Calibri" panose="020F0502020204030204" pitchFamily="34" charset="0"/>
                </a:rPr>
                <a:t>low </a:t>
              </a:r>
              <a:r>
                <a:rPr lang="en-US" sz="1050" dirty="0">
                  <a:cs typeface="Calibri" panose="020F0502020204030204" pitchFamily="34" charset="0"/>
                </a:rPr>
                <a:t>rate of agricultural equipment; </a:t>
              </a:r>
              <a:r>
                <a:rPr lang="en-US" sz="1050" strike="sngStrike" dirty="0">
                  <a:cs typeface="Calibri" panose="020F0502020204030204" pitchFamily="34" charset="0"/>
                </a:rPr>
                <a:t>7</a:t>
              </a:r>
              <a:r>
                <a:rPr lang="en-US" sz="1050" strike="sngStrike" dirty="0" smtClean="0">
                  <a:cs typeface="Calibri" panose="020F0502020204030204" pitchFamily="34" charset="0"/>
                </a:rPr>
                <a:t>/</a:t>
              </a:r>
              <a:r>
                <a:rPr lang="en-US" sz="1050" dirty="0" smtClean="0">
                  <a:cs typeface="Calibri" panose="020F0502020204030204" pitchFamily="34" charset="0"/>
                </a:rPr>
                <a:t> </a:t>
              </a:r>
            </a:p>
            <a:p>
              <a:pPr marL="511175" lvl="7" indent="-171450" algn="just">
                <a:buSzPts val="1050"/>
                <a:buFont typeface="Courier New" panose="02070309020205020404" pitchFamily="49" charset="0"/>
                <a:buChar char="o"/>
                <a:defRPr/>
              </a:pPr>
              <a:r>
                <a:rPr lang="en-US" sz="1050" dirty="0" smtClean="0">
                  <a:cs typeface="Calibri" panose="020F0502020204030204" pitchFamily="34" charset="0"/>
                </a:rPr>
                <a:t>insecurity </a:t>
              </a:r>
              <a:r>
                <a:rPr lang="en-US" sz="1050" dirty="0">
                  <a:cs typeface="Calibri" panose="020F0502020204030204" pitchFamily="34" charset="0"/>
                </a:rPr>
                <a:t>in some production areas.</a:t>
              </a:r>
            </a:p>
            <a:p>
              <a:pPr algn="just">
                <a:buSzPts val="1050"/>
                <a:defRPr/>
              </a:pPr>
              <a:endParaRPr lang="en-US" sz="1050" dirty="0" smtClean="0">
                <a:cs typeface="Calibri" panose="020F0502020204030204" pitchFamily="34" charset="0"/>
              </a:endParaRPr>
            </a:p>
            <a:p>
              <a:pPr marL="171450" indent="-171450" algn="just">
                <a:buSzPts val="1050"/>
                <a:buFont typeface="Arial" panose="020B0604020202020204" pitchFamily="34" charset="0"/>
                <a:buChar char="•"/>
                <a:defRPr/>
              </a:pPr>
              <a:r>
                <a:rPr lang="en-US" sz="1050" dirty="0" smtClean="0">
                  <a:cs typeface="Calibri" panose="020F0502020204030204" pitchFamily="34" charset="0"/>
                </a:rPr>
                <a:t>The </a:t>
              </a:r>
              <a:r>
                <a:rPr lang="en-US" sz="1050" dirty="0">
                  <a:cs typeface="Calibri" panose="020F0502020204030204" pitchFamily="34" charset="0"/>
                </a:rPr>
                <a:t>Mali agricultural profession is well structured into apex/umbrella organizations taking into account gender issues (Women and young people are largely involved); in addition to the Permanent Assembly of the Chambers of Agriculture of Mali (</a:t>
              </a:r>
              <a:r>
                <a:rPr lang="en-US" sz="1050" b="1" dirty="0">
                  <a:cs typeface="Calibri" panose="020F0502020204030204" pitchFamily="34" charset="0"/>
                </a:rPr>
                <a:t>APCAM</a:t>
              </a:r>
              <a:r>
                <a:rPr lang="en-US" sz="1050" dirty="0">
                  <a:cs typeface="Calibri" panose="020F0502020204030204" pitchFamily="34" charset="0"/>
                </a:rPr>
                <a:t>) and the National Coordination of Farmers Organizations (</a:t>
              </a:r>
              <a:r>
                <a:rPr lang="en-US" sz="1050" b="1" dirty="0">
                  <a:cs typeface="Calibri" panose="020F0502020204030204" pitchFamily="34" charset="0"/>
                </a:rPr>
                <a:t>CNOP</a:t>
              </a:r>
              <a:r>
                <a:rPr lang="en-US" sz="1050" dirty="0">
                  <a:cs typeface="Calibri" panose="020F0502020204030204" pitchFamily="34" charset="0"/>
                </a:rPr>
                <a:t>), women are closely  represented in; the National Federation of Rural Women of Mali (</a:t>
              </a:r>
              <a:r>
                <a:rPr lang="en-US" sz="1050" b="1" dirty="0">
                  <a:cs typeface="Calibri" panose="020F0502020204030204" pitchFamily="34" charset="0"/>
                </a:rPr>
                <a:t>FENAFER</a:t>
              </a:r>
              <a:r>
                <a:rPr lang="en-US" sz="1050" dirty="0">
                  <a:cs typeface="Calibri" panose="020F0502020204030204" pitchFamily="34" charset="0"/>
                </a:rPr>
                <a:t>); {ii} the National Federation of Rural Youth of Mali (</a:t>
              </a:r>
              <a:r>
                <a:rPr lang="en-US" sz="1050" b="1" dirty="0">
                  <a:cs typeface="Calibri" panose="020F0502020204030204" pitchFamily="34" charset="0"/>
                </a:rPr>
                <a:t>FENAJER</a:t>
              </a:r>
              <a:r>
                <a:rPr lang="en-US" sz="1050" dirty="0">
                  <a:cs typeface="Calibri" panose="020F0502020204030204" pitchFamily="34" charset="0"/>
                </a:rPr>
                <a:t>-</a:t>
              </a:r>
              <a:r>
                <a:rPr lang="en-US" sz="1050" b="1" dirty="0">
                  <a:cs typeface="Calibri" panose="020F0502020204030204" pitchFamily="34" charset="0"/>
                </a:rPr>
                <a:t>MALI</a:t>
              </a:r>
              <a:r>
                <a:rPr lang="en-US" sz="1050" dirty="0">
                  <a:cs typeface="Calibri" panose="020F0502020204030204" pitchFamily="34" charset="0"/>
                </a:rPr>
                <a:t>).  </a:t>
              </a:r>
            </a:p>
            <a:p>
              <a:pPr algn="just">
                <a:buSzPts val="1050"/>
                <a:defRPr/>
              </a:pPr>
              <a:endParaRPr lang="en-US" sz="1050" dirty="0">
                <a:cs typeface="Calibri" panose="020F0502020204030204" pitchFamily="34" charset="0"/>
              </a:endParaRPr>
            </a:p>
            <a:p>
              <a:pPr algn="just">
                <a:buSzPts val="1050"/>
                <a:defRPr/>
              </a:pPr>
              <a:endParaRPr lang="en-US" sz="1050" dirty="0">
                <a:latin typeface="Calibri" panose="020F0502020204030204" pitchFamily="34" charset="0"/>
                <a:cs typeface="Calibri" panose="020F0502020204030204" pitchFamily="34" charset="0"/>
              </a:endParaRPr>
            </a:p>
          </p:txBody>
        </p:sp>
      </p:grpSp>
      <p:sp>
        <p:nvSpPr>
          <p:cNvPr id="5" name="TextBox 4"/>
          <p:cNvSpPr txBox="1"/>
          <p:nvPr/>
        </p:nvSpPr>
        <p:spPr>
          <a:xfrm>
            <a:off x="5997549" y="1001364"/>
            <a:ext cx="3590204" cy="246221"/>
          </a:xfrm>
          <a:prstGeom prst="rect">
            <a:avLst/>
          </a:prstGeom>
          <a:noFill/>
        </p:spPr>
        <p:txBody>
          <a:bodyPr wrap="square" rtlCol="0">
            <a:spAutoFit/>
          </a:bodyPr>
          <a:lstStyle/>
          <a:p>
            <a:pPr>
              <a:defRPr/>
            </a:pPr>
            <a:r>
              <a:rPr lang="en-US" sz="1000" i="1" dirty="0"/>
              <a:t>Figure 1 </a:t>
            </a:r>
            <a:r>
              <a:rPr lang="en-US" sz="1000" i="1" dirty="0" smtClean="0"/>
              <a:t> Overal</a:t>
            </a:r>
            <a:r>
              <a:rPr lang="en-US" sz="1000" i="1" dirty="0" smtClean="0"/>
              <a:t>l  G</a:t>
            </a:r>
            <a:r>
              <a:rPr lang="en-US" sz="1000" i="1" dirty="0" smtClean="0"/>
              <a:t>DP </a:t>
            </a:r>
            <a:r>
              <a:rPr lang="en-US" sz="1000" i="1" dirty="0"/>
              <a:t>Growth </a:t>
            </a:r>
            <a:r>
              <a:rPr lang="en-US" sz="1000" i="1" dirty="0" smtClean="0"/>
              <a:t>against </a:t>
            </a:r>
            <a:r>
              <a:rPr lang="en-US" sz="1000" i="1" dirty="0" smtClean="0"/>
              <a:t>Ag</a:t>
            </a:r>
            <a:r>
              <a:rPr lang="en-US" sz="1000" i="1" dirty="0"/>
              <a:t>. GDP contribution </a:t>
            </a:r>
          </a:p>
        </p:txBody>
      </p:sp>
      <p:sp>
        <p:nvSpPr>
          <p:cNvPr id="34" name="TextBox 4"/>
          <p:cNvSpPr txBox="1"/>
          <p:nvPr/>
        </p:nvSpPr>
        <p:spPr>
          <a:xfrm>
            <a:off x="5930314" y="3820475"/>
            <a:ext cx="3415955"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defRPr/>
            </a:pPr>
            <a:r>
              <a:rPr lang="en-US" sz="1000" i="1" dirty="0"/>
              <a:t>Figure II - Urban vs. Rural Population </a:t>
            </a:r>
          </a:p>
        </p:txBody>
      </p:sp>
      <p:pic>
        <p:nvPicPr>
          <p:cNvPr id="8" name="Picture 7"/>
          <p:cNvPicPr>
            <a:picLocks noChangeAspect="1"/>
          </p:cNvPicPr>
          <p:nvPr/>
        </p:nvPicPr>
        <p:blipFill>
          <a:blip r:embed="rId9"/>
          <a:stretch>
            <a:fillRect/>
          </a:stretch>
        </p:blipFill>
        <p:spPr>
          <a:xfrm>
            <a:off x="5930314" y="1418293"/>
            <a:ext cx="3778462" cy="2282712"/>
          </a:xfrm>
          <a:prstGeom prst="rect">
            <a:avLst/>
          </a:prstGeom>
        </p:spPr>
      </p:pic>
      <p:pic>
        <p:nvPicPr>
          <p:cNvPr id="9" name="Picture 8"/>
          <p:cNvPicPr>
            <a:picLocks noChangeAspect="1"/>
          </p:cNvPicPr>
          <p:nvPr/>
        </p:nvPicPr>
        <p:blipFill>
          <a:blip r:embed="rId10"/>
          <a:stretch>
            <a:fillRect/>
          </a:stretch>
        </p:blipFill>
        <p:spPr>
          <a:xfrm>
            <a:off x="5966356" y="4133907"/>
            <a:ext cx="3742419" cy="2164262"/>
          </a:xfrm>
          <a:prstGeom prst="rect">
            <a:avLst/>
          </a:prstGeom>
        </p:spPr>
      </p:pic>
    </p:spTree>
    <p:extLst>
      <p:ext uri="{BB962C8B-B14F-4D97-AF65-F5344CB8AC3E}">
        <p14:creationId xmlns:p14="http://schemas.microsoft.com/office/powerpoint/2010/main" val="6002365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50"/>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20" name="think-cell Slide" r:id="rId6" imgW="395" imgH="396" progId="TCLayout.ActiveDocument.1">
                  <p:embed/>
                </p:oleObj>
              </mc:Choice>
              <mc:Fallback>
                <p:oleObj name="think-cell Slide" r:id="rId6" imgW="395" imgH="396"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defRPr/>
            </a:pPr>
            <a:endParaRPr lang="en-US" sz="1000" dirty="0">
              <a:solidFill>
                <a:srgbClr val="FFFFFF"/>
              </a:solidFill>
              <a:sym typeface="+mn-lt"/>
            </a:endParaRPr>
          </a:p>
        </p:txBody>
      </p:sp>
      <p:pic>
        <p:nvPicPr>
          <p:cNvPr id="251" name="Google Shape;251;p38"/>
          <p:cNvPicPr preferRelativeResize="0"/>
          <p:nvPr/>
        </p:nvPicPr>
        <p:blipFill rotWithShape="1">
          <a:blip r:embed="rId8">
            <a:alphaModFix/>
          </a:blip>
          <a:srcRect/>
          <a:stretch/>
        </p:blipFill>
        <p:spPr>
          <a:xfrm>
            <a:off x="1588" y="1588"/>
            <a:ext cx="1588" cy="1588"/>
          </a:xfrm>
          <a:prstGeom prst="rect">
            <a:avLst/>
          </a:prstGeom>
          <a:noFill/>
          <a:ln>
            <a:noFill/>
          </a:ln>
        </p:spPr>
      </p:pic>
      <p:sp>
        <p:nvSpPr>
          <p:cNvPr id="252" name="Google Shape;252;p38"/>
          <p:cNvSpPr txBox="1">
            <a:spLocks noGrp="1"/>
          </p:cNvSpPr>
          <p:nvPr>
            <p:ph type="title"/>
          </p:nvPr>
        </p:nvSpPr>
        <p:spPr/>
        <p:txBody>
          <a:bodyPr/>
          <a:lstStyle/>
          <a:p>
            <a:pPr lvl="0"/>
            <a:r>
              <a:rPr lang="en-US" sz="1800" dirty="0"/>
              <a:t>The Malian government has recommitted to Agriculture sector development through various initiatives</a:t>
            </a:r>
            <a:endParaRPr lang="en-US" sz="1800" dirty="0">
              <a:sym typeface="Arial"/>
            </a:endParaRPr>
          </a:p>
        </p:txBody>
      </p:sp>
      <p:grpSp>
        <p:nvGrpSpPr>
          <p:cNvPr id="27" name="Group 26"/>
          <p:cNvGrpSpPr/>
          <p:nvPr/>
        </p:nvGrpSpPr>
        <p:grpSpPr>
          <a:xfrm>
            <a:off x="450742" y="1051473"/>
            <a:ext cx="4502257" cy="5010037"/>
            <a:chOff x="756004" y="1113274"/>
            <a:chExt cx="3003263" cy="1212697"/>
          </a:xfrm>
        </p:grpSpPr>
        <p:sp>
          <p:nvSpPr>
            <p:cNvPr id="28" name="Google Shape;253;p38"/>
            <p:cNvSpPr/>
            <p:nvPr/>
          </p:nvSpPr>
          <p:spPr>
            <a:xfrm>
              <a:off x="756004" y="1113274"/>
              <a:ext cx="3003263" cy="88790"/>
            </a:xfrm>
            <a:prstGeom prst="rect">
              <a:avLst/>
            </a:prstGeom>
            <a:solidFill>
              <a:srgbClr val="E1EFD8"/>
            </a:solidFill>
            <a:ln w="12700" cap="flat" cmpd="sng">
              <a:solidFill>
                <a:srgbClr val="7F7F7F"/>
              </a:solidFill>
              <a:prstDash val="solid"/>
              <a:miter lim="800000"/>
              <a:headEnd type="none" w="sm" len="sm"/>
              <a:tailEnd type="none" w="sm" len="sm"/>
            </a:ln>
          </p:spPr>
          <p:txBody>
            <a:bodyPr spcFirstLastPara="1" wrap="square" lIns="91425" tIns="45700" rIns="91425" bIns="45700" anchor="ctr" anchorCtr="0">
              <a:noAutofit/>
            </a:bodyPr>
            <a:lstStyle/>
            <a:p>
              <a:pPr>
                <a:defRPr/>
              </a:pPr>
              <a:r>
                <a:rPr lang="en-US" sz="1100" b="1" dirty="0"/>
                <a:t>2. Government Priorities</a:t>
              </a:r>
              <a:endParaRPr sz="1100" dirty="0"/>
            </a:p>
          </p:txBody>
        </p:sp>
        <p:sp>
          <p:nvSpPr>
            <p:cNvPr id="29" name="Google Shape;255;p38"/>
            <p:cNvSpPr/>
            <p:nvPr/>
          </p:nvSpPr>
          <p:spPr>
            <a:xfrm>
              <a:off x="756004" y="1202064"/>
              <a:ext cx="3003263" cy="1123907"/>
            </a:xfrm>
            <a:prstGeom prst="rect">
              <a:avLst/>
            </a:prstGeom>
            <a:noFill/>
            <a:ln w="12700" cap="flat" cmpd="sng">
              <a:solidFill>
                <a:srgbClr val="7F7F7F"/>
              </a:solidFill>
              <a:prstDash val="solid"/>
              <a:miter lim="800000"/>
              <a:headEnd type="none" w="sm" len="sm"/>
              <a:tailEnd type="none" w="sm" len="sm"/>
            </a:ln>
          </p:spPr>
          <p:txBody>
            <a:bodyPr spcFirstLastPara="1" wrap="square" lIns="91425" tIns="45700" rIns="91425" bIns="45700" anchor="t" anchorCtr="0">
              <a:noAutofit/>
            </a:bodyPr>
            <a:lstStyle/>
            <a:p>
              <a:pPr algn="just">
                <a:buClr>
                  <a:srgbClr val="385623"/>
                </a:buClr>
                <a:buSzPts val="1050"/>
                <a:defRPr/>
              </a:pPr>
              <a:r>
                <a:rPr lang="en-US" sz="1050" dirty="0">
                  <a:solidFill>
                    <a:schemeClr val="tx1"/>
                  </a:solidFill>
                </a:rPr>
                <a:t>Government of the Republic of Mali has developed several approaches and strategies including the Plan of Transition to the Sectorial Approach of the Rural Development Sector (PASSDR) in accordance with the principles of the ‘’Paris Declaration’’ (improving aid effectiveness) and the ‘’Sustainable Development Goals’’ (SDGs 2015-2030); These have contributed toward improving governance of the agricultural sector and  in the implementation and monitoring of agricultural policies and strategies; Mali’s main objectives of fostering socio-economic development and improving food security are anchored on the following frameworks: </a:t>
              </a:r>
            </a:p>
            <a:p>
              <a:pPr marL="171450" indent="-171450" algn="just">
                <a:buClr>
                  <a:srgbClr val="385623"/>
                </a:buClr>
                <a:buSzPts val="1050"/>
                <a:buFont typeface="Arial" panose="020B0604020202020204" pitchFamily="34" charset="0"/>
                <a:buChar char="•"/>
                <a:defRPr/>
              </a:pPr>
              <a:r>
                <a:rPr lang="en-US" sz="1050" dirty="0">
                  <a:solidFill>
                    <a:schemeClr val="tx1"/>
                  </a:solidFill>
                </a:rPr>
                <a:t>Agricultural Orientation Law (LOA) ,and,</a:t>
              </a:r>
            </a:p>
            <a:p>
              <a:pPr marL="171450" indent="-171450" algn="just">
                <a:buClr>
                  <a:srgbClr val="385623"/>
                </a:buClr>
                <a:buSzPts val="1050"/>
                <a:buFont typeface="Arial" panose="020B0604020202020204" pitchFamily="34" charset="0"/>
                <a:buChar char="•"/>
                <a:defRPr/>
              </a:pPr>
              <a:r>
                <a:rPr lang="en-US" sz="1050" dirty="0">
                  <a:solidFill>
                    <a:schemeClr val="tx1"/>
                  </a:solidFill>
                </a:rPr>
                <a:t>Agricultural Development Policy (PDA) and the instruments for its implementation (PNISA, SNDR, PoLNSAN, SNDI, </a:t>
              </a:r>
              <a:r>
                <a:rPr lang="en-US" sz="1050" dirty="0" smtClean="0">
                  <a:solidFill>
                    <a:schemeClr val="tx1"/>
                  </a:solidFill>
                </a:rPr>
                <a:t>AIC)</a:t>
              </a:r>
              <a:endParaRPr lang="en-US" sz="1050" dirty="0">
                <a:solidFill>
                  <a:schemeClr val="tx1"/>
                </a:solidFill>
              </a:endParaRPr>
            </a:p>
            <a:p>
              <a:pPr marL="171450" indent="-171450" algn="just">
                <a:buClr>
                  <a:srgbClr val="385623"/>
                </a:buClr>
                <a:buSzPts val="1050"/>
                <a:buFont typeface="Arial" panose="020B0604020202020204" pitchFamily="34" charset="0"/>
                <a:buChar char="•"/>
                <a:defRPr/>
              </a:pPr>
              <a:endParaRPr lang="en-US" sz="1050" dirty="0">
                <a:solidFill>
                  <a:schemeClr val="tx1"/>
                </a:solidFill>
              </a:endParaRPr>
            </a:p>
            <a:p>
              <a:pPr algn="just">
                <a:buClr>
                  <a:srgbClr val="385623"/>
                </a:buClr>
                <a:buSzPts val="1050"/>
                <a:defRPr/>
              </a:pPr>
              <a:r>
                <a:rPr lang="en-US" sz="1050" dirty="0">
                  <a:solidFill>
                    <a:schemeClr val="tx1"/>
                  </a:solidFill>
                </a:rPr>
                <a:t>Public spending on agriculture development is the highest in West Africa at </a:t>
              </a:r>
              <a:r>
                <a:rPr lang="en-US" sz="1050" dirty="0" smtClean="0">
                  <a:solidFill>
                    <a:schemeClr val="tx1"/>
                  </a:solidFill>
                </a:rPr>
                <a:t>13% </a:t>
              </a:r>
              <a:r>
                <a:rPr lang="en-US" sz="1050" dirty="0">
                  <a:solidFill>
                    <a:schemeClr val="tx1"/>
                  </a:solidFill>
                </a:rPr>
                <a:t>p.a. surpassing CAADP’s target of 10% while PNISA recommends a 20% allocation.  </a:t>
              </a:r>
            </a:p>
            <a:p>
              <a:pPr marL="171450" indent="-171450" algn="just">
                <a:buClr>
                  <a:srgbClr val="385623"/>
                </a:buClr>
                <a:buSzPts val="1050"/>
                <a:buFont typeface="Arial" panose="020B0604020202020204" pitchFamily="34" charset="0"/>
                <a:buChar char="•"/>
                <a:defRPr/>
              </a:pPr>
              <a:endParaRPr lang="en-US" sz="1050" dirty="0">
                <a:solidFill>
                  <a:schemeClr val="tx1"/>
                </a:solidFill>
              </a:endParaRPr>
            </a:p>
            <a:p>
              <a:pPr algn="just">
                <a:buClr>
                  <a:srgbClr val="385623"/>
                </a:buClr>
                <a:buSzPts val="1050"/>
                <a:defRPr/>
              </a:pPr>
              <a:r>
                <a:rPr lang="en-US" sz="1050" dirty="0">
                  <a:solidFill>
                    <a:schemeClr val="tx1"/>
                  </a:solidFill>
                </a:rPr>
                <a:t>However, the government continues to face institutional capacity challenges that include:</a:t>
              </a:r>
            </a:p>
            <a:p>
              <a:pPr algn="just">
                <a:buClr>
                  <a:srgbClr val="385623"/>
                </a:buClr>
                <a:buSzPts val="1050"/>
                <a:defRPr/>
              </a:pPr>
              <a:endParaRPr lang="en-US" sz="1050" dirty="0">
                <a:solidFill>
                  <a:schemeClr val="tx1"/>
                </a:solidFill>
              </a:endParaRPr>
            </a:p>
            <a:p>
              <a:pPr marL="171450" indent="-171450" algn="just">
                <a:buClr>
                  <a:srgbClr val="385623"/>
                </a:buClr>
                <a:buSzPts val="1050"/>
                <a:buFont typeface="Arial" panose="020B0604020202020204" pitchFamily="34" charset="0"/>
                <a:buChar char="•"/>
                <a:defRPr/>
              </a:pPr>
              <a:r>
                <a:rPr lang="en-US" sz="1050" dirty="0">
                  <a:solidFill>
                    <a:schemeClr val="tx1"/>
                  </a:solidFill>
                </a:rPr>
                <a:t>Lack of flagship programs to guide </a:t>
              </a:r>
              <a:r>
                <a:rPr lang="en-US" sz="1050" dirty="0" smtClean="0">
                  <a:solidFill>
                    <a:schemeClr val="tx1"/>
                  </a:solidFill>
                </a:rPr>
                <a:t>agricultural </a:t>
              </a:r>
              <a:r>
                <a:rPr lang="en-US" sz="1050" dirty="0">
                  <a:solidFill>
                    <a:schemeClr val="tx1"/>
                  </a:solidFill>
                </a:rPr>
                <a:t>transformation in line with PNISA priorities;</a:t>
              </a:r>
            </a:p>
            <a:p>
              <a:pPr marL="171450" indent="-171450" algn="just">
                <a:buClr>
                  <a:srgbClr val="385623"/>
                </a:buClr>
                <a:buSzPts val="1050"/>
                <a:buFont typeface="Arial" panose="020B0604020202020204" pitchFamily="34" charset="0"/>
                <a:buChar char="•"/>
                <a:defRPr/>
              </a:pPr>
              <a:r>
                <a:rPr lang="en-US" sz="1050" dirty="0">
                  <a:solidFill>
                    <a:schemeClr val="tx1"/>
                  </a:solidFill>
                </a:rPr>
                <a:t>Policy weaknesses that curtail growth of the private sector</a:t>
              </a:r>
            </a:p>
            <a:p>
              <a:pPr marL="171450" indent="-171450" algn="just">
                <a:buClr>
                  <a:srgbClr val="385623"/>
                </a:buClr>
                <a:buSzPts val="1050"/>
                <a:buFont typeface="Arial" panose="020B0604020202020204" pitchFamily="34" charset="0"/>
                <a:buChar char="•"/>
                <a:defRPr/>
              </a:pPr>
              <a:r>
                <a:rPr lang="en-US" sz="1050" dirty="0">
                  <a:solidFill>
                    <a:schemeClr val="tx1"/>
                  </a:solidFill>
                </a:rPr>
                <a:t>Sub-option inter and intra sector coordination; and </a:t>
              </a:r>
            </a:p>
            <a:p>
              <a:pPr marL="171450" indent="-171450" algn="just">
                <a:buClr>
                  <a:srgbClr val="385623"/>
                </a:buClr>
                <a:buSzPts val="1050"/>
                <a:buFont typeface="Arial" panose="020B0604020202020204" pitchFamily="34" charset="0"/>
                <a:buChar char="•"/>
                <a:defRPr/>
              </a:pPr>
              <a:r>
                <a:rPr lang="en-US" sz="1050" dirty="0">
                  <a:solidFill>
                    <a:schemeClr val="tx1"/>
                  </a:solidFill>
                </a:rPr>
                <a:t>Weak capacity within the planning and Statistics department </a:t>
              </a:r>
              <a:endParaRPr lang="en-US" sz="1050" dirty="0" smtClean="0">
                <a:solidFill>
                  <a:schemeClr val="tx1"/>
                </a:solidFill>
              </a:endParaRPr>
            </a:p>
            <a:p>
              <a:pPr marL="171450" indent="-171450" algn="just">
                <a:buClr>
                  <a:srgbClr val="385623"/>
                </a:buClr>
                <a:buSzPts val="1050"/>
                <a:buFont typeface="Arial" panose="020B0604020202020204" pitchFamily="34" charset="0"/>
                <a:buChar char="•"/>
                <a:defRPr/>
              </a:pPr>
              <a:r>
                <a:rPr lang="en-US" sz="1050" dirty="0" smtClean="0">
                  <a:solidFill>
                    <a:schemeClr val="tx1"/>
                  </a:solidFill>
                </a:rPr>
                <a:t>Limited sectoral linkages and coordination</a:t>
              </a:r>
              <a:endParaRPr lang="en-US" sz="1050" dirty="0">
                <a:solidFill>
                  <a:schemeClr val="tx1"/>
                </a:solidFill>
              </a:endParaRPr>
            </a:p>
            <a:p>
              <a:pPr algn="just">
                <a:buClr>
                  <a:srgbClr val="385623"/>
                </a:buClr>
                <a:buSzPts val="1050"/>
                <a:defRPr/>
              </a:pPr>
              <a:endParaRPr lang="en-US" sz="1050" dirty="0"/>
            </a:p>
            <a:p>
              <a:pPr marL="171450" indent="-171450" algn="just">
                <a:buClr>
                  <a:srgbClr val="385623"/>
                </a:buClr>
                <a:buSzPts val="1050"/>
                <a:buFont typeface="Arial" panose="020B0604020202020204" pitchFamily="34" charset="0"/>
                <a:buChar char="•"/>
                <a:defRPr/>
              </a:pPr>
              <a:endParaRPr lang="en-US" sz="1000" dirty="0"/>
            </a:p>
            <a:p>
              <a:pPr marL="171450" indent="-171450" algn="just">
                <a:buClr>
                  <a:srgbClr val="385623"/>
                </a:buClr>
                <a:buSzPts val="1050"/>
                <a:buFont typeface="Arial" panose="020B0604020202020204" pitchFamily="34" charset="0"/>
                <a:buChar char="•"/>
                <a:defRPr/>
              </a:pPr>
              <a:endParaRPr lang="en-US" sz="1000" dirty="0"/>
            </a:p>
            <a:p>
              <a:pPr algn="just">
                <a:buClr>
                  <a:srgbClr val="385623"/>
                </a:buClr>
                <a:buSzPts val="1050"/>
                <a:defRPr/>
              </a:pPr>
              <a:endParaRPr lang="en-US" sz="1000" dirty="0"/>
            </a:p>
          </p:txBody>
        </p:sp>
      </p:grpSp>
      <p:pic>
        <p:nvPicPr>
          <p:cNvPr id="7" name="Picture 6"/>
          <p:cNvPicPr>
            <a:picLocks noChangeAspect="1"/>
          </p:cNvPicPr>
          <p:nvPr/>
        </p:nvPicPr>
        <p:blipFill>
          <a:blip r:embed="rId9"/>
          <a:stretch>
            <a:fillRect/>
          </a:stretch>
        </p:blipFill>
        <p:spPr>
          <a:xfrm>
            <a:off x="5069541" y="1046318"/>
            <a:ext cx="4500282" cy="4883835"/>
          </a:xfrm>
          <a:prstGeom prst="rect">
            <a:avLst/>
          </a:prstGeom>
        </p:spPr>
      </p:pic>
    </p:spTree>
    <p:extLst>
      <p:ext uri="{BB962C8B-B14F-4D97-AF65-F5344CB8AC3E}">
        <p14:creationId xmlns:p14="http://schemas.microsoft.com/office/powerpoint/2010/main" val="7789319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50"/>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966" name="think-cell Slide" r:id="rId6" imgW="395" imgH="396" progId="TCLayout.ActiveDocument.1">
                  <p:embed/>
                </p:oleObj>
              </mc:Choice>
              <mc:Fallback>
                <p:oleObj name="think-cell Slide" r:id="rId6" imgW="395" imgH="396"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1000" dirty="0">
              <a:solidFill>
                <a:srgbClr val="FFFFFF"/>
              </a:solidFill>
              <a:sym typeface="+mn-lt"/>
            </a:endParaRPr>
          </a:p>
        </p:txBody>
      </p:sp>
      <p:pic>
        <p:nvPicPr>
          <p:cNvPr id="251" name="Google Shape;251;p38"/>
          <p:cNvPicPr preferRelativeResize="0"/>
          <p:nvPr/>
        </p:nvPicPr>
        <p:blipFill rotWithShape="1">
          <a:blip r:embed="rId8">
            <a:alphaModFix/>
          </a:blip>
          <a:srcRect/>
          <a:stretch/>
        </p:blipFill>
        <p:spPr>
          <a:xfrm>
            <a:off x="1588" y="1588"/>
            <a:ext cx="1588" cy="1588"/>
          </a:xfrm>
          <a:prstGeom prst="rect">
            <a:avLst/>
          </a:prstGeom>
          <a:noFill/>
          <a:ln>
            <a:noFill/>
          </a:ln>
        </p:spPr>
      </p:pic>
      <p:sp>
        <p:nvSpPr>
          <p:cNvPr id="252" name="Google Shape;252;p38"/>
          <p:cNvSpPr txBox="1">
            <a:spLocks noGrp="1"/>
          </p:cNvSpPr>
          <p:nvPr>
            <p:ph type="title"/>
          </p:nvPr>
        </p:nvSpPr>
        <p:spPr/>
        <p:txBody>
          <a:bodyPr/>
          <a:lstStyle/>
          <a:p>
            <a:pPr lvl="0"/>
            <a:r>
              <a:rPr lang="en-US" sz="1800" dirty="0"/>
              <a:t>CAADP biennial review shows that the country is on-track and should emphasize access to finance and boosting trade</a:t>
            </a:r>
            <a:endParaRPr lang="en-US" sz="1800" dirty="0">
              <a:sym typeface="Arial"/>
            </a:endParaRPr>
          </a:p>
        </p:txBody>
      </p:sp>
      <p:grpSp>
        <p:nvGrpSpPr>
          <p:cNvPr id="27" name="Group 26"/>
          <p:cNvGrpSpPr/>
          <p:nvPr/>
        </p:nvGrpSpPr>
        <p:grpSpPr>
          <a:xfrm>
            <a:off x="338667" y="1051471"/>
            <a:ext cx="5457449" cy="2534466"/>
            <a:chOff x="756004" y="1113274"/>
            <a:chExt cx="3003263" cy="1193665"/>
          </a:xfrm>
        </p:grpSpPr>
        <p:sp>
          <p:nvSpPr>
            <p:cNvPr id="28" name="Google Shape;253;p38"/>
            <p:cNvSpPr/>
            <p:nvPr/>
          </p:nvSpPr>
          <p:spPr>
            <a:xfrm>
              <a:off x="756004" y="1113274"/>
              <a:ext cx="3003263" cy="193310"/>
            </a:xfrm>
            <a:prstGeom prst="rect">
              <a:avLst/>
            </a:prstGeom>
            <a:solidFill>
              <a:srgbClr val="E1EFD8"/>
            </a:solidFill>
            <a:ln w="12700" cap="flat" cmpd="sng">
              <a:solidFill>
                <a:srgbClr val="7F7F7F"/>
              </a:solidFill>
              <a:prstDash val="solid"/>
              <a:miter lim="800000"/>
              <a:headEnd type="none" w="sm" len="sm"/>
              <a:tailEnd type="none" w="sm" len="sm"/>
            </a:ln>
          </p:spPr>
          <p:txBody>
            <a:bodyPr spcFirstLastPara="1" wrap="square" lIns="91425" tIns="45700" rIns="91425" bIns="45700" anchor="ctr" anchorCtr="0">
              <a:noAutofit/>
            </a:bodyPr>
            <a:lstStyle/>
            <a:p>
              <a:r>
                <a:rPr lang="en-US" sz="1100" b="1" dirty="0"/>
                <a:t>2</a:t>
              </a:r>
              <a:r>
                <a:rPr lang="en-US" sz="1200" b="1" dirty="0"/>
                <a:t>. Government Priorities from BRR Review</a:t>
              </a:r>
              <a:endParaRPr sz="1200" dirty="0"/>
            </a:p>
          </p:txBody>
        </p:sp>
        <p:sp>
          <p:nvSpPr>
            <p:cNvPr id="29" name="Google Shape;255;p38"/>
            <p:cNvSpPr/>
            <p:nvPr/>
          </p:nvSpPr>
          <p:spPr>
            <a:xfrm>
              <a:off x="756004" y="1385478"/>
              <a:ext cx="3003263" cy="921461"/>
            </a:xfrm>
            <a:prstGeom prst="rect">
              <a:avLst/>
            </a:prstGeom>
            <a:noFill/>
            <a:ln w="12700" cap="flat" cmpd="sng">
              <a:solidFill>
                <a:srgbClr val="7F7F7F"/>
              </a:solidFill>
              <a:prstDash val="solid"/>
              <a:miter lim="800000"/>
              <a:headEnd type="none" w="sm" len="sm"/>
              <a:tailEnd type="none" w="sm" len="sm"/>
            </a:ln>
          </p:spPr>
          <p:txBody>
            <a:bodyPr spcFirstLastPara="1" wrap="square" lIns="91425" tIns="45700" rIns="91425" bIns="45700" anchor="t" anchorCtr="0">
              <a:noAutofit/>
            </a:bodyPr>
            <a:lstStyle/>
            <a:p>
              <a:pPr marL="171450" indent="-171450" algn="just">
                <a:buClr>
                  <a:srgbClr val="385623"/>
                </a:buClr>
                <a:buSzPts val="1050"/>
                <a:buFont typeface="Arial" panose="020B0604020202020204" pitchFamily="34" charset="0"/>
                <a:buChar char="•"/>
              </a:pPr>
              <a:r>
                <a:rPr lang="en-US" sz="1200" dirty="0"/>
                <a:t>The AU through the CAADP process using the Biennial Review Rating (BRR) is tracking each countries’ progress towards the 7 (seven) commitments. The first review conducted in 2017 and launched in 2018 rated Mali at </a:t>
              </a:r>
              <a:r>
                <a:rPr lang="en-US" sz="1200" b="1" u="sng" dirty="0"/>
                <a:t>5.57</a:t>
              </a:r>
              <a:r>
                <a:rPr lang="en-US" sz="1200" dirty="0"/>
                <a:t> against a benchmark of 3.9 in 2017 - the average rating a country should score to show positive progress towards achievement of its 2025 targets.  This rating means that Mali’s performance is above target on 6 of the 7 indicators assessed and Mali should boost performance on enhancing access to Finance.  </a:t>
              </a:r>
              <a:endParaRPr lang="en-US" sz="1200" dirty="0">
                <a:solidFill>
                  <a:srgbClr val="FF0000"/>
                </a:solidFill>
                <a:ea typeface="MS Mincho" panose="02020609040205080304" pitchFamily="49" charset="-128"/>
                <a:cs typeface="Arial" panose="020B0604020202020204" pitchFamily="34" charset="0"/>
              </a:endParaRPr>
            </a:p>
          </p:txBody>
        </p:sp>
      </p:grpSp>
      <p:sp>
        <p:nvSpPr>
          <p:cNvPr id="3" name="TextBox 2"/>
          <p:cNvSpPr txBox="1"/>
          <p:nvPr/>
        </p:nvSpPr>
        <p:spPr>
          <a:xfrm>
            <a:off x="338667" y="3753450"/>
            <a:ext cx="9183453" cy="2048382"/>
          </a:xfrm>
          <a:prstGeom prst="rect">
            <a:avLst/>
          </a:prstGeom>
          <a:ln>
            <a:noFill/>
          </a:ln>
        </p:spPr>
        <p:style>
          <a:lnRef idx="2">
            <a:schemeClr val="accent2"/>
          </a:lnRef>
          <a:fillRef idx="1">
            <a:schemeClr val="lt1"/>
          </a:fillRef>
          <a:effectRef idx="0">
            <a:schemeClr val="accent2"/>
          </a:effectRef>
          <a:fontRef idx="minor">
            <a:schemeClr val="dk1"/>
          </a:fontRef>
        </p:style>
        <p:txBody>
          <a:bodyPr wrap="square" rtlCol="0">
            <a:noAutofit/>
          </a:bodyPr>
          <a:lstStyle/>
          <a:p>
            <a:pPr algn="just">
              <a:spcAft>
                <a:spcPts val="600"/>
              </a:spcAft>
            </a:pPr>
            <a:r>
              <a:rPr lang="en-US" sz="1200" dirty="0">
                <a:solidFill>
                  <a:srgbClr val="000000"/>
                </a:solidFill>
                <a:ea typeface="Calibri" panose="020F0502020204030204" pitchFamily="34" charset="0"/>
                <a:cs typeface="Times New Roman" panose="02020603050405020304" pitchFamily="18" charset="0"/>
              </a:rPr>
              <a:t>Coming out of the Biennial review process in 2018, </a:t>
            </a:r>
            <a:r>
              <a:rPr lang="en-GB" sz="1200" dirty="0">
                <a:solidFill>
                  <a:srgbClr val="000000"/>
                </a:solidFill>
                <a:ea typeface="Calibri" panose="020F0502020204030204" pitchFamily="34" charset="0"/>
                <a:cs typeface="Times New Roman" panose="02020603050405020304" pitchFamily="18" charset="0"/>
              </a:rPr>
              <a:t>Mali commits to drive the following actions as priority for the next two years:</a:t>
            </a:r>
            <a:endParaRPr lang="en-US" sz="1200" dirty="0">
              <a:solidFill>
                <a:srgbClr val="000000"/>
              </a:solidFill>
              <a:ea typeface="Calibri" panose="020F0502020204030204" pitchFamily="34" charset="0"/>
              <a:cs typeface="Times New Roman" panose="02020603050405020304" pitchFamily="18" charset="0"/>
            </a:endParaRPr>
          </a:p>
          <a:p>
            <a:pPr marL="171450" indent="-171450" algn="just">
              <a:spcAft>
                <a:spcPts val="600"/>
              </a:spcAft>
              <a:buFont typeface="Arial" panose="020B0604020202020204" pitchFamily="34" charset="0"/>
              <a:buChar char="•"/>
            </a:pPr>
            <a:r>
              <a:rPr lang="en-GB" sz="1200" dirty="0">
                <a:solidFill>
                  <a:srgbClr val="000000"/>
                </a:solidFill>
                <a:latin typeface="Arial" panose="020B0604020202020204" pitchFamily="34" charset="0"/>
                <a:ea typeface="Calibri" panose="020F0502020204030204" pitchFamily="34" charset="0"/>
                <a:cs typeface="Arial" panose="020B0604020202020204" pitchFamily="34" charset="0"/>
              </a:rPr>
              <a:t>Commitment to inclusive and evidence based policy systems through implementation of the institutional capacity for planning, M&amp;E and sector coordination</a:t>
            </a:r>
            <a:endParaRPr lang="en-US" sz="1200" dirty="0">
              <a:solidFill>
                <a:srgbClr val="000000"/>
              </a:solidFill>
              <a:latin typeface="Arial" panose="020B0604020202020204" pitchFamily="34" charset="0"/>
              <a:ea typeface="Calibri" panose="020F0502020204030204" pitchFamily="34" charset="0"/>
              <a:cs typeface="Arial" panose="020B0604020202020204" pitchFamily="34" charset="0"/>
            </a:endParaRPr>
          </a:p>
          <a:p>
            <a:pPr marL="171450" indent="-171450" algn="just">
              <a:spcAft>
                <a:spcPts val="600"/>
              </a:spcAft>
              <a:buFont typeface="Arial" panose="020B0604020202020204" pitchFamily="34" charset="0"/>
              <a:buChar char="•"/>
            </a:pPr>
            <a:r>
              <a:rPr lang="en-GB" sz="1200" dirty="0">
                <a:solidFill>
                  <a:srgbClr val="000000"/>
                </a:solidFill>
                <a:latin typeface="Arial" panose="020B0604020202020204" pitchFamily="34" charset="0"/>
                <a:ea typeface="Calibri" panose="020F0502020204030204" pitchFamily="34" charset="0"/>
                <a:cs typeface="Arial" panose="020B0604020202020204" pitchFamily="34" charset="0"/>
              </a:rPr>
              <a:t>Improve policy reforms, including different input subsidies, seed, extension, markets, fertilizer, and mechanization and design flagship programme for implementation of inputs policy reforms </a:t>
            </a:r>
            <a:endParaRPr lang="en-US" sz="1200" dirty="0">
              <a:solidFill>
                <a:srgbClr val="000000"/>
              </a:solidFill>
              <a:latin typeface="Arial" panose="020B0604020202020204" pitchFamily="34" charset="0"/>
              <a:ea typeface="Calibri" panose="020F0502020204030204" pitchFamily="34" charset="0"/>
              <a:cs typeface="Arial" panose="020B0604020202020204" pitchFamily="34" charset="0"/>
            </a:endParaRPr>
          </a:p>
          <a:p>
            <a:pPr marL="171450" indent="-171450" algn="just">
              <a:buFont typeface="Arial" panose="020B0604020202020204" pitchFamily="34" charset="0"/>
              <a:buChar char="•"/>
            </a:pPr>
            <a:r>
              <a:rPr lang="en-GB" sz="1200" dirty="0">
                <a:solidFill>
                  <a:srgbClr val="000000"/>
                </a:solidFill>
                <a:latin typeface="Arial" panose="020B0604020202020204" pitchFamily="34" charset="0"/>
                <a:ea typeface="Calibri" panose="020F0502020204030204" pitchFamily="34" charset="0"/>
                <a:cs typeface="Arial" panose="020B0604020202020204" pitchFamily="34" charset="0"/>
              </a:rPr>
              <a:t>Support the diffusion of new technologies including </a:t>
            </a:r>
            <a:r>
              <a:rPr lang="en-US" sz="1200" dirty="0">
                <a:solidFill>
                  <a:srgbClr val="000000"/>
                </a:solidFill>
                <a:latin typeface="Arial" panose="020B0604020202020204" pitchFamily="34" charset="0"/>
                <a:ea typeface="Calibri" panose="020F0502020204030204" pitchFamily="34" charset="0"/>
                <a:cs typeface="Arial" panose="020B0604020202020204" pitchFamily="34" charset="0"/>
              </a:rPr>
              <a:t>access to agricultural equipment, extension services, supplementary irrigation systems, post-harvest equipment and management systems and statistical data collection and analysis.</a:t>
            </a:r>
          </a:p>
          <a:p>
            <a:pPr algn="just">
              <a:spcAft>
                <a:spcPts val="600"/>
              </a:spcAft>
            </a:pPr>
            <a:endParaRPr lang="en-US" sz="1200" dirty="0">
              <a:solidFill>
                <a:srgbClr val="000000"/>
              </a:solidFill>
            </a:endParaRPr>
          </a:p>
          <a:p>
            <a:pPr algn="just">
              <a:spcAft>
                <a:spcPts val="600"/>
              </a:spcAft>
            </a:pPr>
            <a:r>
              <a:rPr lang="en-US" sz="1200" i="1" dirty="0">
                <a:solidFill>
                  <a:srgbClr val="000000"/>
                </a:solidFill>
              </a:rPr>
              <a:t>Source: Biennial review Mali Action agenda</a:t>
            </a:r>
          </a:p>
        </p:txBody>
      </p:sp>
      <p:pic>
        <p:nvPicPr>
          <p:cNvPr id="6" name="Picture 5"/>
          <p:cNvPicPr>
            <a:picLocks noChangeAspect="1"/>
          </p:cNvPicPr>
          <p:nvPr/>
        </p:nvPicPr>
        <p:blipFill>
          <a:blip r:embed="rId9"/>
          <a:stretch>
            <a:fillRect/>
          </a:stretch>
        </p:blipFill>
        <p:spPr>
          <a:xfrm>
            <a:off x="5991528" y="1051471"/>
            <a:ext cx="3771038" cy="2199439"/>
          </a:xfrm>
          <a:prstGeom prst="rect">
            <a:avLst/>
          </a:prstGeom>
        </p:spPr>
      </p:pic>
    </p:spTree>
    <p:extLst>
      <p:ext uri="{BB962C8B-B14F-4D97-AF65-F5344CB8AC3E}">
        <p14:creationId xmlns:p14="http://schemas.microsoft.com/office/powerpoint/2010/main" val="18474761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9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0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0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0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0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0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v8Jaok03TaSANb.emeEDd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KLbwRvM0Qc.pReFwgYQHPQ"/>
</p:tagLst>
</file>

<file path=ppt/tags/tag111.xml><?xml version="1.0" encoding="utf-8"?>
<p:tagLst xmlns:a="http://schemas.openxmlformats.org/drawingml/2006/main" xmlns:r="http://schemas.openxmlformats.org/officeDocument/2006/relationships" xmlns:p="http://schemas.openxmlformats.org/presentationml/2006/main">
  <p:tag name="NAME" val="Moon"/>
</p:tagLst>
</file>

<file path=ppt/tags/tag112.xml><?xml version="1.0" encoding="utf-8"?>
<p:tagLst xmlns:a="http://schemas.openxmlformats.org/drawingml/2006/main" xmlns:r="http://schemas.openxmlformats.org/officeDocument/2006/relationships" xmlns:p="http://schemas.openxmlformats.org/presentationml/2006/main">
  <p:tag name="NAME" val="Moon"/>
</p:tagLst>
</file>

<file path=ppt/tags/tag113.xml><?xml version="1.0" encoding="utf-8"?>
<p:tagLst xmlns:a="http://schemas.openxmlformats.org/drawingml/2006/main" xmlns:r="http://schemas.openxmlformats.org/officeDocument/2006/relationships" xmlns:p="http://schemas.openxmlformats.org/presentationml/2006/main">
  <p:tag name="NAME" val="Moon"/>
</p:tagLst>
</file>

<file path=ppt/tags/tag114.xml><?xml version="1.0" encoding="utf-8"?>
<p:tagLst xmlns:a="http://schemas.openxmlformats.org/drawingml/2006/main" xmlns:r="http://schemas.openxmlformats.org/officeDocument/2006/relationships" xmlns:p="http://schemas.openxmlformats.org/presentationml/2006/main">
  <p:tag name="NAME" val="Moon"/>
</p:tagLst>
</file>

<file path=ppt/tags/tag115.xml><?xml version="1.0" encoding="utf-8"?>
<p:tagLst xmlns:a="http://schemas.openxmlformats.org/drawingml/2006/main" xmlns:r="http://schemas.openxmlformats.org/officeDocument/2006/relationships" xmlns:p="http://schemas.openxmlformats.org/presentationml/2006/main">
  <p:tag name="NAME" val="Moon"/>
</p:tagLst>
</file>

<file path=ppt/tags/tag11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2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2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MM_SLIDE_TYPE" val="6"/>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0xyHktlfSaq.R890voMw8A"/>
</p:tagLst>
</file>

<file path=ppt/tags/tag130.xml><?xml version="1.0" encoding="utf-8"?>
<p:tagLst xmlns:a="http://schemas.openxmlformats.org/drawingml/2006/main" xmlns:r="http://schemas.openxmlformats.org/officeDocument/2006/relationships" xmlns:p="http://schemas.openxmlformats.org/presentationml/2006/main">
  <p:tag name="NAME" val="Moon"/>
</p:tagLst>
</file>

<file path=ppt/tags/tag131.xml><?xml version="1.0" encoding="utf-8"?>
<p:tagLst xmlns:a="http://schemas.openxmlformats.org/drawingml/2006/main" xmlns:r="http://schemas.openxmlformats.org/officeDocument/2006/relationships" xmlns:p="http://schemas.openxmlformats.org/presentationml/2006/main">
  <p:tag name="NAME" val="Moon"/>
</p:tagLst>
</file>

<file path=ppt/tags/tag132.xml><?xml version="1.0" encoding="utf-8"?>
<p:tagLst xmlns:a="http://schemas.openxmlformats.org/drawingml/2006/main" xmlns:r="http://schemas.openxmlformats.org/officeDocument/2006/relationships" xmlns:p="http://schemas.openxmlformats.org/presentationml/2006/main">
  <p:tag name="NAME" val="Moon"/>
</p:tagLst>
</file>

<file path=ppt/tags/tag133.xml><?xml version="1.0" encoding="utf-8"?>
<p:tagLst xmlns:a="http://schemas.openxmlformats.org/drawingml/2006/main" xmlns:r="http://schemas.openxmlformats.org/officeDocument/2006/relationships" xmlns:p="http://schemas.openxmlformats.org/presentationml/2006/main">
  <p:tag name="NAME" val="Moon"/>
</p:tagLst>
</file>

<file path=ppt/tags/tag134.xml><?xml version="1.0" encoding="utf-8"?>
<p:tagLst xmlns:a="http://schemas.openxmlformats.org/drawingml/2006/main" xmlns:r="http://schemas.openxmlformats.org/officeDocument/2006/relationships" xmlns:p="http://schemas.openxmlformats.org/presentationml/2006/main">
  <p:tag name="NAME" val="Moon"/>
</p:tagLst>
</file>

<file path=ppt/tags/tag13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4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MM_SLIDE_TYPE" val="6"/>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v8Jaok03TaSANb.emeEDd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KHL_Zb9nTUm9kiAMlXhkyw"/>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4.xml><?xml version="1.0" encoding="utf-8"?>
<p:tagLst xmlns:a="http://schemas.openxmlformats.org/drawingml/2006/main" xmlns:r="http://schemas.openxmlformats.org/officeDocument/2006/relationships" xmlns:p="http://schemas.openxmlformats.org/presentationml/2006/main">
  <p:tag name="NAME" val="Moon"/>
</p:tagLst>
</file>

<file path=ppt/tags/tag155.xml><?xml version="1.0" encoding="utf-8"?>
<p:tagLst xmlns:a="http://schemas.openxmlformats.org/drawingml/2006/main" xmlns:r="http://schemas.openxmlformats.org/officeDocument/2006/relationships" xmlns:p="http://schemas.openxmlformats.org/presentationml/2006/main">
  <p:tag name="NAME" val="Moon"/>
</p:tagLst>
</file>

<file path=ppt/tags/tag156.xml><?xml version="1.0" encoding="utf-8"?>
<p:tagLst xmlns:a="http://schemas.openxmlformats.org/drawingml/2006/main" xmlns:r="http://schemas.openxmlformats.org/officeDocument/2006/relationships" xmlns:p="http://schemas.openxmlformats.org/presentationml/2006/main">
  <p:tag name="NAME" val="Moon"/>
</p:tagLst>
</file>

<file path=ppt/tags/tag15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5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6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6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MM_SLIDE_TYPE" val="6"/>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CnBQFDeeSBOOJ4m70KIE.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ELCs5g7iRnSP8_ForVlM1A"/>
</p:tagLst>
</file>

<file path=ppt/tags/tag172.xml><?xml version="1.0" encoding="utf-8"?>
<p:tagLst xmlns:a="http://schemas.openxmlformats.org/drawingml/2006/main" xmlns:r="http://schemas.openxmlformats.org/officeDocument/2006/relationships" xmlns:p="http://schemas.openxmlformats.org/presentationml/2006/main">
  <p:tag name="NAME" val="Moon"/>
</p:tagLst>
</file>

<file path=ppt/tags/tag173.xml><?xml version="1.0" encoding="utf-8"?>
<p:tagLst xmlns:a="http://schemas.openxmlformats.org/drawingml/2006/main" xmlns:r="http://schemas.openxmlformats.org/officeDocument/2006/relationships" xmlns:p="http://schemas.openxmlformats.org/presentationml/2006/main">
  <p:tag name="NAME" val="Moon"/>
</p:tagLst>
</file>

<file path=ppt/tags/tag174.xml><?xml version="1.0" encoding="utf-8"?>
<p:tagLst xmlns:a="http://schemas.openxmlformats.org/drawingml/2006/main" xmlns:r="http://schemas.openxmlformats.org/officeDocument/2006/relationships" xmlns:p="http://schemas.openxmlformats.org/presentationml/2006/main">
  <p:tag name="NAME" val="Moon"/>
</p:tagLst>
</file>

<file path=ppt/tags/tag175.xml><?xml version="1.0" encoding="utf-8"?>
<p:tagLst xmlns:a="http://schemas.openxmlformats.org/drawingml/2006/main" xmlns:r="http://schemas.openxmlformats.org/officeDocument/2006/relationships" xmlns:p="http://schemas.openxmlformats.org/presentationml/2006/main">
  <p:tag name="NAME" val="Moon"/>
</p:tagLst>
</file>

<file path=ppt/tags/tag176.xml><?xml version="1.0" encoding="utf-8"?>
<p:tagLst xmlns:a="http://schemas.openxmlformats.org/drawingml/2006/main" xmlns:r="http://schemas.openxmlformats.org/officeDocument/2006/relationships" xmlns:p="http://schemas.openxmlformats.org/presentationml/2006/main">
  <p:tag name="NAME" val="Moon"/>
</p:tagLst>
</file>

<file path=ppt/tags/tag17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7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7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8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8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8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MM_SLIDE_TYPE" val="6"/>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k28DG9fNTrK1mokBA_avB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dNZ21p4kpVKcmqoXVJE14Q"/>
</p:tagLst>
</file>

<file path=ppt/tags/tag192.xml><?xml version="1.0" encoding="utf-8"?>
<p:tagLst xmlns:a="http://schemas.openxmlformats.org/drawingml/2006/main" xmlns:r="http://schemas.openxmlformats.org/officeDocument/2006/relationships" xmlns:p="http://schemas.openxmlformats.org/presentationml/2006/main">
  <p:tag name="NAME" val="Moon"/>
</p:tagLst>
</file>

<file path=ppt/tags/tag193.xml><?xml version="1.0" encoding="utf-8"?>
<p:tagLst xmlns:a="http://schemas.openxmlformats.org/drawingml/2006/main" xmlns:r="http://schemas.openxmlformats.org/officeDocument/2006/relationships" xmlns:p="http://schemas.openxmlformats.org/presentationml/2006/main">
  <p:tag name="NAME" val="Moon"/>
</p:tagLst>
</file>

<file path=ppt/tags/tag194.xml><?xml version="1.0" encoding="utf-8"?>
<p:tagLst xmlns:a="http://schemas.openxmlformats.org/drawingml/2006/main" xmlns:r="http://schemas.openxmlformats.org/officeDocument/2006/relationships" xmlns:p="http://schemas.openxmlformats.org/presentationml/2006/main">
  <p:tag name="NAME" val="Moon"/>
</p:tagLst>
</file>

<file path=ppt/tags/tag195.xml><?xml version="1.0" encoding="utf-8"?>
<p:tagLst xmlns:a="http://schemas.openxmlformats.org/drawingml/2006/main" xmlns:r="http://schemas.openxmlformats.org/officeDocument/2006/relationships" xmlns:p="http://schemas.openxmlformats.org/presentationml/2006/main">
  <p:tag name="NAME" val="Moon"/>
</p:tagLst>
</file>

<file path=ppt/tags/tag196.xml><?xml version="1.0" encoding="utf-8"?>
<p:tagLst xmlns:a="http://schemas.openxmlformats.org/drawingml/2006/main" xmlns:r="http://schemas.openxmlformats.org/officeDocument/2006/relationships" xmlns:p="http://schemas.openxmlformats.org/presentationml/2006/main">
  <p:tag name="NAME" val="Moon"/>
</p:tagLst>
</file>

<file path=ppt/tags/tag19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9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0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0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0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0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0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0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MM_SLIDE_TYPE" val="6"/>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5JY.NlaSSDyTA_thy.0iJ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NAME" val="Moon"/>
</p:tagLst>
</file>

<file path=ppt/tags/tag213.xml><?xml version="1.0" encoding="utf-8"?>
<p:tagLst xmlns:a="http://schemas.openxmlformats.org/drawingml/2006/main" xmlns:r="http://schemas.openxmlformats.org/officeDocument/2006/relationships" xmlns:p="http://schemas.openxmlformats.org/presentationml/2006/main">
  <p:tag name="NAME" val="Moon"/>
</p:tagLst>
</file>

<file path=ppt/tags/tag214.xml><?xml version="1.0" encoding="utf-8"?>
<p:tagLst xmlns:a="http://schemas.openxmlformats.org/drawingml/2006/main" xmlns:r="http://schemas.openxmlformats.org/officeDocument/2006/relationships" xmlns:p="http://schemas.openxmlformats.org/presentationml/2006/main">
  <p:tag name="NAME" val="Moon"/>
</p:tagLst>
</file>

<file path=ppt/tags/tag215.xml><?xml version="1.0" encoding="utf-8"?>
<p:tagLst xmlns:a="http://schemas.openxmlformats.org/drawingml/2006/main" xmlns:r="http://schemas.openxmlformats.org/officeDocument/2006/relationships" xmlns:p="http://schemas.openxmlformats.org/presentationml/2006/main">
  <p:tag name="NAME" val="Moon"/>
</p:tagLst>
</file>

<file path=ppt/tags/tag216.xml><?xml version="1.0" encoding="utf-8"?>
<p:tagLst xmlns:a="http://schemas.openxmlformats.org/drawingml/2006/main" xmlns:r="http://schemas.openxmlformats.org/officeDocument/2006/relationships" xmlns:p="http://schemas.openxmlformats.org/presentationml/2006/main">
  <p:tag name="NAME" val="Moon"/>
</p:tagLst>
</file>

<file path=ppt/tags/tag21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1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1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2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2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2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2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2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2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MM_SLIDE_TYPE" val="6"/>
</p:tagLst>
</file>

<file path=ppt/tags/tag23.xml><?xml version="1.0" encoding="utf-8"?>
<p:tagLst xmlns:a="http://schemas.openxmlformats.org/drawingml/2006/main" xmlns:r="http://schemas.openxmlformats.org/officeDocument/2006/relationships" xmlns:p="http://schemas.openxmlformats.org/presentationml/2006/main">
  <p:tag name="MM_SLIDE_TYPE" val="6"/>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NAME" val="Moon"/>
</p:tagLst>
</file>

<file path=ppt/tags/tag232.xml><?xml version="1.0" encoding="utf-8"?>
<p:tagLst xmlns:a="http://schemas.openxmlformats.org/drawingml/2006/main" xmlns:r="http://schemas.openxmlformats.org/officeDocument/2006/relationships" xmlns:p="http://schemas.openxmlformats.org/presentationml/2006/main">
  <p:tag name="NAME" val="Moon"/>
</p:tagLst>
</file>

<file path=ppt/tags/tag233.xml><?xml version="1.0" encoding="utf-8"?>
<p:tagLst xmlns:a="http://schemas.openxmlformats.org/drawingml/2006/main" xmlns:r="http://schemas.openxmlformats.org/officeDocument/2006/relationships" xmlns:p="http://schemas.openxmlformats.org/presentationml/2006/main">
  <p:tag name="NAME" val="Moon"/>
</p:tagLst>
</file>

<file path=ppt/tags/tag234.xml><?xml version="1.0" encoding="utf-8"?>
<p:tagLst xmlns:a="http://schemas.openxmlformats.org/drawingml/2006/main" xmlns:r="http://schemas.openxmlformats.org/officeDocument/2006/relationships" xmlns:p="http://schemas.openxmlformats.org/presentationml/2006/main">
  <p:tag name="NAME" val="Moon"/>
</p:tagLst>
</file>

<file path=ppt/tags/tag235.xml><?xml version="1.0" encoding="utf-8"?>
<p:tagLst xmlns:a="http://schemas.openxmlformats.org/drawingml/2006/main" xmlns:r="http://schemas.openxmlformats.org/officeDocument/2006/relationships" xmlns:p="http://schemas.openxmlformats.org/presentationml/2006/main">
  <p:tag name="NAME" val="Moon"/>
</p:tagLst>
</file>

<file path=ppt/tags/tag23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3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3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3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4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4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4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4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4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MM_SLIDE_TYPE" val="6"/>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v8Jaok03TaSANb.emeEDd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v8Jaok03TaSANb.emeEDd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MM_SLIDE_TYPE" val="6"/>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KHL_Zb9nTUm9kiAMlXhkyw"/>
</p:tagLst>
</file>

<file path=ppt/tags/tag258.xml><?xml version="1.0" encoding="utf-8"?>
<p:tagLst xmlns:a="http://schemas.openxmlformats.org/drawingml/2006/main" xmlns:r="http://schemas.openxmlformats.org/officeDocument/2006/relationships" xmlns:p="http://schemas.openxmlformats.org/presentationml/2006/main">
  <p:tag name="NAME" val="Moon"/>
</p:tagLst>
</file>

<file path=ppt/tags/tag259.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0xyHktlfSaq.R890voMw8A"/>
</p:tagLst>
</file>

<file path=ppt/tags/tag260.xml><?xml version="1.0" encoding="utf-8"?>
<p:tagLst xmlns:a="http://schemas.openxmlformats.org/drawingml/2006/main" xmlns:r="http://schemas.openxmlformats.org/officeDocument/2006/relationships" xmlns:p="http://schemas.openxmlformats.org/presentationml/2006/main">
  <p:tag name="NAME" val="Moon"/>
</p:tagLst>
</file>

<file path=ppt/tags/tag261.xml><?xml version="1.0" encoding="utf-8"?>
<p:tagLst xmlns:a="http://schemas.openxmlformats.org/drawingml/2006/main" xmlns:r="http://schemas.openxmlformats.org/officeDocument/2006/relationships" xmlns:p="http://schemas.openxmlformats.org/presentationml/2006/main">
  <p:tag name="NAME" val="Moon"/>
</p:tagLst>
</file>

<file path=ppt/tags/tag262.xml><?xml version="1.0" encoding="utf-8"?>
<p:tagLst xmlns:a="http://schemas.openxmlformats.org/drawingml/2006/main" xmlns:r="http://schemas.openxmlformats.org/officeDocument/2006/relationships" xmlns:p="http://schemas.openxmlformats.org/presentationml/2006/main">
  <p:tag name="NAME" val="Moon"/>
</p:tagLst>
</file>

<file path=ppt/tags/tag26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6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6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6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6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6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6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7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7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MM_SLIDE_TYPE" val="6"/>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fySYfuxTRrqSp8nPfNiYb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v8Jaok03TaSANb.emeEDd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FzNSRDymT6iMIooXq8m2J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FzNSRDymT6iMIooXq8m2J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FzNSRDymT6iMIooXq8m2J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FzNSRDymT6iMIooXq8m2J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G8vg7h7RkKJfgIWyWKgd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G8vg7h7RkKJfgIWyWKgd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G8vg7h7RkKJfgIWyWKgd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G8vg7h7RkKJfgIWyWKgd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fySYfuxTRrqSp8nPfNiYb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v8Jaok03TaSANb.emeEDd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0xyHktlfSaq.R890voMw8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OwfxrOSjTQKhvFS29vZOP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UMki_hklQ_ur3rS5JtcoB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kCwuX7yTQYScUzgfB234O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dYg4Meuo6wusWnjJVhABv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iMvmtsvfTI6TGmL_3Oijo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15y.Z523RHuigx2IYy_X3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T_WHxBeHRYK_usLjz3yHQg"/>
</p:tagLst>
</file>

<file path=ppt/tags/tag313.xml><?xml version="1.0" encoding="utf-8"?>
<p:tagLst xmlns:a="http://schemas.openxmlformats.org/drawingml/2006/main" xmlns:r="http://schemas.openxmlformats.org/officeDocument/2006/relationships" xmlns:p="http://schemas.openxmlformats.org/presentationml/2006/main">
  <p:tag name="NAME" val="Rectangl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MTTABLE" val="Cell"/>
  <p:tag name="MTNUMBER" val="0.707510644433792"/>
  <p:tag name="LEFT" val="9.375039"/>
  <p:tag name="WIDTH" val="693"/>
  <p:tag name="HEIGHT" val="19.38748"/>
  <p:tag name="TOP" val="80"/>
</p:tagLst>
</file>

<file path=ppt/tags/tag316.xml><?xml version="1.0" encoding="utf-8"?>
<p:tagLst xmlns:a="http://schemas.openxmlformats.org/drawingml/2006/main" xmlns:r="http://schemas.openxmlformats.org/officeDocument/2006/relationships" xmlns:p="http://schemas.openxmlformats.org/presentationml/2006/main">
  <p:tag name="MTTABLE" val="HTitleDiv"/>
  <p:tag name="MTNUMBER" val="0.707510644433792"/>
</p:tagLst>
</file>

<file path=ppt/tags/tag317.xml><?xml version="1.0" encoding="utf-8"?>
<p:tagLst xmlns:a="http://schemas.openxmlformats.org/drawingml/2006/main" xmlns:r="http://schemas.openxmlformats.org/officeDocument/2006/relationships" xmlns:p="http://schemas.openxmlformats.org/presentationml/2006/main">
  <p:tag name="MTTABLE" val="Cell"/>
  <p:tag name="MTNUMBER" val="0.707510644433792"/>
  <p:tag name="LEFT" val="9.375039"/>
  <p:tag name="WIDTH" val="693"/>
  <p:tag name="HEIGHT" val="19.38748"/>
  <p:tag name="TOP" val="80"/>
</p:tagLst>
</file>

<file path=ppt/tags/tag318.xml><?xml version="1.0" encoding="utf-8"?>
<p:tagLst xmlns:a="http://schemas.openxmlformats.org/drawingml/2006/main" xmlns:r="http://schemas.openxmlformats.org/officeDocument/2006/relationships" xmlns:p="http://schemas.openxmlformats.org/presentationml/2006/main">
  <p:tag name="MTTABLE" val="HTitleDiv"/>
  <p:tag name="MTNUMBER" val="0.707510644433792"/>
</p:tagLst>
</file>

<file path=ppt/tags/tag319.xml><?xml version="1.0" encoding="utf-8"?>
<p:tagLst xmlns:a="http://schemas.openxmlformats.org/drawingml/2006/main" xmlns:r="http://schemas.openxmlformats.org/officeDocument/2006/relationships" xmlns:p="http://schemas.openxmlformats.org/presentationml/2006/main">
  <p:tag name="MTTABLE" val="Cell"/>
  <p:tag name="MTNUMBER" val="0.707510644433792"/>
  <p:tag name="LEFT" val="9.375039"/>
  <p:tag name="WIDTH" val="693"/>
  <p:tag name="HEIGHT" val="19.38748"/>
  <p:tag name="TOP" val="80"/>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v8Jaok03TaSANb.emeEDdw"/>
</p:tagLst>
</file>

<file path=ppt/tags/tag320.xml><?xml version="1.0" encoding="utf-8"?>
<p:tagLst xmlns:a="http://schemas.openxmlformats.org/drawingml/2006/main" xmlns:r="http://schemas.openxmlformats.org/officeDocument/2006/relationships" xmlns:p="http://schemas.openxmlformats.org/presentationml/2006/main">
  <p:tag name="MTTABLE" val="HTitleDiv"/>
  <p:tag name="MTNUMBER" val="0.707510644433792"/>
</p:tagLst>
</file>

<file path=ppt/tags/tag321.xml><?xml version="1.0" encoding="utf-8"?>
<p:tagLst xmlns:a="http://schemas.openxmlformats.org/drawingml/2006/main" xmlns:r="http://schemas.openxmlformats.org/officeDocument/2006/relationships" xmlns:p="http://schemas.openxmlformats.org/presentationml/2006/main">
  <p:tag name="MTTABLE" val="Cell"/>
  <p:tag name="MTNUMBER" val="0.22450228325301"/>
  <p:tag name="LEFT" val="645.347"/>
  <p:tag name="WIDTH" val="51.32913"/>
  <p:tag name="HEIGHT" val="16.96409"/>
  <p:tag name="TOP" val="399.9616"/>
</p:tagLst>
</file>

<file path=ppt/tags/tag322.xml><?xml version="1.0" encoding="utf-8"?>
<p:tagLst xmlns:a="http://schemas.openxmlformats.org/drawingml/2006/main" xmlns:r="http://schemas.openxmlformats.org/officeDocument/2006/relationships" xmlns:p="http://schemas.openxmlformats.org/presentationml/2006/main">
  <p:tag name="MTTABLE" val="Cell"/>
  <p:tag name="MTNUMBER" val="0.22450228325301"/>
  <p:tag name="LEFT" val="645.347"/>
  <p:tag name="WIDTH" val="51.32913"/>
  <p:tag name="TOP" val="426.9257"/>
  <p:tag name="HEIGHT" val="6.504063"/>
</p:tagLst>
</file>

<file path=ppt/tags/tag323.xml><?xml version="1.0" encoding="utf-8"?>
<p:tagLst xmlns:a="http://schemas.openxmlformats.org/drawingml/2006/main" xmlns:r="http://schemas.openxmlformats.org/officeDocument/2006/relationships" xmlns:p="http://schemas.openxmlformats.org/presentationml/2006/main">
  <p:tag name="MTTABLE" val="Cell"/>
  <p:tag name="MTNUMBER" val="0.22450228325301"/>
  <p:tag name="LEFT" val="645.347"/>
  <p:tag name="WIDTH" val="51.32913"/>
  <p:tag name="TOP" val="443.4298"/>
  <p:tag name="HEIGHT" val="6.504063"/>
</p:tagLst>
</file>

<file path=ppt/tags/tag324.xml><?xml version="1.0" encoding="utf-8"?>
<p:tagLst xmlns:a="http://schemas.openxmlformats.org/drawingml/2006/main" xmlns:r="http://schemas.openxmlformats.org/officeDocument/2006/relationships" xmlns:p="http://schemas.openxmlformats.org/presentationml/2006/main">
  <p:tag name="MTTABLE" val="Cell"/>
  <p:tag name="MTNUMBER" val="0.22450228325301"/>
  <p:tag name="LEFT" val="645.347"/>
  <p:tag name="WIDTH" val="51.32913"/>
  <p:tag name="TOP" val="459.9339"/>
  <p:tag name="HEIGHT" val="6.504063"/>
</p:tagLst>
</file>

<file path=ppt/tags/tag325.xml><?xml version="1.0" encoding="utf-8"?>
<p:tagLst xmlns:a="http://schemas.openxmlformats.org/drawingml/2006/main" xmlns:r="http://schemas.openxmlformats.org/officeDocument/2006/relationships" xmlns:p="http://schemas.openxmlformats.org/presentationml/2006/main">
  <p:tag name="MTTABLE" val="Cell"/>
  <p:tag name="MTNUMBER" val="0.22450228325301"/>
  <p:tag name="LEFT" val="645.347"/>
  <p:tag name="WIDTH" val="51.32913"/>
  <p:tag name="TOP" val="476.438"/>
  <p:tag name="HEIGHT" val="6.504063"/>
</p:tagLst>
</file>

<file path=ppt/tags/tag326.xml><?xml version="1.0" encoding="utf-8"?>
<p:tagLst xmlns:a="http://schemas.openxmlformats.org/drawingml/2006/main" xmlns:r="http://schemas.openxmlformats.org/officeDocument/2006/relationships" xmlns:p="http://schemas.openxmlformats.org/presentationml/2006/main">
  <p:tag name="MTTABLE" val="Cell"/>
  <p:tag name="MTNUMBER" val="0.22450228325301"/>
  <p:tag name="LEFT" val="522.6887"/>
  <p:tag name="WIDTH" val="51.32913"/>
  <p:tag name="HEIGHT" val="16.96409"/>
  <p:tag name="TOP" val="399.9616"/>
</p:tagLst>
</file>

<file path=ppt/tags/tag327.xml><?xml version="1.0" encoding="utf-8"?>
<p:tagLst xmlns:a="http://schemas.openxmlformats.org/drawingml/2006/main" xmlns:r="http://schemas.openxmlformats.org/officeDocument/2006/relationships" xmlns:p="http://schemas.openxmlformats.org/presentationml/2006/main">
  <p:tag name="MTTABLE" val="Cell"/>
  <p:tag name="MTNUMBER" val="0.22450228325301"/>
  <p:tag name="LEFT" val="522.6887"/>
  <p:tag name="WIDTH" val="51.32913"/>
  <p:tag name="TOP" val="426.9257"/>
  <p:tag name="HEIGHT" val="6.504063"/>
</p:tagLst>
</file>

<file path=ppt/tags/tag328.xml><?xml version="1.0" encoding="utf-8"?>
<p:tagLst xmlns:a="http://schemas.openxmlformats.org/drawingml/2006/main" xmlns:r="http://schemas.openxmlformats.org/officeDocument/2006/relationships" xmlns:p="http://schemas.openxmlformats.org/presentationml/2006/main">
  <p:tag name="MTTABLE" val="Cell"/>
  <p:tag name="MTNUMBER" val="0.22450228325301"/>
  <p:tag name="LEFT" val="522.6887"/>
  <p:tag name="WIDTH" val="51.32913"/>
  <p:tag name="TOP" val="443.4298"/>
  <p:tag name="HEIGHT" val="6.504063"/>
</p:tagLst>
</file>

<file path=ppt/tags/tag329.xml><?xml version="1.0" encoding="utf-8"?>
<p:tagLst xmlns:a="http://schemas.openxmlformats.org/drawingml/2006/main" xmlns:r="http://schemas.openxmlformats.org/officeDocument/2006/relationships" xmlns:p="http://schemas.openxmlformats.org/presentationml/2006/main">
  <p:tag name="MTTABLE" val="Cell"/>
  <p:tag name="MTNUMBER" val="0.22450228325301"/>
  <p:tag name="LEFT" val="522.6887"/>
  <p:tag name="WIDTH" val="51.32913"/>
  <p:tag name="TOP" val="459.9339"/>
  <p:tag name="HEIGHT" val="6.504063"/>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MTTABLE" val="Cell"/>
  <p:tag name="MTNUMBER" val="0.22450228325301"/>
  <p:tag name="LEFT" val="522.6887"/>
  <p:tag name="WIDTH" val="51.32913"/>
  <p:tag name="TOP" val="476.438"/>
  <p:tag name="HEIGHT" val="6.504063"/>
</p:tagLst>
</file>

<file path=ppt/tags/tag331.xml><?xml version="1.0" encoding="utf-8"?>
<p:tagLst xmlns:a="http://schemas.openxmlformats.org/drawingml/2006/main" xmlns:r="http://schemas.openxmlformats.org/officeDocument/2006/relationships" xmlns:p="http://schemas.openxmlformats.org/presentationml/2006/main">
  <p:tag name="MTTABLE" val="HTitleDiv"/>
  <p:tag name="MTNUMBER" val="0.22450228325301"/>
</p:tagLst>
</file>

<file path=ppt/tags/tag332.xml><?xml version="1.0" encoding="utf-8"?>
<p:tagLst xmlns:a="http://schemas.openxmlformats.org/drawingml/2006/main" xmlns:r="http://schemas.openxmlformats.org/officeDocument/2006/relationships" xmlns:p="http://schemas.openxmlformats.org/presentationml/2006/main">
  <p:tag name="MTTABLE" val="Cell"/>
  <p:tag name="MTNUMBER" val="0.22450228325301"/>
  <p:tag name="LEFT" val="584.0178"/>
  <p:tag name="WIDTH" val="51.32913"/>
  <p:tag name="HEIGHT" val="16.96409"/>
  <p:tag name="TOP" val="399.9616"/>
</p:tagLst>
</file>

<file path=ppt/tags/tag333.xml><?xml version="1.0" encoding="utf-8"?>
<p:tagLst xmlns:a="http://schemas.openxmlformats.org/drawingml/2006/main" xmlns:r="http://schemas.openxmlformats.org/officeDocument/2006/relationships" xmlns:p="http://schemas.openxmlformats.org/presentationml/2006/main">
  <p:tag name="MTTABLE" val="Cell"/>
  <p:tag name="MTNUMBER" val="0.22450228325301"/>
  <p:tag name="LEFT" val="584.0178"/>
  <p:tag name="WIDTH" val="51.32913"/>
  <p:tag name="TOP" val="426.9257"/>
  <p:tag name="HEIGHT" val="6.504063"/>
</p:tagLst>
</file>

<file path=ppt/tags/tag334.xml><?xml version="1.0" encoding="utf-8"?>
<p:tagLst xmlns:a="http://schemas.openxmlformats.org/drawingml/2006/main" xmlns:r="http://schemas.openxmlformats.org/officeDocument/2006/relationships" xmlns:p="http://schemas.openxmlformats.org/presentationml/2006/main">
  <p:tag name="MTTABLE" val="Cell"/>
  <p:tag name="MTNUMBER" val="0.22450228325301"/>
  <p:tag name="LEFT" val="584.0178"/>
  <p:tag name="WIDTH" val="51.32913"/>
  <p:tag name="TOP" val="443.4298"/>
  <p:tag name="HEIGHT" val="6.504063"/>
</p:tagLst>
</file>

<file path=ppt/tags/tag335.xml><?xml version="1.0" encoding="utf-8"?>
<p:tagLst xmlns:a="http://schemas.openxmlformats.org/drawingml/2006/main" xmlns:r="http://schemas.openxmlformats.org/officeDocument/2006/relationships" xmlns:p="http://schemas.openxmlformats.org/presentationml/2006/main">
  <p:tag name="MTTABLE" val="Cell"/>
  <p:tag name="MTNUMBER" val="0.22450228325301"/>
  <p:tag name="LEFT" val="584.0178"/>
  <p:tag name="WIDTH" val="51.32913"/>
  <p:tag name="TOP" val="459.9339"/>
  <p:tag name="HEIGHT" val="6.504063"/>
</p:tagLst>
</file>

<file path=ppt/tags/tag336.xml><?xml version="1.0" encoding="utf-8"?>
<p:tagLst xmlns:a="http://schemas.openxmlformats.org/drawingml/2006/main" xmlns:r="http://schemas.openxmlformats.org/officeDocument/2006/relationships" xmlns:p="http://schemas.openxmlformats.org/presentationml/2006/main">
  <p:tag name="MTTABLE" val="Cell"/>
  <p:tag name="MTNUMBER" val="0.22450228325301"/>
  <p:tag name="LEFT" val="584.0178"/>
  <p:tag name="WIDTH" val="51.32913"/>
  <p:tag name="TOP" val="476.438"/>
  <p:tag name="HEIGHT" val="6.504063"/>
</p:tagLst>
</file>

<file path=ppt/tags/tag337.xml><?xml version="1.0" encoding="utf-8"?>
<p:tagLst xmlns:a="http://schemas.openxmlformats.org/drawingml/2006/main" xmlns:r="http://schemas.openxmlformats.org/officeDocument/2006/relationships" xmlns:p="http://schemas.openxmlformats.org/presentationml/2006/main">
  <p:tag name="MTTABLE" val="HTitleDiv"/>
  <p:tag name="MTNUMBER" val="0.22450228325301"/>
</p:tagLst>
</file>

<file path=ppt/tags/tag338.xml><?xml version="1.0" encoding="utf-8"?>
<p:tagLst xmlns:a="http://schemas.openxmlformats.org/drawingml/2006/main" xmlns:r="http://schemas.openxmlformats.org/officeDocument/2006/relationships" xmlns:p="http://schemas.openxmlformats.org/presentationml/2006/main">
  <p:tag name="MTTABLE" val="HTitleDiv"/>
  <p:tag name="MTNUMBER" val="0.22450228325301"/>
</p:tagLst>
</file>

<file path=ppt/tags/tag339.xml><?xml version="1.0" encoding="utf-8"?>
<p:tagLst xmlns:a="http://schemas.openxmlformats.org/drawingml/2006/main" xmlns:r="http://schemas.openxmlformats.org/officeDocument/2006/relationships" xmlns:p="http://schemas.openxmlformats.org/presentationml/2006/main">
  <p:tag name="MTTABLE" val="HDiv"/>
  <p:tag name="MTNUMBER" val="0.2245022832530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CnBQFDeeSBOOJ4m70KIE.Q"/>
</p:tagLst>
</file>

<file path=ppt/tags/tag340.xml><?xml version="1.0" encoding="utf-8"?>
<p:tagLst xmlns:a="http://schemas.openxmlformats.org/drawingml/2006/main" xmlns:r="http://schemas.openxmlformats.org/officeDocument/2006/relationships" xmlns:p="http://schemas.openxmlformats.org/presentationml/2006/main">
  <p:tag name="MTTABLE" val="HDiv"/>
  <p:tag name="MTNUMBER" val="0.22450228325301"/>
</p:tagLst>
</file>

<file path=ppt/tags/tag341.xml><?xml version="1.0" encoding="utf-8"?>
<p:tagLst xmlns:a="http://schemas.openxmlformats.org/drawingml/2006/main" xmlns:r="http://schemas.openxmlformats.org/officeDocument/2006/relationships" xmlns:p="http://schemas.openxmlformats.org/presentationml/2006/main">
  <p:tag name="MTTABLE" val="HDiv"/>
  <p:tag name="MTNUMBER" val="0.22450228325301"/>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K3hSP7StSriWvAqVjr5h7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zgCuRhO8RFKpwSc_Myf7N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1rSEa46JTW.Zw.1Bb8udG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fzwNmKWTZPRTjq2im7y_F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ORoK8rLETByHJOqYwrFqg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YrVXeEXRSz6uZNZRbQmzW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mEilmP_ydXkg6x4X.S5TQA"/>
</p:tagLst>
</file>

<file path=ppt/tags/tag357.xml><?xml version="1.0" encoding="utf-8"?>
<p:tagLst xmlns:a="http://schemas.openxmlformats.org/drawingml/2006/main" xmlns:r="http://schemas.openxmlformats.org/officeDocument/2006/relationships" xmlns:p="http://schemas.openxmlformats.org/presentationml/2006/main">
  <p:tag name="MTTABLE" val="Cell"/>
  <p:tag name="MTNUMBER" val="0.149337449646246"/>
  <p:tag name="LEFT" val="9.375039"/>
  <p:tag name="WIDTH" val="165.75"/>
  <p:tag name="HEIGHT" val="19.38748"/>
  <p:tag name="TOP" val="80"/>
</p:tagLst>
</file>

<file path=ppt/tags/tag358.xml><?xml version="1.0" encoding="utf-8"?>
<p:tagLst xmlns:a="http://schemas.openxmlformats.org/drawingml/2006/main" xmlns:r="http://schemas.openxmlformats.org/officeDocument/2006/relationships" xmlns:p="http://schemas.openxmlformats.org/presentationml/2006/main">
  <p:tag name="MTTABLE" val="Cell"/>
  <p:tag name="MTNUMBER" val="0.149337449646246"/>
  <p:tag name="LEFT" val="9.375039"/>
  <p:tag name="WIDTH" val="165.75"/>
  <p:tag name="TOP" val="397.6414"/>
  <p:tag name="HEIGHT" val="31.17917"/>
</p:tagLst>
</file>

<file path=ppt/tags/tag359.xml><?xml version="1.0" encoding="utf-8"?>
<p:tagLst xmlns:a="http://schemas.openxmlformats.org/drawingml/2006/main" xmlns:r="http://schemas.openxmlformats.org/officeDocument/2006/relationships" xmlns:p="http://schemas.openxmlformats.org/presentationml/2006/main">
  <p:tag name="MTTABLE" val="Cell"/>
  <p:tag name="MTNUMBER" val="0.149337449646246"/>
  <p:tag name="LEFT" val="9.375039"/>
  <p:tag name="WIDTH" val="165.75"/>
  <p:tag name="HEIGHT" val="19.38748"/>
  <p:tag name="TOP" val="80"/>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28DG9fNTrK1mokBA_avBw"/>
</p:tagLst>
</file>

<file path=ppt/tags/tag360.xml><?xml version="1.0" encoding="utf-8"?>
<p:tagLst xmlns:a="http://schemas.openxmlformats.org/drawingml/2006/main" xmlns:r="http://schemas.openxmlformats.org/officeDocument/2006/relationships" xmlns:p="http://schemas.openxmlformats.org/presentationml/2006/main">
  <p:tag name="MTTABLE" val="Cell"/>
  <p:tag name="MTNUMBER" val="0.149337449646246"/>
  <p:tag name="LEFT" val="9.375039"/>
  <p:tag name="WIDTH" val="165.75"/>
  <p:tag name="TOP" val="109.3875"/>
  <p:tag name="HEIGHT" val="31.17917"/>
</p:tagLst>
</file>

<file path=ppt/tags/tag361.xml><?xml version="1.0" encoding="utf-8"?>
<p:tagLst xmlns:a="http://schemas.openxmlformats.org/drawingml/2006/main" xmlns:r="http://schemas.openxmlformats.org/officeDocument/2006/relationships" xmlns:p="http://schemas.openxmlformats.org/presentationml/2006/main">
  <p:tag name="MTTABLE" val="Cell"/>
  <p:tag name="MTNUMBER" val="0.149337449646246"/>
  <p:tag name="LEFT" val="9.375039"/>
  <p:tag name="WIDTH" val="165.75"/>
  <p:tag name="TOP" val="191.7458"/>
  <p:tag name="HEIGHT" val="31.17917"/>
</p:tagLst>
</file>

<file path=ppt/tags/tag362.xml><?xml version="1.0" encoding="utf-8"?>
<p:tagLst xmlns:a="http://schemas.openxmlformats.org/drawingml/2006/main" xmlns:r="http://schemas.openxmlformats.org/officeDocument/2006/relationships" xmlns:p="http://schemas.openxmlformats.org/presentationml/2006/main">
  <p:tag name="MTTABLE" val="Cell"/>
  <p:tag name="MTNUMBER" val="0.149337449646246"/>
  <p:tag name="LEFT" val="9.375039"/>
  <p:tag name="WIDTH" val="165.75"/>
  <p:tag name="TOP" val="356.4623"/>
  <p:tag name="HEIGHT" val="31.17917"/>
</p:tagLst>
</file>

<file path=ppt/tags/tag363.xml><?xml version="1.0" encoding="utf-8"?>
<p:tagLst xmlns:a="http://schemas.openxmlformats.org/drawingml/2006/main" xmlns:r="http://schemas.openxmlformats.org/officeDocument/2006/relationships" xmlns:p="http://schemas.openxmlformats.org/presentationml/2006/main">
  <p:tag name="MTTABLE" val="Cell"/>
  <p:tag name="MTNUMBER" val="0.149337449646246"/>
  <p:tag name="LEFT" val="9.375039"/>
  <p:tag name="WIDTH" val="165.75"/>
  <p:tag name="HEIGHT" val="19.38748"/>
  <p:tag name="TOP" val="80"/>
</p:tagLst>
</file>

<file path=ppt/tags/tag364.xml><?xml version="1.0" encoding="utf-8"?>
<p:tagLst xmlns:a="http://schemas.openxmlformats.org/drawingml/2006/main" xmlns:r="http://schemas.openxmlformats.org/officeDocument/2006/relationships" xmlns:p="http://schemas.openxmlformats.org/presentationml/2006/main">
  <p:tag name="MTTABLE" val="Cell"/>
  <p:tag name="MTNUMBER" val="0.149337449646246"/>
  <p:tag name="LEFT" val="9.375039"/>
  <p:tag name="WIDTH" val="165.75"/>
  <p:tag name="TOP" val="109.3875"/>
  <p:tag name="HEIGHT" val="31.17917"/>
</p:tagLst>
</file>

<file path=ppt/tags/tag365.xml><?xml version="1.0" encoding="utf-8"?>
<p:tagLst xmlns:a="http://schemas.openxmlformats.org/drawingml/2006/main" xmlns:r="http://schemas.openxmlformats.org/officeDocument/2006/relationships" xmlns:p="http://schemas.openxmlformats.org/presentationml/2006/main">
  <p:tag name="MTTABLE" val="Cell"/>
  <p:tag name="MTNUMBER" val="0.149337449646246"/>
  <p:tag name="LEFT" val="9.375039"/>
  <p:tag name="WIDTH" val="165.75"/>
  <p:tag name="TOP" val="191.7458"/>
  <p:tag name="HEIGHT" val="31.17917"/>
</p:tagLst>
</file>

<file path=ppt/tags/tag366.xml><?xml version="1.0" encoding="utf-8"?>
<p:tagLst xmlns:a="http://schemas.openxmlformats.org/drawingml/2006/main" xmlns:r="http://schemas.openxmlformats.org/officeDocument/2006/relationships" xmlns:p="http://schemas.openxmlformats.org/presentationml/2006/main">
  <p:tag name="MTTABLE" val="Cell"/>
  <p:tag name="MTNUMBER" val="0.149337449646246"/>
  <p:tag name="LEFT" val="9.375039"/>
  <p:tag name="WIDTH" val="165.75"/>
  <p:tag name="TOP" val="315.2832"/>
  <p:tag name="HEIGHT" val="31.17917"/>
</p:tagLst>
</file>

<file path=ppt/tags/tag367.xml><?xml version="1.0" encoding="utf-8"?>
<p:tagLst xmlns:a="http://schemas.openxmlformats.org/drawingml/2006/main" xmlns:r="http://schemas.openxmlformats.org/officeDocument/2006/relationships" xmlns:p="http://schemas.openxmlformats.org/presentationml/2006/main">
  <p:tag name="MTTABLE" val="Cell"/>
  <p:tag name="MTNUMBER" val="0.149337449646246"/>
  <p:tag name="LEFT" val="9.375039"/>
  <p:tag name="WIDTH" val="165.75"/>
  <p:tag name="TOP" val="315.2832"/>
  <p:tag name="HEIGHT" val="31.17917"/>
</p:tagLst>
</file>

<file path=ppt/tags/tag368.xml><?xml version="1.0" encoding="utf-8"?>
<p:tagLst xmlns:a="http://schemas.openxmlformats.org/drawingml/2006/main" xmlns:r="http://schemas.openxmlformats.org/officeDocument/2006/relationships" xmlns:p="http://schemas.openxmlformats.org/presentationml/2006/main">
  <p:tag name="MTTABLE" val="Cell"/>
  <p:tag name="MTNUMBER" val="0.149337449646246"/>
  <p:tag name="LEFT" val="9.375039"/>
  <p:tag name="WIDTH" val="165.75"/>
  <p:tag name="TOP" val="315.2832"/>
  <p:tag name="HEIGHT" val="31.17917"/>
</p:tagLst>
</file>

<file path=ppt/tags/tag369.xml><?xml version="1.0" encoding="utf-8"?>
<p:tagLst xmlns:a="http://schemas.openxmlformats.org/drawingml/2006/main" xmlns:r="http://schemas.openxmlformats.org/officeDocument/2006/relationships" xmlns:p="http://schemas.openxmlformats.org/presentationml/2006/main">
  <p:tag name="MTTABLE" val="Cell"/>
  <p:tag name="MTNUMBER" val="0.149337449646246"/>
  <p:tag name="LEFT" val="9.375039"/>
  <p:tag name="WIDTH" val="165.75"/>
  <p:tag name="TOP" val="356.4623"/>
  <p:tag name="HEIGHT" val="31.17917"/>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MTTABLE" val="Cell"/>
  <p:tag name="MTNUMBER" val="0.149337449646246"/>
  <p:tag name="LEFT" val="9.375039"/>
  <p:tag name="WIDTH" val="165.75"/>
  <p:tag name="TOP" val="356.4623"/>
  <p:tag name="HEIGHT" val="31.17917"/>
</p:tagLst>
</file>

<file path=ppt/tags/tag371.xml><?xml version="1.0" encoding="utf-8"?>
<p:tagLst xmlns:a="http://schemas.openxmlformats.org/drawingml/2006/main" xmlns:r="http://schemas.openxmlformats.org/officeDocument/2006/relationships" xmlns:p="http://schemas.openxmlformats.org/presentationml/2006/main">
  <p:tag name="MTTABLE" val="Cell"/>
  <p:tag name="MTNUMBER" val="0.149337449646246"/>
  <p:tag name="LEFT" val="9.375039"/>
  <p:tag name="WIDTH" val="165.75"/>
  <p:tag name="TOP" val="356.4623"/>
  <p:tag name="HEIGHT" val="31.17917"/>
</p:tagLst>
</file>

<file path=ppt/tags/tag372.xml><?xml version="1.0" encoding="utf-8"?>
<p:tagLst xmlns:a="http://schemas.openxmlformats.org/drawingml/2006/main" xmlns:r="http://schemas.openxmlformats.org/officeDocument/2006/relationships" xmlns:p="http://schemas.openxmlformats.org/presentationml/2006/main">
  <p:tag name="MTTABLE" val="Cell"/>
  <p:tag name="MTNUMBER" val="0.149337449646246"/>
  <p:tag name="LEFT" val="9.375039"/>
  <p:tag name="WIDTH" val="165.75"/>
  <p:tag name="TOP" val="356.4623"/>
  <p:tag name="HEIGHT" val="31.17917"/>
</p:tagLst>
</file>

<file path=ppt/tags/tag373.xml><?xml version="1.0" encoding="utf-8"?>
<p:tagLst xmlns:a="http://schemas.openxmlformats.org/drawingml/2006/main" xmlns:r="http://schemas.openxmlformats.org/officeDocument/2006/relationships" xmlns:p="http://schemas.openxmlformats.org/presentationml/2006/main">
  <p:tag name="MTTABLE" val="Cell"/>
  <p:tag name="MTNUMBER" val="0.149337449646246"/>
  <p:tag name="LEFT" val="9.375039"/>
  <p:tag name="WIDTH" val="165.75"/>
  <p:tag name="TOP" val="191.7458"/>
  <p:tag name="HEIGHT" val="31.17917"/>
</p:tagLst>
</file>

<file path=ppt/tags/tag374.xml><?xml version="1.0" encoding="utf-8"?>
<p:tagLst xmlns:a="http://schemas.openxmlformats.org/drawingml/2006/main" xmlns:r="http://schemas.openxmlformats.org/officeDocument/2006/relationships" xmlns:p="http://schemas.openxmlformats.org/presentationml/2006/main">
  <p:tag name="MTTABLE" val="Cell"/>
  <p:tag name="MTNUMBER" val="0.149337449646246"/>
  <p:tag name="LEFT" val="9.375039"/>
  <p:tag name="WIDTH" val="165.75"/>
  <p:tag name="TOP" val="191.7458"/>
  <p:tag name="HEIGHT" val="31.17917"/>
</p:tagLst>
</file>

<file path=ppt/tags/tag375.xml><?xml version="1.0" encoding="utf-8"?>
<p:tagLst xmlns:a="http://schemas.openxmlformats.org/drawingml/2006/main" xmlns:r="http://schemas.openxmlformats.org/officeDocument/2006/relationships" xmlns:p="http://schemas.openxmlformats.org/presentationml/2006/main">
  <p:tag name="MTTABLE" val="Cell"/>
  <p:tag name="MTNUMBER" val="0.149337449646246"/>
  <p:tag name="LEFT" val="9.375039"/>
  <p:tag name="WIDTH" val="165.75"/>
  <p:tag name="TOP" val="191.7458"/>
  <p:tag name="HEIGHT" val="31.17917"/>
</p:tagLst>
</file>

<file path=ppt/tags/tag376.xml><?xml version="1.0" encoding="utf-8"?>
<p:tagLst xmlns:a="http://schemas.openxmlformats.org/drawingml/2006/main" xmlns:r="http://schemas.openxmlformats.org/officeDocument/2006/relationships" xmlns:p="http://schemas.openxmlformats.org/presentationml/2006/main">
  <p:tag name="MTTABLE" val="Cell"/>
  <p:tag name="MTNUMBER" val="0.149337449646246"/>
  <p:tag name="LEFT" val="9.375039"/>
  <p:tag name="WIDTH" val="165.75"/>
  <p:tag name="TOP" val="191.7458"/>
  <p:tag name="HEIGHT" val="31.17917"/>
</p:tagLst>
</file>

<file path=ppt/tags/tag377.xml><?xml version="1.0" encoding="utf-8"?>
<p:tagLst xmlns:a="http://schemas.openxmlformats.org/drawingml/2006/main" xmlns:r="http://schemas.openxmlformats.org/officeDocument/2006/relationships" xmlns:p="http://schemas.openxmlformats.org/presentationml/2006/main">
  <p:tag name="MTTABLE" val="Cell"/>
  <p:tag name="MTNUMBER" val="0.149337449646246"/>
  <p:tag name="LEFT" val="9.375039"/>
  <p:tag name="WIDTH" val="165.75"/>
  <p:tag name="TOP" val="191.7458"/>
  <p:tag name="HEIGHT" val="31.17917"/>
</p:tagLst>
</file>

<file path=ppt/tags/tag378.xml><?xml version="1.0" encoding="utf-8"?>
<p:tagLst xmlns:a="http://schemas.openxmlformats.org/drawingml/2006/main" xmlns:r="http://schemas.openxmlformats.org/officeDocument/2006/relationships" xmlns:p="http://schemas.openxmlformats.org/presentationml/2006/main">
  <p:tag name="MTTABLE" val="Cell"/>
  <p:tag name="MTNUMBER" val="0.149337449646246"/>
  <p:tag name="LEFT" val="9.375039"/>
  <p:tag name="WIDTH" val="165.75"/>
  <p:tag name="TOP" val="191.7458"/>
  <p:tag name="HEIGHT" val="31.17917"/>
</p:tagLst>
</file>

<file path=ppt/tags/tag379.xml><?xml version="1.0" encoding="utf-8"?>
<p:tagLst xmlns:a="http://schemas.openxmlformats.org/drawingml/2006/main" xmlns:r="http://schemas.openxmlformats.org/officeDocument/2006/relationships" xmlns:p="http://schemas.openxmlformats.org/presentationml/2006/main">
  <p:tag name="MTTABLE" val="Cell"/>
  <p:tag name="MTNUMBER" val="0.149337449646246"/>
  <p:tag name="LEFT" val="9.375039"/>
  <p:tag name="WIDTH" val="165.75"/>
  <p:tag name="TOP" val="191.7458"/>
  <p:tag name="HEIGHT" val="31.17917"/>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5JY.NlaSSDyTA_thy.0iJw"/>
</p:tagLst>
</file>

<file path=ppt/tags/tag380.xml><?xml version="1.0" encoding="utf-8"?>
<p:tagLst xmlns:a="http://schemas.openxmlformats.org/drawingml/2006/main" xmlns:r="http://schemas.openxmlformats.org/officeDocument/2006/relationships" xmlns:p="http://schemas.openxmlformats.org/presentationml/2006/main">
  <p:tag name="MTTABLE" val="Cell"/>
  <p:tag name="MTNUMBER" val="0.149337449646246"/>
  <p:tag name="LEFT" val="9.375039"/>
  <p:tag name="WIDTH" val="165.75"/>
  <p:tag name="TOP" val="191.7458"/>
  <p:tag name="HEIGHT" val="31.17917"/>
</p:tagLst>
</file>

<file path=ppt/tags/tag381.xml><?xml version="1.0" encoding="utf-8"?>
<p:tagLst xmlns:a="http://schemas.openxmlformats.org/drawingml/2006/main" xmlns:r="http://schemas.openxmlformats.org/officeDocument/2006/relationships" xmlns:p="http://schemas.openxmlformats.org/presentationml/2006/main">
  <p:tag name="MTTABLE" val="Cell"/>
  <p:tag name="MTNUMBER" val="0.149337449646246"/>
  <p:tag name="LEFT" val="9.375039"/>
  <p:tag name="WIDTH" val="165.75"/>
  <p:tag name="TOP" val="109.3875"/>
  <p:tag name="HEIGHT" val="31.17917"/>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1LIf5Ps2QmyeWuirFR1Od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1LIf5Ps2QmyeWuirFR1Od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1LIf5Ps2QmyeWuirFR1Od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lPcauyjm32.NREjJiYZsh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0WIR5mwoQm2KirEyv.Ywc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De3.BaBXTDWjwnV1jalVCQ"/>
</p:tagLst>
</file>

<file path=ppt/tags/tag394.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395.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396.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397.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398.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399.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MM_SLIDE_TYPE" val="6"/>
</p:tagLst>
</file>

<file path=ppt/tags/tag400.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01.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02.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03.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04.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05.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06.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07.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08.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09.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11.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12.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13.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14.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15.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16.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17.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18.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19.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21.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22.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23.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zi.wZ0xXT8Ss9Ld2xDIlc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97ZFwHZnSayUL0xn4cV_n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0xyHktlfSaq.R890voMw8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iMvmtsvfTI6TGmL_3Oijo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BqojXPaNTCSsY9rQmUwa3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cLFNuv81e2j9zFdf1csTG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CHLF1wVsYY_arPY78Sn5d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v8Jaok03TaSANb.emeEDd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0xyHktlfSaq.R890voMw8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v8Jaok03TaSANb.emeEDd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v8Jaok03TaSANb.emeEDd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CnBQFDeeSBOOJ4m70KIE.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k28DG9fNTrK1mokBA_avB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5JY.NlaSSDyTA_thy.0iJ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MM_SLIDE_TYPE" val="6"/>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0xyHktlfSaq.R890voMw8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v8Jaok03TaSANb.emeEDd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0xyHktlfSaq.R890voMw8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v8Jaok03TaSANb.emeEDd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CnBQFDeeSBOOJ4m70KIE.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k28DG9fNTrK1mokBA_avB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5JY.NlaSSDyTA_thy.0iJ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NAME" val="Moon"/>
</p:tagLst>
</file>

<file path=ppt/tags/tag75.xml><?xml version="1.0" encoding="utf-8"?>
<p:tagLst xmlns:a="http://schemas.openxmlformats.org/drawingml/2006/main" xmlns:r="http://schemas.openxmlformats.org/officeDocument/2006/relationships" xmlns:p="http://schemas.openxmlformats.org/presentationml/2006/main">
  <p:tag name="NAME" val="Moon"/>
</p:tagLst>
</file>

<file path=ppt/tags/tag76.xml><?xml version="1.0" encoding="utf-8"?>
<p:tagLst xmlns:a="http://schemas.openxmlformats.org/drawingml/2006/main" xmlns:r="http://schemas.openxmlformats.org/officeDocument/2006/relationships" xmlns:p="http://schemas.openxmlformats.org/presentationml/2006/main">
  <p:tag name="NAME" val="Moon"/>
</p:tagLst>
</file>

<file path=ppt/tags/tag77.xml><?xml version="1.0" encoding="utf-8"?>
<p:tagLst xmlns:a="http://schemas.openxmlformats.org/drawingml/2006/main" xmlns:r="http://schemas.openxmlformats.org/officeDocument/2006/relationships" xmlns:p="http://schemas.openxmlformats.org/presentationml/2006/main">
  <p:tag name="NAME" val="Moon"/>
</p:tagLst>
</file>

<file path=ppt/tags/tag78.xml><?xml version="1.0" encoding="utf-8"?>
<p:tagLst xmlns:a="http://schemas.openxmlformats.org/drawingml/2006/main" xmlns:r="http://schemas.openxmlformats.org/officeDocument/2006/relationships" xmlns:p="http://schemas.openxmlformats.org/presentationml/2006/main">
  <p:tag name="NAME" val="Moon"/>
</p:tagLst>
</file>

<file path=ppt/tags/tag7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8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8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8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8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0xyHktlfSaq.R890voMw8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MM_SLIDE_TYPE" val="6"/>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NAME" val="Moon"/>
</p:tagLst>
</file>

<file path=ppt/tags/tag94.xml><?xml version="1.0" encoding="utf-8"?>
<p:tagLst xmlns:a="http://schemas.openxmlformats.org/drawingml/2006/main" xmlns:r="http://schemas.openxmlformats.org/officeDocument/2006/relationships" xmlns:p="http://schemas.openxmlformats.org/presentationml/2006/main">
  <p:tag name="NAME" val="Moon"/>
</p:tagLst>
</file>

<file path=ppt/tags/tag95.xml><?xml version="1.0" encoding="utf-8"?>
<p:tagLst xmlns:a="http://schemas.openxmlformats.org/drawingml/2006/main" xmlns:r="http://schemas.openxmlformats.org/officeDocument/2006/relationships" xmlns:p="http://schemas.openxmlformats.org/presentationml/2006/main">
  <p:tag name="NAME" val="Moon"/>
</p:tagLst>
</file>

<file path=ppt/tags/tag96.xml><?xml version="1.0" encoding="utf-8"?>
<p:tagLst xmlns:a="http://schemas.openxmlformats.org/drawingml/2006/main" xmlns:r="http://schemas.openxmlformats.org/officeDocument/2006/relationships" xmlns:p="http://schemas.openxmlformats.org/presentationml/2006/main">
  <p:tag name="NAME" val="Moon"/>
</p:tagLst>
</file>

<file path=ppt/tags/tag97.xml><?xml version="1.0" encoding="utf-8"?>
<p:tagLst xmlns:a="http://schemas.openxmlformats.org/drawingml/2006/main" xmlns:r="http://schemas.openxmlformats.org/officeDocument/2006/relationships" xmlns:p="http://schemas.openxmlformats.org/presentationml/2006/main">
  <p:tag name="NAME" val="Moon"/>
</p:tagLst>
</file>

<file path=ppt/tags/tag9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Cover slides">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3_AGRA_CF_GAE416">
  <a:themeElements>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GRA_CF_GAE416.potx" id="{18E7CE3E-79AA-40EC-9453-9CCAE6EA6895}" vid="{B228667B-03D9-4259-9F41-9B4DAADC5DF1}"/>
    </a:ext>
  </a:extLst>
</a:theme>
</file>

<file path=ppt/theme/theme11.xml><?xml version="1.0" encoding="utf-8"?>
<a:theme xmlns:a="http://schemas.openxmlformats.org/drawingml/2006/main" name="9_AGRA_CF_GAE416">
  <a:themeElements>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GRA_CF_GAE416.potx" id="{18E7CE3E-79AA-40EC-9453-9CCAE6EA6895}" vid="{B228667B-03D9-4259-9F41-9B4DAADC5DF1}"/>
    </a:ext>
  </a:extLst>
</a:theme>
</file>

<file path=ppt/theme/theme12.xml><?xml version="1.0" encoding="utf-8"?>
<a:theme xmlns:a="http://schemas.openxmlformats.org/drawingml/2006/main" name="10_AGRA_CF_GAE416">
  <a:themeElements>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GRA_CF_GAE416.potx" id="{18E7CE3E-79AA-40EC-9453-9CCAE6EA6895}" vid="{B228667B-03D9-4259-9F41-9B4DAADC5DF1}"/>
    </a:ext>
  </a:extLst>
</a:theme>
</file>

<file path=ppt/theme/theme13.xml><?xml version="1.0" encoding="utf-8"?>
<a:theme xmlns:a="http://schemas.openxmlformats.org/drawingml/2006/main" name="4_AGRA_CF_GAE416">
  <a:themeElements>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GRA_CF_GAE416.potx" id="{18E7CE3E-79AA-40EC-9453-9CCAE6EA6895}" vid="{B228667B-03D9-4259-9F41-9B4DAADC5DF1}"/>
    </a:ext>
  </a:extLst>
</a:theme>
</file>

<file path=ppt/theme/theme14.xml><?xml version="1.0" encoding="utf-8"?>
<a:theme xmlns:a="http://schemas.openxmlformats.org/drawingml/2006/main" name="5_AGRA_CF_GAE416">
  <a:themeElements>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GRA_CF_GAE416.potx" id="{18E7CE3E-79AA-40EC-9453-9CCAE6EA6895}" vid="{B228667B-03D9-4259-9F41-9B4DAADC5DF1}"/>
    </a:ext>
  </a:extLst>
</a:theme>
</file>

<file path=ppt/theme/theme15.xml><?xml version="1.0" encoding="utf-8"?>
<a:theme xmlns:a="http://schemas.openxmlformats.org/drawingml/2006/main" name="6_AGRA_CF_GAE416">
  <a:themeElements>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GRA_CF_GAE416.potx" id="{18E7CE3E-79AA-40EC-9453-9CCAE6EA6895}" vid="{B228667B-03D9-4259-9F41-9B4DAADC5DF1}"/>
    </a:ext>
  </a:extLst>
</a:theme>
</file>

<file path=ppt/theme/theme16.xml><?xml version="1.0" encoding="utf-8"?>
<a:theme xmlns:a="http://schemas.openxmlformats.org/drawingml/2006/main" name="4_Slide Report">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11_AGRA_CF_GAE416">
  <a:themeElements>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GRA_CF_GAE416.potx" id="{18E7CE3E-79AA-40EC-9453-9CCAE6EA6895}" vid="{B228667B-03D9-4259-9F41-9B4DAADC5DF1}"/>
    </a:ext>
  </a:extLst>
</a:theme>
</file>

<file path=ppt/theme/theme18.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lide Report">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Slide Report">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solidFill>
            <a:schemeClr val="bg1">
              <a:lumMod val="50000"/>
            </a:schemeClr>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solidFill>
              <a:schemeClr val="accent6">
                <a:lumMod val="50000"/>
              </a:schemeClr>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168275" indent="-168275">
          <a:buFont typeface="Arial" panose="020B0604020202020204" pitchFamily="34" charset="0"/>
          <a:buChar char="•"/>
          <a:defRPr sz="14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AGRA ppt template_Aug 18" id="{DA1DC13F-FA94-4699-960D-95CC52312870}" vid="{6C426B1E-A5E4-4D6E-B855-8C4B3DE23D8E}"/>
    </a:ext>
  </a:extLst>
</a:theme>
</file>

<file path=ppt/theme/theme4.xml><?xml version="1.0" encoding="utf-8"?>
<a:theme xmlns:a="http://schemas.openxmlformats.org/drawingml/2006/main" name="2_Slide Report">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solidFill>
            <a:schemeClr val="bg1">
              <a:lumMod val="50000"/>
            </a:schemeClr>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solidFill>
              <a:schemeClr val="accent6">
                <a:lumMod val="50000"/>
              </a:schemeClr>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168275" indent="-168275">
          <a:buFont typeface="Arial" panose="020B0604020202020204" pitchFamily="34" charset="0"/>
          <a:buChar char="•"/>
          <a:defRPr sz="14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AGRA ppt template_Aug 18" id="{DA1DC13F-FA94-4699-960D-95CC52312870}" vid="{6C426B1E-A5E4-4D6E-B855-8C4B3DE23D8E}"/>
    </a:ext>
  </a:extLst>
</a:theme>
</file>

<file path=ppt/theme/theme5.xml><?xml version="1.0" encoding="utf-8"?>
<a:theme xmlns:a="http://schemas.openxmlformats.org/drawingml/2006/main" name="3_Slide Report">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solidFill>
            <a:schemeClr val="bg1">
              <a:lumMod val="50000"/>
            </a:schemeClr>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solidFill>
              <a:schemeClr val="accent6">
                <a:lumMod val="50000"/>
              </a:schemeClr>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168275" indent="-168275">
          <a:buFont typeface="Arial" panose="020B0604020202020204" pitchFamily="34" charset="0"/>
          <a:buChar char="•"/>
          <a:defRPr sz="14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AGRA ppt template_Aug 18" id="{DA1DC13F-FA94-4699-960D-95CC52312870}" vid="{6C426B1E-A5E4-4D6E-B855-8C4B3DE23D8E}"/>
    </a:ext>
  </a:extLst>
</a:theme>
</file>

<file path=ppt/theme/theme6.xml><?xml version="1.0" encoding="utf-8"?>
<a:theme xmlns:a="http://schemas.openxmlformats.org/drawingml/2006/main" name="5_Slide Report">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solidFill>
            <a:schemeClr val="bg1">
              <a:lumMod val="50000"/>
            </a:schemeClr>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solidFill>
              <a:schemeClr val="accent6">
                <a:lumMod val="50000"/>
              </a:schemeClr>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168275" indent="-168275">
          <a:buFont typeface="Arial" panose="020B0604020202020204" pitchFamily="34" charset="0"/>
          <a:buChar char="•"/>
          <a:defRPr sz="14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AGRA ppt template_Aug 18" id="{DA1DC13F-FA94-4699-960D-95CC52312870}" vid="{6C426B1E-A5E4-4D6E-B855-8C4B3DE23D8E}"/>
    </a:ext>
  </a:extLst>
</a:theme>
</file>

<file path=ppt/theme/theme7.xml><?xml version="1.0" encoding="utf-8"?>
<a:theme xmlns:a="http://schemas.openxmlformats.org/drawingml/2006/main" name="AGRA_CF_GAE416">
  <a:themeElements>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GRA_CF_GAE416.potx" id="{18E7CE3E-79AA-40EC-9453-9CCAE6EA6895}" vid="{B228667B-03D9-4259-9F41-9B4DAADC5DF1}"/>
    </a:ext>
  </a:extLst>
</a:theme>
</file>

<file path=ppt/theme/theme8.xml><?xml version="1.0" encoding="utf-8"?>
<a:theme xmlns:a="http://schemas.openxmlformats.org/drawingml/2006/main" name="1_AGRA_CF_GAE416">
  <a:themeElements>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GRA_CF_GAE416.potx" id="{18E7CE3E-79AA-40EC-9453-9CCAE6EA6895}" vid="{B228667B-03D9-4259-9F41-9B4DAADC5DF1}"/>
    </a:ext>
  </a:extLst>
</a:theme>
</file>

<file path=ppt/theme/theme9.xml><?xml version="1.0" encoding="utf-8"?>
<a:theme xmlns:a="http://schemas.openxmlformats.org/drawingml/2006/main" name="2_AGRA_CF_GAE416">
  <a:themeElements>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GRA_CF_GAE416.potx" id="{18E7CE3E-79AA-40EC-9453-9CCAE6EA6895}" vid="{B228667B-03D9-4259-9F41-9B4DAADC5DF1}"/>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明朝"/>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33242</TotalTime>
  <Words>11170</Words>
  <Application>Microsoft Office PowerPoint</Application>
  <PresentationFormat>A4 Paper (210x297 mm)</PresentationFormat>
  <Paragraphs>1478</Paragraphs>
  <Slides>56</Slides>
  <Notes>11</Notes>
  <HiddenSlides>0</HiddenSlides>
  <MMClips>0</MMClips>
  <ScaleCrop>false</ScaleCrop>
  <HeadingPairs>
    <vt:vector size="8" baseType="variant">
      <vt:variant>
        <vt:lpstr>Fonts Used</vt:lpstr>
      </vt:variant>
      <vt:variant>
        <vt:i4>13</vt:i4>
      </vt:variant>
      <vt:variant>
        <vt:lpstr>Theme</vt:lpstr>
      </vt:variant>
      <vt:variant>
        <vt:i4>17</vt:i4>
      </vt:variant>
      <vt:variant>
        <vt:lpstr>Embedded OLE Servers</vt:lpstr>
      </vt:variant>
      <vt:variant>
        <vt:i4>1</vt:i4>
      </vt:variant>
      <vt:variant>
        <vt:lpstr>Slide Titles</vt:lpstr>
      </vt:variant>
      <vt:variant>
        <vt:i4>56</vt:i4>
      </vt:variant>
    </vt:vector>
  </HeadingPairs>
  <TitlesOfParts>
    <vt:vector size="87" baseType="lpstr">
      <vt:lpstr>Arial</vt:lpstr>
      <vt:lpstr>Calibri</vt:lpstr>
      <vt:lpstr>Calibri Light</vt:lpstr>
      <vt:lpstr>Courier New</vt:lpstr>
      <vt:lpstr>Franklin Gothic Medium</vt:lpstr>
      <vt:lpstr>Gill Sans</vt:lpstr>
      <vt:lpstr>MS Mincho</vt:lpstr>
      <vt:lpstr>Noto Sans Symbols</vt:lpstr>
      <vt:lpstr>Symbol</vt:lpstr>
      <vt:lpstr>Times New Roman</vt:lpstr>
      <vt:lpstr>Wingdings</vt:lpstr>
      <vt:lpstr>Wingdings 2</vt:lpstr>
      <vt:lpstr>ヒラギノ角ゴ ProN W3</vt:lpstr>
      <vt:lpstr>Cover slides</vt:lpstr>
      <vt:lpstr>Slide Report</vt:lpstr>
      <vt:lpstr>1_Slide Report</vt:lpstr>
      <vt:lpstr>2_Slide Report</vt:lpstr>
      <vt:lpstr>3_Slide Report</vt:lpstr>
      <vt:lpstr>5_Slide Report</vt:lpstr>
      <vt:lpstr>AGRA_CF_GAE416</vt:lpstr>
      <vt:lpstr>1_AGRA_CF_GAE416</vt:lpstr>
      <vt:lpstr>2_AGRA_CF_GAE416</vt:lpstr>
      <vt:lpstr>3_AGRA_CF_GAE416</vt:lpstr>
      <vt:lpstr>9_AGRA_CF_GAE416</vt:lpstr>
      <vt:lpstr>10_AGRA_CF_GAE416</vt:lpstr>
      <vt:lpstr>4_AGRA_CF_GAE416</vt:lpstr>
      <vt:lpstr>5_AGRA_CF_GAE416</vt:lpstr>
      <vt:lpstr>6_AGRA_CF_GAE416</vt:lpstr>
      <vt:lpstr>4_Slide Report</vt:lpstr>
      <vt:lpstr>11_AGRA_CF_GAE416</vt:lpstr>
      <vt:lpstr>think-cell Slide</vt:lpstr>
      <vt:lpstr>AGRA Mali Operational Plan </vt:lpstr>
      <vt:lpstr>Table of contents</vt:lpstr>
      <vt:lpstr>Executive Summary </vt:lpstr>
      <vt:lpstr>Executive Summary (1 of 2)</vt:lpstr>
      <vt:lpstr>Executive Summary (2 of 2) </vt:lpstr>
      <vt:lpstr>Mali Agriculture Context</vt:lpstr>
      <vt:lpstr>Mali’s Agriculture sector has had a slow but positive growth over the past 5 years and continues to contribute significantly to the overall economy</vt:lpstr>
      <vt:lpstr>The Malian government has recommitted to Agriculture sector development through various initiatives</vt:lpstr>
      <vt:lpstr>CAADP biennial review shows that the country is on-track and should emphasize access to finance and boosting trade</vt:lpstr>
      <vt:lpstr>There is room to develop a more vibrant private sector if policy and other incentives are put in place for the benefit of the small holder farmer</vt:lpstr>
      <vt:lpstr>Donor funding accounts for 16% of total spend in Agriculture with 33 donors being the largest funders</vt:lpstr>
      <vt:lpstr>In addition to Macro-economic analysis, AGRA also carried out analysis of  specific systems to inform the strategy (1 of 4)</vt:lpstr>
      <vt:lpstr>Systems Analysis - Soil health and fertilizer systems (2 of 4)</vt:lpstr>
      <vt:lpstr>Systems analysis (3 of 4)</vt:lpstr>
      <vt:lpstr>Systems analysis (4 of 4)</vt:lpstr>
      <vt:lpstr>AGRA 2017 – 2021 Strategy</vt:lpstr>
      <vt:lpstr>AGRA’s Vision and Headline goals 2017 - 2021</vt:lpstr>
      <vt:lpstr>AGRA’s 2017 – 2021 Strategy </vt:lpstr>
      <vt:lpstr>AGRA Mali Strategy</vt:lpstr>
      <vt:lpstr>AGRA’s Strategy for Mali  </vt:lpstr>
      <vt:lpstr>AGRA’s Approach in Mali is Aligned to the National Agriculture Strategy…</vt:lpstr>
      <vt:lpstr>Mali Theory of Change</vt:lpstr>
      <vt:lpstr>AGRA’s Strategy continues to build off of past work done in Mali to drive for scale and sustainability</vt:lpstr>
      <vt:lpstr>Mali has also mapped the main partners in the country and their current / Potential relationship with AGRA</vt:lpstr>
      <vt:lpstr>AGRA has prioritized three regions in Mali based on impact potential and ease of delivery </vt:lpstr>
      <vt:lpstr>Working with public and private entities, AGRA aims to influence funding to the most impactful projects</vt:lpstr>
      <vt:lpstr>Results Framework and Targets</vt:lpstr>
      <vt:lpstr>Mali Country Results Framework </vt:lpstr>
      <vt:lpstr>Key Country Indicators and Targets</vt:lpstr>
      <vt:lpstr>Key Country Indicators and Targets</vt:lpstr>
      <vt:lpstr>Portfolio to date, lessons and opportunities</vt:lpstr>
      <vt:lpstr>AGRA’s Current Portfolio summary (2017 - 2019)</vt:lpstr>
      <vt:lpstr>Since strategy inception in 2017, AGRA has made a number of investments in Mali</vt:lpstr>
      <vt:lpstr>Details of Existing Portfolio of Investments in Mali </vt:lpstr>
      <vt:lpstr>Mapping the Strategy to outcomes in the theory of change</vt:lpstr>
      <vt:lpstr>Mapping the Strategy to outcomes in the theory of change (2/3)</vt:lpstr>
      <vt:lpstr>Mapping the Strategy to outcomes in the theory of change (3/3)</vt:lpstr>
      <vt:lpstr>Early Results from investments made in Mali are outlined below…..</vt:lpstr>
      <vt:lpstr>Emerging Lessons </vt:lpstr>
      <vt:lpstr>Emerging Opportunities for Mali</vt:lpstr>
      <vt:lpstr>The Team</vt:lpstr>
      <vt:lpstr>Country organogram and support structure</vt:lpstr>
      <vt:lpstr>Annexes</vt:lpstr>
      <vt:lpstr>AGRA Institutional Results Framework and theory of change</vt:lpstr>
      <vt:lpstr>AGRA Strategy Results Framework </vt:lpstr>
      <vt:lpstr>Policy and State Capability Theory of Change</vt:lpstr>
      <vt:lpstr>Farmer and Systems development Theory of Change</vt:lpstr>
      <vt:lpstr>Partnerships development Theory of Change</vt:lpstr>
      <vt:lpstr>Donor Funding of Rural Sector  Development in Mali </vt:lpstr>
      <vt:lpstr>DONORS’ FUNDING OF RURAL SECTORIAL DEVELOPMENT IN MALI</vt:lpstr>
      <vt:lpstr>Mali Cropping Seasons </vt:lpstr>
      <vt:lpstr>Cropping Seasons </vt:lpstr>
      <vt:lpstr>Acronyms</vt:lpstr>
      <vt:lpstr>Acronyms</vt:lpstr>
      <vt:lpstr>References </vt:lpstr>
      <vt:lpstr>Reference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GRA  COUNTRY X  Operational Plan</dc:title>
  <dc:creator>Kamau Pauline</dc:creator>
  <cp:lastModifiedBy>Kamau, Pauline</cp:lastModifiedBy>
  <cp:revision>1134</cp:revision>
  <cp:lastPrinted>2019-06-21T13:53:18Z</cp:lastPrinted>
  <dcterms:modified xsi:type="dcterms:W3CDTF">2019-08-22T08:05:52Z</dcterms:modified>
</cp:coreProperties>
</file>